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23" r:id="rId1"/>
  </p:sldMasterIdLst>
  <p:notesMasterIdLst>
    <p:notesMasterId r:id="rId57"/>
  </p:notesMasterIdLst>
  <p:sldIdLst>
    <p:sldId id="319" r:id="rId2"/>
    <p:sldId id="327" r:id="rId3"/>
    <p:sldId id="321" r:id="rId4"/>
    <p:sldId id="256" r:id="rId5"/>
    <p:sldId id="257" r:id="rId6"/>
    <p:sldId id="258" r:id="rId7"/>
    <p:sldId id="259" r:id="rId8"/>
    <p:sldId id="260" r:id="rId9"/>
    <p:sldId id="263" r:id="rId10"/>
    <p:sldId id="290" r:id="rId11"/>
    <p:sldId id="264" r:id="rId12"/>
    <p:sldId id="287" r:id="rId13"/>
    <p:sldId id="266" r:id="rId14"/>
    <p:sldId id="270" r:id="rId15"/>
    <p:sldId id="291" r:id="rId16"/>
    <p:sldId id="292" r:id="rId17"/>
    <p:sldId id="293" r:id="rId18"/>
    <p:sldId id="294" r:id="rId19"/>
    <p:sldId id="295" r:id="rId20"/>
    <p:sldId id="285" r:id="rId21"/>
    <p:sldId id="288" r:id="rId22"/>
    <p:sldId id="289" r:id="rId23"/>
    <p:sldId id="276" r:id="rId24"/>
    <p:sldId id="296" r:id="rId25"/>
    <p:sldId id="297" r:id="rId26"/>
    <p:sldId id="277" r:id="rId27"/>
    <p:sldId id="320" r:id="rId28"/>
    <p:sldId id="322" r:id="rId29"/>
    <p:sldId id="298" r:id="rId30"/>
    <p:sldId id="328" r:id="rId31"/>
    <p:sldId id="299" r:id="rId32"/>
    <p:sldId id="329" r:id="rId33"/>
    <p:sldId id="300" r:id="rId34"/>
    <p:sldId id="301" r:id="rId35"/>
    <p:sldId id="323" r:id="rId36"/>
    <p:sldId id="302" r:id="rId37"/>
    <p:sldId id="303" r:id="rId38"/>
    <p:sldId id="304" r:id="rId39"/>
    <p:sldId id="305" r:id="rId40"/>
    <p:sldId id="306" r:id="rId41"/>
    <p:sldId id="307" r:id="rId42"/>
    <p:sldId id="324" r:id="rId43"/>
    <p:sldId id="308" r:id="rId44"/>
    <p:sldId id="309" r:id="rId45"/>
    <p:sldId id="325" r:id="rId46"/>
    <p:sldId id="310" r:id="rId47"/>
    <p:sldId id="311" r:id="rId48"/>
    <p:sldId id="312" r:id="rId49"/>
    <p:sldId id="313" r:id="rId50"/>
    <p:sldId id="314" r:id="rId51"/>
    <p:sldId id="315" r:id="rId52"/>
    <p:sldId id="326" r:id="rId53"/>
    <p:sldId id="316" r:id="rId54"/>
    <p:sldId id="317" r:id="rId55"/>
    <p:sldId id="318" r:id="rId56"/>
  </p:sldIdLst>
  <p:sldSz cx="12192000" cy="6858000"/>
  <p:notesSz cx="6724650" cy="97742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66"/>
    <a:srgbClr val="FFCC99"/>
    <a:srgbClr val="FF9966"/>
    <a:srgbClr val="FF9933"/>
    <a:srgbClr val="FFCC66"/>
    <a:srgbClr val="FF99FF"/>
    <a:srgbClr val="FF99CC"/>
    <a:srgbClr val="FFCCFF"/>
    <a:srgbClr val="66CCFF"/>
    <a:srgbClr val="CCFF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964" autoAdjust="0"/>
    <p:restoredTop sz="94667" autoAdjust="0"/>
  </p:normalViewPr>
  <p:slideViewPr>
    <p:cSldViewPr snapToGrid="0" showGuides="1">
      <p:cViewPr varScale="1">
        <p:scale>
          <a:sx n="101" d="100"/>
          <a:sy n="101" d="100"/>
        </p:scale>
        <p:origin x="1086" y="0"/>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notesMaster" Target="notesMasters/notesMaster1.xml"/><Relationship Id="rId61"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32629D9-3A45-6C4B-BDC3-4A7714E69C2A}" type="doc">
      <dgm:prSet loTypeId="urn:microsoft.com/office/officeart/2005/8/layout/list1" loCatId="" qsTypeId="urn:microsoft.com/office/officeart/2005/8/quickstyle/3d2" qsCatId="3D" csTypeId="urn:microsoft.com/office/officeart/2005/8/colors/accent1_2" csCatId="accent1" phldr="1"/>
      <dgm:spPr/>
      <dgm:t>
        <a:bodyPr/>
        <a:lstStyle/>
        <a:p>
          <a:endParaRPr lang="es-ES"/>
        </a:p>
      </dgm:t>
    </dgm:pt>
    <dgm:pt modelId="{43B672D8-F66F-9440-9946-EEF25D869154}">
      <dgm:prSet phldrT="[Texto]" custT="1"/>
      <dgm:spPr/>
      <dgm:t>
        <a:bodyPr/>
        <a:lstStyle/>
        <a:p>
          <a:r>
            <a:rPr lang="es-ES" sz="1800" b="1" dirty="0"/>
            <a:t>Ideación y </a:t>
          </a:r>
          <a:r>
            <a:rPr lang="es-ES" sz="1800" b="1" dirty="0" smtClean="0"/>
            <a:t>diseño</a:t>
          </a:r>
          <a:endParaRPr lang="es-ES" sz="1800" b="1" dirty="0"/>
        </a:p>
      </dgm:t>
    </dgm:pt>
    <dgm:pt modelId="{3ED2FCA6-7BA5-B945-A324-69A4A0100FF8}" type="parTrans" cxnId="{AFDC240B-1DA0-F14A-BAE1-0E0009751A8C}">
      <dgm:prSet/>
      <dgm:spPr/>
      <dgm:t>
        <a:bodyPr/>
        <a:lstStyle/>
        <a:p>
          <a:endParaRPr lang="es-ES" sz="4400" b="1"/>
        </a:p>
      </dgm:t>
    </dgm:pt>
    <dgm:pt modelId="{D040F801-AC1D-3C46-A3B7-65FE12C82AE8}" type="sibTrans" cxnId="{AFDC240B-1DA0-F14A-BAE1-0E0009751A8C}">
      <dgm:prSet/>
      <dgm:spPr/>
      <dgm:t>
        <a:bodyPr/>
        <a:lstStyle/>
        <a:p>
          <a:endParaRPr lang="es-ES" sz="4400" b="1"/>
        </a:p>
      </dgm:t>
    </dgm:pt>
    <dgm:pt modelId="{083E137F-CE50-AD46-9D42-DE3BEABA3FE3}">
      <dgm:prSet phldrT="[Texto]" custT="1"/>
      <dgm:spPr/>
      <dgm:t>
        <a:bodyPr/>
        <a:lstStyle/>
        <a:p>
          <a:r>
            <a:rPr lang="es-ES" sz="1800" b="1" dirty="0"/>
            <a:t>Propuesta </a:t>
          </a:r>
          <a:r>
            <a:rPr lang="es-ES" sz="1800" b="1" dirty="0" smtClean="0"/>
            <a:t>piloto</a:t>
          </a:r>
          <a:endParaRPr lang="es-ES" sz="1800" b="1" dirty="0"/>
        </a:p>
      </dgm:t>
    </dgm:pt>
    <dgm:pt modelId="{D8BC51B8-85C6-314B-8F34-2F110E1ECFB9}" type="parTrans" cxnId="{18E0F575-2405-2148-B4CE-0E240C342C98}">
      <dgm:prSet/>
      <dgm:spPr/>
      <dgm:t>
        <a:bodyPr/>
        <a:lstStyle/>
        <a:p>
          <a:endParaRPr lang="es-ES" sz="4400" b="1"/>
        </a:p>
      </dgm:t>
    </dgm:pt>
    <dgm:pt modelId="{BB0EDC6E-E691-594C-9A6D-CB5DC3D13C16}" type="sibTrans" cxnId="{18E0F575-2405-2148-B4CE-0E240C342C98}">
      <dgm:prSet/>
      <dgm:spPr/>
      <dgm:t>
        <a:bodyPr/>
        <a:lstStyle/>
        <a:p>
          <a:endParaRPr lang="es-ES" sz="4400" b="1"/>
        </a:p>
      </dgm:t>
    </dgm:pt>
    <dgm:pt modelId="{A2FF4E22-6CD4-8B4D-A95E-4193FB1F3175}">
      <dgm:prSet phldrT="[Texto]" custT="1"/>
      <dgm:spPr/>
      <dgm:t>
        <a:bodyPr/>
        <a:lstStyle/>
        <a:p>
          <a:r>
            <a:rPr lang="es-ES" sz="1800" b="1" dirty="0"/>
            <a:t>Implantación </a:t>
          </a:r>
          <a:r>
            <a:rPr lang="es-ES" sz="1800" b="1" dirty="0" smtClean="0"/>
            <a:t>piloto</a:t>
          </a:r>
          <a:endParaRPr lang="es-ES" sz="1800" b="1" dirty="0"/>
        </a:p>
      </dgm:t>
    </dgm:pt>
    <dgm:pt modelId="{BFC5020D-9BEF-E54E-B6DF-AFF01B789308}" type="parTrans" cxnId="{A51B13F8-2395-8741-A627-ECE26BEEA212}">
      <dgm:prSet/>
      <dgm:spPr/>
      <dgm:t>
        <a:bodyPr/>
        <a:lstStyle/>
        <a:p>
          <a:endParaRPr lang="es-ES" sz="4400" b="1"/>
        </a:p>
      </dgm:t>
    </dgm:pt>
    <dgm:pt modelId="{8A9DECCD-2722-3442-A55C-560175CC55E9}" type="sibTrans" cxnId="{A51B13F8-2395-8741-A627-ECE26BEEA212}">
      <dgm:prSet/>
      <dgm:spPr/>
      <dgm:t>
        <a:bodyPr/>
        <a:lstStyle/>
        <a:p>
          <a:endParaRPr lang="es-ES" sz="4400" b="1"/>
        </a:p>
      </dgm:t>
    </dgm:pt>
    <dgm:pt modelId="{5114A284-1FC5-F049-8C0E-8527E87D861E}">
      <dgm:prSet phldrT="[Texto]" custT="1"/>
      <dgm:spPr/>
      <dgm:t>
        <a:bodyPr/>
        <a:lstStyle/>
        <a:p>
          <a:r>
            <a:rPr lang="es-ES" sz="1800" b="1" dirty="0"/>
            <a:t>Seguimiento y </a:t>
          </a:r>
          <a:r>
            <a:rPr lang="es-ES" sz="1800" b="1" dirty="0" smtClean="0"/>
            <a:t>control</a:t>
          </a:r>
          <a:endParaRPr lang="es-ES" sz="1800" b="1" dirty="0"/>
        </a:p>
      </dgm:t>
    </dgm:pt>
    <dgm:pt modelId="{81DCB35A-2A89-A346-BDC5-148228364E3E}" type="parTrans" cxnId="{211871C2-6373-1A44-9A28-DF1A463FB2C9}">
      <dgm:prSet/>
      <dgm:spPr/>
      <dgm:t>
        <a:bodyPr/>
        <a:lstStyle/>
        <a:p>
          <a:endParaRPr lang="es-ES" sz="4400" b="1"/>
        </a:p>
      </dgm:t>
    </dgm:pt>
    <dgm:pt modelId="{269FBABF-DDEC-B34E-B86A-0ABAB57B669F}" type="sibTrans" cxnId="{211871C2-6373-1A44-9A28-DF1A463FB2C9}">
      <dgm:prSet/>
      <dgm:spPr/>
      <dgm:t>
        <a:bodyPr/>
        <a:lstStyle/>
        <a:p>
          <a:endParaRPr lang="es-ES" sz="4400" b="1"/>
        </a:p>
      </dgm:t>
    </dgm:pt>
    <dgm:pt modelId="{296C0E4C-56D5-344C-8B04-121F93F03CAA}">
      <dgm:prSet phldrT="[Texto]" custT="1"/>
      <dgm:spPr/>
      <dgm:t>
        <a:bodyPr/>
        <a:lstStyle/>
        <a:p>
          <a:r>
            <a:rPr lang="es-ES" sz="1800" b="1" dirty="0" smtClean="0"/>
            <a:t>Extensión</a:t>
          </a:r>
          <a:endParaRPr lang="es-ES" sz="1800" b="1" dirty="0"/>
        </a:p>
      </dgm:t>
    </dgm:pt>
    <dgm:pt modelId="{3E9B2593-80CC-5443-9AC4-93B64BB06BD3}" type="parTrans" cxnId="{6A409683-D40C-2E41-818A-6862A2BD1430}">
      <dgm:prSet/>
      <dgm:spPr/>
      <dgm:t>
        <a:bodyPr/>
        <a:lstStyle/>
        <a:p>
          <a:endParaRPr lang="es-ES" sz="4400" b="1"/>
        </a:p>
      </dgm:t>
    </dgm:pt>
    <dgm:pt modelId="{4B43582E-7BC6-A343-B6C0-AD6E07EBF1CE}" type="sibTrans" cxnId="{6A409683-D40C-2E41-818A-6862A2BD1430}">
      <dgm:prSet/>
      <dgm:spPr/>
      <dgm:t>
        <a:bodyPr/>
        <a:lstStyle/>
        <a:p>
          <a:endParaRPr lang="es-ES" sz="4400" b="1"/>
        </a:p>
      </dgm:t>
    </dgm:pt>
    <dgm:pt modelId="{D85DC2F1-267A-D041-ADDD-C8807C9A7EBE}" type="pres">
      <dgm:prSet presAssocID="{D32629D9-3A45-6C4B-BDC3-4A7714E69C2A}" presName="linear" presStyleCnt="0">
        <dgm:presLayoutVars>
          <dgm:dir/>
          <dgm:animLvl val="lvl"/>
          <dgm:resizeHandles val="exact"/>
        </dgm:presLayoutVars>
      </dgm:prSet>
      <dgm:spPr/>
      <dgm:t>
        <a:bodyPr/>
        <a:lstStyle/>
        <a:p>
          <a:endParaRPr lang="es-ES"/>
        </a:p>
      </dgm:t>
    </dgm:pt>
    <dgm:pt modelId="{2787655A-03D9-A745-9668-60ECD878806D}" type="pres">
      <dgm:prSet presAssocID="{43B672D8-F66F-9440-9946-EEF25D869154}" presName="parentLin" presStyleCnt="0"/>
      <dgm:spPr/>
    </dgm:pt>
    <dgm:pt modelId="{5D998193-D420-F048-99B0-6928C22E91C2}" type="pres">
      <dgm:prSet presAssocID="{43B672D8-F66F-9440-9946-EEF25D869154}" presName="parentLeftMargin" presStyleLbl="node1" presStyleIdx="0" presStyleCnt="5"/>
      <dgm:spPr/>
      <dgm:t>
        <a:bodyPr/>
        <a:lstStyle/>
        <a:p>
          <a:endParaRPr lang="es-ES"/>
        </a:p>
      </dgm:t>
    </dgm:pt>
    <dgm:pt modelId="{585615F5-E4F9-774F-98F3-D55A0129517F}" type="pres">
      <dgm:prSet presAssocID="{43B672D8-F66F-9440-9946-EEF25D869154}" presName="parentText" presStyleLbl="node1" presStyleIdx="0" presStyleCnt="5" custScaleX="142857">
        <dgm:presLayoutVars>
          <dgm:chMax val="0"/>
          <dgm:bulletEnabled val="1"/>
        </dgm:presLayoutVars>
      </dgm:prSet>
      <dgm:spPr/>
      <dgm:t>
        <a:bodyPr/>
        <a:lstStyle/>
        <a:p>
          <a:endParaRPr lang="es-ES"/>
        </a:p>
      </dgm:t>
    </dgm:pt>
    <dgm:pt modelId="{591D0DC0-EA87-D540-975D-D21DF4644416}" type="pres">
      <dgm:prSet presAssocID="{43B672D8-F66F-9440-9946-EEF25D869154}" presName="negativeSpace" presStyleCnt="0"/>
      <dgm:spPr/>
    </dgm:pt>
    <dgm:pt modelId="{F6FA8988-7090-034B-9E8D-A8F0FB10705E}" type="pres">
      <dgm:prSet presAssocID="{43B672D8-F66F-9440-9946-EEF25D869154}" presName="childText" presStyleLbl="conFgAcc1" presStyleIdx="0" presStyleCnt="5">
        <dgm:presLayoutVars>
          <dgm:bulletEnabled val="1"/>
        </dgm:presLayoutVars>
      </dgm:prSet>
      <dgm:spPr/>
    </dgm:pt>
    <dgm:pt modelId="{38B803F5-F9F0-C647-8531-E84B8290E16E}" type="pres">
      <dgm:prSet presAssocID="{D040F801-AC1D-3C46-A3B7-65FE12C82AE8}" presName="spaceBetweenRectangles" presStyleCnt="0"/>
      <dgm:spPr/>
    </dgm:pt>
    <dgm:pt modelId="{9FC168B5-158E-1A40-98A0-44C1036FDF71}" type="pres">
      <dgm:prSet presAssocID="{083E137F-CE50-AD46-9D42-DE3BEABA3FE3}" presName="parentLin" presStyleCnt="0"/>
      <dgm:spPr/>
    </dgm:pt>
    <dgm:pt modelId="{BE832EE0-7CEE-7340-95D0-ECDBC4D29F79}" type="pres">
      <dgm:prSet presAssocID="{083E137F-CE50-AD46-9D42-DE3BEABA3FE3}" presName="parentLeftMargin" presStyleLbl="node1" presStyleIdx="0" presStyleCnt="5"/>
      <dgm:spPr/>
      <dgm:t>
        <a:bodyPr/>
        <a:lstStyle/>
        <a:p>
          <a:endParaRPr lang="es-ES"/>
        </a:p>
      </dgm:t>
    </dgm:pt>
    <dgm:pt modelId="{BEF6E434-2D5C-7E40-AC4D-E62AF5F8EAEB}" type="pres">
      <dgm:prSet presAssocID="{083E137F-CE50-AD46-9D42-DE3BEABA3FE3}" presName="parentText" presStyleLbl="node1" presStyleIdx="1" presStyleCnt="5" custScaleX="142857">
        <dgm:presLayoutVars>
          <dgm:chMax val="0"/>
          <dgm:bulletEnabled val="1"/>
        </dgm:presLayoutVars>
      </dgm:prSet>
      <dgm:spPr/>
      <dgm:t>
        <a:bodyPr/>
        <a:lstStyle/>
        <a:p>
          <a:endParaRPr lang="es-ES"/>
        </a:p>
      </dgm:t>
    </dgm:pt>
    <dgm:pt modelId="{56C74A19-8861-7944-BE91-80F1FC2A561B}" type="pres">
      <dgm:prSet presAssocID="{083E137F-CE50-AD46-9D42-DE3BEABA3FE3}" presName="negativeSpace" presStyleCnt="0"/>
      <dgm:spPr/>
    </dgm:pt>
    <dgm:pt modelId="{CABF9ED3-7870-4C45-ABBA-CBC44AAF5AE0}" type="pres">
      <dgm:prSet presAssocID="{083E137F-CE50-AD46-9D42-DE3BEABA3FE3}" presName="childText" presStyleLbl="conFgAcc1" presStyleIdx="1" presStyleCnt="5">
        <dgm:presLayoutVars>
          <dgm:bulletEnabled val="1"/>
        </dgm:presLayoutVars>
      </dgm:prSet>
      <dgm:spPr/>
    </dgm:pt>
    <dgm:pt modelId="{F843B5C3-BE35-AD4F-80C6-E7ED5D9F7A35}" type="pres">
      <dgm:prSet presAssocID="{BB0EDC6E-E691-594C-9A6D-CB5DC3D13C16}" presName="spaceBetweenRectangles" presStyleCnt="0"/>
      <dgm:spPr/>
    </dgm:pt>
    <dgm:pt modelId="{6A5E8D3A-2C06-7241-9F37-E78B36DD8580}" type="pres">
      <dgm:prSet presAssocID="{A2FF4E22-6CD4-8B4D-A95E-4193FB1F3175}" presName="parentLin" presStyleCnt="0"/>
      <dgm:spPr/>
    </dgm:pt>
    <dgm:pt modelId="{4D9DBDCC-F498-6548-87A1-7EF692EC9BE1}" type="pres">
      <dgm:prSet presAssocID="{A2FF4E22-6CD4-8B4D-A95E-4193FB1F3175}" presName="parentLeftMargin" presStyleLbl="node1" presStyleIdx="1" presStyleCnt="5"/>
      <dgm:spPr/>
      <dgm:t>
        <a:bodyPr/>
        <a:lstStyle/>
        <a:p>
          <a:endParaRPr lang="es-ES"/>
        </a:p>
      </dgm:t>
    </dgm:pt>
    <dgm:pt modelId="{A91823CA-49A1-2044-8368-052340FD1935}" type="pres">
      <dgm:prSet presAssocID="{A2FF4E22-6CD4-8B4D-A95E-4193FB1F3175}" presName="parentText" presStyleLbl="node1" presStyleIdx="2" presStyleCnt="5" custScaleX="140001">
        <dgm:presLayoutVars>
          <dgm:chMax val="0"/>
          <dgm:bulletEnabled val="1"/>
        </dgm:presLayoutVars>
      </dgm:prSet>
      <dgm:spPr/>
      <dgm:t>
        <a:bodyPr/>
        <a:lstStyle/>
        <a:p>
          <a:endParaRPr lang="es-ES"/>
        </a:p>
      </dgm:t>
    </dgm:pt>
    <dgm:pt modelId="{A480682E-C324-864B-B299-526671DC6EFC}" type="pres">
      <dgm:prSet presAssocID="{A2FF4E22-6CD4-8B4D-A95E-4193FB1F3175}" presName="negativeSpace" presStyleCnt="0"/>
      <dgm:spPr/>
    </dgm:pt>
    <dgm:pt modelId="{7C2C6BB8-06B2-F545-B090-95D77578DF98}" type="pres">
      <dgm:prSet presAssocID="{A2FF4E22-6CD4-8B4D-A95E-4193FB1F3175}" presName="childText" presStyleLbl="conFgAcc1" presStyleIdx="2" presStyleCnt="5">
        <dgm:presLayoutVars>
          <dgm:bulletEnabled val="1"/>
        </dgm:presLayoutVars>
      </dgm:prSet>
      <dgm:spPr/>
    </dgm:pt>
    <dgm:pt modelId="{D68A7309-4016-2146-A758-7F80D1563834}" type="pres">
      <dgm:prSet presAssocID="{8A9DECCD-2722-3442-A55C-560175CC55E9}" presName="spaceBetweenRectangles" presStyleCnt="0"/>
      <dgm:spPr/>
    </dgm:pt>
    <dgm:pt modelId="{BD82E7E1-C3F0-D941-B4D4-102B475D67B5}" type="pres">
      <dgm:prSet presAssocID="{5114A284-1FC5-F049-8C0E-8527E87D861E}" presName="parentLin" presStyleCnt="0"/>
      <dgm:spPr/>
    </dgm:pt>
    <dgm:pt modelId="{9D58F0EB-9B07-A34B-896B-1A4E4E7EFCD4}" type="pres">
      <dgm:prSet presAssocID="{5114A284-1FC5-F049-8C0E-8527E87D861E}" presName="parentLeftMargin" presStyleLbl="node1" presStyleIdx="2" presStyleCnt="5"/>
      <dgm:spPr/>
      <dgm:t>
        <a:bodyPr/>
        <a:lstStyle/>
        <a:p>
          <a:endParaRPr lang="es-ES"/>
        </a:p>
      </dgm:t>
    </dgm:pt>
    <dgm:pt modelId="{2E5D28DC-4211-3544-8BF7-B935E7C18D56}" type="pres">
      <dgm:prSet presAssocID="{5114A284-1FC5-F049-8C0E-8527E87D861E}" presName="parentText" presStyleLbl="node1" presStyleIdx="3" presStyleCnt="5" custScaleX="139693">
        <dgm:presLayoutVars>
          <dgm:chMax val="0"/>
          <dgm:bulletEnabled val="1"/>
        </dgm:presLayoutVars>
      </dgm:prSet>
      <dgm:spPr/>
      <dgm:t>
        <a:bodyPr/>
        <a:lstStyle/>
        <a:p>
          <a:endParaRPr lang="es-ES"/>
        </a:p>
      </dgm:t>
    </dgm:pt>
    <dgm:pt modelId="{872753F2-BE0F-C343-BDBC-1CD6DB5E6DAE}" type="pres">
      <dgm:prSet presAssocID="{5114A284-1FC5-F049-8C0E-8527E87D861E}" presName="negativeSpace" presStyleCnt="0"/>
      <dgm:spPr/>
    </dgm:pt>
    <dgm:pt modelId="{B2D54C1D-2D17-8545-98FB-8A927B49F653}" type="pres">
      <dgm:prSet presAssocID="{5114A284-1FC5-F049-8C0E-8527E87D861E}" presName="childText" presStyleLbl="conFgAcc1" presStyleIdx="3" presStyleCnt="5">
        <dgm:presLayoutVars>
          <dgm:bulletEnabled val="1"/>
        </dgm:presLayoutVars>
      </dgm:prSet>
      <dgm:spPr/>
    </dgm:pt>
    <dgm:pt modelId="{804FA741-117C-0D4C-AE0D-058DFEFEE440}" type="pres">
      <dgm:prSet presAssocID="{269FBABF-DDEC-B34E-B86A-0ABAB57B669F}" presName="spaceBetweenRectangles" presStyleCnt="0"/>
      <dgm:spPr/>
    </dgm:pt>
    <dgm:pt modelId="{51B5C575-1483-F349-942E-43E67CD11FDF}" type="pres">
      <dgm:prSet presAssocID="{296C0E4C-56D5-344C-8B04-121F93F03CAA}" presName="parentLin" presStyleCnt="0"/>
      <dgm:spPr/>
    </dgm:pt>
    <dgm:pt modelId="{5CAEC984-AA28-2042-9F6B-019D22D2854E}" type="pres">
      <dgm:prSet presAssocID="{296C0E4C-56D5-344C-8B04-121F93F03CAA}" presName="parentLeftMargin" presStyleLbl="node1" presStyleIdx="3" presStyleCnt="5"/>
      <dgm:spPr/>
      <dgm:t>
        <a:bodyPr/>
        <a:lstStyle/>
        <a:p>
          <a:endParaRPr lang="es-ES"/>
        </a:p>
      </dgm:t>
    </dgm:pt>
    <dgm:pt modelId="{F355882F-F022-1D43-A407-34417F62259A}" type="pres">
      <dgm:prSet presAssocID="{296C0E4C-56D5-344C-8B04-121F93F03CAA}" presName="parentText" presStyleLbl="node1" presStyleIdx="4" presStyleCnt="5" custScaleX="141093">
        <dgm:presLayoutVars>
          <dgm:chMax val="0"/>
          <dgm:bulletEnabled val="1"/>
        </dgm:presLayoutVars>
      </dgm:prSet>
      <dgm:spPr/>
      <dgm:t>
        <a:bodyPr/>
        <a:lstStyle/>
        <a:p>
          <a:endParaRPr lang="es-ES"/>
        </a:p>
      </dgm:t>
    </dgm:pt>
    <dgm:pt modelId="{25F5F23E-1E8C-BF42-B5F9-3EEC0C132B66}" type="pres">
      <dgm:prSet presAssocID="{296C0E4C-56D5-344C-8B04-121F93F03CAA}" presName="negativeSpace" presStyleCnt="0"/>
      <dgm:spPr/>
    </dgm:pt>
    <dgm:pt modelId="{F6F1AE11-8D8C-5A47-8BEB-E011264C8E28}" type="pres">
      <dgm:prSet presAssocID="{296C0E4C-56D5-344C-8B04-121F93F03CAA}" presName="childText" presStyleLbl="conFgAcc1" presStyleIdx="4" presStyleCnt="5">
        <dgm:presLayoutVars>
          <dgm:bulletEnabled val="1"/>
        </dgm:presLayoutVars>
      </dgm:prSet>
      <dgm:spPr/>
    </dgm:pt>
  </dgm:ptLst>
  <dgm:cxnLst>
    <dgm:cxn modelId="{DB72619F-B7C7-FA41-B8C6-0FE2AC0DD12D}" type="presOf" srcId="{A2FF4E22-6CD4-8B4D-A95E-4193FB1F3175}" destId="{A91823CA-49A1-2044-8368-052340FD1935}" srcOrd="1" destOrd="0" presId="urn:microsoft.com/office/officeart/2005/8/layout/list1"/>
    <dgm:cxn modelId="{6B5604B3-266C-344D-B76C-9ED8CE9233E0}" type="presOf" srcId="{296C0E4C-56D5-344C-8B04-121F93F03CAA}" destId="{F355882F-F022-1D43-A407-34417F62259A}" srcOrd="1" destOrd="0" presId="urn:microsoft.com/office/officeart/2005/8/layout/list1"/>
    <dgm:cxn modelId="{5488295B-DF4D-8546-BAAD-CC25D16F0B88}" type="presOf" srcId="{43B672D8-F66F-9440-9946-EEF25D869154}" destId="{5D998193-D420-F048-99B0-6928C22E91C2}" srcOrd="0" destOrd="0" presId="urn:microsoft.com/office/officeart/2005/8/layout/list1"/>
    <dgm:cxn modelId="{87B97E82-6A78-A94A-B243-BA6371944D71}" type="presOf" srcId="{083E137F-CE50-AD46-9D42-DE3BEABA3FE3}" destId="{BE832EE0-7CEE-7340-95D0-ECDBC4D29F79}" srcOrd="0" destOrd="0" presId="urn:microsoft.com/office/officeart/2005/8/layout/list1"/>
    <dgm:cxn modelId="{6A409683-D40C-2E41-818A-6862A2BD1430}" srcId="{D32629D9-3A45-6C4B-BDC3-4A7714E69C2A}" destId="{296C0E4C-56D5-344C-8B04-121F93F03CAA}" srcOrd="4" destOrd="0" parTransId="{3E9B2593-80CC-5443-9AC4-93B64BB06BD3}" sibTransId="{4B43582E-7BC6-A343-B6C0-AD6E07EBF1CE}"/>
    <dgm:cxn modelId="{211871C2-6373-1A44-9A28-DF1A463FB2C9}" srcId="{D32629D9-3A45-6C4B-BDC3-4A7714E69C2A}" destId="{5114A284-1FC5-F049-8C0E-8527E87D861E}" srcOrd="3" destOrd="0" parTransId="{81DCB35A-2A89-A346-BDC5-148228364E3E}" sibTransId="{269FBABF-DDEC-B34E-B86A-0ABAB57B669F}"/>
    <dgm:cxn modelId="{41EAB65D-8CE7-7C49-B424-3F5F0B94C9F5}" type="presOf" srcId="{A2FF4E22-6CD4-8B4D-A95E-4193FB1F3175}" destId="{4D9DBDCC-F498-6548-87A1-7EF692EC9BE1}" srcOrd="0" destOrd="0" presId="urn:microsoft.com/office/officeart/2005/8/layout/list1"/>
    <dgm:cxn modelId="{AFDC240B-1DA0-F14A-BAE1-0E0009751A8C}" srcId="{D32629D9-3A45-6C4B-BDC3-4A7714E69C2A}" destId="{43B672D8-F66F-9440-9946-EEF25D869154}" srcOrd="0" destOrd="0" parTransId="{3ED2FCA6-7BA5-B945-A324-69A4A0100FF8}" sibTransId="{D040F801-AC1D-3C46-A3B7-65FE12C82AE8}"/>
    <dgm:cxn modelId="{E0F56FCB-1E10-BF4F-B1BD-5D41DF5BB4AD}" type="presOf" srcId="{5114A284-1FC5-F049-8C0E-8527E87D861E}" destId="{9D58F0EB-9B07-A34B-896B-1A4E4E7EFCD4}" srcOrd="0" destOrd="0" presId="urn:microsoft.com/office/officeart/2005/8/layout/list1"/>
    <dgm:cxn modelId="{90DC25A1-0FAB-B04D-BC2E-5E1AB4CA8C20}" type="presOf" srcId="{D32629D9-3A45-6C4B-BDC3-4A7714E69C2A}" destId="{D85DC2F1-267A-D041-ADDD-C8807C9A7EBE}" srcOrd="0" destOrd="0" presId="urn:microsoft.com/office/officeart/2005/8/layout/list1"/>
    <dgm:cxn modelId="{18E0F575-2405-2148-B4CE-0E240C342C98}" srcId="{D32629D9-3A45-6C4B-BDC3-4A7714E69C2A}" destId="{083E137F-CE50-AD46-9D42-DE3BEABA3FE3}" srcOrd="1" destOrd="0" parTransId="{D8BC51B8-85C6-314B-8F34-2F110E1ECFB9}" sibTransId="{BB0EDC6E-E691-594C-9A6D-CB5DC3D13C16}"/>
    <dgm:cxn modelId="{A51B13F8-2395-8741-A627-ECE26BEEA212}" srcId="{D32629D9-3A45-6C4B-BDC3-4A7714E69C2A}" destId="{A2FF4E22-6CD4-8B4D-A95E-4193FB1F3175}" srcOrd="2" destOrd="0" parTransId="{BFC5020D-9BEF-E54E-B6DF-AFF01B789308}" sibTransId="{8A9DECCD-2722-3442-A55C-560175CC55E9}"/>
    <dgm:cxn modelId="{FD8B68CB-2C32-3141-B329-72A2E283E828}" type="presOf" srcId="{296C0E4C-56D5-344C-8B04-121F93F03CAA}" destId="{5CAEC984-AA28-2042-9F6B-019D22D2854E}" srcOrd="0" destOrd="0" presId="urn:microsoft.com/office/officeart/2005/8/layout/list1"/>
    <dgm:cxn modelId="{F20574CB-883E-E542-8C33-05142A47E402}" type="presOf" srcId="{43B672D8-F66F-9440-9946-EEF25D869154}" destId="{585615F5-E4F9-774F-98F3-D55A0129517F}" srcOrd="1" destOrd="0" presId="urn:microsoft.com/office/officeart/2005/8/layout/list1"/>
    <dgm:cxn modelId="{746795CD-316F-0C49-9FAE-EC02364F9E48}" type="presOf" srcId="{5114A284-1FC5-F049-8C0E-8527E87D861E}" destId="{2E5D28DC-4211-3544-8BF7-B935E7C18D56}" srcOrd="1" destOrd="0" presId="urn:microsoft.com/office/officeart/2005/8/layout/list1"/>
    <dgm:cxn modelId="{5B7D6E91-3A2D-2648-A2A3-893D4DB53D36}" type="presOf" srcId="{083E137F-CE50-AD46-9D42-DE3BEABA3FE3}" destId="{BEF6E434-2D5C-7E40-AC4D-E62AF5F8EAEB}" srcOrd="1" destOrd="0" presId="urn:microsoft.com/office/officeart/2005/8/layout/list1"/>
    <dgm:cxn modelId="{8AF61037-2C6C-BF4E-9F97-66C14FDB49C2}" type="presParOf" srcId="{D85DC2F1-267A-D041-ADDD-C8807C9A7EBE}" destId="{2787655A-03D9-A745-9668-60ECD878806D}" srcOrd="0" destOrd="0" presId="urn:microsoft.com/office/officeart/2005/8/layout/list1"/>
    <dgm:cxn modelId="{3BA3C765-53E8-7B49-91D4-C02B3616A208}" type="presParOf" srcId="{2787655A-03D9-A745-9668-60ECD878806D}" destId="{5D998193-D420-F048-99B0-6928C22E91C2}" srcOrd="0" destOrd="0" presId="urn:microsoft.com/office/officeart/2005/8/layout/list1"/>
    <dgm:cxn modelId="{6B67D80F-547D-9C49-9A98-860B10B227E1}" type="presParOf" srcId="{2787655A-03D9-A745-9668-60ECD878806D}" destId="{585615F5-E4F9-774F-98F3-D55A0129517F}" srcOrd="1" destOrd="0" presId="urn:microsoft.com/office/officeart/2005/8/layout/list1"/>
    <dgm:cxn modelId="{5DA08802-71A0-EE4B-BDD8-941A103853D6}" type="presParOf" srcId="{D85DC2F1-267A-D041-ADDD-C8807C9A7EBE}" destId="{591D0DC0-EA87-D540-975D-D21DF4644416}" srcOrd="1" destOrd="0" presId="urn:microsoft.com/office/officeart/2005/8/layout/list1"/>
    <dgm:cxn modelId="{F0154478-A818-9F47-949D-CDE7C8CE3390}" type="presParOf" srcId="{D85DC2F1-267A-D041-ADDD-C8807C9A7EBE}" destId="{F6FA8988-7090-034B-9E8D-A8F0FB10705E}" srcOrd="2" destOrd="0" presId="urn:microsoft.com/office/officeart/2005/8/layout/list1"/>
    <dgm:cxn modelId="{DB0756FF-B163-5941-B15D-0EEB6046EDA8}" type="presParOf" srcId="{D85DC2F1-267A-D041-ADDD-C8807C9A7EBE}" destId="{38B803F5-F9F0-C647-8531-E84B8290E16E}" srcOrd="3" destOrd="0" presId="urn:microsoft.com/office/officeart/2005/8/layout/list1"/>
    <dgm:cxn modelId="{086BF237-1ED4-704B-9407-42D84C2CE2B3}" type="presParOf" srcId="{D85DC2F1-267A-D041-ADDD-C8807C9A7EBE}" destId="{9FC168B5-158E-1A40-98A0-44C1036FDF71}" srcOrd="4" destOrd="0" presId="urn:microsoft.com/office/officeart/2005/8/layout/list1"/>
    <dgm:cxn modelId="{B4C5EBE1-C338-8945-B319-2FDB06DF0371}" type="presParOf" srcId="{9FC168B5-158E-1A40-98A0-44C1036FDF71}" destId="{BE832EE0-7CEE-7340-95D0-ECDBC4D29F79}" srcOrd="0" destOrd="0" presId="urn:microsoft.com/office/officeart/2005/8/layout/list1"/>
    <dgm:cxn modelId="{195B455B-F302-3E4D-8637-5E614787AB74}" type="presParOf" srcId="{9FC168B5-158E-1A40-98A0-44C1036FDF71}" destId="{BEF6E434-2D5C-7E40-AC4D-E62AF5F8EAEB}" srcOrd="1" destOrd="0" presId="urn:microsoft.com/office/officeart/2005/8/layout/list1"/>
    <dgm:cxn modelId="{303042FE-C800-A944-B62F-EE895A8E0CDE}" type="presParOf" srcId="{D85DC2F1-267A-D041-ADDD-C8807C9A7EBE}" destId="{56C74A19-8861-7944-BE91-80F1FC2A561B}" srcOrd="5" destOrd="0" presId="urn:microsoft.com/office/officeart/2005/8/layout/list1"/>
    <dgm:cxn modelId="{5139B7E9-3FCB-0941-B8FF-7D0000DFC4FE}" type="presParOf" srcId="{D85DC2F1-267A-D041-ADDD-C8807C9A7EBE}" destId="{CABF9ED3-7870-4C45-ABBA-CBC44AAF5AE0}" srcOrd="6" destOrd="0" presId="urn:microsoft.com/office/officeart/2005/8/layout/list1"/>
    <dgm:cxn modelId="{9F4D88C5-4566-AE42-B21F-4EB54648A527}" type="presParOf" srcId="{D85DC2F1-267A-D041-ADDD-C8807C9A7EBE}" destId="{F843B5C3-BE35-AD4F-80C6-E7ED5D9F7A35}" srcOrd="7" destOrd="0" presId="urn:microsoft.com/office/officeart/2005/8/layout/list1"/>
    <dgm:cxn modelId="{AAEC69CE-43E5-3D48-9147-5B16867858E9}" type="presParOf" srcId="{D85DC2F1-267A-D041-ADDD-C8807C9A7EBE}" destId="{6A5E8D3A-2C06-7241-9F37-E78B36DD8580}" srcOrd="8" destOrd="0" presId="urn:microsoft.com/office/officeart/2005/8/layout/list1"/>
    <dgm:cxn modelId="{1E2C8615-C342-D34B-9DDC-B2B89929F9C8}" type="presParOf" srcId="{6A5E8D3A-2C06-7241-9F37-E78B36DD8580}" destId="{4D9DBDCC-F498-6548-87A1-7EF692EC9BE1}" srcOrd="0" destOrd="0" presId="urn:microsoft.com/office/officeart/2005/8/layout/list1"/>
    <dgm:cxn modelId="{E3D1086B-32D9-184B-AF51-A79AF4656592}" type="presParOf" srcId="{6A5E8D3A-2C06-7241-9F37-E78B36DD8580}" destId="{A91823CA-49A1-2044-8368-052340FD1935}" srcOrd="1" destOrd="0" presId="urn:microsoft.com/office/officeart/2005/8/layout/list1"/>
    <dgm:cxn modelId="{9CA3F1F2-C95B-304B-9356-38175004E97A}" type="presParOf" srcId="{D85DC2F1-267A-D041-ADDD-C8807C9A7EBE}" destId="{A480682E-C324-864B-B299-526671DC6EFC}" srcOrd="9" destOrd="0" presId="urn:microsoft.com/office/officeart/2005/8/layout/list1"/>
    <dgm:cxn modelId="{1A30B094-7242-2342-8D5A-75EC7FA7D0E2}" type="presParOf" srcId="{D85DC2F1-267A-D041-ADDD-C8807C9A7EBE}" destId="{7C2C6BB8-06B2-F545-B090-95D77578DF98}" srcOrd="10" destOrd="0" presId="urn:microsoft.com/office/officeart/2005/8/layout/list1"/>
    <dgm:cxn modelId="{D7068B21-E21F-E246-BCC6-79324E259A47}" type="presParOf" srcId="{D85DC2F1-267A-D041-ADDD-C8807C9A7EBE}" destId="{D68A7309-4016-2146-A758-7F80D1563834}" srcOrd="11" destOrd="0" presId="urn:microsoft.com/office/officeart/2005/8/layout/list1"/>
    <dgm:cxn modelId="{D186E481-3C24-A74C-843D-40BA151D79DD}" type="presParOf" srcId="{D85DC2F1-267A-D041-ADDD-C8807C9A7EBE}" destId="{BD82E7E1-C3F0-D941-B4D4-102B475D67B5}" srcOrd="12" destOrd="0" presId="urn:microsoft.com/office/officeart/2005/8/layout/list1"/>
    <dgm:cxn modelId="{9968ECBC-76F7-4D45-9E20-43DA84CB10C5}" type="presParOf" srcId="{BD82E7E1-C3F0-D941-B4D4-102B475D67B5}" destId="{9D58F0EB-9B07-A34B-896B-1A4E4E7EFCD4}" srcOrd="0" destOrd="0" presId="urn:microsoft.com/office/officeart/2005/8/layout/list1"/>
    <dgm:cxn modelId="{1618E63F-3E26-AE48-9B80-89270AD00580}" type="presParOf" srcId="{BD82E7E1-C3F0-D941-B4D4-102B475D67B5}" destId="{2E5D28DC-4211-3544-8BF7-B935E7C18D56}" srcOrd="1" destOrd="0" presId="urn:microsoft.com/office/officeart/2005/8/layout/list1"/>
    <dgm:cxn modelId="{2C3E2388-E0CB-0440-B813-C52F95B2FE05}" type="presParOf" srcId="{D85DC2F1-267A-D041-ADDD-C8807C9A7EBE}" destId="{872753F2-BE0F-C343-BDBC-1CD6DB5E6DAE}" srcOrd="13" destOrd="0" presId="urn:microsoft.com/office/officeart/2005/8/layout/list1"/>
    <dgm:cxn modelId="{045D1826-F77D-3E47-B806-FC818E7CB2A9}" type="presParOf" srcId="{D85DC2F1-267A-D041-ADDD-C8807C9A7EBE}" destId="{B2D54C1D-2D17-8545-98FB-8A927B49F653}" srcOrd="14" destOrd="0" presId="urn:microsoft.com/office/officeart/2005/8/layout/list1"/>
    <dgm:cxn modelId="{2898AD50-415B-6845-8258-28A51F588993}" type="presParOf" srcId="{D85DC2F1-267A-D041-ADDD-C8807C9A7EBE}" destId="{804FA741-117C-0D4C-AE0D-058DFEFEE440}" srcOrd="15" destOrd="0" presId="urn:microsoft.com/office/officeart/2005/8/layout/list1"/>
    <dgm:cxn modelId="{C344CF05-616F-4F4B-BFC3-AC92794A8DCD}" type="presParOf" srcId="{D85DC2F1-267A-D041-ADDD-C8807C9A7EBE}" destId="{51B5C575-1483-F349-942E-43E67CD11FDF}" srcOrd="16" destOrd="0" presId="urn:microsoft.com/office/officeart/2005/8/layout/list1"/>
    <dgm:cxn modelId="{DCB50003-2C2F-E447-BA30-BAD3DF1FDCE3}" type="presParOf" srcId="{51B5C575-1483-F349-942E-43E67CD11FDF}" destId="{5CAEC984-AA28-2042-9F6B-019D22D2854E}" srcOrd="0" destOrd="0" presId="urn:microsoft.com/office/officeart/2005/8/layout/list1"/>
    <dgm:cxn modelId="{23403368-C3EE-CB46-9216-F80F4062224C}" type="presParOf" srcId="{51B5C575-1483-F349-942E-43E67CD11FDF}" destId="{F355882F-F022-1D43-A407-34417F62259A}" srcOrd="1" destOrd="0" presId="urn:microsoft.com/office/officeart/2005/8/layout/list1"/>
    <dgm:cxn modelId="{642B5520-D685-F540-A7DB-5F625FF3D4AB}" type="presParOf" srcId="{D85DC2F1-267A-D041-ADDD-C8807C9A7EBE}" destId="{25F5F23E-1E8C-BF42-B5F9-3EEC0C132B66}" srcOrd="17" destOrd="0" presId="urn:microsoft.com/office/officeart/2005/8/layout/list1"/>
    <dgm:cxn modelId="{6C24AD29-B5FD-9741-8E98-1FC3D21E6C85}" type="presParOf" srcId="{D85DC2F1-267A-D041-ADDD-C8807C9A7EBE}" destId="{F6F1AE11-8D8C-5A47-8BEB-E011264C8E28}" srcOrd="18"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D654378-C8B3-474D-9D9B-A5555E2260EC}" type="doc">
      <dgm:prSet loTypeId="urn:microsoft.com/office/officeart/2005/8/layout/cycle8" loCatId="" qsTypeId="urn:microsoft.com/office/officeart/2005/8/quickstyle/3d6" qsCatId="3D" csTypeId="urn:microsoft.com/office/officeart/2005/8/colors/accent2_1" csCatId="accent2" phldr="1"/>
      <dgm:spPr/>
      <dgm:t>
        <a:bodyPr/>
        <a:lstStyle/>
        <a:p>
          <a:endParaRPr lang="es-ES"/>
        </a:p>
      </dgm:t>
    </dgm:pt>
    <dgm:pt modelId="{9B07D6FD-AD32-414E-80F6-222B965CB0C2}">
      <dgm:prSet phldrT="[Texto]"/>
      <dgm:spPr/>
      <dgm:t>
        <a:bodyPr/>
        <a:lstStyle/>
        <a:p>
          <a:r>
            <a:rPr lang="es-ES" dirty="0"/>
            <a:t>Experimentar y tomar de decisiones</a:t>
          </a:r>
        </a:p>
      </dgm:t>
    </dgm:pt>
    <dgm:pt modelId="{AA3D24E2-C79D-9C40-A26D-6ABD1FC9E58E}" type="parTrans" cxnId="{E8F7C075-127F-2643-8870-4882C3288D6F}">
      <dgm:prSet/>
      <dgm:spPr/>
      <dgm:t>
        <a:bodyPr/>
        <a:lstStyle/>
        <a:p>
          <a:endParaRPr lang="es-ES"/>
        </a:p>
      </dgm:t>
    </dgm:pt>
    <dgm:pt modelId="{A6C83A12-5766-2140-8F01-E717CE6B42D2}" type="sibTrans" cxnId="{E8F7C075-127F-2643-8870-4882C3288D6F}">
      <dgm:prSet/>
      <dgm:spPr/>
      <dgm:t>
        <a:bodyPr/>
        <a:lstStyle/>
        <a:p>
          <a:endParaRPr lang="es-ES"/>
        </a:p>
      </dgm:t>
    </dgm:pt>
    <dgm:pt modelId="{ACFD1A73-6B24-3B40-BA9A-19D1EB501DDB}">
      <dgm:prSet phldrT="[Texto]"/>
      <dgm:spPr/>
      <dgm:t>
        <a:bodyPr/>
        <a:lstStyle/>
        <a:p>
          <a:r>
            <a:rPr lang="es-ES" dirty="0"/>
            <a:t>Aprovechar todos los recursos</a:t>
          </a:r>
        </a:p>
      </dgm:t>
    </dgm:pt>
    <dgm:pt modelId="{4350D08D-5E52-4047-8674-84CD81E46BD7}" type="parTrans" cxnId="{6BDF9208-8E2A-5747-A40B-E5712299C91F}">
      <dgm:prSet/>
      <dgm:spPr/>
      <dgm:t>
        <a:bodyPr/>
        <a:lstStyle/>
        <a:p>
          <a:endParaRPr lang="es-ES"/>
        </a:p>
      </dgm:t>
    </dgm:pt>
    <dgm:pt modelId="{4C9E280B-B8F5-2847-9C86-C688D13BB6BE}" type="sibTrans" cxnId="{6BDF9208-8E2A-5747-A40B-E5712299C91F}">
      <dgm:prSet/>
      <dgm:spPr/>
      <dgm:t>
        <a:bodyPr/>
        <a:lstStyle/>
        <a:p>
          <a:endParaRPr lang="es-ES"/>
        </a:p>
      </dgm:t>
    </dgm:pt>
    <dgm:pt modelId="{EF9DA5E0-31D4-D643-9582-39E82EE9E56D}">
      <dgm:prSet phldrT="[Texto]"/>
      <dgm:spPr/>
      <dgm:t>
        <a:bodyPr/>
        <a:lstStyle/>
        <a:p>
          <a:r>
            <a:rPr lang="es-ES" dirty="0"/>
            <a:t>Crear redes de colaboración</a:t>
          </a:r>
        </a:p>
      </dgm:t>
    </dgm:pt>
    <dgm:pt modelId="{1D91512B-FB43-B747-BFD6-5D16BB4C7180}" type="parTrans" cxnId="{068E6FB0-30DD-E447-BDAD-1B58139F2439}">
      <dgm:prSet/>
      <dgm:spPr/>
      <dgm:t>
        <a:bodyPr/>
        <a:lstStyle/>
        <a:p>
          <a:endParaRPr lang="es-ES"/>
        </a:p>
      </dgm:t>
    </dgm:pt>
    <dgm:pt modelId="{0673B3C2-EE0F-2349-AE7E-4DCB832B2F0A}" type="sibTrans" cxnId="{068E6FB0-30DD-E447-BDAD-1B58139F2439}">
      <dgm:prSet/>
      <dgm:spPr/>
      <dgm:t>
        <a:bodyPr/>
        <a:lstStyle/>
        <a:p>
          <a:endParaRPr lang="es-ES"/>
        </a:p>
      </dgm:t>
    </dgm:pt>
    <dgm:pt modelId="{C0ECC04D-DD7C-5943-9FDF-D04F26DE237F}">
      <dgm:prSet phldrT="[Texto]"/>
      <dgm:spPr/>
      <dgm:t>
        <a:bodyPr/>
        <a:lstStyle/>
        <a:p>
          <a:r>
            <a:rPr lang="es-ES" dirty="0"/>
            <a:t>Utilizar la información</a:t>
          </a:r>
        </a:p>
      </dgm:t>
    </dgm:pt>
    <dgm:pt modelId="{390309A1-6961-B94B-A051-E984D2A71E3B}" type="parTrans" cxnId="{56051F84-5AD4-7845-B268-8B03F624449A}">
      <dgm:prSet/>
      <dgm:spPr/>
      <dgm:t>
        <a:bodyPr/>
        <a:lstStyle/>
        <a:p>
          <a:endParaRPr lang="es-ES"/>
        </a:p>
      </dgm:t>
    </dgm:pt>
    <dgm:pt modelId="{AB0ACC69-D756-8540-8663-B351F17CB806}" type="sibTrans" cxnId="{56051F84-5AD4-7845-B268-8B03F624449A}">
      <dgm:prSet/>
      <dgm:spPr/>
      <dgm:t>
        <a:bodyPr/>
        <a:lstStyle/>
        <a:p>
          <a:endParaRPr lang="es-ES"/>
        </a:p>
      </dgm:t>
    </dgm:pt>
    <dgm:pt modelId="{0EDBCB9F-673B-C443-9CF5-97204B91330E}">
      <dgm:prSet phldrT="[Texto]"/>
      <dgm:spPr/>
      <dgm:t>
        <a:bodyPr/>
        <a:lstStyle/>
        <a:p>
          <a:r>
            <a:rPr lang="es-ES" dirty="0"/>
            <a:t>Intensificar el conocimiento</a:t>
          </a:r>
        </a:p>
      </dgm:t>
    </dgm:pt>
    <dgm:pt modelId="{EB884D4F-B094-AF44-9B69-2AEB74090FFB}" type="parTrans" cxnId="{3AB608A4-0A96-C045-89DF-C1BE3A60A0A7}">
      <dgm:prSet/>
      <dgm:spPr/>
      <dgm:t>
        <a:bodyPr/>
        <a:lstStyle/>
        <a:p>
          <a:endParaRPr lang="es-ES"/>
        </a:p>
      </dgm:t>
    </dgm:pt>
    <dgm:pt modelId="{BA1F6302-3351-214A-9020-701D2D1A5611}" type="sibTrans" cxnId="{3AB608A4-0A96-C045-89DF-C1BE3A60A0A7}">
      <dgm:prSet/>
      <dgm:spPr/>
      <dgm:t>
        <a:bodyPr/>
        <a:lstStyle/>
        <a:p>
          <a:endParaRPr lang="es-ES"/>
        </a:p>
      </dgm:t>
    </dgm:pt>
    <dgm:pt modelId="{2BDB9B42-3BD7-DC4D-8C6F-DEFC4804BF66}" type="pres">
      <dgm:prSet presAssocID="{3D654378-C8B3-474D-9D9B-A5555E2260EC}" presName="compositeShape" presStyleCnt="0">
        <dgm:presLayoutVars>
          <dgm:chMax val="7"/>
          <dgm:dir/>
          <dgm:resizeHandles val="exact"/>
        </dgm:presLayoutVars>
      </dgm:prSet>
      <dgm:spPr/>
      <dgm:t>
        <a:bodyPr/>
        <a:lstStyle/>
        <a:p>
          <a:endParaRPr lang="es-ES"/>
        </a:p>
      </dgm:t>
    </dgm:pt>
    <dgm:pt modelId="{E76645D8-140A-D543-8DA5-E19970915E32}" type="pres">
      <dgm:prSet presAssocID="{3D654378-C8B3-474D-9D9B-A5555E2260EC}" presName="wedge1" presStyleLbl="node1" presStyleIdx="0" presStyleCnt="5"/>
      <dgm:spPr/>
      <dgm:t>
        <a:bodyPr/>
        <a:lstStyle/>
        <a:p>
          <a:endParaRPr lang="es-ES"/>
        </a:p>
      </dgm:t>
    </dgm:pt>
    <dgm:pt modelId="{298D9851-3F7B-7247-AF1A-8BC8CAEFD9FD}" type="pres">
      <dgm:prSet presAssocID="{3D654378-C8B3-474D-9D9B-A5555E2260EC}" presName="dummy1a" presStyleCnt="0"/>
      <dgm:spPr/>
    </dgm:pt>
    <dgm:pt modelId="{E0987D18-E4DB-1A4D-A008-D2D110DC5B50}" type="pres">
      <dgm:prSet presAssocID="{3D654378-C8B3-474D-9D9B-A5555E2260EC}" presName="dummy1b" presStyleCnt="0"/>
      <dgm:spPr/>
    </dgm:pt>
    <dgm:pt modelId="{74EA6C96-2947-0042-AC8B-38FAF026E27A}" type="pres">
      <dgm:prSet presAssocID="{3D654378-C8B3-474D-9D9B-A5555E2260EC}" presName="wedge1Tx" presStyleLbl="node1" presStyleIdx="0" presStyleCnt="5">
        <dgm:presLayoutVars>
          <dgm:chMax val="0"/>
          <dgm:chPref val="0"/>
          <dgm:bulletEnabled val="1"/>
        </dgm:presLayoutVars>
      </dgm:prSet>
      <dgm:spPr/>
      <dgm:t>
        <a:bodyPr/>
        <a:lstStyle/>
        <a:p>
          <a:endParaRPr lang="es-ES"/>
        </a:p>
      </dgm:t>
    </dgm:pt>
    <dgm:pt modelId="{3B0F65BD-B750-CF4E-B504-A1DF7521565E}" type="pres">
      <dgm:prSet presAssocID="{3D654378-C8B3-474D-9D9B-A5555E2260EC}" presName="wedge2" presStyleLbl="node1" presStyleIdx="1" presStyleCnt="5"/>
      <dgm:spPr/>
      <dgm:t>
        <a:bodyPr/>
        <a:lstStyle/>
        <a:p>
          <a:endParaRPr lang="es-ES"/>
        </a:p>
      </dgm:t>
    </dgm:pt>
    <dgm:pt modelId="{215BEB10-744B-C349-BCAC-EDB1E3C533D2}" type="pres">
      <dgm:prSet presAssocID="{3D654378-C8B3-474D-9D9B-A5555E2260EC}" presName="dummy2a" presStyleCnt="0"/>
      <dgm:spPr/>
    </dgm:pt>
    <dgm:pt modelId="{CF7A1132-5B52-C24E-B784-75B60F758F48}" type="pres">
      <dgm:prSet presAssocID="{3D654378-C8B3-474D-9D9B-A5555E2260EC}" presName="dummy2b" presStyleCnt="0"/>
      <dgm:spPr/>
    </dgm:pt>
    <dgm:pt modelId="{B2C21201-9EE5-2541-9559-D8D00DC7FC4E}" type="pres">
      <dgm:prSet presAssocID="{3D654378-C8B3-474D-9D9B-A5555E2260EC}" presName="wedge2Tx" presStyleLbl="node1" presStyleIdx="1" presStyleCnt="5">
        <dgm:presLayoutVars>
          <dgm:chMax val="0"/>
          <dgm:chPref val="0"/>
          <dgm:bulletEnabled val="1"/>
        </dgm:presLayoutVars>
      </dgm:prSet>
      <dgm:spPr/>
      <dgm:t>
        <a:bodyPr/>
        <a:lstStyle/>
        <a:p>
          <a:endParaRPr lang="es-ES"/>
        </a:p>
      </dgm:t>
    </dgm:pt>
    <dgm:pt modelId="{4C33206B-C356-BA45-B0D4-BD0BD471772E}" type="pres">
      <dgm:prSet presAssocID="{3D654378-C8B3-474D-9D9B-A5555E2260EC}" presName="wedge3" presStyleLbl="node1" presStyleIdx="2" presStyleCnt="5"/>
      <dgm:spPr/>
      <dgm:t>
        <a:bodyPr/>
        <a:lstStyle/>
        <a:p>
          <a:endParaRPr lang="es-ES"/>
        </a:p>
      </dgm:t>
    </dgm:pt>
    <dgm:pt modelId="{0666F715-E22B-FA43-8B76-563742B1F351}" type="pres">
      <dgm:prSet presAssocID="{3D654378-C8B3-474D-9D9B-A5555E2260EC}" presName="dummy3a" presStyleCnt="0"/>
      <dgm:spPr/>
    </dgm:pt>
    <dgm:pt modelId="{F552AF75-708B-5A4E-B9D0-323386564878}" type="pres">
      <dgm:prSet presAssocID="{3D654378-C8B3-474D-9D9B-A5555E2260EC}" presName="dummy3b" presStyleCnt="0"/>
      <dgm:spPr/>
    </dgm:pt>
    <dgm:pt modelId="{95249ABB-28BD-174E-8951-610C354FF682}" type="pres">
      <dgm:prSet presAssocID="{3D654378-C8B3-474D-9D9B-A5555E2260EC}" presName="wedge3Tx" presStyleLbl="node1" presStyleIdx="2" presStyleCnt="5">
        <dgm:presLayoutVars>
          <dgm:chMax val="0"/>
          <dgm:chPref val="0"/>
          <dgm:bulletEnabled val="1"/>
        </dgm:presLayoutVars>
      </dgm:prSet>
      <dgm:spPr/>
      <dgm:t>
        <a:bodyPr/>
        <a:lstStyle/>
        <a:p>
          <a:endParaRPr lang="es-ES"/>
        </a:p>
      </dgm:t>
    </dgm:pt>
    <dgm:pt modelId="{41FAD886-75FA-B948-99E7-A1ABBE6D3895}" type="pres">
      <dgm:prSet presAssocID="{3D654378-C8B3-474D-9D9B-A5555E2260EC}" presName="wedge4" presStyleLbl="node1" presStyleIdx="3" presStyleCnt="5"/>
      <dgm:spPr/>
      <dgm:t>
        <a:bodyPr/>
        <a:lstStyle/>
        <a:p>
          <a:endParaRPr lang="es-ES"/>
        </a:p>
      </dgm:t>
    </dgm:pt>
    <dgm:pt modelId="{40941778-FADF-8B46-9EBA-C52FCA33E955}" type="pres">
      <dgm:prSet presAssocID="{3D654378-C8B3-474D-9D9B-A5555E2260EC}" presName="dummy4a" presStyleCnt="0"/>
      <dgm:spPr/>
    </dgm:pt>
    <dgm:pt modelId="{12DB1D64-21E1-EA4F-8B89-A7B5EE2D277E}" type="pres">
      <dgm:prSet presAssocID="{3D654378-C8B3-474D-9D9B-A5555E2260EC}" presName="dummy4b" presStyleCnt="0"/>
      <dgm:spPr/>
    </dgm:pt>
    <dgm:pt modelId="{A8C6774B-99BE-A948-BF09-6575F246B0CD}" type="pres">
      <dgm:prSet presAssocID="{3D654378-C8B3-474D-9D9B-A5555E2260EC}" presName="wedge4Tx" presStyleLbl="node1" presStyleIdx="3" presStyleCnt="5">
        <dgm:presLayoutVars>
          <dgm:chMax val="0"/>
          <dgm:chPref val="0"/>
          <dgm:bulletEnabled val="1"/>
        </dgm:presLayoutVars>
      </dgm:prSet>
      <dgm:spPr/>
      <dgm:t>
        <a:bodyPr/>
        <a:lstStyle/>
        <a:p>
          <a:endParaRPr lang="es-ES"/>
        </a:p>
      </dgm:t>
    </dgm:pt>
    <dgm:pt modelId="{31A1D72E-E655-EF48-A748-CDC9F334ED1B}" type="pres">
      <dgm:prSet presAssocID="{3D654378-C8B3-474D-9D9B-A5555E2260EC}" presName="wedge5" presStyleLbl="node1" presStyleIdx="4" presStyleCnt="5"/>
      <dgm:spPr/>
      <dgm:t>
        <a:bodyPr/>
        <a:lstStyle/>
        <a:p>
          <a:endParaRPr lang="es-ES"/>
        </a:p>
      </dgm:t>
    </dgm:pt>
    <dgm:pt modelId="{F55E35C9-A266-2C42-B3B3-22C3EF8CA713}" type="pres">
      <dgm:prSet presAssocID="{3D654378-C8B3-474D-9D9B-A5555E2260EC}" presName="dummy5a" presStyleCnt="0"/>
      <dgm:spPr/>
    </dgm:pt>
    <dgm:pt modelId="{28B7EB12-0953-4849-9AE6-0902943A2C80}" type="pres">
      <dgm:prSet presAssocID="{3D654378-C8B3-474D-9D9B-A5555E2260EC}" presName="dummy5b" presStyleCnt="0"/>
      <dgm:spPr/>
    </dgm:pt>
    <dgm:pt modelId="{A26A4122-DAE3-8949-846B-1FC25DA771D5}" type="pres">
      <dgm:prSet presAssocID="{3D654378-C8B3-474D-9D9B-A5555E2260EC}" presName="wedge5Tx" presStyleLbl="node1" presStyleIdx="4" presStyleCnt="5">
        <dgm:presLayoutVars>
          <dgm:chMax val="0"/>
          <dgm:chPref val="0"/>
          <dgm:bulletEnabled val="1"/>
        </dgm:presLayoutVars>
      </dgm:prSet>
      <dgm:spPr/>
      <dgm:t>
        <a:bodyPr/>
        <a:lstStyle/>
        <a:p>
          <a:endParaRPr lang="es-ES"/>
        </a:p>
      </dgm:t>
    </dgm:pt>
    <dgm:pt modelId="{2AC0A6E9-58FD-9D4C-97A8-83DA21957DEA}" type="pres">
      <dgm:prSet presAssocID="{A6C83A12-5766-2140-8F01-E717CE6B42D2}" presName="arrowWedge1" presStyleLbl="fgSibTrans2D1" presStyleIdx="0" presStyleCnt="5"/>
      <dgm:spPr>
        <a:solidFill>
          <a:schemeClr val="tx2">
            <a:lumMod val="60000"/>
            <a:lumOff val="40000"/>
          </a:schemeClr>
        </a:solidFill>
      </dgm:spPr>
    </dgm:pt>
    <dgm:pt modelId="{5946055B-642B-7543-B9B7-2844F77AEA0F}" type="pres">
      <dgm:prSet presAssocID="{4C9E280B-B8F5-2847-9C86-C688D13BB6BE}" presName="arrowWedge2" presStyleLbl="fgSibTrans2D1" presStyleIdx="1" presStyleCnt="5"/>
      <dgm:spPr>
        <a:solidFill>
          <a:srgbClr val="FFC000"/>
        </a:solidFill>
      </dgm:spPr>
    </dgm:pt>
    <dgm:pt modelId="{33A1FCC5-9DA0-1546-8A5D-699070277C34}" type="pres">
      <dgm:prSet presAssocID="{0673B3C2-EE0F-2349-AE7E-4DCB832B2F0A}" presName="arrowWedge3" presStyleLbl="fgSibTrans2D1" presStyleIdx="2" presStyleCnt="5"/>
      <dgm:spPr>
        <a:solidFill>
          <a:srgbClr val="92D050"/>
        </a:solidFill>
      </dgm:spPr>
    </dgm:pt>
    <dgm:pt modelId="{C452FE2E-FB5F-584E-8401-BD25EE792071}" type="pres">
      <dgm:prSet presAssocID="{AB0ACC69-D756-8540-8663-B351F17CB806}" presName="arrowWedge4" presStyleLbl="fgSibTrans2D1" presStyleIdx="3" presStyleCnt="5"/>
      <dgm:spPr>
        <a:solidFill>
          <a:srgbClr val="FFFF00"/>
        </a:solidFill>
      </dgm:spPr>
    </dgm:pt>
    <dgm:pt modelId="{323C426D-CAB2-B447-B5D5-3FD31DD70F57}" type="pres">
      <dgm:prSet presAssocID="{BA1F6302-3351-214A-9020-701D2D1A5611}" presName="arrowWedge5" presStyleLbl="fgSibTrans2D1" presStyleIdx="4" presStyleCnt="5"/>
      <dgm:spPr>
        <a:solidFill>
          <a:srgbClr val="FF0000"/>
        </a:solidFill>
      </dgm:spPr>
    </dgm:pt>
  </dgm:ptLst>
  <dgm:cxnLst>
    <dgm:cxn modelId="{64C07BC0-39CF-3142-92C8-891E6D05AD65}" type="presOf" srcId="{9B07D6FD-AD32-414E-80F6-222B965CB0C2}" destId="{E76645D8-140A-D543-8DA5-E19970915E32}" srcOrd="0" destOrd="0" presId="urn:microsoft.com/office/officeart/2005/8/layout/cycle8"/>
    <dgm:cxn modelId="{068E6FB0-30DD-E447-BDAD-1B58139F2439}" srcId="{3D654378-C8B3-474D-9D9B-A5555E2260EC}" destId="{EF9DA5E0-31D4-D643-9582-39E82EE9E56D}" srcOrd="2" destOrd="0" parTransId="{1D91512B-FB43-B747-BFD6-5D16BB4C7180}" sibTransId="{0673B3C2-EE0F-2349-AE7E-4DCB832B2F0A}"/>
    <dgm:cxn modelId="{A4C6E955-8D42-3D45-BEE2-4B99A784CD38}" type="presOf" srcId="{ACFD1A73-6B24-3B40-BA9A-19D1EB501DDB}" destId="{B2C21201-9EE5-2541-9559-D8D00DC7FC4E}" srcOrd="1" destOrd="0" presId="urn:microsoft.com/office/officeart/2005/8/layout/cycle8"/>
    <dgm:cxn modelId="{FFF0A856-75D4-9A43-937F-316ABD5B7EDD}" type="presOf" srcId="{EF9DA5E0-31D4-D643-9582-39E82EE9E56D}" destId="{95249ABB-28BD-174E-8951-610C354FF682}" srcOrd="1" destOrd="0" presId="urn:microsoft.com/office/officeart/2005/8/layout/cycle8"/>
    <dgm:cxn modelId="{56051F84-5AD4-7845-B268-8B03F624449A}" srcId="{3D654378-C8B3-474D-9D9B-A5555E2260EC}" destId="{C0ECC04D-DD7C-5943-9FDF-D04F26DE237F}" srcOrd="3" destOrd="0" parTransId="{390309A1-6961-B94B-A051-E984D2A71E3B}" sibTransId="{AB0ACC69-D756-8540-8663-B351F17CB806}"/>
    <dgm:cxn modelId="{6BDF9208-8E2A-5747-A40B-E5712299C91F}" srcId="{3D654378-C8B3-474D-9D9B-A5555E2260EC}" destId="{ACFD1A73-6B24-3B40-BA9A-19D1EB501DDB}" srcOrd="1" destOrd="0" parTransId="{4350D08D-5E52-4047-8674-84CD81E46BD7}" sibTransId="{4C9E280B-B8F5-2847-9C86-C688D13BB6BE}"/>
    <dgm:cxn modelId="{4F93B9D1-4247-4844-BC70-96C6470E7260}" type="presOf" srcId="{0EDBCB9F-673B-C443-9CF5-97204B91330E}" destId="{31A1D72E-E655-EF48-A748-CDC9F334ED1B}" srcOrd="0" destOrd="0" presId="urn:microsoft.com/office/officeart/2005/8/layout/cycle8"/>
    <dgm:cxn modelId="{AE91C5F1-BB02-364C-8BF9-9CDCA1EAC34D}" type="presOf" srcId="{ACFD1A73-6B24-3B40-BA9A-19D1EB501DDB}" destId="{3B0F65BD-B750-CF4E-B504-A1DF7521565E}" srcOrd="0" destOrd="0" presId="urn:microsoft.com/office/officeart/2005/8/layout/cycle8"/>
    <dgm:cxn modelId="{3AB608A4-0A96-C045-89DF-C1BE3A60A0A7}" srcId="{3D654378-C8B3-474D-9D9B-A5555E2260EC}" destId="{0EDBCB9F-673B-C443-9CF5-97204B91330E}" srcOrd="4" destOrd="0" parTransId="{EB884D4F-B094-AF44-9B69-2AEB74090FFB}" sibTransId="{BA1F6302-3351-214A-9020-701D2D1A5611}"/>
    <dgm:cxn modelId="{7C44A658-C0BC-344F-B82B-A52FCFC12276}" type="presOf" srcId="{EF9DA5E0-31D4-D643-9582-39E82EE9E56D}" destId="{4C33206B-C356-BA45-B0D4-BD0BD471772E}" srcOrd="0" destOrd="0" presId="urn:microsoft.com/office/officeart/2005/8/layout/cycle8"/>
    <dgm:cxn modelId="{E8F7C075-127F-2643-8870-4882C3288D6F}" srcId="{3D654378-C8B3-474D-9D9B-A5555E2260EC}" destId="{9B07D6FD-AD32-414E-80F6-222B965CB0C2}" srcOrd="0" destOrd="0" parTransId="{AA3D24E2-C79D-9C40-A26D-6ABD1FC9E58E}" sibTransId="{A6C83A12-5766-2140-8F01-E717CE6B42D2}"/>
    <dgm:cxn modelId="{5879B054-A3F5-BC40-9C25-72DC7F40D6A6}" type="presOf" srcId="{0EDBCB9F-673B-C443-9CF5-97204B91330E}" destId="{A26A4122-DAE3-8949-846B-1FC25DA771D5}" srcOrd="1" destOrd="0" presId="urn:microsoft.com/office/officeart/2005/8/layout/cycle8"/>
    <dgm:cxn modelId="{4B3382AF-D26C-F54C-948B-A663B5C35097}" type="presOf" srcId="{3D654378-C8B3-474D-9D9B-A5555E2260EC}" destId="{2BDB9B42-3BD7-DC4D-8C6F-DEFC4804BF66}" srcOrd="0" destOrd="0" presId="urn:microsoft.com/office/officeart/2005/8/layout/cycle8"/>
    <dgm:cxn modelId="{A889A808-2CC5-4A43-B186-30538433BFA0}" type="presOf" srcId="{C0ECC04D-DD7C-5943-9FDF-D04F26DE237F}" destId="{41FAD886-75FA-B948-99E7-A1ABBE6D3895}" srcOrd="0" destOrd="0" presId="urn:microsoft.com/office/officeart/2005/8/layout/cycle8"/>
    <dgm:cxn modelId="{5B9F5A08-4EBC-5D4D-B02B-7C9BCC0D78E0}" type="presOf" srcId="{C0ECC04D-DD7C-5943-9FDF-D04F26DE237F}" destId="{A8C6774B-99BE-A948-BF09-6575F246B0CD}" srcOrd="1" destOrd="0" presId="urn:microsoft.com/office/officeart/2005/8/layout/cycle8"/>
    <dgm:cxn modelId="{C99BA0BB-30C6-E849-BF1E-6A39E1CFF102}" type="presOf" srcId="{9B07D6FD-AD32-414E-80F6-222B965CB0C2}" destId="{74EA6C96-2947-0042-AC8B-38FAF026E27A}" srcOrd="1" destOrd="0" presId="urn:microsoft.com/office/officeart/2005/8/layout/cycle8"/>
    <dgm:cxn modelId="{E2D42E84-A004-054B-912E-D6C68ED2FC4B}" type="presParOf" srcId="{2BDB9B42-3BD7-DC4D-8C6F-DEFC4804BF66}" destId="{E76645D8-140A-D543-8DA5-E19970915E32}" srcOrd="0" destOrd="0" presId="urn:microsoft.com/office/officeart/2005/8/layout/cycle8"/>
    <dgm:cxn modelId="{D81362E3-2E35-6343-A43D-F809765BB399}" type="presParOf" srcId="{2BDB9B42-3BD7-DC4D-8C6F-DEFC4804BF66}" destId="{298D9851-3F7B-7247-AF1A-8BC8CAEFD9FD}" srcOrd="1" destOrd="0" presId="urn:microsoft.com/office/officeart/2005/8/layout/cycle8"/>
    <dgm:cxn modelId="{B04FEFD5-8217-894F-A79A-8C9619164131}" type="presParOf" srcId="{2BDB9B42-3BD7-DC4D-8C6F-DEFC4804BF66}" destId="{E0987D18-E4DB-1A4D-A008-D2D110DC5B50}" srcOrd="2" destOrd="0" presId="urn:microsoft.com/office/officeart/2005/8/layout/cycle8"/>
    <dgm:cxn modelId="{A04B688B-48D6-9548-9685-DD27B88C6986}" type="presParOf" srcId="{2BDB9B42-3BD7-DC4D-8C6F-DEFC4804BF66}" destId="{74EA6C96-2947-0042-AC8B-38FAF026E27A}" srcOrd="3" destOrd="0" presId="urn:microsoft.com/office/officeart/2005/8/layout/cycle8"/>
    <dgm:cxn modelId="{9E3842EA-A459-A749-99BF-4AE7E4C67AB3}" type="presParOf" srcId="{2BDB9B42-3BD7-DC4D-8C6F-DEFC4804BF66}" destId="{3B0F65BD-B750-CF4E-B504-A1DF7521565E}" srcOrd="4" destOrd="0" presId="urn:microsoft.com/office/officeart/2005/8/layout/cycle8"/>
    <dgm:cxn modelId="{C07C35B1-F4FB-2C44-8254-E13198C7BE12}" type="presParOf" srcId="{2BDB9B42-3BD7-DC4D-8C6F-DEFC4804BF66}" destId="{215BEB10-744B-C349-BCAC-EDB1E3C533D2}" srcOrd="5" destOrd="0" presId="urn:microsoft.com/office/officeart/2005/8/layout/cycle8"/>
    <dgm:cxn modelId="{EC9C0588-83C6-934C-80CF-C9858FD3521C}" type="presParOf" srcId="{2BDB9B42-3BD7-DC4D-8C6F-DEFC4804BF66}" destId="{CF7A1132-5B52-C24E-B784-75B60F758F48}" srcOrd="6" destOrd="0" presId="urn:microsoft.com/office/officeart/2005/8/layout/cycle8"/>
    <dgm:cxn modelId="{08AEA82A-642B-0D43-861B-CF8282A0E5AA}" type="presParOf" srcId="{2BDB9B42-3BD7-DC4D-8C6F-DEFC4804BF66}" destId="{B2C21201-9EE5-2541-9559-D8D00DC7FC4E}" srcOrd="7" destOrd="0" presId="urn:microsoft.com/office/officeart/2005/8/layout/cycle8"/>
    <dgm:cxn modelId="{A46AD2ED-F9CF-A84B-AD98-DDE727DD8A3B}" type="presParOf" srcId="{2BDB9B42-3BD7-DC4D-8C6F-DEFC4804BF66}" destId="{4C33206B-C356-BA45-B0D4-BD0BD471772E}" srcOrd="8" destOrd="0" presId="urn:microsoft.com/office/officeart/2005/8/layout/cycle8"/>
    <dgm:cxn modelId="{C459149B-64B7-B249-85D4-69768AD0DD2F}" type="presParOf" srcId="{2BDB9B42-3BD7-DC4D-8C6F-DEFC4804BF66}" destId="{0666F715-E22B-FA43-8B76-563742B1F351}" srcOrd="9" destOrd="0" presId="urn:microsoft.com/office/officeart/2005/8/layout/cycle8"/>
    <dgm:cxn modelId="{1472D345-A2C5-FA4D-B796-CB0DEAD13321}" type="presParOf" srcId="{2BDB9B42-3BD7-DC4D-8C6F-DEFC4804BF66}" destId="{F552AF75-708B-5A4E-B9D0-323386564878}" srcOrd="10" destOrd="0" presId="urn:microsoft.com/office/officeart/2005/8/layout/cycle8"/>
    <dgm:cxn modelId="{87E1F6CE-9FA8-194F-BA23-39BD622CDEBA}" type="presParOf" srcId="{2BDB9B42-3BD7-DC4D-8C6F-DEFC4804BF66}" destId="{95249ABB-28BD-174E-8951-610C354FF682}" srcOrd="11" destOrd="0" presId="urn:microsoft.com/office/officeart/2005/8/layout/cycle8"/>
    <dgm:cxn modelId="{B3AD24B8-C148-7F43-9E11-F41C68D1C0BE}" type="presParOf" srcId="{2BDB9B42-3BD7-DC4D-8C6F-DEFC4804BF66}" destId="{41FAD886-75FA-B948-99E7-A1ABBE6D3895}" srcOrd="12" destOrd="0" presId="urn:microsoft.com/office/officeart/2005/8/layout/cycle8"/>
    <dgm:cxn modelId="{66801991-F87C-B446-BEEB-9E5B06D7B9B3}" type="presParOf" srcId="{2BDB9B42-3BD7-DC4D-8C6F-DEFC4804BF66}" destId="{40941778-FADF-8B46-9EBA-C52FCA33E955}" srcOrd="13" destOrd="0" presId="urn:microsoft.com/office/officeart/2005/8/layout/cycle8"/>
    <dgm:cxn modelId="{C7FD5D72-65ED-3D4F-80EC-9114F49FCF27}" type="presParOf" srcId="{2BDB9B42-3BD7-DC4D-8C6F-DEFC4804BF66}" destId="{12DB1D64-21E1-EA4F-8B89-A7B5EE2D277E}" srcOrd="14" destOrd="0" presId="urn:microsoft.com/office/officeart/2005/8/layout/cycle8"/>
    <dgm:cxn modelId="{E66AB750-FB59-DD47-A785-EC69A37789C9}" type="presParOf" srcId="{2BDB9B42-3BD7-DC4D-8C6F-DEFC4804BF66}" destId="{A8C6774B-99BE-A948-BF09-6575F246B0CD}" srcOrd="15" destOrd="0" presId="urn:microsoft.com/office/officeart/2005/8/layout/cycle8"/>
    <dgm:cxn modelId="{C4E81B67-E1B1-0C46-8AE4-C0AEFA78F222}" type="presParOf" srcId="{2BDB9B42-3BD7-DC4D-8C6F-DEFC4804BF66}" destId="{31A1D72E-E655-EF48-A748-CDC9F334ED1B}" srcOrd="16" destOrd="0" presId="urn:microsoft.com/office/officeart/2005/8/layout/cycle8"/>
    <dgm:cxn modelId="{3AE1A461-5986-3043-8A0D-24160F2CBEB1}" type="presParOf" srcId="{2BDB9B42-3BD7-DC4D-8C6F-DEFC4804BF66}" destId="{F55E35C9-A266-2C42-B3B3-22C3EF8CA713}" srcOrd="17" destOrd="0" presId="urn:microsoft.com/office/officeart/2005/8/layout/cycle8"/>
    <dgm:cxn modelId="{CEBD4F41-53D7-F343-831C-35CA31D6C137}" type="presParOf" srcId="{2BDB9B42-3BD7-DC4D-8C6F-DEFC4804BF66}" destId="{28B7EB12-0953-4849-9AE6-0902943A2C80}" srcOrd="18" destOrd="0" presId="urn:microsoft.com/office/officeart/2005/8/layout/cycle8"/>
    <dgm:cxn modelId="{EB201EA2-B987-634B-8C06-B05E6144C5A3}" type="presParOf" srcId="{2BDB9B42-3BD7-DC4D-8C6F-DEFC4804BF66}" destId="{A26A4122-DAE3-8949-846B-1FC25DA771D5}" srcOrd="19" destOrd="0" presId="urn:microsoft.com/office/officeart/2005/8/layout/cycle8"/>
    <dgm:cxn modelId="{CBF7956A-85B4-F644-AF35-8459BA984757}" type="presParOf" srcId="{2BDB9B42-3BD7-DC4D-8C6F-DEFC4804BF66}" destId="{2AC0A6E9-58FD-9D4C-97A8-83DA21957DEA}" srcOrd="20" destOrd="0" presId="urn:microsoft.com/office/officeart/2005/8/layout/cycle8"/>
    <dgm:cxn modelId="{3805DE5B-C6D2-6F44-806B-5F5A8AA3C15D}" type="presParOf" srcId="{2BDB9B42-3BD7-DC4D-8C6F-DEFC4804BF66}" destId="{5946055B-642B-7543-B9B7-2844F77AEA0F}" srcOrd="21" destOrd="0" presId="urn:microsoft.com/office/officeart/2005/8/layout/cycle8"/>
    <dgm:cxn modelId="{B3EC5BB3-724A-0344-9DB7-D9594EFC34B3}" type="presParOf" srcId="{2BDB9B42-3BD7-DC4D-8C6F-DEFC4804BF66}" destId="{33A1FCC5-9DA0-1546-8A5D-699070277C34}" srcOrd="22" destOrd="0" presId="urn:microsoft.com/office/officeart/2005/8/layout/cycle8"/>
    <dgm:cxn modelId="{63C6D555-31B0-6544-ADA2-7D211CDF596E}" type="presParOf" srcId="{2BDB9B42-3BD7-DC4D-8C6F-DEFC4804BF66}" destId="{C452FE2E-FB5F-584E-8401-BD25EE792071}" srcOrd="23" destOrd="0" presId="urn:microsoft.com/office/officeart/2005/8/layout/cycle8"/>
    <dgm:cxn modelId="{4846DDFA-B899-A848-BC04-6BCFFB20FEEE}" type="presParOf" srcId="{2BDB9B42-3BD7-DC4D-8C6F-DEFC4804BF66}" destId="{323C426D-CAB2-B447-B5D5-3FD31DD70F57}" srcOrd="2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1F82A07-0340-DB45-952C-D16763D223C5}" type="doc">
      <dgm:prSet loTypeId="urn:microsoft.com/office/officeart/2005/8/layout/list1" loCatId="" qsTypeId="urn:microsoft.com/office/officeart/2005/8/quickstyle/simple1" qsCatId="simple" csTypeId="urn:microsoft.com/office/officeart/2005/8/colors/accent1_2" csCatId="accent1" phldr="1"/>
      <dgm:spPr/>
      <dgm:t>
        <a:bodyPr/>
        <a:lstStyle/>
        <a:p>
          <a:endParaRPr lang="es-ES"/>
        </a:p>
      </dgm:t>
    </dgm:pt>
    <dgm:pt modelId="{1FC81055-02AF-6D48-80D7-A27629ED874E}">
      <dgm:prSet phldrT="[Texto]" custT="1"/>
      <dgm:spPr>
        <a:solidFill>
          <a:srgbClr val="00B050"/>
        </a:solidFill>
      </dgm:spPr>
      <dgm:t>
        <a:bodyPr/>
        <a:lstStyle/>
        <a:p>
          <a:r>
            <a:rPr lang="es-ES" sz="1400" dirty="0"/>
            <a:t> Conectividad</a:t>
          </a:r>
        </a:p>
      </dgm:t>
    </dgm:pt>
    <dgm:pt modelId="{8AD82F2F-B3CF-924E-AF36-596EA30BB02A}" type="parTrans" cxnId="{0B339E83-1D4B-E341-AE04-10D78F89B10D}">
      <dgm:prSet/>
      <dgm:spPr/>
      <dgm:t>
        <a:bodyPr/>
        <a:lstStyle/>
        <a:p>
          <a:endParaRPr lang="es-ES" sz="3200"/>
        </a:p>
      </dgm:t>
    </dgm:pt>
    <dgm:pt modelId="{ED8FDE00-C87A-4243-AA4D-320EF89FFBC6}" type="sibTrans" cxnId="{0B339E83-1D4B-E341-AE04-10D78F89B10D}">
      <dgm:prSet/>
      <dgm:spPr/>
      <dgm:t>
        <a:bodyPr/>
        <a:lstStyle/>
        <a:p>
          <a:endParaRPr lang="es-ES" sz="3200"/>
        </a:p>
      </dgm:t>
    </dgm:pt>
    <dgm:pt modelId="{C2BC55B6-722A-4E4E-A6DC-BB8371A9BC5A}">
      <dgm:prSet phldrT="[Texto]" custT="1"/>
      <dgm:spPr>
        <a:solidFill>
          <a:srgbClr val="00B050"/>
        </a:solidFill>
      </dgm:spPr>
      <dgm:t>
        <a:bodyPr/>
        <a:lstStyle/>
        <a:p>
          <a:r>
            <a:rPr lang="es-ES" sz="1400" dirty="0"/>
            <a:t>Adaptabilidad</a:t>
          </a:r>
        </a:p>
      </dgm:t>
    </dgm:pt>
    <dgm:pt modelId="{6FECB731-D24C-C74F-99D3-4B2CD29F17FD}" type="parTrans" cxnId="{57BF6625-3B76-8E49-9D7A-6D8E673D4D95}">
      <dgm:prSet/>
      <dgm:spPr/>
      <dgm:t>
        <a:bodyPr/>
        <a:lstStyle/>
        <a:p>
          <a:endParaRPr lang="es-ES" sz="3200"/>
        </a:p>
      </dgm:t>
    </dgm:pt>
    <dgm:pt modelId="{DCC285AA-9E3B-D646-B717-F4069908EC5E}" type="sibTrans" cxnId="{57BF6625-3B76-8E49-9D7A-6D8E673D4D95}">
      <dgm:prSet/>
      <dgm:spPr/>
      <dgm:t>
        <a:bodyPr/>
        <a:lstStyle/>
        <a:p>
          <a:endParaRPr lang="es-ES" sz="3200"/>
        </a:p>
      </dgm:t>
    </dgm:pt>
    <dgm:pt modelId="{367E5E76-B56E-964D-B72D-26A57BB72E1B}">
      <dgm:prSet phldrT="[Texto]" custT="1"/>
      <dgm:spPr>
        <a:solidFill>
          <a:srgbClr val="00B050"/>
        </a:solidFill>
      </dgm:spPr>
      <dgm:t>
        <a:bodyPr/>
        <a:lstStyle/>
        <a:p>
          <a:r>
            <a:rPr lang="es-ES" sz="1400" dirty="0"/>
            <a:t>Accesibilidad</a:t>
          </a:r>
        </a:p>
      </dgm:t>
    </dgm:pt>
    <dgm:pt modelId="{13416244-359C-3149-B29A-12324DF3A427}" type="parTrans" cxnId="{F255E1D2-31B5-E541-AABB-82F686231630}">
      <dgm:prSet/>
      <dgm:spPr/>
      <dgm:t>
        <a:bodyPr/>
        <a:lstStyle/>
        <a:p>
          <a:endParaRPr lang="es-ES" sz="3200"/>
        </a:p>
      </dgm:t>
    </dgm:pt>
    <dgm:pt modelId="{85CB96B8-3466-5742-8C6C-1B94E7BD5AF9}" type="sibTrans" cxnId="{F255E1D2-31B5-E541-AABB-82F686231630}">
      <dgm:prSet/>
      <dgm:spPr/>
      <dgm:t>
        <a:bodyPr/>
        <a:lstStyle/>
        <a:p>
          <a:endParaRPr lang="es-ES" sz="3200"/>
        </a:p>
      </dgm:t>
    </dgm:pt>
    <dgm:pt modelId="{4D4A3CCC-0E21-B64A-9139-0CF8557DCC1E}">
      <dgm:prSet phldrT="[Texto]" custT="1"/>
      <dgm:spPr>
        <a:solidFill>
          <a:srgbClr val="00B050"/>
        </a:solidFill>
      </dgm:spPr>
      <dgm:t>
        <a:bodyPr/>
        <a:lstStyle/>
        <a:p>
          <a:r>
            <a:rPr lang="es-ES" sz="1400" dirty="0"/>
            <a:t>Gestionar datos</a:t>
          </a:r>
        </a:p>
      </dgm:t>
    </dgm:pt>
    <dgm:pt modelId="{25211260-38FA-C948-88C1-5B75B0FEF7B9}" type="parTrans" cxnId="{3E0B20BB-8E74-2545-9005-04B10F219BBE}">
      <dgm:prSet/>
      <dgm:spPr/>
      <dgm:t>
        <a:bodyPr/>
        <a:lstStyle/>
        <a:p>
          <a:endParaRPr lang="es-ES" sz="3200"/>
        </a:p>
      </dgm:t>
    </dgm:pt>
    <dgm:pt modelId="{AC006792-546D-9A47-AD28-22C991ECC4CD}" type="sibTrans" cxnId="{3E0B20BB-8E74-2545-9005-04B10F219BBE}">
      <dgm:prSet/>
      <dgm:spPr/>
      <dgm:t>
        <a:bodyPr/>
        <a:lstStyle/>
        <a:p>
          <a:endParaRPr lang="es-ES" sz="3200"/>
        </a:p>
      </dgm:t>
    </dgm:pt>
    <dgm:pt modelId="{16908458-6744-2C43-AF98-11E0A9EC54E8}">
      <dgm:prSet phldrT="[Texto]" custT="1"/>
      <dgm:spPr>
        <a:solidFill>
          <a:srgbClr val="00B050"/>
        </a:solidFill>
      </dgm:spPr>
      <dgm:t>
        <a:bodyPr/>
        <a:lstStyle/>
        <a:p>
          <a:r>
            <a:rPr lang="es-ES" sz="1400" dirty="0"/>
            <a:t>Grabar experiencias</a:t>
          </a:r>
        </a:p>
      </dgm:t>
    </dgm:pt>
    <dgm:pt modelId="{E1FFB2D5-E20E-9F46-9BB7-626B737F221C}" type="parTrans" cxnId="{3110CA7E-15D2-A549-B465-1160099328F5}">
      <dgm:prSet/>
      <dgm:spPr/>
      <dgm:t>
        <a:bodyPr/>
        <a:lstStyle/>
        <a:p>
          <a:endParaRPr lang="es-ES" sz="3200"/>
        </a:p>
      </dgm:t>
    </dgm:pt>
    <dgm:pt modelId="{16D07102-63ED-9E44-BEC0-FC8F2CCDFF1E}" type="sibTrans" cxnId="{3110CA7E-15D2-A549-B465-1160099328F5}">
      <dgm:prSet/>
      <dgm:spPr/>
      <dgm:t>
        <a:bodyPr/>
        <a:lstStyle/>
        <a:p>
          <a:endParaRPr lang="es-ES" sz="3200"/>
        </a:p>
      </dgm:t>
    </dgm:pt>
    <dgm:pt modelId="{2A6F5C2C-2B6F-1641-A659-567C90659A3B}">
      <dgm:prSet phldrT="[Texto]" custT="1"/>
      <dgm:spPr>
        <a:solidFill>
          <a:srgbClr val="00B050"/>
        </a:solidFill>
      </dgm:spPr>
      <dgm:t>
        <a:bodyPr/>
        <a:lstStyle/>
        <a:p>
          <a:r>
            <a:rPr lang="es-ES" sz="1400" dirty="0"/>
            <a:t>Distribuir información y conocimiento</a:t>
          </a:r>
        </a:p>
      </dgm:t>
    </dgm:pt>
    <dgm:pt modelId="{45A41AC3-66BD-9147-93C6-3755F87C96BA}" type="parTrans" cxnId="{CC57620A-1DF2-9844-B386-5ECFB4BAF60A}">
      <dgm:prSet/>
      <dgm:spPr/>
      <dgm:t>
        <a:bodyPr/>
        <a:lstStyle/>
        <a:p>
          <a:endParaRPr lang="es-ES" sz="3200"/>
        </a:p>
      </dgm:t>
    </dgm:pt>
    <dgm:pt modelId="{F735AAEB-97AD-874A-B1A7-ACA1678238ED}" type="sibTrans" cxnId="{CC57620A-1DF2-9844-B386-5ECFB4BAF60A}">
      <dgm:prSet/>
      <dgm:spPr/>
      <dgm:t>
        <a:bodyPr/>
        <a:lstStyle/>
        <a:p>
          <a:endParaRPr lang="es-ES" sz="3200"/>
        </a:p>
      </dgm:t>
    </dgm:pt>
    <dgm:pt modelId="{F10EFA5D-D590-E947-ACD3-B4D8982F4F60}">
      <dgm:prSet phldrT="[Texto]" custT="1"/>
      <dgm:spPr>
        <a:solidFill>
          <a:srgbClr val="00B050"/>
        </a:solidFill>
      </dgm:spPr>
      <dgm:t>
        <a:bodyPr/>
        <a:lstStyle/>
        <a:p>
          <a:r>
            <a:rPr lang="es-ES" sz="1400" dirty="0"/>
            <a:t>Practicar y experimentar</a:t>
          </a:r>
        </a:p>
      </dgm:t>
    </dgm:pt>
    <dgm:pt modelId="{AC30EB0D-E4DB-9D40-B5D8-6A08CD2E4BA7}" type="parTrans" cxnId="{0FFA47F2-8491-9443-8451-C15F3B3584EA}">
      <dgm:prSet/>
      <dgm:spPr/>
      <dgm:t>
        <a:bodyPr/>
        <a:lstStyle/>
        <a:p>
          <a:endParaRPr lang="es-ES" sz="3200"/>
        </a:p>
      </dgm:t>
    </dgm:pt>
    <dgm:pt modelId="{A1440E1A-91B6-B04F-AF67-63D2445344EA}" type="sibTrans" cxnId="{0FFA47F2-8491-9443-8451-C15F3B3584EA}">
      <dgm:prSet/>
      <dgm:spPr/>
      <dgm:t>
        <a:bodyPr/>
        <a:lstStyle/>
        <a:p>
          <a:endParaRPr lang="es-ES" sz="3200"/>
        </a:p>
      </dgm:t>
    </dgm:pt>
    <dgm:pt modelId="{7F1B5DDD-328A-FD45-84E4-44674F3979F5}">
      <dgm:prSet phldrT="[Texto]" custT="1"/>
      <dgm:spPr>
        <a:solidFill>
          <a:srgbClr val="00B050"/>
        </a:solidFill>
      </dgm:spPr>
      <dgm:t>
        <a:bodyPr/>
        <a:lstStyle/>
        <a:p>
          <a:r>
            <a:rPr lang="es-ES" sz="1400" dirty="0"/>
            <a:t>Hacer seguimiento individual y colectivo</a:t>
          </a:r>
        </a:p>
      </dgm:t>
    </dgm:pt>
    <dgm:pt modelId="{18B12E14-8998-4546-8ED2-404C0CCFE5E1}" type="parTrans" cxnId="{F95845E6-8B87-BE48-BB0A-2CABB0813386}">
      <dgm:prSet/>
      <dgm:spPr/>
      <dgm:t>
        <a:bodyPr/>
        <a:lstStyle/>
        <a:p>
          <a:endParaRPr lang="es-ES" sz="3200"/>
        </a:p>
      </dgm:t>
    </dgm:pt>
    <dgm:pt modelId="{961B5932-19C5-9549-8905-CE10A4311D1F}" type="sibTrans" cxnId="{F95845E6-8B87-BE48-BB0A-2CABB0813386}">
      <dgm:prSet/>
      <dgm:spPr/>
      <dgm:t>
        <a:bodyPr/>
        <a:lstStyle/>
        <a:p>
          <a:endParaRPr lang="es-ES" sz="3200"/>
        </a:p>
      </dgm:t>
    </dgm:pt>
    <dgm:pt modelId="{CE4673B9-CB46-6543-A613-F86A730B0A84}">
      <dgm:prSet phldrT="[Texto]" custT="1"/>
      <dgm:spPr>
        <a:solidFill>
          <a:srgbClr val="00B050"/>
        </a:solidFill>
      </dgm:spPr>
      <dgm:t>
        <a:bodyPr/>
        <a:lstStyle/>
        <a:p>
          <a:r>
            <a:rPr lang="es-ES" sz="1400" dirty="0"/>
            <a:t>Implantar</a:t>
          </a:r>
          <a:r>
            <a:rPr lang="es-ES" sz="1400" baseline="0" dirty="0"/>
            <a:t> un  modelo motivacional (</a:t>
          </a:r>
          <a:r>
            <a:rPr lang="es-ES" sz="1400" baseline="0" dirty="0" err="1"/>
            <a:t>gamificar</a:t>
          </a:r>
          <a:r>
            <a:rPr lang="es-ES" sz="1400" baseline="0" dirty="0"/>
            <a:t>)</a:t>
          </a:r>
          <a:endParaRPr lang="es-ES" sz="1400" dirty="0"/>
        </a:p>
      </dgm:t>
    </dgm:pt>
    <dgm:pt modelId="{0627F625-1BCE-BA41-8FFA-41DBF1593DBE}" type="parTrans" cxnId="{ECB317DA-7488-BE4F-8523-02887C5D9C3D}">
      <dgm:prSet/>
      <dgm:spPr/>
      <dgm:t>
        <a:bodyPr/>
        <a:lstStyle/>
        <a:p>
          <a:endParaRPr lang="es-ES" sz="3200"/>
        </a:p>
      </dgm:t>
    </dgm:pt>
    <dgm:pt modelId="{2D199E94-8667-CC4B-9D22-B108786DE7B1}" type="sibTrans" cxnId="{ECB317DA-7488-BE4F-8523-02887C5D9C3D}">
      <dgm:prSet/>
      <dgm:spPr/>
      <dgm:t>
        <a:bodyPr/>
        <a:lstStyle/>
        <a:p>
          <a:endParaRPr lang="es-ES" sz="3200"/>
        </a:p>
      </dgm:t>
    </dgm:pt>
    <dgm:pt modelId="{A08BC93F-A5F0-FB4A-A359-C5ABA1DD22CF}" type="pres">
      <dgm:prSet presAssocID="{11F82A07-0340-DB45-952C-D16763D223C5}" presName="linear" presStyleCnt="0">
        <dgm:presLayoutVars>
          <dgm:dir/>
          <dgm:animLvl val="lvl"/>
          <dgm:resizeHandles val="exact"/>
        </dgm:presLayoutVars>
      </dgm:prSet>
      <dgm:spPr/>
      <dgm:t>
        <a:bodyPr/>
        <a:lstStyle/>
        <a:p>
          <a:endParaRPr lang="es-ES"/>
        </a:p>
      </dgm:t>
    </dgm:pt>
    <dgm:pt modelId="{D0E9DAA0-FCFD-164F-917D-4B8E1311AC68}" type="pres">
      <dgm:prSet presAssocID="{1FC81055-02AF-6D48-80D7-A27629ED874E}" presName="parentLin" presStyleCnt="0"/>
      <dgm:spPr/>
    </dgm:pt>
    <dgm:pt modelId="{6B09AE2E-340A-8846-8D7B-D61CD10C5473}" type="pres">
      <dgm:prSet presAssocID="{1FC81055-02AF-6D48-80D7-A27629ED874E}" presName="parentLeftMargin" presStyleLbl="node1" presStyleIdx="0" presStyleCnt="9"/>
      <dgm:spPr/>
      <dgm:t>
        <a:bodyPr/>
        <a:lstStyle/>
        <a:p>
          <a:endParaRPr lang="es-ES"/>
        </a:p>
      </dgm:t>
    </dgm:pt>
    <dgm:pt modelId="{5998B2A4-37DB-654E-9F64-4420FE110F4A}" type="pres">
      <dgm:prSet presAssocID="{1FC81055-02AF-6D48-80D7-A27629ED874E}" presName="parentText" presStyleLbl="node1" presStyleIdx="0" presStyleCnt="9">
        <dgm:presLayoutVars>
          <dgm:chMax val="0"/>
          <dgm:bulletEnabled val="1"/>
        </dgm:presLayoutVars>
      </dgm:prSet>
      <dgm:spPr/>
      <dgm:t>
        <a:bodyPr/>
        <a:lstStyle/>
        <a:p>
          <a:endParaRPr lang="es-ES"/>
        </a:p>
      </dgm:t>
    </dgm:pt>
    <dgm:pt modelId="{9922C209-35E7-6545-B5C2-41EBA35F1DEE}" type="pres">
      <dgm:prSet presAssocID="{1FC81055-02AF-6D48-80D7-A27629ED874E}" presName="negativeSpace" presStyleCnt="0"/>
      <dgm:spPr/>
    </dgm:pt>
    <dgm:pt modelId="{B988194E-C0ED-7A4D-B91C-58410D639E37}" type="pres">
      <dgm:prSet presAssocID="{1FC81055-02AF-6D48-80D7-A27629ED874E}" presName="childText" presStyleLbl="conFgAcc1" presStyleIdx="0" presStyleCnt="9">
        <dgm:presLayoutVars>
          <dgm:bulletEnabled val="1"/>
        </dgm:presLayoutVars>
      </dgm:prSet>
      <dgm:spPr/>
    </dgm:pt>
    <dgm:pt modelId="{9E0A891D-FF35-B345-AF4F-81237F2F8A2B}" type="pres">
      <dgm:prSet presAssocID="{ED8FDE00-C87A-4243-AA4D-320EF89FFBC6}" presName="spaceBetweenRectangles" presStyleCnt="0"/>
      <dgm:spPr/>
    </dgm:pt>
    <dgm:pt modelId="{EC48578C-1E93-DC49-B50C-A68161FEEA99}" type="pres">
      <dgm:prSet presAssocID="{C2BC55B6-722A-4E4E-A6DC-BB8371A9BC5A}" presName="parentLin" presStyleCnt="0"/>
      <dgm:spPr/>
    </dgm:pt>
    <dgm:pt modelId="{79278E3E-61B8-0045-83CC-A0374BBDB588}" type="pres">
      <dgm:prSet presAssocID="{C2BC55B6-722A-4E4E-A6DC-BB8371A9BC5A}" presName="parentLeftMargin" presStyleLbl="node1" presStyleIdx="0" presStyleCnt="9"/>
      <dgm:spPr/>
      <dgm:t>
        <a:bodyPr/>
        <a:lstStyle/>
        <a:p>
          <a:endParaRPr lang="es-ES"/>
        </a:p>
      </dgm:t>
    </dgm:pt>
    <dgm:pt modelId="{16869303-5358-564C-95CC-EE7910E87582}" type="pres">
      <dgm:prSet presAssocID="{C2BC55B6-722A-4E4E-A6DC-BB8371A9BC5A}" presName="parentText" presStyleLbl="node1" presStyleIdx="1" presStyleCnt="9">
        <dgm:presLayoutVars>
          <dgm:chMax val="0"/>
          <dgm:bulletEnabled val="1"/>
        </dgm:presLayoutVars>
      </dgm:prSet>
      <dgm:spPr/>
      <dgm:t>
        <a:bodyPr/>
        <a:lstStyle/>
        <a:p>
          <a:endParaRPr lang="es-ES"/>
        </a:p>
      </dgm:t>
    </dgm:pt>
    <dgm:pt modelId="{A5E449D2-86BA-974E-A435-6CA19B2E5E2D}" type="pres">
      <dgm:prSet presAssocID="{C2BC55B6-722A-4E4E-A6DC-BB8371A9BC5A}" presName="negativeSpace" presStyleCnt="0"/>
      <dgm:spPr/>
    </dgm:pt>
    <dgm:pt modelId="{DBB7ED03-D282-1540-9CAB-2E407A04464D}" type="pres">
      <dgm:prSet presAssocID="{C2BC55B6-722A-4E4E-A6DC-BB8371A9BC5A}" presName="childText" presStyleLbl="conFgAcc1" presStyleIdx="1" presStyleCnt="9">
        <dgm:presLayoutVars>
          <dgm:bulletEnabled val="1"/>
        </dgm:presLayoutVars>
      </dgm:prSet>
      <dgm:spPr/>
    </dgm:pt>
    <dgm:pt modelId="{75D5B9E9-54A6-C044-8793-688FC09BBDBB}" type="pres">
      <dgm:prSet presAssocID="{DCC285AA-9E3B-D646-B717-F4069908EC5E}" presName="spaceBetweenRectangles" presStyleCnt="0"/>
      <dgm:spPr/>
    </dgm:pt>
    <dgm:pt modelId="{6346CDEB-C74E-3641-9F3E-816FCEB4BB35}" type="pres">
      <dgm:prSet presAssocID="{367E5E76-B56E-964D-B72D-26A57BB72E1B}" presName="parentLin" presStyleCnt="0"/>
      <dgm:spPr/>
    </dgm:pt>
    <dgm:pt modelId="{5E24ABB5-D461-3844-A0BF-ADBAC31ADA5B}" type="pres">
      <dgm:prSet presAssocID="{367E5E76-B56E-964D-B72D-26A57BB72E1B}" presName="parentLeftMargin" presStyleLbl="node1" presStyleIdx="1" presStyleCnt="9"/>
      <dgm:spPr/>
      <dgm:t>
        <a:bodyPr/>
        <a:lstStyle/>
        <a:p>
          <a:endParaRPr lang="es-ES"/>
        </a:p>
      </dgm:t>
    </dgm:pt>
    <dgm:pt modelId="{67CA6B28-CAD7-A444-B59F-42F75C3EDDF6}" type="pres">
      <dgm:prSet presAssocID="{367E5E76-B56E-964D-B72D-26A57BB72E1B}" presName="parentText" presStyleLbl="node1" presStyleIdx="2" presStyleCnt="9">
        <dgm:presLayoutVars>
          <dgm:chMax val="0"/>
          <dgm:bulletEnabled val="1"/>
        </dgm:presLayoutVars>
      </dgm:prSet>
      <dgm:spPr/>
      <dgm:t>
        <a:bodyPr/>
        <a:lstStyle/>
        <a:p>
          <a:endParaRPr lang="es-ES"/>
        </a:p>
      </dgm:t>
    </dgm:pt>
    <dgm:pt modelId="{B853F9FF-2FE7-6A45-9669-75F81E2ACA8C}" type="pres">
      <dgm:prSet presAssocID="{367E5E76-B56E-964D-B72D-26A57BB72E1B}" presName="negativeSpace" presStyleCnt="0"/>
      <dgm:spPr/>
    </dgm:pt>
    <dgm:pt modelId="{33480149-7E38-574E-8355-1D940167E29E}" type="pres">
      <dgm:prSet presAssocID="{367E5E76-B56E-964D-B72D-26A57BB72E1B}" presName="childText" presStyleLbl="conFgAcc1" presStyleIdx="2" presStyleCnt="9">
        <dgm:presLayoutVars>
          <dgm:bulletEnabled val="1"/>
        </dgm:presLayoutVars>
      </dgm:prSet>
      <dgm:spPr/>
    </dgm:pt>
    <dgm:pt modelId="{674EF331-8505-3740-8F46-6C41CD73648B}" type="pres">
      <dgm:prSet presAssocID="{85CB96B8-3466-5742-8C6C-1B94E7BD5AF9}" presName="spaceBetweenRectangles" presStyleCnt="0"/>
      <dgm:spPr/>
    </dgm:pt>
    <dgm:pt modelId="{E7179D8B-1AAA-E84A-B390-0C75E833C988}" type="pres">
      <dgm:prSet presAssocID="{4D4A3CCC-0E21-B64A-9139-0CF8557DCC1E}" presName="parentLin" presStyleCnt="0"/>
      <dgm:spPr/>
    </dgm:pt>
    <dgm:pt modelId="{54B2CEE8-1461-1A42-AA71-604651E4A5C1}" type="pres">
      <dgm:prSet presAssocID="{4D4A3CCC-0E21-B64A-9139-0CF8557DCC1E}" presName="parentLeftMargin" presStyleLbl="node1" presStyleIdx="2" presStyleCnt="9"/>
      <dgm:spPr/>
      <dgm:t>
        <a:bodyPr/>
        <a:lstStyle/>
        <a:p>
          <a:endParaRPr lang="es-ES"/>
        </a:p>
      </dgm:t>
    </dgm:pt>
    <dgm:pt modelId="{33B9F9B8-F7C1-AA40-B2B1-F24508ED2178}" type="pres">
      <dgm:prSet presAssocID="{4D4A3CCC-0E21-B64A-9139-0CF8557DCC1E}" presName="parentText" presStyleLbl="node1" presStyleIdx="3" presStyleCnt="9">
        <dgm:presLayoutVars>
          <dgm:chMax val="0"/>
          <dgm:bulletEnabled val="1"/>
        </dgm:presLayoutVars>
      </dgm:prSet>
      <dgm:spPr/>
      <dgm:t>
        <a:bodyPr/>
        <a:lstStyle/>
        <a:p>
          <a:endParaRPr lang="es-ES"/>
        </a:p>
      </dgm:t>
    </dgm:pt>
    <dgm:pt modelId="{B8FA9C13-A88D-7141-8E54-D50F744C9DD1}" type="pres">
      <dgm:prSet presAssocID="{4D4A3CCC-0E21-B64A-9139-0CF8557DCC1E}" presName="negativeSpace" presStyleCnt="0"/>
      <dgm:spPr/>
    </dgm:pt>
    <dgm:pt modelId="{6F25F539-7BB9-FB47-8BE7-938EE10A7403}" type="pres">
      <dgm:prSet presAssocID="{4D4A3CCC-0E21-B64A-9139-0CF8557DCC1E}" presName="childText" presStyleLbl="conFgAcc1" presStyleIdx="3" presStyleCnt="9">
        <dgm:presLayoutVars>
          <dgm:bulletEnabled val="1"/>
        </dgm:presLayoutVars>
      </dgm:prSet>
      <dgm:spPr/>
    </dgm:pt>
    <dgm:pt modelId="{35813E6E-0B04-8A41-B8C8-1BE495E46DF9}" type="pres">
      <dgm:prSet presAssocID="{AC006792-546D-9A47-AD28-22C991ECC4CD}" presName="spaceBetweenRectangles" presStyleCnt="0"/>
      <dgm:spPr/>
    </dgm:pt>
    <dgm:pt modelId="{AA53C92E-1F1D-674A-B32C-7678F259282D}" type="pres">
      <dgm:prSet presAssocID="{16908458-6744-2C43-AF98-11E0A9EC54E8}" presName="parentLin" presStyleCnt="0"/>
      <dgm:spPr/>
    </dgm:pt>
    <dgm:pt modelId="{F10B23E1-805E-774B-AA32-A963BF31DBCF}" type="pres">
      <dgm:prSet presAssocID="{16908458-6744-2C43-AF98-11E0A9EC54E8}" presName="parentLeftMargin" presStyleLbl="node1" presStyleIdx="3" presStyleCnt="9"/>
      <dgm:spPr/>
      <dgm:t>
        <a:bodyPr/>
        <a:lstStyle/>
        <a:p>
          <a:endParaRPr lang="es-ES"/>
        </a:p>
      </dgm:t>
    </dgm:pt>
    <dgm:pt modelId="{5876E873-520E-8A43-B845-7186BBED025F}" type="pres">
      <dgm:prSet presAssocID="{16908458-6744-2C43-AF98-11E0A9EC54E8}" presName="parentText" presStyleLbl="node1" presStyleIdx="4" presStyleCnt="9">
        <dgm:presLayoutVars>
          <dgm:chMax val="0"/>
          <dgm:bulletEnabled val="1"/>
        </dgm:presLayoutVars>
      </dgm:prSet>
      <dgm:spPr/>
      <dgm:t>
        <a:bodyPr/>
        <a:lstStyle/>
        <a:p>
          <a:endParaRPr lang="es-ES"/>
        </a:p>
      </dgm:t>
    </dgm:pt>
    <dgm:pt modelId="{2A74B921-1C67-434F-AA47-DB4D8B0BDE15}" type="pres">
      <dgm:prSet presAssocID="{16908458-6744-2C43-AF98-11E0A9EC54E8}" presName="negativeSpace" presStyleCnt="0"/>
      <dgm:spPr/>
    </dgm:pt>
    <dgm:pt modelId="{B6613E52-0A4F-4743-8620-E1063FE9EB25}" type="pres">
      <dgm:prSet presAssocID="{16908458-6744-2C43-AF98-11E0A9EC54E8}" presName="childText" presStyleLbl="conFgAcc1" presStyleIdx="4" presStyleCnt="9">
        <dgm:presLayoutVars>
          <dgm:bulletEnabled val="1"/>
        </dgm:presLayoutVars>
      </dgm:prSet>
      <dgm:spPr/>
    </dgm:pt>
    <dgm:pt modelId="{010C94FA-95E6-8849-A76B-DDF380109981}" type="pres">
      <dgm:prSet presAssocID="{16D07102-63ED-9E44-BEC0-FC8F2CCDFF1E}" presName="spaceBetweenRectangles" presStyleCnt="0"/>
      <dgm:spPr/>
    </dgm:pt>
    <dgm:pt modelId="{B38C078B-826A-F741-8DBF-7303C19233F2}" type="pres">
      <dgm:prSet presAssocID="{2A6F5C2C-2B6F-1641-A659-567C90659A3B}" presName="parentLin" presStyleCnt="0"/>
      <dgm:spPr/>
    </dgm:pt>
    <dgm:pt modelId="{30B002D3-9CBA-9D41-A6C9-249BB07790EA}" type="pres">
      <dgm:prSet presAssocID="{2A6F5C2C-2B6F-1641-A659-567C90659A3B}" presName="parentLeftMargin" presStyleLbl="node1" presStyleIdx="4" presStyleCnt="9"/>
      <dgm:spPr/>
      <dgm:t>
        <a:bodyPr/>
        <a:lstStyle/>
        <a:p>
          <a:endParaRPr lang="es-ES"/>
        </a:p>
      </dgm:t>
    </dgm:pt>
    <dgm:pt modelId="{4F2F49E2-6871-F648-9A29-54FDDD2B3B3A}" type="pres">
      <dgm:prSet presAssocID="{2A6F5C2C-2B6F-1641-A659-567C90659A3B}" presName="parentText" presStyleLbl="node1" presStyleIdx="5" presStyleCnt="9">
        <dgm:presLayoutVars>
          <dgm:chMax val="0"/>
          <dgm:bulletEnabled val="1"/>
        </dgm:presLayoutVars>
      </dgm:prSet>
      <dgm:spPr/>
      <dgm:t>
        <a:bodyPr/>
        <a:lstStyle/>
        <a:p>
          <a:endParaRPr lang="es-ES"/>
        </a:p>
      </dgm:t>
    </dgm:pt>
    <dgm:pt modelId="{0CCA224E-8040-E843-967A-BF9AA685E57A}" type="pres">
      <dgm:prSet presAssocID="{2A6F5C2C-2B6F-1641-A659-567C90659A3B}" presName="negativeSpace" presStyleCnt="0"/>
      <dgm:spPr/>
    </dgm:pt>
    <dgm:pt modelId="{83E699CA-B566-D643-AAF7-EE0287EF1FD4}" type="pres">
      <dgm:prSet presAssocID="{2A6F5C2C-2B6F-1641-A659-567C90659A3B}" presName="childText" presStyleLbl="conFgAcc1" presStyleIdx="5" presStyleCnt="9">
        <dgm:presLayoutVars>
          <dgm:bulletEnabled val="1"/>
        </dgm:presLayoutVars>
      </dgm:prSet>
      <dgm:spPr/>
    </dgm:pt>
    <dgm:pt modelId="{8AF6700B-A157-4743-935D-2B9C2262D2CF}" type="pres">
      <dgm:prSet presAssocID="{F735AAEB-97AD-874A-B1A7-ACA1678238ED}" presName="spaceBetweenRectangles" presStyleCnt="0"/>
      <dgm:spPr/>
    </dgm:pt>
    <dgm:pt modelId="{BDE59A10-80B2-D14C-8168-8347EE687FA6}" type="pres">
      <dgm:prSet presAssocID="{F10EFA5D-D590-E947-ACD3-B4D8982F4F60}" presName="parentLin" presStyleCnt="0"/>
      <dgm:spPr/>
    </dgm:pt>
    <dgm:pt modelId="{5AA2A540-2976-9F4A-A56C-9F765BFA87E3}" type="pres">
      <dgm:prSet presAssocID="{F10EFA5D-D590-E947-ACD3-B4D8982F4F60}" presName="parentLeftMargin" presStyleLbl="node1" presStyleIdx="5" presStyleCnt="9"/>
      <dgm:spPr/>
      <dgm:t>
        <a:bodyPr/>
        <a:lstStyle/>
        <a:p>
          <a:endParaRPr lang="es-ES"/>
        </a:p>
      </dgm:t>
    </dgm:pt>
    <dgm:pt modelId="{979C35FE-8B90-BA49-88D1-C9D230CF0A9A}" type="pres">
      <dgm:prSet presAssocID="{F10EFA5D-D590-E947-ACD3-B4D8982F4F60}" presName="parentText" presStyleLbl="node1" presStyleIdx="6" presStyleCnt="9">
        <dgm:presLayoutVars>
          <dgm:chMax val="0"/>
          <dgm:bulletEnabled val="1"/>
        </dgm:presLayoutVars>
      </dgm:prSet>
      <dgm:spPr/>
      <dgm:t>
        <a:bodyPr/>
        <a:lstStyle/>
        <a:p>
          <a:endParaRPr lang="es-ES"/>
        </a:p>
      </dgm:t>
    </dgm:pt>
    <dgm:pt modelId="{6BFA1BA9-32CF-A644-9CDB-F94D5F54B134}" type="pres">
      <dgm:prSet presAssocID="{F10EFA5D-D590-E947-ACD3-B4D8982F4F60}" presName="negativeSpace" presStyleCnt="0"/>
      <dgm:spPr/>
    </dgm:pt>
    <dgm:pt modelId="{1AE135E7-66FE-774F-BCD1-91A13E5DCB88}" type="pres">
      <dgm:prSet presAssocID="{F10EFA5D-D590-E947-ACD3-B4D8982F4F60}" presName="childText" presStyleLbl="conFgAcc1" presStyleIdx="6" presStyleCnt="9">
        <dgm:presLayoutVars>
          <dgm:bulletEnabled val="1"/>
        </dgm:presLayoutVars>
      </dgm:prSet>
      <dgm:spPr/>
    </dgm:pt>
    <dgm:pt modelId="{2558846C-E1B9-8145-BEF4-400066820F7A}" type="pres">
      <dgm:prSet presAssocID="{A1440E1A-91B6-B04F-AF67-63D2445344EA}" presName="spaceBetweenRectangles" presStyleCnt="0"/>
      <dgm:spPr/>
    </dgm:pt>
    <dgm:pt modelId="{067EE85D-55BB-B74E-935C-A5F890D1E954}" type="pres">
      <dgm:prSet presAssocID="{7F1B5DDD-328A-FD45-84E4-44674F3979F5}" presName="parentLin" presStyleCnt="0"/>
      <dgm:spPr/>
    </dgm:pt>
    <dgm:pt modelId="{9FB95F89-B411-C946-B9BB-CBA2AAA602B4}" type="pres">
      <dgm:prSet presAssocID="{7F1B5DDD-328A-FD45-84E4-44674F3979F5}" presName="parentLeftMargin" presStyleLbl="node1" presStyleIdx="6" presStyleCnt="9"/>
      <dgm:spPr/>
      <dgm:t>
        <a:bodyPr/>
        <a:lstStyle/>
        <a:p>
          <a:endParaRPr lang="es-ES"/>
        </a:p>
      </dgm:t>
    </dgm:pt>
    <dgm:pt modelId="{B7BB182F-93B6-9F4E-A261-6AD70CE5FD6D}" type="pres">
      <dgm:prSet presAssocID="{7F1B5DDD-328A-FD45-84E4-44674F3979F5}" presName="parentText" presStyleLbl="node1" presStyleIdx="7" presStyleCnt="9">
        <dgm:presLayoutVars>
          <dgm:chMax val="0"/>
          <dgm:bulletEnabled val="1"/>
        </dgm:presLayoutVars>
      </dgm:prSet>
      <dgm:spPr/>
      <dgm:t>
        <a:bodyPr/>
        <a:lstStyle/>
        <a:p>
          <a:endParaRPr lang="es-ES"/>
        </a:p>
      </dgm:t>
    </dgm:pt>
    <dgm:pt modelId="{3791A0EC-F024-AB49-9770-41A30A0B83B2}" type="pres">
      <dgm:prSet presAssocID="{7F1B5DDD-328A-FD45-84E4-44674F3979F5}" presName="negativeSpace" presStyleCnt="0"/>
      <dgm:spPr/>
    </dgm:pt>
    <dgm:pt modelId="{CD1C13CD-F56A-B049-838F-42942AA08504}" type="pres">
      <dgm:prSet presAssocID="{7F1B5DDD-328A-FD45-84E4-44674F3979F5}" presName="childText" presStyleLbl="conFgAcc1" presStyleIdx="7" presStyleCnt="9">
        <dgm:presLayoutVars>
          <dgm:bulletEnabled val="1"/>
        </dgm:presLayoutVars>
      </dgm:prSet>
      <dgm:spPr/>
    </dgm:pt>
    <dgm:pt modelId="{7E2884B3-6F87-3D4F-B6A3-96649D561660}" type="pres">
      <dgm:prSet presAssocID="{961B5932-19C5-9549-8905-CE10A4311D1F}" presName="spaceBetweenRectangles" presStyleCnt="0"/>
      <dgm:spPr/>
    </dgm:pt>
    <dgm:pt modelId="{2DE20F3F-9689-3A41-B8B9-9985605250DD}" type="pres">
      <dgm:prSet presAssocID="{CE4673B9-CB46-6543-A613-F86A730B0A84}" presName="parentLin" presStyleCnt="0"/>
      <dgm:spPr/>
    </dgm:pt>
    <dgm:pt modelId="{9AEAB8F4-EA1B-454F-B167-9693F3354D03}" type="pres">
      <dgm:prSet presAssocID="{CE4673B9-CB46-6543-A613-F86A730B0A84}" presName="parentLeftMargin" presStyleLbl="node1" presStyleIdx="7" presStyleCnt="9"/>
      <dgm:spPr/>
      <dgm:t>
        <a:bodyPr/>
        <a:lstStyle/>
        <a:p>
          <a:endParaRPr lang="es-ES"/>
        </a:p>
      </dgm:t>
    </dgm:pt>
    <dgm:pt modelId="{ABC7AF79-5482-D94E-B43D-24C3CE929183}" type="pres">
      <dgm:prSet presAssocID="{CE4673B9-CB46-6543-A613-F86A730B0A84}" presName="parentText" presStyleLbl="node1" presStyleIdx="8" presStyleCnt="9">
        <dgm:presLayoutVars>
          <dgm:chMax val="0"/>
          <dgm:bulletEnabled val="1"/>
        </dgm:presLayoutVars>
      </dgm:prSet>
      <dgm:spPr/>
      <dgm:t>
        <a:bodyPr/>
        <a:lstStyle/>
        <a:p>
          <a:endParaRPr lang="es-ES"/>
        </a:p>
      </dgm:t>
    </dgm:pt>
    <dgm:pt modelId="{FBA61743-86BF-FF4E-BFAE-C646D90F788F}" type="pres">
      <dgm:prSet presAssocID="{CE4673B9-CB46-6543-A613-F86A730B0A84}" presName="negativeSpace" presStyleCnt="0"/>
      <dgm:spPr/>
    </dgm:pt>
    <dgm:pt modelId="{5556AB39-2839-2E43-92DB-654B209260EB}" type="pres">
      <dgm:prSet presAssocID="{CE4673B9-CB46-6543-A613-F86A730B0A84}" presName="childText" presStyleLbl="conFgAcc1" presStyleIdx="8" presStyleCnt="9" custLinFactNeighborX="-18671" custLinFactNeighborY="6871">
        <dgm:presLayoutVars>
          <dgm:bulletEnabled val="1"/>
        </dgm:presLayoutVars>
      </dgm:prSet>
      <dgm:spPr/>
    </dgm:pt>
  </dgm:ptLst>
  <dgm:cxnLst>
    <dgm:cxn modelId="{FF92A747-2C25-554B-8A14-03D4281F22C0}" type="presOf" srcId="{2A6F5C2C-2B6F-1641-A659-567C90659A3B}" destId="{30B002D3-9CBA-9D41-A6C9-249BB07790EA}" srcOrd="0" destOrd="0" presId="urn:microsoft.com/office/officeart/2005/8/layout/list1"/>
    <dgm:cxn modelId="{B22EE909-6EFA-C742-AE6E-A2DC5D9B069E}" type="presOf" srcId="{16908458-6744-2C43-AF98-11E0A9EC54E8}" destId="{5876E873-520E-8A43-B845-7186BBED025F}" srcOrd="1" destOrd="0" presId="urn:microsoft.com/office/officeart/2005/8/layout/list1"/>
    <dgm:cxn modelId="{ECB317DA-7488-BE4F-8523-02887C5D9C3D}" srcId="{11F82A07-0340-DB45-952C-D16763D223C5}" destId="{CE4673B9-CB46-6543-A613-F86A730B0A84}" srcOrd="8" destOrd="0" parTransId="{0627F625-1BCE-BA41-8FFA-41DBF1593DBE}" sibTransId="{2D199E94-8667-CC4B-9D22-B108786DE7B1}"/>
    <dgm:cxn modelId="{F255E1D2-31B5-E541-AABB-82F686231630}" srcId="{11F82A07-0340-DB45-952C-D16763D223C5}" destId="{367E5E76-B56E-964D-B72D-26A57BB72E1B}" srcOrd="2" destOrd="0" parTransId="{13416244-359C-3149-B29A-12324DF3A427}" sibTransId="{85CB96B8-3466-5742-8C6C-1B94E7BD5AF9}"/>
    <dgm:cxn modelId="{3E0B20BB-8E74-2545-9005-04B10F219BBE}" srcId="{11F82A07-0340-DB45-952C-D16763D223C5}" destId="{4D4A3CCC-0E21-B64A-9139-0CF8557DCC1E}" srcOrd="3" destOrd="0" parTransId="{25211260-38FA-C948-88C1-5B75B0FEF7B9}" sibTransId="{AC006792-546D-9A47-AD28-22C991ECC4CD}"/>
    <dgm:cxn modelId="{A9566954-83D4-694B-B02D-60B52093FB8D}" type="presOf" srcId="{CE4673B9-CB46-6543-A613-F86A730B0A84}" destId="{9AEAB8F4-EA1B-454F-B167-9693F3354D03}" srcOrd="0" destOrd="0" presId="urn:microsoft.com/office/officeart/2005/8/layout/list1"/>
    <dgm:cxn modelId="{72E17EAD-A43F-C142-9940-711FA39832E1}" type="presOf" srcId="{C2BC55B6-722A-4E4E-A6DC-BB8371A9BC5A}" destId="{16869303-5358-564C-95CC-EE7910E87582}" srcOrd="1" destOrd="0" presId="urn:microsoft.com/office/officeart/2005/8/layout/list1"/>
    <dgm:cxn modelId="{FCBD371B-8820-0446-BFE4-0A52C417C405}" type="presOf" srcId="{C2BC55B6-722A-4E4E-A6DC-BB8371A9BC5A}" destId="{79278E3E-61B8-0045-83CC-A0374BBDB588}" srcOrd="0" destOrd="0" presId="urn:microsoft.com/office/officeart/2005/8/layout/list1"/>
    <dgm:cxn modelId="{F95845E6-8B87-BE48-BB0A-2CABB0813386}" srcId="{11F82A07-0340-DB45-952C-D16763D223C5}" destId="{7F1B5DDD-328A-FD45-84E4-44674F3979F5}" srcOrd="7" destOrd="0" parTransId="{18B12E14-8998-4546-8ED2-404C0CCFE5E1}" sibTransId="{961B5932-19C5-9549-8905-CE10A4311D1F}"/>
    <dgm:cxn modelId="{3110CA7E-15D2-A549-B465-1160099328F5}" srcId="{11F82A07-0340-DB45-952C-D16763D223C5}" destId="{16908458-6744-2C43-AF98-11E0A9EC54E8}" srcOrd="4" destOrd="0" parTransId="{E1FFB2D5-E20E-9F46-9BB7-626B737F221C}" sibTransId="{16D07102-63ED-9E44-BEC0-FC8F2CCDFF1E}"/>
    <dgm:cxn modelId="{9C2E966F-AE83-4649-B953-791A95C065A6}" type="presOf" srcId="{367E5E76-B56E-964D-B72D-26A57BB72E1B}" destId="{67CA6B28-CAD7-A444-B59F-42F75C3EDDF6}" srcOrd="1" destOrd="0" presId="urn:microsoft.com/office/officeart/2005/8/layout/list1"/>
    <dgm:cxn modelId="{5ADD1D45-47CB-7E40-8BC6-FE6F6B2015FB}" type="presOf" srcId="{16908458-6744-2C43-AF98-11E0A9EC54E8}" destId="{F10B23E1-805E-774B-AA32-A963BF31DBCF}" srcOrd="0" destOrd="0" presId="urn:microsoft.com/office/officeart/2005/8/layout/list1"/>
    <dgm:cxn modelId="{9580AF8D-182D-8045-B174-DF6E3CF8D093}" type="presOf" srcId="{4D4A3CCC-0E21-B64A-9139-0CF8557DCC1E}" destId="{54B2CEE8-1461-1A42-AA71-604651E4A5C1}" srcOrd="0" destOrd="0" presId="urn:microsoft.com/office/officeart/2005/8/layout/list1"/>
    <dgm:cxn modelId="{A9E0F1A6-EF30-ED4A-BC95-576AFC9D0D76}" type="presOf" srcId="{1FC81055-02AF-6D48-80D7-A27629ED874E}" destId="{6B09AE2E-340A-8846-8D7B-D61CD10C5473}" srcOrd="0" destOrd="0" presId="urn:microsoft.com/office/officeart/2005/8/layout/list1"/>
    <dgm:cxn modelId="{327A4C59-D3DB-B24E-87C1-76D78378DFE4}" type="presOf" srcId="{7F1B5DDD-328A-FD45-84E4-44674F3979F5}" destId="{9FB95F89-B411-C946-B9BB-CBA2AAA602B4}" srcOrd="0" destOrd="0" presId="urn:microsoft.com/office/officeart/2005/8/layout/list1"/>
    <dgm:cxn modelId="{828A3D73-268A-A34A-98CC-60868B7E8DD5}" type="presOf" srcId="{11F82A07-0340-DB45-952C-D16763D223C5}" destId="{A08BC93F-A5F0-FB4A-A359-C5ABA1DD22CF}" srcOrd="0" destOrd="0" presId="urn:microsoft.com/office/officeart/2005/8/layout/list1"/>
    <dgm:cxn modelId="{0B339E83-1D4B-E341-AE04-10D78F89B10D}" srcId="{11F82A07-0340-DB45-952C-D16763D223C5}" destId="{1FC81055-02AF-6D48-80D7-A27629ED874E}" srcOrd="0" destOrd="0" parTransId="{8AD82F2F-B3CF-924E-AF36-596EA30BB02A}" sibTransId="{ED8FDE00-C87A-4243-AA4D-320EF89FFBC6}"/>
    <dgm:cxn modelId="{1AE87523-414E-D543-8D97-89231C67CA06}" type="presOf" srcId="{F10EFA5D-D590-E947-ACD3-B4D8982F4F60}" destId="{5AA2A540-2976-9F4A-A56C-9F765BFA87E3}" srcOrd="0" destOrd="0" presId="urn:microsoft.com/office/officeart/2005/8/layout/list1"/>
    <dgm:cxn modelId="{42118A78-9190-A34C-A54C-30893A64B434}" type="presOf" srcId="{1FC81055-02AF-6D48-80D7-A27629ED874E}" destId="{5998B2A4-37DB-654E-9F64-4420FE110F4A}" srcOrd="1" destOrd="0" presId="urn:microsoft.com/office/officeart/2005/8/layout/list1"/>
    <dgm:cxn modelId="{73FC78C8-CC83-3140-885C-80A5F1AF098A}" type="presOf" srcId="{7F1B5DDD-328A-FD45-84E4-44674F3979F5}" destId="{B7BB182F-93B6-9F4E-A261-6AD70CE5FD6D}" srcOrd="1" destOrd="0" presId="urn:microsoft.com/office/officeart/2005/8/layout/list1"/>
    <dgm:cxn modelId="{CC57620A-1DF2-9844-B386-5ECFB4BAF60A}" srcId="{11F82A07-0340-DB45-952C-D16763D223C5}" destId="{2A6F5C2C-2B6F-1641-A659-567C90659A3B}" srcOrd="5" destOrd="0" parTransId="{45A41AC3-66BD-9147-93C6-3755F87C96BA}" sibTransId="{F735AAEB-97AD-874A-B1A7-ACA1678238ED}"/>
    <dgm:cxn modelId="{1B6A5E18-BEAA-CF47-80EF-A84C9601DD6E}" type="presOf" srcId="{CE4673B9-CB46-6543-A613-F86A730B0A84}" destId="{ABC7AF79-5482-D94E-B43D-24C3CE929183}" srcOrd="1" destOrd="0" presId="urn:microsoft.com/office/officeart/2005/8/layout/list1"/>
    <dgm:cxn modelId="{0FFA47F2-8491-9443-8451-C15F3B3584EA}" srcId="{11F82A07-0340-DB45-952C-D16763D223C5}" destId="{F10EFA5D-D590-E947-ACD3-B4D8982F4F60}" srcOrd="6" destOrd="0" parTransId="{AC30EB0D-E4DB-9D40-B5D8-6A08CD2E4BA7}" sibTransId="{A1440E1A-91B6-B04F-AF67-63D2445344EA}"/>
    <dgm:cxn modelId="{D9602D1C-8FA6-6E47-8BCC-517CFAE95A49}" type="presOf" srcId="{F10EFA5D-D590-E947-ACD3-B4D8982F4F60}" destId="{979C35FE-8B90-BA49-88D1-C9D230CF0A9A}" srcOrd="1" destOrd="0" presId="urn:microsoft.com/office/officeart/2005/8/layout/list1"/>
    <dgm:cxn modelId="{82E7F929-AECA-C349-A7F0-2C4568D7DFFB}" type="presOf" srcId="{2A6F5C2C-2B6F-1641-A659-567C90659A3B}" destId="{4F2F49E2-6871-F648-9A29-54FDDD2B3B3A}" srcOrd="1" destOrd="0" presId="urn:microsoft.com/office/officeart/2005/8/layout/list1"/>
    <dgm:cxn modelId="{9C77B41C-9B3F-A440-9984-28228103F1C2}" type="presOf" srcId="{367E5E76-B56E-964D-B72D-26A57BB72E1B}" destId="{5E24ABB5-D461-3844-A0BF-ADBAC31ADA5B}" srcOrd="0" destOrd="0" presId="urn:microsoft.com/office/officeart/2005/8/layout/list1"/>
    <dgm:cxn modelId="{D138A0D1-93D5-C94B-8DB7-6AA49B8D964F}" type="presOf" srcId="{4D4A3CCC-0E21-B64A-9139-0CF8557DCC1E}" destId="{33B9F9B8-F7C1-AA40-B2B1-F24508ED2178}" srcOrd="1" destOrd="0" presId="urn:microsoft.com/office/officeart/2005/8/layout/list1"/>
    <dgm:cxn modelId="{57BF6625-3B76-8E49-9D7A-6D8E673D4D95}" srcId="{11F82A07-0340-DB45-952C-D16763D223C5}" destId="{C2BC55B6-722A-4E4E-A6DC-BB8371A9BC5A}" srcOrd="1" destOrd="0" parTransId="{6FECB731-D24C-C74F-99D3-4B2CD29F17FD}" sibTransId="{DCC285AA-9E3B-D646-B717-F4069908EC5E}"/>
    <dgm:cxn modelId="{4418E21D-1765-A045-A17C-739C2DA997FD}" type="presParOf" srcId="{A08BC93F-A5F0-FB4A-A359-C5ABA1DD22CF}" destId="{D0E9DAA0-FCFD-164F-917D-4B8E1311AC68}" srcOrd="0" destOrd="0" presId="urn:microsoft.com/office/officeart/2005/8/layout/list1"/>
    <dgm:cxn modelId="{6448D187-115F-DA4B-A7E5-4B3C148ABDAA}" type="presParOf" srcId="{D0E9DAA0-FCFD-164F-917D-4B8E1311AC68}" destId="{6B09AE2E-340A-8846-8D7B-D61CD10C5473}" srcOrd="0" destOrd="0" presId="urn:microsoft.com/office/officeart/2005/8/layout/list1"/>
    <dgm:cxn modelId="{A52D0B5A-7803-3F49-ACB1-E5E541BF7F62}" type="presParOf" srcId="{D0E9DAA0-FCFD-164F-917D-4B8E1311AC68}" destId="{5998B2A4-37DB-654E-9F64-4420FE110F4A}" srcOrd="1" destOrd="0" presId="urn:microsoft.com/office/officeart/2005/8/layout/list1"/>
    <dgm:cxn modelId="{72E236E1-DFC9-C241-BE43-7DD9C34DED1D}" type="presParOf" srcId="{A08BC93F-A5F0-FB4A-A359-C5ABA1DD22CF}" destId="{9922C209-35E7-6545-B5C2-41EBA35F1DEE}" srcOrd="1" destOrd="0" presId="urn:microsoft.com/office/officeart/2005/8/layout/list1"/>
    <dgm:cxn modelId="{CFF15E82-D84F-A347-BC05-4CD27F30ED96}" type="presParOf" srcId="{A08BC93F-A5F0-FB4A-A359-C5ABA1DD22CF}" destId="{B988194E-C0ED-7A4D-B91C-58410D639E37}" srcOrd="2" destOrd="0" presId="urn:microsoft.com/office/officeart/2005/8/layout/list1"/>
    <dgm:cxn modelId="{5F6D87FA-5CEB-AE4A-8587-7DDAB7F00430}" type="presParOf" srcId="{A08BC93F-A5F0-FB4A-A359-C5ABA1DD22CF}" destId="{9E0A891D-FF35-B345-AF4F-81237F2F8A2B}" srcOrd="3" destOrd="0" presId="urn:microsoft.com/office/officeart/2005/8/layout/list1"/>
    <dgm:cxn modelId="{85997431-E39A-2247-B116-E8CB005961DB}" type="presParOf" srcId="{A08BC93F-A5F0-FB4A-A359-C5ABA1DD22CF}" destId="{EC48578C-1E93-DC49-B50C-A68161FEEA99}" srcOrd="4" destOrd="0" presId="urn:microsoft.com/office/officeart/2005/8/layout/list1"/>
    <dgm:cxn modelId="{508A675A-8B72-B642-A07E-79511E104556}" type="presParOf" srcId="{EC48578C-1E93-DC49-B50C-A68161FEEA99}" destId="{79278E3E-61B8-0045-83CC-A0374BBDB588}" srcOrd="0" destOrd="0" presId="urn:microsoft.com/office/officeart/2005/8/layout/list1"/>
    <dgm:cxn modelId="{EE553BF2-1154-2548-B20F-8435C93BF293}" type="presParOf" srcId="{EC48578C-1E93-DC49-B50C-A68161FEEA99}" destId="{16869303-5358-564C-95CC-EE7910E87582}" srcOrd="1" destOrd="0" presId="urn:microsoft.com/office/officeart/2005/8/layout/list1"/>
    <dgm:cxn modelId="{908D7535-21AE-3842-A8E4-5B75B4CCD29A}" type="presParOf" srcId="{A08BC93F-A5F0-FB4A-A359-C5ABA1DD22CF}" destId="{A5E449D2-86BA-974E-A435-6CA19B2E5E2D}" srcOrd="5" destOrd="0" presId="urn:microsoft.com/office/officeart/2005/8/layout/list1"/>
    <dgm:cxn modelId="{F9424511-94AC-3D4D-B79B-46E7D643DE25}" type="presParOf" srcId="{A08BC93F-A5F0-FB4A-A359-C5ABA1DD22CF}" destId="{DBB7ED03-D282-1540-9CAB-2E407A04464D}" srcOrd="6" destOrd="0" presId="urn:microsoft.com/office/officeart/2005/8/layout/list1"/>
    <dgm:cxn modelId="{43D80AF2-10FA-C14A-B543-3ED23A77AD29}" type="presParOf" srcId="{A08BC93F-A5F0-FB4A-A359-C5ABA1DD22CF}" destId="{75D5B9E9-54A6-C044-8793-688FC09BBDBB}" srcOrd="7" destOrd="0" presId="urn:microsoft.com/office/officeart/2005/8/layout/list1"/>
    <dgm:cxn modelId="{7B444C0D-ACA7-FF47-B992-2877ABA50FBF}" type="presParOf" srcId="{A08BC93F-A5F0-FB4A-A359-C5ABA1DD22CF}" destId="{6346CDEB-C74E-3641-9F3E-816FCEB4BB35}" srcOrd="8" destOrd="0" presId="urn:microsoft.com/office/officeart/2005/8/layout/list1"/>
    <dgm:cxn modelId="{AF446133-8D87-4A43-8975-2660A2C51A4E}" type="presParOf" srcId="{6346CDEB-C74E-3641-9F3E-816FCEB4BB35}" destId="{5E24ABB5-D461-3844-A0BF-ADBAC31ADA5B}" srcOrd="0" destOrd="0" presId="urn:microsoft.com/office/officeart/2005/8/layout/list1"/>
    <dgm:cxn modelId="{A983C835-A6C3-4140-A6AA-F832BDCE75CF}" type="presParOf" srcId="{6346CDEB-C74E-3641-9F3E-816FCEB4BB35}" destId="{67CA6B28-CAD7-A444-B59F-42F75C3EDDF6}" srcOrd="1" destOrd="0" presId="urn:microsoft.com/office/officeart/2005/8/layout/list1"/>
    <dgm:cxn modelId="{F4D1CBA2-9861-DF4A-96CD-1E744F9729ED}" type="presParOf" srcId="{A08BC93F-A5F0-FB4A-A359-C5ABA1DD22CF}" destId="{B853F9FF-2FE7-6A45-9669-75F81E2ACA8C}" srcOrd="9" destOrd="0" presId="urn:microsoft.com/office/officeart/2005/8/layout/list1"/>
    <dgm:cxn modelId="{E60C5E9C-F81C-0848-953D-1E0F520B47F3}" type="presParOf" srcId="{A08BC93F-A5F0-FB4A-A359-C5ABA1DD22CF}" destId="{33480149-7E38-574E-8355-1D940167E29E}" srcOrd="10" destOrd="0" presId="urn:microsoft.com/office/officeart/2005/8/layout/list1"/>
    <dgm:cxn modelId="{95362794-DD58-9049-A718-4C3E7143617A}" type="presParOf" srcId="{A08BC93F-A5F0-FB4A-A359-C5ABA1DD22CF}" destId="{674EF331-8505-3740-8F46-6C41CD73648B}" srcOrd="11" destOrd="0" presId="urn:microsoft.com/office/officeart/2005/8/layout/list1"/>
    <dgm:cxn modelId="{040375A5-FFAA-CB4F-96C9-7392D05D6493}" type="presParOf" srcId="{A08BC93F-A5F0-FB4A-A359-C5ABA1DD22CF}" destId="{E7179D8B-1AAA-E84A-B390-0C75E833C988}" srcOrd="12" destOrd="0" presId="urn:microsoft.com/office/officeart/2005/8/layout/list1"/>
    <dgm:cxn modelId="{00337CA2-675A-164C-A10E-D1C5C344D2A0}" type="presParOf" srcId="{E7179D8B-1AAA-E84A-B390-0C75E833C988}" destId="{54B2CEE8-1461-1A42-AA71-604651E4A5C1}" srcOrd="0" destOrd="0" presId="urn:microsoft.com/office/officeart/2005/8/layout/list1"/>
    <dgm:cxn modelId="{9E2C0B11-036C-FD44-8A62-0E0E5DA274D7}" type="presParOf" srcId="{E7179D8B-1AAA-E84A-B390-0C75E833C988}" destId="{33B9F9B8-F7C1-AA40-B2B1-F24508ED2178}" srcOrd="1" destOrd="0" presId="urn:microsoft.com/office/officeart/2005/8/layout/list1"/>
    <dgm:cxn modelId="{99727681-57D6-B840-B466-77DEC90613DB}" type="presParOf" srcId="{A08BC93F-A5F0-FB4A-A359-C5ABA1DD22CF}" destId="{B8FA9C13-A88D-7141-8E54-D50F744C9DD1}" srcOrd="13" destOrd="0" presId="urn:microsoft.com/office/officeart/2005/8/layout/list1"/>
    <dgm:cxn modelId="{18F23485-AE08-A841-8C23-6E283C77EBAC}" type="presParOf" srcId="{A08BC93F-A5F0-FB4A-A359-C5ABA1DD22CF}" destId="{6F25F539-7BB9-FB47-8BE7-938EE10A7403}" srcOrd="14" destOrd="0" presId="urn:microsoft.com/office/officeart/2005/8/layout/list1"/>
    <dgm:cxn modelId="{924A44E6-F05E-BB4E-94DB-5196BB0B8868}" type="presParOf" srcId="{A08BC93F-A5F0-FB4A-A359-C5ABA1DD22CF}" destId="{35813E6E-0B04-8A41-B8C8-1BE495E46DF9}" srcOrd="15" destOrd="0" presId="urn:microsoft.com/office/officeart/2005/8/layout/list1"/>
    <dgm:cxn modelId="{70BD6322-37EA-A340-932B-1855B44CF0D9}" type="presParOf" srcId="{A08BC93F-A5F0-FB4A-A359-C5ABA1DD22CF}" destId="{AA53C92E-1F1D-674A-B32C-7678F259282D}" srcOrd="16" destOrd="0" presId="urn:microsoft.com/office/officeart/2005/8/layout/list1"/>
    <dgm:cxn modelId="{CC4790D8-E222-A245-93C5-1F835876A25E}" type="presParOf" srcId="{AA53C92E-1F1D-674A-B32C-7678F259282D}" destId="{F10B23E1-805E-774B-AA32-A963BF31DBCF}" srcOrd="0" destOrd="0" presId="urn:microsoft.com/office/officeart/2005/8/layout/list1"/>
    <dgm:cxn modelId="{1E5F8FFB-B4F0-1A44-9E6E-907C3A1BDE1F}" type="presParOf" srcId="{AA53C92E-1F1D-674A-B32C-7678F259282D}" destId="{5876E873-520E-8A43-B845-7186BBED025F}" srcOrd="1" destOrd="0" presId="urn:microsoft.com/office/officeart/2005/8/layout/list1"/>
    <dgm:cxn modelId="{195368F3-85AA-7D41-908B-D49806E28C63}" type="presParOf" srcId="{A08BC93F-A5F0-FB4A-A359-C5ABA1DD22CF}" destId="{2A74B921-1C67-434F-AA47-DB4D8B0BDE15}" srcOrd="17" destOrd="0" presId="urn:microsoft.com/office/officeart/2005/8/layout/list1"/>
    <dgm:cxn modelId="{0B7755E1-C368-324C-925D-E2623C60E696}" type="presParOf" srcId="{A08BC93F-A5F0-FB4A-A359-C5ABA1DD22CF}" destId="{B6613E52-0A4F-4743-8620-E1063FE9EB25}" srcOrd="18" destOrd="0" presId="urn:microsoft.com/office/officeart/2005/8/layout/list1"/>
    <dgm:cxn modelId="{CC60DAC8-4B69-E94A-907A-404AA78A3238}" type="presParOf" srcId="{A08BC93F-A5F0-FB4A-A359-C5ABA1DD22CF}" destId="{010C94FA-95E6-8849-A76B-DDF380109981}" srcOrd="19" destOrd="0" presId="urn:microsoft.com/office/officeart/2005/8/layout/list1"/>
    <dgm:cxn modelId="{185F072A-8B76-F242-84F6-97B1106A011F}" type="presParOf" srcId="{A08BC93F-A5F0-FB4A-A359-C5ABA1DD22CF}" destId="{B38C078B-826A-F741-8DBF-7303C19233F2}" srcOrd="20" destOrd="0" presId="urn:microsoft.com/office/officeart/2005/8/layout/list1"/>
    <dgm:cxn modelId="{86D97B77-2BD0-BA40-AD18-176025DC962B}" type="presParOf" srcId="{B38C078B-826A-F741-8DBF-7303C19233F2}" destId="{30B002D3-9CBA-9D41-A6C9-249BB07790EA}" srcOrd="0" destOrd="0" presId="urn:microsoft.com/office/officeart/2005/8/layout/list1"/>
    <dgm:cxn modelId="{18EC0250-C697-8E4C-88D4-69B84D5FB83D}" type="presParOf" srcId="{B38C078B-826A-F741-8DBF-7303C19233F2}" destId="{4F2F49E2-6871-F648-9A29-54FDDD2B3B3A}" srcOrd="1" destOrd="0" presId="urn:microsoft.com/office/officeart/2005/8/layout/list1"/>
    <dgm:cxn modelId="{F418AF2B-CF49-C24B-A4AA-30EDE4A6DAEA}" type="presParOf" srcId="{A08BC93F-A5F0-FB4A-A359-C5ABA1DD22CF}" destId="{0CCA224E-8040-E843-967A-BF9AA685E57A}" srcOrd="21" destOrd="0" presId="urn:microsoft.com/office/officeart/2005/8/layout/list1"/>
    <dgm:cxn modelId="{8FE61712-86B1-C943-89E6-6DD51E197BF0}" type="presParOf" srcId="{A08BC93F-A5F0-FB4A-A359-C5ABA1DD22CF}" destId="{83E699CA-B566-D643-AAF7-EE0287EF1FD4}" srcOrd="22" destOrd="0" presId="urn:microsoft.com/office/officeart/2005/8/layout/list1"/>
    <dgm:cxn modelId="{C3038449-B848-C94A-8C19-0591327F86D1}" type="presParOf" srcId="{A08BC93F-A5F0-FB4A-A359-C5ABA1DD22CF}" destId="{8AF6700B-A157-4743-935D-2B9C2262D2CF}" srcOrd="23" destOrd="0" presId="urn:microsoft.com/office/officeart/2005/8/layout/list1"/>
    <dgm:cxn modelId="{99C79558-E0A8-714D-8232-BF9028CB816C}" type="presParOf" srcId="{A08BC93F-A5F0-FB4A-A359-C5ABA1DD22CF}" destId="{BDE59A10-80B2-D14C-8168-8347EE687FA6}" srcOrd="24" destOrd="0" presId="urn:microsoft.com/office/officeart/2005/8/layout/list1"/>
    <dgm:cxn modelId="{CFD377B1-4ECF-524D-9A3D-985CF12D6486}" type="presParOf" srcId="{BDE59A10-80B2-D14C-8168-8347EE687FA6}" destId="{5AA2A540-2976-9F4A-A56C-9F765BFA87E3}" srcOrd="0" destOrd="0" presId="urn:microsoft.com/office/officeart/2005/8/layout/list1"/>
    <dgm:cxn modelId="{8941B8FA-9A23-1D43-8C18-1E536FD5F1E3}" type="presParOf" srcId="{BDE59A10-80B2-D14C-8168-8347EE687FA6}" destId="{979C35FE-8B90-BA49-88D1-C9D230CF0A9A}" srcOrd="1" destOrd="0" presId="urn:microsoft.com/office/officeart/2005/8/layout/list1"/>
    <dgm:cxn modelId="{3063C172-406A-DB43-8067-C704DEA0C730}" type="presParOf" srcId="{A08BC93F-A5F0-FB4A-A359-C5ABA1DD22CF}" destId="{6BFA1BA9-32CF-A644-9CDB-F94D5F54B134}" srcOrd="25" destOrd="0" presId="urn:microsoft.com/office/officeart/2005/8/layout/list1"/>
    <dgm:cxn modelId="{F88D8970-E0FB-D14C-9CCC-C1A5DFE1C1B8}" type="presParOf" srcId="{A08BC93F-A5F0-FB4A-A359-C5ABA1DD22CF}" destId="{1AE135E7-66FE-774F-BCD1-91A13E5DCB88}" srcOrd="26" destOrd="0" presId="urn:microsoft.com/office/officeart/2005/8/layout/list1"/>
    <dgm:cxn modelId="{BF46DD59-F830-AB47-B27C-288493A5C52B}" type="presParOf" srcId="{A08BC93F-A5F0-FB4A-A359-C5ABA1DD22CF}" destId="{2558846C-E1B9-8145-BEF4-400066820F7A}" srcOrd="27" destOrd="0" presId="urn:microsoft.com/office/officeart/2005/8/layout/list1"/>
    <dgm:cxn modelId="{921BBCFD-40A6-F449-A5DF-C6D98F462B43}" type="presParOf" srcId="{A08BC93F-A5F0-FB4A-A359-C5ABA1DD22CF}" destId="{067EE85D-55BB-B74E-935C-A5F890D1E954}" srcOrd="28" destOrd="0" presId="urn:microsoft.com/office/officeart/2005/8/layout/list1"/>
    <dgm:cxn modelId="{A6C41E9C-D67B-A34F-87A7-9E745DF324C4}" type="presParOf" srcId="{067EE85D-55BB-B74E-935C-A5F890D1E954}" destId="{9FB95F89-B411-C946-B9BB-CBA2AAA602B4}" srcOrd="0" destOrd="0" presId="urn:microsoft.com/office/officeart/2005/8/layout/list1"/>
    <dgm:cxn modelId="{098521EC-CA42-DD42-80F3-88731393A090}" type="presParOf" srcId="{067EE85D-55BB-B74E-935C-A5F890D1E954}" destId="{B7BB182F-93B6-9F4E-A261-6AD70CE5FD6D}" srcOrd="1" destOrd="0" presId="urn:microsoft.com/office/officeart/2005/8/layout/list1"/>
    <dgm:cxn modelId="{1E305B6F-853D-6A42-81BD-82EF79B61E51}" type="presParOf" srcId="{A08BC93F-A5F0-FB4A-A359-C5ABA1DD22CF}" destId="{3791A0EC-F024-AB49-9770-41A30A0B83B2}" srcOrd="29" destOrd="0" presId="urn:microsoft.com/office/officeart/2005/8/layout/list1"/>
    <dgm:cxn modelId="{7B8BE7E9-AC19-0D4B-841E-DE91F3053578}" type="presParOf" srcId="{A08BC93F-A5F0-FB4A-A359-C5ABA1DD22CF}" destId="{CD1C13CD-F56A-B049-838F-42942AA08504}" srcOrd="30" destOrd="0" presId="urn:microsoft.com/office/officeart/2005/8/layout/list1"/>
    <dgm:cxn modelId="{A6A0D8C7-638C-9945-B60E-B26EB41808B8}" type="presParOf" srcId="{A08BC93F-A5F0-FB4A-A359-C5ABA1DD22CF}" destId="{7E2884B3-6F87-3D4F-B6A3-96649D561660}" srcOrd="31" destOrd="0" presId="urn:microsoft.com/office/officeart/2005/8/layout/list1"/>
    <dgm:cxn modelId="{6D55FC18-F6B2-7144-90FC-F4AB61D47C90}" type="presParOf" srcId="{A08BC93F-A5F0-FB4A-A359-C5ABA1DD22CF}" destId="{2DE20F3F-9689-3A41-B8B9-9985605250DD}" srcOrd="32" destOrd="0" presId="urn:microsoft.com/office/officeart/2005/8/layout/list1"/>
    <dgm:cxn modelId="{2B0FD04F-C12A-FE49-BDB0-D27E7F8B1B12}" type="presParOf" srcId="{2DE20F3F-9689-3A41-B8B9-9985605250DD}" destId="{9AEAB8F4-EA1B-454F-B167-9693F3354D03}" srcOrd="0" destOrd="0" presId="urn:microsoft.com/office/officeart/2005/8/layout/list1"/>
    <dgm:cxn modelId="{3996B7AE-5775-0B43-AFF0-55541C151A9C}" type="presParOf" srcId="{2DE20F3F-9689-3A41-B8B9-9985605250DD}" destId="{ABC7AF79-5482-D94E-B43D-24C3CE929183}" srcOrd="1" destOrd="0" presId="urn:microsoft.com/office/officeart/2005/8/layout/list1"/>
    <dgm:cxn modelId="{AD7D7AAE-DCC7-E14D-8B43-F36127D037CB}" type="presParOf" srcId="{A08BC93F-A5F0-FB4A-A359-C5ABA1DD22CF}" destId="{FBA61743-86BF-FF4E-BFAE-C646D90F788F}" srcOrd="33" destOrd="0" presId="urn:microsoft.com/office/officeart/2005/8/layout/list1"/>
    <dgm:cxn modelId="{163E057C-5A2B-A24F-B396-5396E06AF115}" type="presParOf" srcId="{A08BC93F-A5F0-FB4A-A359-C5ABA1DD22CF}" destId="{5556AB39-2839-2E43-92DB-654B209260EB}" srcOrd="3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1F82A07-0340-DB45-952C-D16763D223C5}" type="doc">
      <dgm:prSet loTypeId="urn:microsoft.com/office/officeart/2005/8/layout/list1" loCatId="" qsTypeId="urn:microsoft.com/office/officeart/2005/8/quickstyle/simple1" qsCatId="simple" csTypeId="urn:microsoft.com/office/officeart/2005/8/colors/accent1_2" csCatId="accent1" phldr="1"/>
      <dgm:spPr/>
      <dgm:t>
        <a:bodyPr/>
        <a:lstStyle/>
        <a:p>
          <a:endParaRPr lang="es-ES"/>
        </a:p>
      </dgm:t>
    </dgm:pt>
    <dgm:pt modelId="{1FC81055-02AF-6D48-80D7-A27629ED874E}">
      <dgm:prSet phldrT="[Texto]"/>
      <dgm:spPr>
        <a:solidFill>
          <a:srgbClr val="00B050"/>
        </a:solidFill>
      </dgm:spPr>
      <dgm:t>
        <a:bodyPr/>
        <a:lstStyle/>
        <a:p>
          <a:r>
            <a:rPr lang="es-ES" dirty="0"/>
            <a:t> Conectividad</a:t>
          </a:r>
        </a:p>
      </dgm:t>
    </dgm:pt>
    <dgm:pt modelId="{8AD82F2F-B3CF-924E-AF36-596EA30BB02A}" type="parTrans" cxnId="{0B339E83-1D4B-E341-AE04-10D78F89B10D}">
      <dgm:prSet/>
      <dgm:spPr/>
      <dgm:t>
        <a:bodyPr/>
        <a:lstStyle/>
        <a:p>
          <a:endParaRPr lang="es-ES"/>
        </a:p>
      </dgm:t>
    </dgm:pt>
    <dgm:pt modelId="{ED8FDE00-C87A-4243-AA4D-320EF89FFBC6}" type="sibTrans" cxnId="{0B339E83-1D4B-E341-AE04-10D78F89B10D}">
      <dgm:prSet/>
      <dgm:spPr/>
      <dgm:t>
        <a:bodyPr/>
        <a:lstStyle/>
        <a:p>
          <a:endParaRPr lang="es-ES"/>
        </a:p>
      </dgm:t>
    </dgm:pt>
    <dgm:pt modelId="{C2BC55B6-722A-4E4E-A6DC-BB8371A9BC5A}">
      <dgm:prSet phldrT="[Texto]"/>
      <dgm:spPr>
        <a:solidFill>
          <a:srgbClr val="00B050"/>
        </a:solidFill>
      </dgm:spPr>
      <dgm:t>
        <a:bodyPr/>
        <a:lstStyle/>
        <a:p>
          <a:r>
            <a:rPr lang="es-ES" dirty="0"/>
            <a:t>Adaptabilidad</a:t>
          </a:r>
        </a:p>
      </dgm:t>
    </dgm:pt>
    <dgm:pt modelId="{6FECB731-D24C-C74F-99D3-4B2CD29F17FD}" type="parTrans" cxnId="{57BF6625-3B76-8E49-9D7A-6D8E673D4D95}">
      <dgm:prSet/>
      <dgm:spPr/>
      <dgm:t>
        <a:bodyPr/>
        <a:lstStyle/>
        <a:p>
          <a:endParaRPr lang="es-ES"/>
        </a:p>
      </dgm:t>
    </dgm:pt>
    <dgm:pt modelId="{DCC285AA-9E3B-D646-B717-F4069908EC5E}" type="sibTrans" cxnId="{57BF6625-3B76-8E49-9D7A-6D8E673D4D95}">
      <dgm:prSet/>
      <dgm:spPr/>
      <dgm:t>
        <a:bodyPr/>
        <a:lstStyle/>
        <a:p>
          <a:endParaRPr lang="es-ES"/>
        </a:p>
      </dgm:t>
    </dgm:pt>
    <dgm:pt modelId="{367E5E76-B56E-964D-B72D-26A57BB72E1B}">
      <dgm:prSet phldrT="[Texto]"/>
      <dgm:spPr>
        <a:solidFill>
          <a:srgbClr val="00B050"/>
        </a:solidFill>
      </dgm:spPr>
      <dgm:t>
        <a:bodyPr/>
        <a:lstStyle/>
        <a:p>
          <a:r>
            <a:rPr lang="es-ES" dirty="0"/>
            <a:t>Accesibilidad</a:t>
          </a:r>
        </a:p>
      </dgm:t>
    </dgm:pt>
    <dgm:pt modelId="{13416244-359C-3149-B29A-12324DF3A427}" type="parTrans" cxnId="{F255E1D2-31B5-E541-AABB-82F686231630}">
      <dgm:prSet/>
      <dgm:spPr/>
      <dgm:t>
        <a:bodyPr/>
        <a:lstStyle/>
        <a:p>
          <a:endParaRPr lang="es-ES"/>
        </a:p>
      </dgm:t>
    </dgm:pt>
    <dgm:pt modelId="{85CB96B8-3466-5742-8C6C-1B94E7BD5AF9}" type="sibTrans" cxnId="{F255E1D2-31B5-E541-AABB-82F686231630}">
      <dgm:prSet/>
      <dgm:spPr/>
      <dgm:t>
        <a:bodyPr/>
        <a:lstStyle/>
        <a:p>
          <a:endParaRPr lang="es-ES"/>
        </a:p>
      </dgm:t>
    </dgm:pt>
    <dgm:pt modelId="{4D4A3CCC-0E21-B64A-9139-0CF8557DCC1E}">
      <dgm:prSet phldrT="[Texto]"/>
      <dgm:spPr>
        <a:solidFill>
          <a:srgbClr val="00B050"/>
        </a:solidFill>
      </dgm:spPr>
      <dgm:t>
        <a:bodyPr/>
        <a:lstStyle/>
        <a:p>
          <a:r>
            <a:rPr lang="es-ES" dirty="0"/>
            <a:t>Gestionar datos</a:t>
          </a:r>
        </a:p>
      </dgm:t>
    </dgm:pt>
    <dgm:pt modelId="{25211260-38FA-C948-88C1-5B75B0FEF7B9}" type="parTrans" cxnId="{3E0B20BB-8E74-2545-9005-04B10F219BBE}">
      <dgm:prSet/>
      <dgm:spPr/>
      <dgm:t>
        <a:bodyPr/>
        <a:lstStyle/>
        <a:p>
          <a:endParaRPr lang="es-ES"/>
        </a:p>
      </dgm:t>
    </dgm:pt>
    <dgm:pt modelId="{AC006792-546D-9A47-AD28-22C991ECC4CD}" type="sibTrans" cxnId="{3E0B20BB-8E74-2545-9005-04B10F219BBE}">
      <dgm:prSet/>
      <dgm:spPr/>
      <dgm:t>
        <a:bodyPr/>
        <a:lstStyle/>
        <a:p>
          <a:endParaRPr lang="es-ES"/>
        </a:p>
      </dgm:t>
    </dgm:pt>
    <dgm:pt modelId="{16908458-6744-2C43-AF98-11E0A9EC54E8}">
      <dgm:prSet phldrT="[Texto]"/>
      <dgm:spPr>
        <a:solidFill>
          <a:srgbClr val="00B050"/>
        </a:solidFill>
      </dgm:spPr>
      <dgm:t>
        <a:bodyPr/>
        <a:lstStyle/>
        <a:p>
          <a:r>
            <a:rPr lang="es-ES" dirty="0"/>
            <a:t>Grabar experiencias</a:t>
          </a:r>
        </a:p>
      </dgm:t>
    </dgm:pt>
    <dgm:pt modelId="{E1FFB2D5-E20E-9F46-9BB7-626B737F221C}" type="parTrans" cxnId="{3110CA7E-15D2-A549-B465-1160099328F5}">
      <dgm:prSet/>
      <dgm:spPr/>
      <dgm:t>
        <a:bodyPr/>
        <a:lstStyle/>
        <a:p>
          <a:endParaRPr lang="es-ES"/>
        </a:p>
      </dgm:t>
    </dgm:pt>
    <dgm:pt modelId="{16D07102-63ED-9E44-BEC0-FC8F2CCDFF1E}" type="sibTrans" cxnId="{3110CA7E-15D2-A549-B465-1160099328F5}">
      <dgm:prSet/>
      <dgm:spPr/>
      <dgm:t>
        <a:bodyPr/>
        <a:lstStyle/>
        <a:p>
          <a:endParaRPr lang="es-ES"/>
        </a:p>
      </dgm:t>
    </dgm:pt>
    <dgm:pt modelId="{2A6F5C2C-2B6F-1641-A659-567C90659A3B}">
      <dgm:prSet phldrT="[Texto]"/>
      <dgm:spPr>
        <a:solidFill>
          <a:srgbClr val="00B050"/>
        </a:solidFill>
      </dgm:spPr>
      <dgm:t>
        <a:bodyPr/>
        <a:lstStyle/>
        <a:p>
          <a:r>
            <a:rPr lang="es-ES" dirty="0"/>
            <a:t>Distribuir información y conocimiento</a:t>
          </a:r>
        </a:p>
      </dgm:t>
    </dgm:pt>
    <dgm:pt modelId="{45A41AC3-66BD-9147-93C6-3755F87C96BA}" type="parTrans" cxnId="{CC57620A-1DF2-9844-B386-5ECFB4BAF60A}">
      <dgm:prSet/>
      <dgm:spPr/>
      <dgm:t>
        <a:bodyPr/>
        <a:lstStyle/>
        <a:p>
          <a:endParaRPr lang="es-ES"/>
        </a:p>
      </dgm:t>
    </dgm:pt>
    <dgm:pt modelId="{F735AAEB-97AD-874A-B1A7-ACA1678238ED}" type="sibTrans" cxnId="{CC57620A-1DF2-9844-B386-5ECFB4BAF60A}">
      <dgm:prSet/>
      <dgm:spPr/>
      <dgm:t>
        <a:bodyPr/>
        <a:lstStyle/>
        <a:p>
          <a:endParaRPr lang="es-ES"/>
        </a:p>
      </dgm:t>
    </dgm:pt>
    <dgm:pt modelId="{F10EFA5D-D590-E947-ACD3-B4D8982F4F60}">
      <dgm:prSet phldrT="[Texto]"/>
      <dgm:spPr>
        <a:solidFill>
          <a:srgbClr val="00B050"/>
        </a:solidFill>
      </dgm:spPr>
      <dgm:t>
        <a:bodyPr/>
        <a:lstStyle/>
        <a:p>
          <a:r>
            <a:rPr lang="es-ES" dirty="0"/>
            <a:t>Practicar y experimentar</a:t>
          </a:r>
        </a:p>
      </dgm:t>
    </dgm:pt>
    <dgm:pt modelId="{AC30EB0D-E4DB-9D40-B5D8-6A08CD2E4BA7}" type="parTrans" cxnId="{0FFA47F2-8491-9443-8451-C15F3B3584EA}">
      <dgm:prSet/>
      <dgm:spPr/>
      <dgm:t>
        <a:bodyPr/>
        <a:lstStyle/>
        <a:p>
          <a:endParaRPr lang="es-ES"/>
        </a:p>
      </dgm:t>
    </dgm:pt>
    <dgm:pt modelId="{A1440E1A-91B6-B04F-AF67-63D2445344EA}" type="sibTrans" cxnId="{0FFA47F2-8491-9443-8451-C15F3B3584EA}">
      <dgm:prSet/>
      <dgm:spPr/>
      <dgm:t>
        <a:bodyPr/>
        <a:lstStyle/>
        <a:p>
          <a:endParaRPr lang="es-ES"/>
        </a:p>
      </dgm:t>
    </dgm:pt>
    <dgm:pt modelId="{7F1B5DDD-328A-FD45-84E4-44674F3979F5}">
      <dgm:prSet phldrT="[Texto]"/>
      <dgm:spPr>
        <a:solidFill>
          <a:srgbClr val="00B050"/>
        </a:solidFill>
      </dgm:spPr>
      <dgm:t>
        <a:bodyPr/>
        <a:lstStyle/>
        <a:p>
          <a:r>
            <a:rPr lang="es-ES" dirty="0"/>
            <a:t>Hacer seguimiento individual y colectivo</a:t>
          </a:r>
        </a:p>
      </dgm:t>
    </dgm:pt>
    <dgm:pt modelId="{18B12E14-8998-4546-8ED2-404C0CCFE5E1}" type="parTrans" cxnId="{F95845E6-8B87-BE48-BB0A-2CABB0813386}">
      <dgm:prSet/>
      <dgm:spPr/>
      <dgm:t>
        <a:bodyPr/>
        <a:lstStyle/>
        <a:p>
          <a:endParaRPr lang="es-ES"/>
        </a:p>
      </dgm:t>
    </dgm:pt>
    <dgm:pt modelId="{961B5932-19C5-9549-8905-CE10A4311D1F}" type="sibTrans" cxnId="{F95845E6-8B87-BE48-BB0A-2CABB0813386}">
      <dgm:prSet/>
      <dgm:spPr/>
      <dgm:t>
        <a:bodyPr/>
        <a:lstStyle/>
        <a:p>
          <a:endParaRPr lang="es-ES"/>
        </a:p>
      </dgm:t>
    </dgm:pt>
    <dgm:pt modelId="{CE4673B9-CB46-6543-A613-F86A730B0A84}">
      <dgm:prSet phldrT="[Texto]"/>
      <dgm:spPr>
        <a:solidFill>
          <a:srgbClr val="00B050"/>
        </a:solidFill>
      </dgm:spPr>
      <dgm:t>
        <a:bodyPr/>
        <a:lstStyle/>
        <a:p>
          <a:r>
            <a:rPr lang="es-ES" dirty="0"/>
            <a:t>Implantar</a:t>
          </a:r>
          <a:r>
            <a:rPr lang="es-ES" baseline="0" dirty="0"/>
            <a:t> un  modelo motivacional (</a:t>
          </a:r>
          <a:r>
            <a:rPr lang="es-ES" baseline="0" dirty="0" err="1"/>
            <a:t>gamificar</a:t>
          </a:r>
          <a:r>
            <a:rPr lang="es-ES" baseline="0" dirty="0"/>
            <a:t>)</a:t>
          </a:r>
          <a:endParaRPr lang="es-ES" dirty="0"/>
        </a:p>
      </dgm:t>
    </dgm:pt>
    <dgm:pt modelId="{0627F625-1BCE-BA41-8FFA-41DBF1593DBE}" type="parTrans" cxnId="{ECB317DA-7488-BE4F-8523-02887C5D9C3D}">
      <dgm:prSet/>
      <dgm:spPr/>
      <dgm:t>
        <a:bodyPr/>
        <a:lstStyle/>
        <a:p>
          <a:endParaRPr lang="es-ES"/>
        </a:p>
      </dgm:t>
    </dgm:pt>
    <dgm:pt modelId="{2D199E94-8667-CC4B-9D22-B108786DE7B1}" type="sibTrans" cxnId="{ECB317DA-7488-BE4F-8523-02887C5D9C3D}">
      <dgm:prSet/>
      <dgm:spPr/>
      <dgm:t>
        <a:bodyPr/>
        <a:lstStyle/>
        <a:p>
          <a:endParaRPr lang="es-ES"/>
        </a:p>
      </dgm:t>
    </dgm:pt>
    <dgm:pt modelId="{A08BC93F-A5F0-FB4A-A359-C5ABA1DD22CF}" type="pres">
      <dgm:prSet presAssocID="{11F82A07-0340-DB45-952C-D16763D223C5}" presName="linear" presStyleCnt="0">
        <dgm:presLayoutVars>
          <dgm:dir/>
          <dgm:animLvl val="lvl"/>
          <dgm:resizeHandles val="exact"/>
        </dgm:presLayoutVars>
      </dgm:prSet>
      <dgm:spPr/>
      <dgm:t>
        <a:bodyPr/>
        <a:lstStyle/>
        <a:p>
          <a:endParaRPr lang="es-ES"/>
        </a:p>
      </dgm:t>
    </dgm:pt>
    <dgm:pt modelId="{D0E9DAA0-FCFD-164F-917D-4B8E1311AC68}" type="pres">
      <dgm:prSet presAssocID="{1FC81055-02AF-6D48-80D7-A27629ED874E}" presName="parentLin" presStyleCnt="0"/>
      <dgm:spPr/>
    </dgm:pt>
    <dgm:pt modelId="{6B09AE2E-340A-8846-8D7B-D61CD10C5473}" type="pres">
      <dgm:prSet presAssocID="{1FC81055-02AF-6D48-80D7-A27629ED874E}" presName="parentLeftMargin" presStyleLbl="node1" presStyleIdx="0" presStyleCnt="9"/>
      <dgm:spPr/>
      <dgm:t>
        <a:bodyPr/>
        <a:lstStyle/>
        <a:p>
          <a:endParaRPr lang="es-ES"/>
        </a:p>
      </dgm:t>
    </dgm:pt>
    <dgm:pt modelId="{5998B2A4-37DB-654E-9F64-4420FE110F4A}" type="pres">
      <dgm:prSet presAssocID="{1FC81055-02AF-6D48-80D7-A27629ED874E}" presName="parentText" presStyleLbl="node1" presStyleIdx="0" presStyleCnt="9">
        <dgm:presLayoutVars>
          <dgm:chMax val="0"/>
          <dgm:bulletEnabled val="1"/>
        </dgm:presLayoutVars>
      </dgm:prSet>
      <dgm:spPr/>
      <dgm:t>
        <a:bodyPr/>
        <a:lstStyle/>
        <a:p>
          <a:endParaRPr lang="es-ES"/>
        </a:p>
      </dgm:t>
    </dgm:pt>
    <dgm:pt modelId="{9922C209-35E7-6545-B5C2-41EBA35F1DEE}" type="pres">
      <dgm:prSet presAssocID="{1FC81055-02AF-6D48-80D7-A27629ED874E}" presName="negativeSpace" presStyleCnt="0"/>
      <dgm:spPr/>
    </dgm:pt>
    <dgm:pt modelId="{B988194E-C0ED-7A4D-B91C-58410D639E37}" type="pres">
      <dgm:prSet presAssocID="{1FC81055-02AF-6D48-80D7-A27629ED874E}" presName="childText" presStyleLbl="conFgAcc1" presStyleIdx="0" presStyleCnt="9">
        <dgm:presLayoutVars>
          <dgm:bulletEnabled val="1"/>
        </dgm:presLayoutVars>
      </dgm:prSet>
      <dgm:spPr/>
    </dgm:pt>
    <dgm:pt modelId="{9E0A891D-FF35-B345-AF4F-81237F2F8A2B}" type="pres">
      <dgm:prSet presAssocID="{ED8FDE00-C87A-4243-AA4D-320EF89FFBC6}" presName="spaceBetweenRectangles" presStyleCnt="0"/>
      <dgm:spPr/>
    </dgm:pt>
    <dgm:pt modelId="{EC48578C-1E93-DC49-B50C-A68161FEEA99}" type="pres">
      <dgm:prSet presAssocID="{C2BC55B6-722A-4E4E-A6DC-BB8371A9BC5A}" presName="parentLin" presStyleCnt="0"/>
      <dgm:spPr/>
    </dgm:pt>
    <dgm:pt modelId="{79278E3E-61B8-0045-83CC-A0374BBDB588}" type="pres">
      <dgm:prSet presAssocID="{C2BC55B6-722A-4E4E-A6DC-BB8371A9BC5A}" presName="parentLeftMargin" presStyleLbl="node1" presStyleIdx="0" presStyleCnt="9"/>
      <dgm:spPr/>
      <dgm:t>
        <a:bodyPr/>
        <a:lstStyle/>
        <a:p>
          <a:endParaRPr lang="es-ES"/>
        </a:p>
      </dgm:t>
    </dgm:pt>
    <dgm:pt modelId="{16869303-5358-564C-95CC-EE7910E87582}" type="pres">
      <dgm:prSet presAssocID="{C2BC55B6-722A-4E4E-A6DC-BB8371A9BC5A}" presName="parentText" presStyleLbl="node1" presStyleIdx="1" presStyleCnt="9">
        <dgm:presLayoutVars>
          <dgm:chMax val="0"/>
          <dgm:bulletEnabled val="1"/>
        </dgm:presLayoutVars>
      </dgm:prSet>
      <dgm:spPr/>
      <dgm:t>
        <a:bodyPr/>
        <a:lstStyle/>
        <a:p>
          <a:endParaRPr lang="es-ES"/>
        </a:p>
      </dgm:t>
    </dgm:pt>
    <dgm:pt modelId="{A5E449D2-86BA-974E-A435-6CA19B2E5E2D}" type="pres">
      <dgm:prSet presAssocID="{C2BC55B6-722A-4E4E-A6DC-BB8371A9BC5A}" presName="negativeSpace" presStyleCnt="0"/>
      <dgm:spPr/>
    </dgm:pt>
    <dgm:pt modelId="{DBB7ED03-D282-1540-9CAB-2E407A04464D}" type="pres">
      <dgm:prSet presAssocID="{C2BC55B6-722A-4E4E-A6DC-BB8371A9BC5A}" presName="childText" presStyleLbl="conFgAcc1" presStyleIdx="1" presStyleCnt="9">
        <dgm:presLayoutVars>
          <dgm:bulletEnabled val="1"/>
        </dgm:presLayoutVars>
      </dgm:prSet>
      <dgm:spPr/>
    </dgm:pt>
    <dgm:pt modelId="{75D5B9E9-54A6-C044-8793-688FC09BBDBB}" type="pres">
      <dgm:prSet presAssocID="{DCC285AA-9E3B-D646-B717-F4069908EC5E}" presName="spaceBetweenRectangles" presStyleCnt="0"/>
      <dgm:spPr/>
    </dgm:pt>
    <dgm:pt modelId="{6346CDEB-C74E-3641-9F3E-816FCEB4BB35}" type="pres">
      <dgm:prSet presAssocID="{367E5E76-B56E-964D-B72D-26A57BB72E1B}" presName="parentLin" presStyleCnt="0"/>
      <dgm:spPr/>
    </dgm:pt>
    <dgm:pt modelId="{5E24ABB5-D461-3844-A0BF-ADBAC31ADA5B}" type="pres">
      <dgm:prSet presAssocID="{367E5E76-B56E-964D-B72D-26A57BB72E1B}" presName="parentLeftMargin" presStyleLbl="node1" presStyleIdx="1" presStyleCnt="9"/>
      <dgm:spPr/>
      <dgm:t>
        <a:bodyPr/>
        <a:lstStyle/>
        <a:p>
          <a:endParaRPr lang="es-ES"/>
        </a:p>
      </dgm:t>
    </dgm:pt>
    <dgm:pt modelId="{67CA6B28-CAD7-A444-B59F-42F75C3EDDF6}" type="pres">
      <dgm:prSet presAssocID="{367E5E76-B56E-964D-B72D-26A57BB72E1B}" presName="parentText" presStyleLbl="node1" presStyleIdx="2" presStyleCnt="9">
        <dgm:presLayoutVars>
          <dgm:chMax val="0"/>
          <dgm:bulletEnabled val="1"/>
        </dgm:presLayoutVars>
      </dgm:prSet>
      <dgm:spPr/>
      <dgm:t>
        <a:bodyPr/>
        <a:lstStyle/>
        <a:p>
          <a:endParaRPr lang="es-ES"/>
        </a:p>
      </dgm:t>
    </dgm:pt>
    <dgm:pt modelId="{B853F9FF-2FE7-6A45-9669-75F81E2ACA8C}" type="pres">
      <dgm:prSet presAssocID="{367E5E76-B56E-964D-B72D-26A57BB72E1B}" presName="negativeSpace" presStyleCnt="0"/>
      <dgm:spPr/>
    </dgm:pt>
    <dgm:pt modelId="{33480149-7E38-574E-8355-1D940167E29E}" type="pres">
      <dgm:prSet presAssocID="{367E5E76-B56E-964D-B72D-26A57BB72E1B}" presName="childText" presStyleLbl="conFgAcc1" presStyleIdx="2" presStyleCnt="9">
        <dgm:presLayoutVars>
          <dgm:bulletEnabled val="1"/>
        </dgm:presLayoutVars>
      </dgm:prSet>
      <dgm:spPr/>
    </dgm:pt>
    <dgm:pt modelId="{674EF331-8505-3740-8F46-6C41CD73648B}" type="pres">
      <dgm:prSet presAssocID="{85CB96B8-3466-5742-8C6C-1B94E7BD5AF9}" presName="spaceBetweenRectangles" presStyleCnt="0"/>
      <dgm:spPr/>
    </dgm:pt>
    <dgm:pt modelId="{E7179D8B-1AAA-E84A-B390-0C75E833C988}" type="pres">
      <dgm:prSet presAssocID="{4D4A3CCC-0E21-B64A-9139-0CF8557DCC1E}" presName="parentLin" presStyleCnt="0"/>
      <dgm:spPr/>
    </dgm:pt>
    <dgm:pt modelId="{54B2CEE8-1461-1A42-AA71-604651E4A5C1}" type="pres">
      <dgm:prSet presAssocID="{4D4A3CCC-0E21-B64A-9139-0CF8557DCC1E}" presName="parentLeftMargin" presStyleLbl="node1" presStyleIdx="2" presStyleCnt="9"/>
      <dgm:spPr/>
      <dgm:t>
        <a:bodyPr/>
        <a:lstStyle/>
        <a:p>
          <a:endParaRPr lang="es-ES"/>
        </a:p>
      </dgm:t>
    </dgm:pt>
    <dgm:pt modelId="{33B9F9B8-F7C1-AA40-B2B1-F24508ED2178}" type="pres">
      <dgm:prSet presAssocID="{4D4A3CCC-0E21-B64A-9139-0CF8557DCC1E}" presName="parentText" presStyleLbl="node1" presStyleIdx="3" presStyleCnt="9">
        <dgm:presLayoutVars>
          <dgm:chMax val="0"/>
          <dgm:bulletEnabled val="1"/>
        </dgm:presLayoutVars>
      </dgm:prSet>
      <dgm:spPr/>
      <dgm:t>
        <a:bodyPr/>
        <a:lstStyle/>
        <a:p>
          <a:endParaRPr lang="es-ES"/>
        </a:p>
      </dgm:t>
    </dgm:pt>
    <dgm:pt modelId="{B8FA9C13-A88D-7141-8E54-D50F744C9DD1}" type="pres">
      <dgm:prSet presAssocID="{4D4A3CCC-0E21-B64A-9139-0CF8557DCC1E}" presName="negativeSpace" presStyleCnt="0"/>
      <dgm:spPr/>
    </dgm:pt>
    <dgm:pt modelId="{6F25F539-7BB9-FB47-8BE7-938EE10A7403}" type="pres">
      <dgm:prSet presAssocID="{4D4A3CCC-0E21-B64A-9139-0CF8557DCC1E}" presName="childText" presStyleLbl="conFgAcc1" presStyleIdx="3" presStyleCnt="9">
        <dgm:presLayoutVars>
          <dgm:bulletEnabled val="1"/>
        </dgm:presLayoutVars>
      </dgm:prSet>
      <dgm:spPr/>
    </dgm:pt>
    <dgm:pt modelId="{35813E6E-0B04-8A41-B8C8-1BE495E46DF9}" type="pres">
      <dgm:prSet presAssocID="{AC006792-546D-9A47-AD28-22C991ECC4CD}" presName="spaceBetweenRectangles" presStyleCnt="0"/>
      <dgm:spPr/>
    </dgm:pt>
    <dgm:pt modelId="{AA53C92E-1F1D-674A-B32C-7678F259282D}" type="pres">
      <dgm:prSet presAssocID="{16908458-6744-2C43-AF98-11E0A9EC54E8}" presName="parentLin" presStyleCnt="0"/>
      <dgm:spPr/>
    </dgm:pt>
    <dgm:pt modelId="{F10B23E1-805E-774B-AA32-A963BF31DBCF}" type="pres">
      <dgm:prSet presAssocID="{16908458-6744-2C43-AF98-11E0A9EC54E8}" presName="parentLeftMargin" presStyleLbl="node1" presStyleIdx="3" presStyleCnt="9"/>
      <dgm:spPr/>
      <dgm:t>
        <a:bodyPr/>
        <a:lstStyle/>
        <a:p>
          <a:endParaRPr lang="es-ES"/>
        </a:p>
      </dgm:t>
    </dgm:pt>
    <dgm:pt modelId="{5876E873-520E-8A43-B845-7186BBED025F}" type="pres">
      <dgm:prSet presAssocID="{16908458-6744-2C43-AF98-11E0A9EC54E8}" presName="parentText" presStyleLbl="node1" presStyleIdx="4" presStyleCnt="9">
        <dgm:presLayoutVars>
          <dgm:chMax val="0"/>
          <dgm:bulletEnabled val="1"/>
        </dgm:presLayoutVars>
      </dgm:prSet>
      <dgm:spPr/>
      <dgm:t>
        <a:bodyPr/>
        <a:lstStyle/>
        <a:p>
          <a:endParaRPr lang="es-ES"/>
        </a:p>
      </dgm:t>
    </dgm:pt>
    <dgm:pt modelId="{2A74B921-1C67-434F-AA47-DB4D8B0BDE15}" type="pres">
      <dgm:prSet presAssocID="{16908458-6744-2C43-AF98-11E0A9EC54E8}" presName="negativeSpace" presStyleCnt="0"/>
      <dgm:spPr/>
    </dgm:pt>
    <dgm:pt modelId="{B6613E52-0A4F-4743-8620-E1063FE9EB25}" type="pres">
      <dgm:prSet presAssocID="{16908458-6744-2C43-AF98-11E0A9EC54E8}" presName="childText" presStyleLbl="conFgAcc1" presStyleIdx="4" presStyleCnt="9">
        <dgm:presLayoutVars>
          <dgm:bulletEnabled val="1"/>
        </dgm:presLayoutVars>
      </dgm:prSet>
      <dgm:spPr/>
    </dgm:pt>
    <dgm:pt modelId="{010C94FA-95E6-8849-A76B-DDF380109981}" type="pres">
      <dgm:prSet presAssocID="{16D07102-63ED-9E44-BEC0-FC8F2CCDFF1E}" presName="spaceBetweenRectangles" presStyleCnt="0"/>
      <dgm:spPr/>
    </dgm:pt>
    <dgm:pt modelId="{B38C078B-826A-F741-8DBF-7303C19233F2}" type="pres">
      <dgm:prSet presAssocID="{2A6F5C2C-2B6F-1641-A659-567C90659A3B}" presName="parentLin" presStyleCnt="0"/>
      <dgm:spPr/>
    </dgm:pt>
    <dgm:pt modelId="{30B002D3-9CBA-9D41-A6C9-249BB07790EA}" type="pres">
      <dgm:prSet presAssocID="{2A6F5C2C-2B6F-1641-A659-567C90659A3B}" presName="parentLeftMargin" presStyleLbl="node1" presStyleIdx="4" presStyleCnt="9"/>
      <dgm:spPr/>
      <dgm:t>
        <a:bodyPr/>
        <a:lstStyle/>
        <a:p>
          <a:endParaRPr lang="es-ES"/>
        </a:p>
      </dgm:t>
    </dgm:pt>
    <dgm:pt modelId="{4F2F49E2-6871-F648-9A29-54FDDD2B3B3A}" type="pres">
      <dgm:prSet presAssocID="{2A6F5C2C-2B6F-1641-A659-567C90659A3B}" presName="parentText" presStyleLbl="node1" presStyleIdx="5" presStyleCnt="9">
        <dgm:presLayoutVars>
          <dgm:chMax val="0"/>
          <dgm:bulletEnabled val="1"/>
        </dgm:presLayoutVars>
      </dgm:prSet>
      <dgm:spPr/>
      <dgm:t>
        <a:bodyPr/>
        <a:lstStyle/>
        <a:p>
          <a:endParaRPr lang="es-ES"/>
        </a:p>
      </dgm:t>
    </dgm:pt>
    <dgm:pt modelId="{0CCA224E-8040-E843-967A-BF9AA685E57A}" type="pres">
      <dgm:prSet presAssocID="{2A6F5C2C-2B6F-1641-A659-567C90659A3B}" presName="negativeSpace" presStyleCnt="0"/>
      <dgm:spPr/>
    </dgm:pt>
    <dgm:pt modelId="{83E699CA-B566-D643-AAF7-EE0287EF1FD4}" type="pres">
      <dgm:prSet presAssocID="{2A6F5C2C-2B6F-1641-A659-567C90659A3B}" presName="childText" presStyleLbl="conFgAcc1" presStyleIdx="5" presStyleCnt="9">
        <dgm:presLayoutVars>
          <dgm:bulletEnabled val="1"/>
        </dgm:presLayoutVars>
      </dgm:prSet>
      <dgm:spPr/>
    </dgm:pt>
    <dgm:pt modelId="{8AF6700B-A157-4743-935D-2B9C2262D2CF}" type="pres">
      <dgm:prSet presAssocID="{F735AAEB-97AD-874A-B1A7-ACA1678238ED}" presName="spaceBetweenRectangles" presStyleCnt="0"/>
      <dgm:spPr/>
    </dgm:pt>
    <dgm:pt modelId="{BDE59A10-80B2-D14C-8168-8347EE687FA6}" type="pres">
      <dgm:prSet presAssocID="{F10EFA5D-D590-E947-ACD3-B4D8982F4F60}" presName="parentLin" presStyleCnt="0"/>
      <dgm:spPr/>
    </dgm:pt>
    <dgm:pt modelId="{5AA2A540-2976-9F4A-A56C-9F765BFA87E3}" type="pres">
      <dgm:prSet presAssocID="{F10EFA5D-D590-E947-ACD3-B4D8982F4F60}" presName="parentLeftMargin" presStyleLbl="node1" presStyleIdx="5" presStyleCnt="9"/>
      <dgm:spPr/>
      <dgm:t>
        <a:bodyPr/>
        <a:lstStyle/>
        <a:p>
          <a:endParaRPr lang="es-ES"/>
        </a:p>
      </dgm:t>
    </dgm:pt>
    <dgm:pt modelId="{979C35FE-8B90-BA49-88D1-C9D230CF0A9A}" type="pres">
      <dgm:prSet presAssocID="{F10EFA5D-D590-E947-ACD3-B4D8982F4F60}" presName="parentText" presStyleLbl="node1" presStyleIdx="6" presStyleCnt="9">
        <dgm:presLayoutVars>
          <dgm:chMax val="0"/>
          <dgm:bulletEnabled val="1"/>
        </dgm:presLayoutVars>
      </dgm:prSet>
      <dgm:spPr/>
      <dgm:t>
        <a:bodyPr/>
        <a:lstStyle/>
        <a:p>
          <a:endParaRPr lang="es-ES"/>
        </a:p>
      </dgm:t>
    </dgm:pt>
    <dgm:pt modelId="{6BFA1BA9-32CF-A644-9CDB-F94D5F54B134}" type="pres">
      <dgm:prSet presAssocID="{F10EFA5D-D590-E947-ACD3-B4D8982F4F60}" presName="negativeSpace" presStyleCnt="0"/>
      <dgm:spPr/>
    </dgm:pt>
    <dgm:pt modelId="{1AE135E7-66FE-774F-BCD1-91A13E5DCB88}" type="pres">
      <dgm:prSet presAssocID="{F10EFA5D-D590-E947-ACD3-B4D8982F4F60}" presName="childText" presStyleLbl="conFgAcc1" presStyleIdx="6" presStyleCnt="9">
        <dgm:presLayoutVars>
          <dgm:bulletEnabled val="1"/>
        </dgm:presLayoutVars>
      </dgm:prSet>
      <dgm:spPr/>
    </dgm:pt>
    <dgm:pt modelId="{2558846C-E1B9-8145-BEF4-400066820F7A}" type="pres">
      <dgm:prSet presAssocID="{A1440E1A-91B6-B04F-AF67-63D2445344EA}" presName="spaceBetweenRectangles" presStyleCnt="0"/>
      <dgm:spPr/>
    </dgm:pt>
    <dgm:pt modelId="{067EE85D-55BB-B74E-935C-A5F890D1E954}" type="pres">
      <dgm:prSet presAssocID="{7F1B5DDD-328A-FD45-84E4-44674F3979F5}" presName="parentLin" presStyleCnt="0"/>
      <dgm:spPr/>
    </dgm:pt>
    <dgm:pt modelId="{9FB95F89-B411-C946-B9BB-CBA2AAA602B4}" type="pres">
      <dgm:prSet presAssocID="{7F1B5DDD-328A-FD45-84E4-44674F3979F5}" presName="parentLeftMargin" presStyleLbl="node1" presStyleIdx="6" presStyleCnt="9"/>
      <dgm:spPr/>
      <dgm:t>
        <a:bodyPr/>
        <a:lstStyle/>
        <a:p>
          <a:endParaRPr lang="es-ES"/>
        </a:p>
      </dgm:t>
    </dgm:pt>
    <dgm:pt modelId="{B7BB182F-93B6-9F4E-A261-6AD70CE5FD6D}" type="pres">
      <dgm:prSet presAssocID="{7F1B5DDD-328A-FD45-84E4-44674F3979F5}" presName="parentText" presStyleLbl="node1" presStyleIdx="7" presStyleCnt="9">
        <dgm:presLayoutVars>
          <dgm:chMax val="0"/>
          <dgm:bulletEnabled val="1"/>
        </dgm:presLayoutVars>
      </dgm:prSet>
      <dgm:spPr/>
      <dgm:t>
        <a:bodyPr/>
        <a:lstStyle/>
        <a:p>
          <a:endParaRPr lang="es-ES"/>
        </a:p>
      </dgm:t>
    </dgm:pt>
    <dgm:pt modelId="{3791A0EC-F024-AB49-9770-41A30A0B83B2}" type="pres">
      <dgm:prSet presAssocID="{7F1B5DDD-328A-FD45-84E4-44674F3979F5}" presName="negativeSpace" presStyleCnt="0"/>
      <dgm:spPr/>
    </dgm:pt>
    <dgm:pt modelId="{CD1C13CD-F56A-B049-838F-42942AA08504}" type="pres">
      <dgm:prSet presAssocID="{7F1B5DDD-328A-FD45-84E4-44674F3979F5}" presName="childText" presStyleLbl="conFgAcc1" presStyleIdx="7" presStyleCnt="9">
        <dgm:presLayoutVars>
          <dgm:bulletEnabled val="1"/>
        </dgm:presLayoutVars>
      </dgm:prSet>
      <dgm:spPr/>
    </dgm:pt>
    <dgm:pt modelId="{7E2884B3-6F87-3D4F-B6A3-96649D561660}" type="pres">
      <dgm:prSet presAssocID="{961B5932-19C5-9549-8905-CE10A4311D1F}" presName="spaceBetweenRectangles" presStyleCnt="0"/>
      <dgm:spPr/>
    </dgm:pt>
    <dgm:pt modelId="{2DE20F3F-9689-3A41-B8B9-9985605250DD}" type="pres">
      <dgm:prSet presAssocID="{CE4673B9-CB46-6543-A613-F86A730B0A84}" presName="parentLin" presStyleCnt="0"/>
      <dgm:spPr/>
    </dgm:pt>
    <dgm:pt modelId="{9AEAB8F4-EA1B-454F-B167-9693F3354D03}" type="pres">
      <dgm:prSet presAssocID="{CE4673B9-CB46-6543-A613-F86A730B0A84}" presName="parentLeftMargin" presStyleLbl="node1" presStyleIdx="7" presStyleCnt="9"/>
      <dgm:spPr/>
      <dgm:t>
        <a:bodyPr/>
        <a:lstStyle/>
        <a:p>
          <a:endParaRPr lang="es-ES"/>
        </a:p>
      </dgm:t>
    </dgm:pt>
    <dgm:pt modelId="{ABC7AF79-5482-D94E-B43D-24C3CE929183}" type="pres">
      <dgm:prSet presAssocID="{CE4673B9-CB46-6543-A613-F86A730B0A84}" presName="parentText" presStyleLbl="node1" presStyleIdx="8" presStyleCnt="9">
        <dgm:presLayoutVars>
          <dgm:chMax val="0"/>
          <dgm:bulletEnabled val="1"/>
        </dgm:presLayoutVars>
      </dgm:prSet>
      <dgm:spPr/>
      <dgm:t>
        <a:bodyPr/>
        <a:lstStyle/>
        <a:p>
          <a:endParaRPr lang="es-ES"/>
        </a:p>
      </dgm:t>
    </dgm:pt>
    <dgm:pt modelId="{FBA61743-86BF-FF4E-BFAE-C646D90F788F}" type="pres">
      <dgm:prSet presAssocID="{CE4673B9-CB46-6543-A613-F86A730B0A84}" presName="negativeSpace" presStyleCnt="0"/>
      <dgm:spPr/>
    </dgm:pt>
    <dgm:pt modelId="{5556AB39-2839-2E43-92DB-654B209260EB}" type="pres">
      <dgm:prSet presAssocID="{CE4673B9-CB46-6543-A613-F86A730B0A84}" presName="childText" presStyleLbl="conFgAcc1" presStyleIdx="8" presStyleCnt="9">
        <dgm:presLayoutVars>
          <dgm:bulletEnabled val="1"/>
        </dgm:presLayoutVars>
      </dgm:prSet>
      <dgm:spPr/>
    </dgm:pt>
  </dgm:ptLst>
  <dgm:cxnLst>
    <dgm:cxn modelId="{FF92A747-2C25-554B-8A14-03D4281F22C0}" type="presOf" srcId="{2A6F5C2C-2B6F-1641-A659-567C90659A3B}" destId="{30B002D3-9CBA-9D41-A6C9-249BB07790EA}" srcOrd="0" destOrd="0" presId="urn:microsoft.com/office/officeart/2005/8/layout/list1"/>
    <dgm:cxn modelId="{B22EE909-6EFA-C742-AE6E-A2DC5D9B069E}" type="presOf" srcId="{16908458-6744-2C43-AF98-11E0A9EC54E8}" destId="{5876E873-520E-8A43-B845-7186BBED025F}" srcOrd="1" destOrd="0" presId="urn:microsoft.com/office/officeart/2005/8/layout/list1"/>
    <dgm:cxn modelId="{ECB317DA-7488-BE4F-8523-02887C5D9C3D}" srcId="{11F82A07-0340-DB45-952C-D16763D223C5}" destId="{CE4673B9-CB46-6543-A613-F86A730B0A84}" srcOrd="8" destOrd="0" parTransId="{0627F625-1BCE-BA41-8FFA-41DBF1593DBE}" sibTransId="{2D199E94-8667-CC4B-9D22-B108786DE7B1}"/>
    <dgm:cxn modelId="{F255E1D2-31B5-E541-AABB-82F686231630}" srcId="{11F82A07-0340-DB45-952C-D16763D223C5}" destId="{367E5E76-B56E-964D-B72D-26A57BB72E1B}" srcOrd="2" destOrd="0" parTransId="{13416244-359C-3149-B29A-12324DF3A427}" sibTransId="{85CB96B8-3466-5742-8C6C-1B94E7BD5AF9}"/>
    <dgm:cxn modelId="{3E0B20BB-8E74-2545-9005-04B10F219BBE}" srcId="{11F82A07-0340-DB45-952C-D16763D223C5}" destId="{4D4A3CCC-0E21-B64A-9139-0CF8557DCC1E}" srcOrd="3" destOrd="0" parTransId="{25211260-38FA-C948-88C1-5B75B0FEF7B9}" sibTransId="{AC006792-546D-9A47-AD28-22C991ECC4CD}"/>
    <dgm:cxn modelId="{A9566954-83D4-694B-B02D-60B52093FB8D}" type="presOf" srcId="{CE4673B9-CB46-6543-A613-F86A730B0A84}" destId="{9AEAB8F4-EA1B-454F-B167-9693F3354D03}" srcOrd="0" destOrd="0" presId="urn:microsoft.com/office/officeart/2005/8/layout/list1"/>
    <dgm:cxn modelId="{72E17EAD-A43F-C142-9940-711FA39832E1}" type="presOf" srcId="{C2BC55B6-722A-4E4E-A6DC-BB8371A9BC5A}" destId="{16869303-5358-564C-95CC-EE7910E87582}" srcOrd="1" destOrd="0" presId="urn:microsoft.com/office/officeart/2005/8/layout/list1"/>
    <dgm:cxn modelId="{FCBD371B-8820-0446-BFE4-0A52C417C405}" type="presOf" srcId="{C2BC55B6-722A-4E4E-A6DC-BB8371A9BC5A}" destId="{79278E3E-61B8-0045-83CC-A0374BBDB588}" srcOrd="0" destOrd="0" presId="urn:microsoft.com/office/officeart/2005/8/layout/list1"/>
    <dgm:cxn modelId="{F95845E6-8B87-BE48-BB0A-2CABB0813386}" srcId="{11F82A07-0340-DB45-952C-D16763D223C5}" destId="{7F1B5DDD-328A-FD45-84E4-44674F3979F5}" srcOrd="7" destOrd="0" parTransId="{18B12E14-8998-4546-8ED2-404C0CCFE5E1}" sibTransId="{961B5932-19C5-9549-8905-CE10A4311D1F}"/>
    <dgm:cxn modelId="{3110CA7E-15D2-A549-B465-1160099328F5}" srcId="{11F82A07-0340-DB45-952C-D16763D223C5}" destId="{16908458-6744-2C43-AF98-11E0A9EC54E8}" srcOrd="4" destOrd="0" parTransId="{E1FFB2D5-E20E-9F46-9BB7-626B737F221C}" sibTransId="{16D07102-63ED-9E44-BEC0-FC8F2CCDFF1E}"/>
    <dgm:cxn modelId="{9C2E966F-AE83-4649-B953-791A95C065A6}" type="presOf" srcId="{367E5E76-B56E-964D-B72D-26A57BB72E1B}" destId="{67CA6B28-CAD7-A444-B59F-42F75C3EDDF6}" srcOrd="1" destOrd="0" presId="urn:microsoft.com/office/officeart/2005/8/layout/list1"/>
    <dgm:cxn modelId="{5ADD1D45-47CB-7E40-8BC6-FE6F6B2015FB}" type="presOf" srcId="{16908458-6744-2C43-AF98-11E0A9EC54E8}" destId="{F10B23E1-805E-774B-AA32-A963BF31DBCF}" srcOrd="0" destOrd="0" presId="urn:microsoft.com/office/officeart/2005/8/layout/list1"/>
    <dgm:cxn modelId="{9580AF8D-182D-8045-B174-DF6E3CF8D093}" type="presOf" srcId="{4D4A3CCC-0E21-B64A-9139-0CF8557DCC1E}" destId="{54B2CEE8-1461-1A42-AA71-604651E4A5C1}" srcOrd="0" destOrd="0" presId="urn:microsoft.com/office/officeart/2005/8/layout/list1"/>
    <dgm:cxn modelId="{A9E0F1A6-EF30-ED4A-BC95-576AFC9D0D76}" type="presOf" srcId="{1FC81055-02AF-6D48-80D7-A27629ED874E}" destId="{6B09AE2E-340A-8846-8D7B-D61CD10C5473}" srcOrd="0" destOrd="0" presId="urn:microsoft.com/office/officeart/2005/8/layout/list1"/>
    <dgm:cxn modelId="{327A4C59-D3DB-B24E-87C1-76D78378DFE4}" type="presOf" srcId="{7F1B5DDD-328A-FD45-84E4-44674F3979F5}" destId="{9FB95F89-B411-C946-B9BB-CBA2AAA602B4}" srcOrd="0" destOrd="0" presId="urn:microsoft.com/office/officeart/2005/8/layout/list1"/>
    <dgm:cxn modelId="{828A3D73-268A-A34A-98CC-60868B7E8DD5}" type="presOf" srcId="{11F82A07-0340-DB45-952C-D16763D223C5}" destId="{A08BC93F-A5F0-FB4A-A359-C5ABA1DD22CF}" srcOrd="0" destOrd="0" presId="urn:microsoft.com/office/officeart/2005/8/layout/list1"/>
    <dgm:cxn modelId="{0B339E83-1D4B-E341-AE04-10D78F89B10D}" srcId="{11F82A07-0340-DB45-952C-D16763D223C5}" destId="{1FC81055-02AF-6D48-80D7-A27629ED874E}" srcOrd="0" destOrd="0" parTransId="{8AD82F2F-B3CF-924E-AF36-596EA30BB02A}" sibTransId="{ED8FDE00-C87A-4243-AA4D-320EF89FFBC6}"/>
    <dgm:cxn modelId="{1AE87523-414E-D543-8D97-89231C67CA06}" type="presOf" srcId="{F10EFA5D-D590-E947-ACD3-B4D8982F4F60}" destId="{5AA2A540-2976-9F4A-A56C-9F765BFA87E3}" srcOrd="0" destOrd="0" presId="urn:microsoft.com/office/officeart/2005/8/layout/list1"/>
    <dgm:cxn modelId="{42118A78-9190-A34C-A54C-30893A64B434}" type="presOf" srcId="{1FC81055-02AF-6D48-80D7-A27629ED874E}" destId="{5998B2A4-37DB-654E-9F64-4420FE110F4A}" srcOrd="1" destOrd="0" presId="urn:microsoft.com/office/officeart/2005/8/layout/list1"/>
    <dgm:cxn modelId="{73FC78C8-CC83-3140-885C-80A5F1AF098A}" type="presOf" srcId="{7F1B5DDD-328A-FD45-84E4-44674F3979F5}" destId="{B7BB182F-93B6-9F4E-A261-6AD70CE5FD6D}" srcOrd="1" destOrd="0" presId="urn:microsoft.com/office/officeart/2005/8/layout/list1"/>
    <dgm:cxn modelId="{CC57620A-1DF2-9844-B386-5ECFB4BAF60A}" srcId="{11F82A07-0340-DB45-952C-D16763D223C5}" destId="{2A6F5C2C-2B6F-1641-A659-567C90659A3B}" srcOrd="5" destOrd="0" parTransId="{45A41AC3-66BD-9147-93C6-3755F87C96BA}" sibTransId="{F735AAEB-97AD-874A-B1A7-ACA1678238ED}"/>
    <dgm:cxn modelId="{1B6A5E18-BEAA-CF47-80EF-A84C9601DD6E}" type="presOf" srcId="{CE4673B9-CB46-6543-A613-F86A730B0A84}" destId="{ABC7AF79-5482-D94E-B43D-24C3CE929183}" srcOrd="1" destOrd="0" presId="urn:microsoft.com/office/officeart/2005/8/layout/list1"/>
    <dgm:cxn modelId="{0FFA47F2-8491-9443-8451-C15F3B3584EA}" srcId="{11F82A07-0340-DB45-952C-D16763D223C5}" destId="{F10EFA5D-D590-E947-ACD3-B4D8982F4F60}" srcOrd="6" destOrd="0" parTransId="{AC30EB0D-E4DB-9D40-B5D8-6A08CD2E4BA7}" sibTransId="{A1440E1A-91B6-B04F-AF67-63D2445344EA}"/>
    <dgm:cxn modelId="{D9602D1C-8FA6-6E47-8BCC-517CFAE95A49}" type="presOf" srcId="{F10EFA5D-D590-E947-ACD3-B4D8982F4F60}" destId="{979C35FE-8B90-BA49-88D1-C9D230CF0A9A}" srcOrd="1" destOrd="0" presId="urn:microsoft.com/office/officeart/2005/8/layout/list1"/>
    <dgm:cxn modelId="{82E7F929-AECA-C349-A7F0-2C4568D7DFFB}" type="presOf" srcId="{2A6F5C2C-2B6F-1641-A659-567C90659A3B}" destId="{4F2F49E2-6871-F648-9A29-54FDDD2B3B3A}" srcOrd="1" destOrd="0" presId="urn:microsoft.com/office/officeart/2005/8/layout/list1"/>
    <dgm:cxn modelId="{9C77B41C-9B3F-A440-9984-28228103F1C2}" type="presOf" srcId="{367E5E76-B56E-964D-B72D-26A57BB72E1B}" destId="{5E24ABB5-D461-3844-A0BF-ADBAC31ADA5B}" srcOrd="0" destOrd="0" presId="urn:microsoft.com/office/officeart/2005/8/layout/list1"/>
    <dgm:cxn modelId="{D138A0D1-93D5-C94B-8DB7-6AA49B8D964F}" type="presOf" srcId="{4D4A3CCC-0E21-B64A-9139-0CF8557DCC1E}" destId="{33B9F9B8-F7C1-AA40-B2B1-F24508ED2178}" srcOrd="1" destOrd="0" presId="urn:microsoft.com/office/officeart/2005/8/layout/list1"/>
    <dgm:cxn modelId="{57BF6625-3B76-8E49-9D7A-6D8E673D4D95}" srcId="{11F82A07-0340-DB45-952C-D16763D223C5}" destId="{C2BC55B6-722A-4E4E-A6DC-BB8371A9BC5A}" srcOrd="1" destOrd="0" parTransId="{6FECB731-D24C-C74F-99D3-4B2CD29F17FD}" sibTransId="{DCC285AA-9E3B-D646-B717-F4069908EC5E}"/>
    <dgm:cxn modelId="{4418E21D-1765-A045-A17C-739C2DA997FD}" type="presParOf" srcId="{A08BC93F-A5F0-FB4A-A359-C5ABA1DD22CF}" destId="{D0E9DAA0-FCFD-164F-917D-4B8E1311AC68}" srcOrd="0" destOrd="0" presId="urn:microsoft.com/office/officeart/2005/8/layout/list1"/>
    <dgm:cxn modelId="{6448D187-115F-DA4B-A7E5-4B3C148ABDAA}" type="presParOf" srcId="{D0E9DAA0-FCFD-164F-917D-4B8E1311AC68}" destId="{6B09AE2E-340A-8846-8D7B-D61CD10C5473}" srcOrd="0" destOrd="0" presId="urn:microsoft.com/office/officeart/2005/8/layout/list1"/>
    <dgm:cxn modelId="{A52D0B5A-7803-3F49-ACB1-E5E541BF7F62}" type="presParOf" srcId="{D0E9DAA0-FCFD-164F-917D-4B8E1311AC68}" destId="{5998B2A4-37DB-654E-9F64-4420FE110F4A}" srcOrd="1" destOrd="0" presId="urn:microsoft.com/office/officeart/2005/8/layout/list1"/>
    <dgm:cxn modelId="{72E236E1-DFC9-C241-BE43-7DD9C34DED1D}" type="presParOf" srcId="{A08BC93F-A5F0-FB4A-A359-C5ABA1DD22CF}" destId="{9922C209-35E7-6545-B5C2-41EBA35F1DEE}" srcOrd="1" destOrd="0" presId="urn:microsoft.com/office/officeart/2005/8/layout/list1"/>
    <dgm:cxn modelId="{CFF15E82-D84F-A347-BC05-4CD27F30ED96}" type="presParOf" srcId="{A08BC93F-A5F0-FB4A-A359-C5ABA1DD22CF}" destId="{B988194E-C0ED-7A4D-B91C-58410D639E37}" srcOrd="2" destOrd="0" presId="urn:microsoft.com/office/officeart/2005/8/layout/list1"/>
    <dgm:cxn modelId="{5F6D87FA-5CEB-AE4A-8587-7DDAB7F00430}" type="presParOf" srcId="{A08BC93F-A5F0-FB4A-A359-C5ABA1DD22CF}" destId="{9E0A891D-FF35-B345-AF4F-81237F2F8A2B}" srcOrd="3" destOrd="0" presId="urn:microsoft.com/office/officeart/2005/8/layout/list1"/>
    <dgm:cxn modelId="{85997431-E39A-2247-B116-E8CB005961DB}" type="presParOf" srcId="{A08BC93F-A5F0-FB4A-A359-C5ABA1DD22CF}" destId="{EC48578C-1E93-DC49-B50C-A68161FEEA99}" srcOrd="4" destOrd="0" presId="urn:microsoft.com/office/officeart/2005/8/layout/list1"/>
    <dgm:cxn modelId="{508A675A-8B72-B642-A07E-79511E104556}" type="presParOf" srcId="{EC48578C-1E93-DC49-B50C-A68161FEEA99}" destId="{79278E3E-61B8-0045-83CC-A0374BBDB588}" srcOrd="0" destOrd="0" presId="urn:microsoft.com/office/officeart/2005/8/layout/list1"/>
    <dgm:cxn modelId="{EE553BF2-1154-2548-B20F-8435C93BF293}" type="presParOf" srcId="{EC48578C-1E93-DC49-B50C-A68161FEEA99}" destId="{16869303-5358-564C-95CC-EE7910E87582}" srcOrd="1" destOrd="0" presId="urn:microsoft.com/office/officeart/2005/8/layout/list1"/>
    <dgm:cxn modelId="{908D7535-21AE-3842-A8E4-5B75B4CCD29A}" type="presParOf" srcId="{A08BC93F-A5F0-FB4A-A359-C5ABA1DD22CF}" destId="{A5E449D2-86BA-974E-A435-6CA19B2E5E2D}" srcOrd="5" destOrd="0" presId="urn:microsoft.com/office/officeart/2005/8/layout/list1"/>
    <dgm:cxn modelId="{F9424511-94AC-3D4D-B79B-46E7D643DE25}" type="presParOf" srcId="{A08BC93F-A5F0-FB4A-A359-C5ABA1DD22CF}" destId="{DBB7ED03-D282-1540-9CAB-2E407A04464D}" srcOrd="6" destOrd="0" presId="urn:microsoft.com/office/officeart/2005/8/layout/list1"/>
    <dgm:cxn modelId="{43D80AF2-10FA-C14A-B543-3ED23A77AD29}" type="presParOf" srcId="{A08BC93F-A5F0-FB4A-A359-C5ABA1DD22CF}" destId="{75D5B9E9-54A6-C044-8793-688FC09BBDBB}" srcOrd="7" destOrd="0" presId="urn:microsoft.com/office/officeart/2005/8/layout/list1"/>
    <dgm:cxn modelId="{7B444C0D-ACA7-FF47-B992-2877ABA50FBF}" type="presParOf" srcId="{A08BC93F-A5F0-FB4A-A359-C5ABA1DD22CF}" destId="{6346CDEB-C74E-3641-9F3E-816FCEB4BB35}" srcOrd="8" destOrd="0" presId="urn:microsoft.com/office/officeart/2005/8/layout/list1"/>
    <dgm:cxn modelId="{AF446133-8D87-4A43-8975-2660A2C51A4E}" type="presParOf" srcId="{6346CDEB-C74E-3641-9F3E-816FCEB4BB35}" destId="{5E24ABB5-D461-3844-A0BF-ADBAC31ADA5B}" srcOrd="0" destOrd="0" presId="urn:microsoft.com/office/officeart/2005/8/layout/list1"/>
    <dgm:cxn modelId="{A983C835-A6C3-4140-A6AA-F832BDCE75CF}" type="presParOf" srcId="{6346CDEB-C74E-3641-9F3E-816FCEB4BB35}" destId="{67CA6B28-CAD7-A444-B59F-42F75C3EDDF6}" srcOrd="1" destOrd="0" presId="urn:microsoft.com/office/officeart/2005/8/layout/list1"/>
    <dgm:cxn modelId="{F4D1CBA2-9861-DF4A-96CD-1E744F9729ED}" type="presParOf" srcId="{A08BC93F-A5F0-FB4A-A359-C5ABA1DD22CF}" destId="{B853F9FF-2FE7-6A45-9669-75F81E2ACA8C}" srcOrd="9" destOrd="0" presId="urn:microsoft.com/office/officeart/2005/8/layout/list1"/>
    <dgm:cxn modelId="{E60C5E9C-F81C-0848-953D-1E0F520B47F3}" type="presParOf" srcId="{A08BC93F-A5F0-FB4A-A359-C5ABA1DD22CF}" destId="{33480149-7E38-574E-8355-1D940167E29E}" srcOrd="10" destOrd="0" presId="urn:microsoft.com/office/officeart/2005/8/layout/list1"/>
    <dgm:cxn modelId="{95362794-DD58-9049-A718-4C3E7143617A}" type="presParOf" srcId="{A08BC93F-A5F0-FB4A-A359-C5ABA1DD22CF}" destId="{674EF331-8505-3740-8F46-6C41CD73648B}" srcOrd="11" destOrd="0" presId="urn:microsoft.com/office/officeart/2005/8/layout/list1"/>
    <dgm:cxn modelId="{040375A5-FFAA-CB4F-96C9-7392D05D6493}" type="presParOf" srcId="{A08BC93F-A5F0-FB4A-A359-C5ABA1DD22CF}" destId="{E7179D8B-1AAA-E84A-B390-0C75E833C988}" srcOrd="12" destOrd="0" presId="urn:microsoft.com/office/officeart/2005/8/layout/list1"/>
    <dgm:cxn modelId="{00337CA2-675A-164C-A10E-D1C5C344D2A0}" type="presParOf" srcId="{E7179D8B-1AAA-E84A-B390-0C75E833C988}" destId="{54B2CEE8-1461-1A42-AA71-604651E4A5C1}" srcOrd="0" destOrd="0" presId="urn:microsoft.com/office/officeart/2005/8/layout/list1"/>
    <dgm:cxn modelId="{9E2C0B11-036C-FD44-8A62-0E0E5DA274D7}" type="presParOf" srcId="{E7179D8B-1AAA-E84A-B390-0C75E833C988}" destId="{33B9F9B8-F7C1-AA40-B2B1-F24508ED2178}" srcOrd="1" destOrd="0" presId="urn:microsoft.com/office/officeart/2005/8/layout/list1"/>
    <dgm:cxn modelId="{99727681-57D6-B840-B466-77DEC90613DB}" type="presParOf" srcId="{A08BC93F-A5F0-FB4A-A359-C5ABA1DD22CF}" destId="{B8FA9C13-A88D-7141-8E54-D50F744C9DD1}" srcOrd="13" destOrd="0" presId="urn:microsoft.com/office/officeart/2005/8/layout/list1"/>
    <dgm:cxn modelId="{18F23485-AE08-A841-8C23-6E283C77EBAC}" type="presParOf" srcId="{A08BC93F-A5F0-FB4A-A359-C5ABA1DD22CF}" destId="{6F25F539-7BB9-FB47-8BE7-938EE10A7403}" srcOrd="14" destOrd="0" presId="urn:microsoft.com/office/officeart/2005/8/layout/list1"/>
    <dgm:cxn modelId="{924A44E6-F05E-BB4E-94DB-5196BB0B8868}" type="presParOf" srcId="{A08BC93F-A5F0-FB4A-A359-C5ABA1DD22CF}" destId="{35813E6E-0B04-8A41-B8C8-1BE495E46DF9}" srcOrd="15" destOrd="0" presId="urn:microsoft.com/office/officeart/2005/8/layout/list1"/>
    <dgm:cxn modelId="{70BD6322-37EA-A340-932B-1855B44CF0D9}" type="presParOf" srcId="{A08BC93F-A5F0-FB4A-A359-C5ABA1DD22CF}" destId="{AA53C92E-1F1D-674A-B32C-7678F259282D}" srcOrd="16" destOrd="0" presId="urn:microsoft.com/office/officeart/2005/8/layout/list1"/>
    <dgm:cxn modelId="{CC4790D8-E222-A245-93C5-1F835876A25E}" type="presParOf" srcId="{AA53C92E-1F1D-674A-B32C-7678F259282D}" destId="{F10B23E1-805E-774B-AA32-A963BF31DBCF}" srcOrd="0" destOrd="0" presId="urn:microsoft.com/office/officeart/2005/8/layout/list1"/>
    <dgm:cxn modelId="{1E5F8FFB-B4F0-1A44-9E6E-907C3A1BDE1F}" type="presParOf" srcId="{AA53C92E-1F1D-674A-B32C-7678F259282D}" destId="{5876E873-520E-8A43-B845-7186BBED025F}" srcOrd="1" destOrd="0" presId="urn:microsoft.com/office/officeart/2005/8/layout/list1"/>
    <dgm:cxn modelId="{195368F3-85AA-7D41-908B-D49806E28C63}" type="presParOf" srcId="{A08BC93F-A5F0-FB4A-A359-C5ABA1DD22CF}" destId="{2A74B921-1C67-434F-AA47-DB4D8B0BDE15}" srcOrd="17" destOrd="0" presId="urn:microsoft.com/office/officeart/2005/8/layout/list1"/>
    <dgm:cxn modelId="{0B7755E1-C368-324C-925D-E2623C60E696}" type="presParOf" srcId="{A08BC93F-A5F0-FB4A-A359-C5ABA1DD22CF}" destId="{B6613E52-0A4F-4743-8620-E1063FE9EB25}" srcOrd="18" destOrd="0" presId="urn:microsoft.com/office/officeart/2005/8/layout/list1"/>
    <dgm:cxn modelId="{CC60DAC8-4B69-E94A-907A-404AA78A3238}" type="presParOf" srcId="{A08BC93F-A5F0-FB4A-A359-C5ABA1DD22CF}" destId="{010C94FA-95E6-8849-A76B-DDF380109981}" srcOrd="19" destOrd="0" presId="urn:microsoft.com/office/officeart/2005/8/layout/list1"/>
    <dgm:cxn modelId="{185F072A-8B76-F242-84F6-97B1106A011F}" type="presParOf" srcId="{A08BC93F-A5F0-FB4A-A359-C5ABA1DD22CF}" destId="{B38C078B-826A-F741-8DBF-7303C19233F2}" srcOrd="20" destOrd="0" presId="urn:microsoft.com/office/officeart/2005/8/layout/list1"/>
    <dgm:cxn modelId="{86D97B77-2BD0-BA40-AD18-176025DC962B}" type="presParOf" srcId="{B38C078B-826A-F741-8DBF-7303C19233F2}" destId="{30B002D3-9CBA-9D41-A6C9-249BB07790EA}" srcOrd="0" destOrd="0" presId="urn:microsoft.com/office/officeart/2005/8/layout/list1"/>
    <dgm:cxn modelId="{18EC0250-C697-8E4C-88D4-69B84D5FB83D}" type="presParOf" srcId="{B38C078B-826A-F741-8DBF-7303C19233F2}" destId="{4F2F49E2-6871-F648-9A29-54FDDD2B3B3A}" srcOrd="1" destOrd="0" presId="urn:microsoft.com/office/officeart/2005/8/layout/list1"/>
    <dgm:cxn modelId="{F418AF2B-CF49-C24B-A4AA-30EDE4A6DAEA}" type="presParOf" srcId="{A08BC93F-A5F0-FB4A-A359-C5ABA1DD22CF}" destId="{0CCA224E-8040-E843-967A-BF9AA685E57A}" srcOrd="21" destOrd="0" presId="urn:microsoft.com/office/officeart/2005/8/layout/list1"/>
    <dgm:cxn modelId="{8FE61712-86B1-C943-89E6-6DD51E197BF0}" type="presParOf" srcId="{A08BC93F-A5F0-FB4A-A359-C5ABA1DD22CF}" destId="{83E699CA-B566-D643-AAF7-EE0287EF1FD4}" srcOrd="22" destOrd="0" presId="urn:microsoft.com/office/officeart/2005/8/layout/list1"/>
    <dgm:cxn modelId="{C3038449-B848-C94A-8C19-0591327F86D1}" type="presParOf" srcId="{A08BC93F-A5F0-FB4A-A359-C5ABA1DD22CF}" destId="{8AF6700B-A157-4743-935D-2B9C2262D2CF}" srcOrd="23" destOrd="0" presId="urn:microsoft.com/office/officeart/2005/8/layout/list1"/>
    <dgm:cxn modelId="{99C79558-E0A8-714D-8232-BF9028CB816C}" type="presParOf" srcId="{A08BC93F-A5F0-FB4A-A359-C5ABA1DD22CF}" destId="{BDE59A10-80B2-D14C-8168-8347EE687FA6}" srcOrd="24" destOrd="0" presId="urn:microsoft.com/office/officeart/2005/8/layout/list1"/>
    <dgm:cxn modelId="{CFD377B1-4ECF-524D-9A3D-985CF12D6486}" type="presParOf" srcId="{BDE59A10-80B2-D14C-8168-8347EE687FA6}" destId="{5AA2A540-2976-9F4A-A56C-9F765BFA87E3}" srcOrd="0" destOrd="0" presId="urn:microsoft.com/office/officeart/2005/8/layout/list1"/>
    <dgm:cxn modelId="{8941B8FA-9A23-1D43-8C18-1E536FD5F1E3}" type="presParOf" srcId="{BDE59A10-80B2-D14C-8168-8347EE687FA6}" destId="{979C35FE-8B90-BA49-88D1-C9D230CF0A9A}" srcOrd="1" destOrd="0" presId="urn:microsoft.com/office/officeart/2005/8/layout/list1"/>
    <dgm:cxn modelId="{3063C172-406A-DB43-8067-C704DEA0C730}" type="presParOf" srcId="{A08BC93F-A5F0-FB4A-A359-C5ABA1DD22CF}" destId="{6BFA1BA9-32CF-A644-9CDB-F94D5F54B134}" srcOrd="25" destOrd="0" presId="urn:microsoft.com/office/officeart/2005/8/layout/list1"/>
    <dgm:cxn modelId="{F88D8970-E0FB-D14C-9CCC-C1A5DFE1C1B8}" type="presParOf" srcId="{A08BC93F-A5F0-FB4A-A359-C5ABA1DD22CF}" destId="{1AE135E7-66FE-774F-BCD1-91A13E5DCB88}" srcOrd="26" destOrd="0" presId="urn:microsoft.com/office/officeart/2005/8/layout/list1"/>
    <dgm:cxn modelId="{BF46DD59-F830-AB47-B27C-288493A5C52B}" type="presParOf" srcId="{A08BC93F-A5F0-FB4A-A359-C5ABA1DD22CF}" destId="{2558846C-E1B9-8145-BEF4-400066820F7A}" srcOrd="27" destOrd="0" presId="urn:microsoft.com/office/officeart/2005/8/layout/list1"/>
    <dgm:cxn modelId="{921BBCFD-40A6-F449-A5DF-C6D98F462B43}" type="presParOf" srcId="{A08BC93F-A5F0-FB4A-A359-C5ABA1DD22CF}" destId="{067EE85D-55BB-B74E-935C-A5F890D1E954}" srcOrd="28" destOrd="0" presId="urn:microsoft.com/office/officeart/2005/8/layout/list1"/>
    <dgm:cxn modelId="{A6C41E9C-D67B-A34F-87A7-9E745DF324C4}" type="presParOf" srcId="{067EE85D-55BB-B74E-935C-A5F890D1E954}" destId="{9FB95F89-B411-C946-B9BB-CBA2AAA602B4}" srcOrd="0" destOrd="0" presId="urn:microsoft.com/office/officeart/2005/8/layout/list1"/>
    <dgm:cxn modelId="{098521EC-CA42-DD42-80F3-88731393A090}" type="presParOf" srcId="{067EE85D-55BB-B74E-935C-A5F890D1E954}" destId="{B7BB182F-93B6-9F4E-A261-6AD70CE5FD6D}" srcOrd="1" destOrd="0" presId="urn:microsoft.com/office/officeart/2005/8/layout/list1"/>
    <dgm:cxn modelId="{1E305B6F-853D-6A42-81BD-82EF79B61E51}" type="presParOf" srcId="{A08BC93F-A5F0-FB4A-A359-C5ABA1DD22CF}" destId="{3791A0EC-F024-AB49-9770-41A30A0B83B2}" srcOrd="29" destOrd="0" presId="urn:microsoft.com/office/officeart/2005/8/layout/list1"/>
    <dgm:cxn modelId="{7B8BE7E9-AC19-0D4B-841E-DE91F3053578}" type="presParOf" srcId="{A08BC93F-A5F0-FB4A-A359-C5ABA1DD22CF}" destId="{CD1C13CD-F56A-B049-838F-42942AA08504}" srcOrd="30" destOrd="0" presId="urn:microsoft.com/office/officeart/2005/8/layout/list1"/>
    <dgm:cxn modelId="{A6A0D8C7-638C-9945-B60E-B26EB41808B8}" type="presParOf" srcId="{A08BC93F-A5F0-FB4A-A359-C5ABA1DD22CF}" destId="{7E2884B3-6F87-3D4F-B6A3-96649D561660}" srcOrd="31" destOrd="0" presId="urn:microsoft.com/office/officeart/2005/8/layout/list1"/>
    <dgm:cxn modelId="{6D55FC18-F6B2-7144-90FC-F4AB61D47C90}" type="presParOf" srcId="{A08BC93F-A5F0-FB4A-A359-C5ABA1DD22CF}" destId="{2DE20F3F-9689-3A41-B8B9-9985605250DD}" srcOrd="32" destOrd="0" presId="urn:microsoft.com/office/officeart/2005/8/layout/list1"/>
    <dgm:cxn modelId="{2B0FD04F-C12A-FE49-BDB0-D27E7F8B1B12}" type="presParOf" srcId="{2DE20F3F-9689-3A41-B8B9-9985605250DD}" destId="{9AEAB8F4-EA1B-454F-B167-9693F3354D03}" srcOrd="0" destOrd="0" presId="urn:microsoft.com/office/officeart/2005/8/layout/list1"/>
    <dgm:cxn modelId="{3996B7AE-5775-0B43-AFF0-55541C151A9C}" type="presParOf" srcId="{2DE20F3F-9689-3A41-B8B9-9985605250DD}" destId="{ABC7AF79-5482-D94E-B43D-24C3CE929183}" srcOrd="1" destOrd="0" presId="urn:microsoft.com/office/officeart/2005/8/layout/list1"/>
    <dgm:cxn modelId="{AD7D7AAE-DCC7-E14D-8B43-F36127D037CB}" type="presParOf" srcId="{A08BC93F-A5F0-FB4A-A359-C5ABA1DD22CF}" destId="{FBA61743-86BF-FF4E-BFAE-C646D90F788F}" srcOrd="33" destOrd="0" presId="urn:microsoft.com/office/officeart/2005/8/layout/list1"/>
    <dgm:cxn modelId="{163E057C-5A2B-A24F-B396-5396E06AF115}" type="presParOf" srcId="{A08BC93F-A5F0-FB4A-A359-C5ABA1DD22CF}" destId="{5556AB39-2839-2E43-92DB-654B209260EB}" srcOrd="3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FA8988-7090-034B-9E8D-A8F0FB10705E}">
      <dsp:nvSpPr>
        <dsp:cNvPr id="0" name=""/>
        <dsp:cNvSpPr/>
      </dsp:nvSpPr>
      <dsp:spPr>
        <a:xfrm>
          <a:off x="0" y="315308"/>
          <a:ext cx="4984377" cy="428400"/>
        </a:xfrm>
        <a:prstGeom prst="rect">
          <a:avLst/>
        </a:prstGeom>
        <a:solidFill>
          <a:schemeClr val="lt1">
            <a:alpha val="90000"/>
            <a:hueOff val="0"/>
            <a:satOff val="0"/>
            <a:lumOff val="0"/>
            <a:alphaOff val="0"/>
          </a:schemeClr>
        </a:solidFill>
        <a:ln w="9525" cap="rnd" cmpd="sng" algn="ctr">
          <a:solidFill>
            <a:schemeClr val="accent1">
              <a:hueOff val="0"/>
              <a:satOff val="0"/>
              <a:lumOff val="0"/>
              <a:alphaOff val="0"/>
            </a:schemeClr>
          </a:solidFill>
          <a:prstDash val="solid"/>
        </a:ln>
        <a:effectLst>
          <a:innerShdw blurRad="25400" dist="12700" dir="13500000">
            <a:srgbClr val="000000">
              <a:alpha val="45000"/>
            </a:srgbClr>
          </a:inn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sp>
    <dsp:sp modelId="{585615F5-E4F9-774F-98F3-D55A0129517F}">
      <dsp:nvSpPr>
        <dsp:cNvPr id="0" name=""/>
        <dsp:cNvSpPr/>
      </dsp:nvSpPr>
      <dsp:spPr>
        <a:xfrm>
          <a:off x="237293" y="64388"/>
          <a:ext cx="4745862" cy="501840"/>
        </a:xfrm>
        <a:prstGeom prst="roundRect">
          <a:avLst/>
        </a:prstGeom>
        <a:gradFill rotWithShape="0">
          <a:gsLst>
            <a:gs pos="0">
              <a:schemeClr val="accent1">
                <a:hueOff val="0"/>
                <a:satOff val="0"/>
                <a:lumOff val="0"/>
                <a:alphaOff val="0"/>
                <a:tint val="98000"/>
                <a:hueMod val="94000"/>
                <a:satMod val="130000"/>
                <a:lumMod val="128000"/>
              </a:schemeClr>
            </a:gs>
            <a:gs pos="100000">
              <a:schemeClr val="accent1">
                <a:hueOff val="0"/>
                <a:satOff val="0"/>
                <a:lumOff val="0"/>
                <a:alphaOff val="0"/>
                <a:shade val="94000"/>
                <a:lumMod val="88000"/>
              </a:schemeClr>
            </a:gs>
          </a:gsLst>
          <a:lin ang="5400000" scaled="0"/>
        </a:gradFill>
        <a:ln>
          <a:noFill/>
        </a:ln>
        <a:effectLst>
          <a:innerShdw blurRad="25400" dist="12700" dir="13500000">
            <a:srgbClr val="000000">
              <a:alpha val="45000"/>
            </a:srgbClr>
          </a:inn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31878" tIns="0" rIns="131878" bIns="0" numCol="1" spcCol="1270" anchor="ctr" anchorCtr="0">
          <a:noAutofit/>
        </a:bodyPr>
        <a:lstStyle/>
        <a:p>
          <a:pPr lvl="0" algn="l" defTabSz="800100">
            <a:lnSpc>
              <a:spcPct val="90000"/>
            </a:lnSpc>
            <a:spcBef>
              <a:spcPct val="0"/>
            </a:spcBef>
            <a:spcAft>
              <a:spcPct val="35000"/>
            </a:spcAft>
          </a:pPr>
          <a:r>
            <a:rPr lang="es-ES" sz="1800" b="1" kern="1200" dirty="0"/>
            <a:t>Ideación y </a:t>
          </a:r>
          <a:r>
            <a:rPr lang="es-ES" sz="1800" b="1" kern="1200" dirty="0" smtClean="0"/>
            <a:t>diseño</a:t>
          </a:r>
          <a:endParaRPr lang="es-ES" sz="1800" b="1" kern="1200" dirty="0"/>
        </a:p>
      </dsp:txBody>
      <dsp:txXfrm>
        <a:off x="261791" y="88886"/>
        <a:ext cx="4696866" cy="452844"/>
      </dsp:txXfrm>
    </dsp:sp>
    <dsp:sp modelId="{CABF9ED3-7870-4C45-ABBA-CBC44AAF5AE0}">
      <dsp:nvSpPr>
        <dsp:cNvPr id="0" name=""/>
        <dsp:cNvSpPr/>
      </dsp:nvSpPr>
      <dsp:spPr>
        <a:xfrm>
          <a:off x="0" y="1086428"/>
          <a:ext cx="4984377" cy="428400"/>
        </a:xfrm>
        <a:prstGeom prst="rect">
          <a:avLst/>
        </a:prstGeom>
        <a:solidFill>
          <a:schemeClr val="lt1">
            <a:alpha val="90000"/>
            <a:hueOff val="0"/>
            <a:satOff val="0"/>
            <a:lumOff val="0"/>
            <a:alphaOff val="0"/>
          </a:schemeClr>
        </a:solidFill>
        <a:ln w="9525" cap="rnd" cmpd="sng" algn="ctr">
          <a:solidFill>
            <a:schemeClr val="accent1">
              <a:hueOff val="0"/>
              <a:satOff val="0"/>
              <a:lumOff val="0"/>
              <a:alphaOff val="0"/>
            </a:schemeClr>
          </a:solidFill>
          <a:prstDash val="solid"/>
        </a:ln>
        <a:effectLst>
          <a:innerShdw blurRad="25400" dist="12700" dir="13500000">
            <a:srgbClr val="000000">
              <a:alpha val="45000"/>
            </a:srgbClr>
          </a:inn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sp>
    <dsp:sp modelId="{BEF6E434-2D5C-7E40-AC4D-E62AF5F8EAEB}">
      <dsp:nvSpPr>
        <dsp:cNvPr id="0" name=""/>
        <dsp:cNvSpPr/>
      </dsp:nvSpPr>
      <dsp:spPr>
        <a:xfrm>
          <a:off x="237293" y="835508"/>
          <a:ext cx="4745862" cy="501840"/>
        </a:xfrm>
        <a:prstGeom prst="roundRect">
          <a:avLst/>
        </a:prstGeom>
        <a:gradFill rotWithShape="0">
          <a:gsLst>
            <a:gs pos="0">
              <a:schemeClr val="accent1">
                <a:hueOff val="0"/>
                <a:satOff val="0"/>
                <a:lumOff val="0"/>
                <a:alphaOff val="0"/>
                <a:tint val="98000"/>
                <a:hueMod val="94000"/>
                <a:satMod val="130000"/>
                <a:lumMod val="128000"/>
              </a:schemeClr>
            </a:gs>
            <a:gs pos="100000">
              <a:schemeClr val="accent1">
                <a:hueOff val="0"/>
                <a:satOff val="0"/>
                <a:lumOff val="0"/>
                <a:alphaOff val="0"/>
                <a:shade val="94000"/>
                <a:lumMod val="88000"/>
              </a:schemeClr>
            </a:gs>
          </a:gsLst>
          <a:lin ang="5400000" scaled="0"/>
        </a:gradFill>
        <a:ln>
          <a:noFill/>
        </a:ln>
        <a:effectLst>
          <a:innerShdw blurRad="25400" dist="12700" dir="13500000">
            <a:srgbClr val="000000">
              <a:alpha val="45000"/>
            </a:srgbClr>
          </a:inn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31878" tIns="0" rIns="131878" bIns="0" numCol="1" spcCol="1270" anchor="ctr" anchorCtr="0">
          <a:noAutofit/>
        </a:bodyPr>
        <a:lstStyle/>
        <a:p>
          <a:pPr lvl="0" algn="l" defTabSz="800100">
            <a:lnSpc>
              <a:spcPct val="90000"/>
            </a:lnSpc>
            <a:spcBef>
              <a:spcPct val="0"/>
            </a:spcBef>
            <a:spcAft>
              <a:spcPct val="35000"/>
            </a:spcAft>
          </a:pPr>
          <a:r>
            <a:rPr lang="es-ES" sz="1800" b="1" kern="1200" dirty="0"/>
            <a:t>Propuesta </a:t>
          </a:r>
          <a:r>
            <a:rPr lang="es-ES" sz="1800" b="1" kern="1200" dirty="0" smtClean="0"/>
            <a:t>piloto</a:t>
          </a:r>
          <a:endParaRPr lang="es-ES" sz="1800" b="1" kern="1200" dirty="0"/>
        </a:p>
      </dsp:txBody>
      <dsp:txXfrm>
        <a:off x="261791" y="860006"/>
        <a:ext cx="4696866" cy="452844"/>
      </dsp:txXfrm>
    </dsp:sp>
    <dsp:sp modelId="{7C2C6BB8-06B2-F545-B090-95D77578DF98}">
      <dsp:nvSpPr>
        <dsp:cNvPr id="0" name=""/>
        <dsp:cNvSpPr/>
      </dsp:nvSpPr>
      <dsp:spPr>
        <a:xfrm>
          <a:off x="0" y="1857549"/>
          <a:ext cx="4984377" cy="428400"/>
        </a:xfrm>
        <a:prstGeom prst="rect">
          <a:avLst/>
        </a:prstGeom>
        <a:solidFill>
          <a:schemeClr val="lt1">
            <a:alpha val="90000"/>
            <a:hueOff val="0"/>
            <a:satOff val="0"/>
            <a:lumOff val="0"/>
            <a:alphaOff val="0"/>
          </a:schemeClr>
        </a:solidFill>
        <a:ln w="9525" cap="rnd" cmpd="sng" algn="ctr">
          <a:solidFill>
            <a:schemeClr val="accent1">
              <a:hueOff val="0"/>
              <a:satOff val="0"/>
              <a:lumOff val="0"/>
              <a:alphaOff val="0"/>
            </a:schemeClr>
          </a:solidFill>
          <a:prstDash val="solid"/>
        </a:ln>
        <a:effectLst>
          <a:innerShdw blurRad="25400" dist="12700" dir="13500000">
            <a:srgbClr val="000000">
              <a:alpha val="45000"/>
            </a:srgbClr>
          </a:inn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sp>
    <dsp:sp modelId="{A91823CA-49A1-2044-8368-052340FD1935}">
      <dsp:nvSpPr>
        <dsp:cNvPr id="0" name=""/>
        <dsp:cNvSpPr/>
      </dsp:nvSpPr>
      <dsp:spPr>
        <a:xfrm>
          <a:off x="241917" y="1606628"/>
          <a:ext cx="4741617" cy="501840"/>
        </a:xfrm>
        <a:prstGeom prst="roundRect">
          <a:avLst/>
        </a:prstGeom>
        <a:gradFill rotWithShape="0">
          <a:gsLst>
            <a:gs pos="0">
              <a:schemeClr val="accent1">
                <a:hueOff val="0"/>
                <a:satOff val="0"/>
                <a:lumOff val="0"/>
                <a:alphaOff val="0"/>
                <a:tint val="98000"/>
                <a:hueMod val="94000"/>
                <a:satMod val="130000"/>
                <a:lumMod val="128000"/>
              </a:schemeClr>
            </a:gs>
            <a:gs pos="100000">
              <a:schemeClr val="accent1">
                <a:hueOff val="0"/>
                <a:satOff val="0"/>
                <a:lumOff val="0"/>
                <a:alphaOff val="0"/>
                <a:shade val="94000"/>
                <a:lumMod val="88000"/>
              </a:schemeClr>
            </a:gs>
          </a:gsLst>
          <a:lin ang="5400000" scaled="0"/>
        </a:gradFill>
        <a:ln>
          <a:noFill/>
        </a:ln>
        <a:effectLst>
          <a:innerShdw blurRad="25400" dist="12700" dir="13500000">
            <a:srgbClr val="000000">
              <a:alpha val="45000"/>
            </a:srgbClr>
          </a:inn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31878" tIns="0" rIns="131878" bIns="0" numCol="1" spcCol="1270" anchor="ctr" anchorCtr="0">
          <a:noAutofit/>
        </a:bodyPr>
        <a:lstStyle/>
        <a:p>
          <a:pPr lvl="0" algn="l" defTabSz="800100">
            <a:lnSpc>
              <a:spcPct val="90000"/>
            </a:lnSpc>
            <a:spcBef>
              <a:spcPct val="0"/>
            </a:spcBef>
            <a:spcAft>
              <a:spcPct val="35000"/>
            </a:spcAft>
          </a:pPr>
          <a:r>
            <a:rPr lang="es-ES" sz="1800" b="1" kern="1200" dirty="0"/>
            <a:t>Implantación </a:t>
          </a:r>
          <a:r>
            <a:rPr lang="es-ES" sz="1800" b="1" kern="1200" dirty="0" smtClean="0"/>
            <a:t>piloto</a:t>
          </a:r>
          <a:endParaRPr lang="es-ES" sz="1800" b="1" kern="1200" dirty="0"/>
        </a:p>
      </dsp:txBody>
      <dsp:txXfrm>
        <a:off x="266415" y="1631126"/>
        <a:ext cx="4692621" cy="452844"/>
      </dsp:txXfrm>
    </dsp:sp>
    <dsp:sp modelId="{B2D54C1D-2D17-8545-98FB-8A927B49F653}">
      <dsp:nvSpPr>
        <dsp:cNvPr id="0" name=""/>
        <dsp:cNvSpPr/>
      </dsp:nvSpPr>
      <dsp:spPr>
        <a:xfrm>
          <a:off x="0" y="2628669"/>
          <a:ext cx="4984377" cy="428400"/>
        </a:xfrm>
        <a:prstGeom prst="rect">
          <a:avLst/>
        </a:prstGeom>
        <a:solidFill>
          <a:schemeClr val="lt1">
            <a:alpha val="90000"/>
            <a:hueOff val="0"/>
            <a:satOff val="0"/>
            <a:lumOff val="0"/>
            <a:alphaOff val="0"/>
          </a:schemeClr>
        </a:solidFill>
        <a:ln w="9525" cap="rnd" cmpd="sng" algn="ctr">
          <a:solidFill>
            <a:schemeClr val="accent1">
              <a:hueOff val="0"/>
              <a:satOff val="0"/>
              <a:lumOff val="0"/>
              <a:alphaOff val="0"/>
            </a:schemeClr>
          </a:solidFill>
          <a:prstDash val="solid"/>
        </a:ln>
        <a:effectLst>
          <a:innerShdw blurRad="25400" dist="12700" dir="13500000">
            <a:srgbClr val="000000">
              <a:alpha val="45000"/>
            </a:srgbClr>
          </a:inn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sp>
    <dsp:sp modelId="{2E5D28DC-4211-3544-8BF7-B935E7C18D56}">
      <dsp:nvSpPr>
        <dsp:cNvPr id="0" name=""/>
        <dsp:cNvSpPr/>
      </dsp:nvSpPr>
      <dsp:spPr>
        <a:xfrm>
          <a:off x="242404" y="2377749"/>
          <a:ext cx="4740705" cy="501840"/>
        </a:xfrm>
        <a:prstGeom prst="roundRect">
          <a:avLst/>
        </a:prstGeom>
        <a:gradFill rotWithShape="0">
          <a:gsLst>
            <a:gs pos="0">
              <a:schemeClr val="accent1">
                <a:hueOff val="0"/>
                <a:satOff val="0"/>
                <a:lumOff val="0"/>
                <a:alphaOff val="0"/>
                <a:tint val="98000"/>
                <a:hueMod val="94000"/>
                <a:satMod val="130000"/>
                <a:lumMod val="128000"/>
              </a:schemeClr>
            </a:gs>
            <a:gs pos="100000">
              <a:schemeClr val="accent1">
                <a:hueOff val="0"/>
                <a:satOff val="0"/>
                <a:lumOff val="0"/>
                <a:alphaOff val="0"/>
                <a:shade val="94000"/>
                <a:lumMod val="88000"/>
              </a:schemeClr>
            </a:gs>
          </a:gsLst>
          <a:lin ang="5400000" scaled="0"/>
        </a:gradFill>
        <a:ln>
          <a:noFill/>
        </a:ln>
        <a:effectLst>
          <a:innerShdw blurRad="25400" dist="12700" dir="13500000">
            <a:srgbClr val="000000">
              <a:alpha val="45000"/>
            </a:srgbClr>
          </a:inn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31878" tIns="0" rIns="131878" bIns="0" numCol="1" spcCol="1270" anchor="ctr" anchorCtr="0">
          <a:noAutofit/>
        </a:bodyPr>
        <a:lstStyle/>
        <a:p>
          <a:pPr lvl="0" algn="l" defTabSz="800100">
            <a:lnSpc>
              <a:spcPct val="90000"/>
            </a:lnSpc>
            <a:spcBef>
              <a:spcPct val="0"/>
            </a:spcBef>
            <a:spcAft>
              <a:spcPct val="35000"/>
            </a:spcAft>
          </a:pPr>
          <a:r>
            <a:rPr lang="es-ES" sz="1800" b="1" kern="1200" dirty="0"/>
            <a:t>Seguimiento y </a:t>
          </a:r>
          <a:r>
            <a:rPr lang="es-ES" sz="1800" b="1" kern="1200" dirty="0" smtClean="0"/>
            <a:t>control</a:t>
          </a:r>
          <a:endParaRPr lang="es-ES" sz="1800" b="1" kern="1200" dirty="0"/>
        </a:p>
      </dsp:txBody>
      <dsp:txXfrm>
        <a:off x="266902" y="2402247"/>
        <a:ext cx="4691709" cy="452844"/>
      </dsp:txXfrm>
    </dsp:sp>
    <dsp:sp modelId="{F6F1AE11-8D8C-5A47-8BEB-E011264C8E28}">
      <dsp:nvSpPr>
        <dsp:cNvPr id="0" name=""/>
        <dsp:cNvSpPr/>
      </dsp:nvSpPr>
      <dsp:spPr>
        <a:xfrm>
          <a:off x="0" y="3399789"/>
          <a:ext cx="4984377" cy="428400"/>
        </a:xfrm>
        <a:prstGeom prst="rect">
          <a:avLst/>
        </a:prstGeom>
        <a:solidFill>
          <a:schemeClr val="lt1">
            <a:alpha val="90000"/>
            <a:hueOff val="0"/>
            <a:satOff val="0"/>
            <a:lumOff val="0"/>
            <a:alphaOff val="0"/>
          </a:schemeClr>
        </a:solidFill>
        <a:ln w="9525" cap="rnd" cmpd="sng" algn="ctr">
          <a:solidFill>
            <a:schemeClr val="accent1">
              <a:hueOff val="0"/>
              <a:satOff val="0"/>
              <a:lumOff val="0"/>
              <a:alphaOff val="0"/>
            </a:schemeClr>
          </a:solidFill>
          <a:prstDash val="solid"/>
        </a:ln>
        <a:effectLst>
          <a:innerShdw blurRad="25400" dist="12700" dir="13500000">
            <a:srgbClr val="000000">
              <a:alpha val="45000"/>
            </a:srgbClr>
          </a:inn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sp>
    <dsp:sp modelId="{F355882F-F022-1D43-A407-34417F62259A}">
      <dsp:nvSpPr>
        <dsp:cNvPr id="0" name=""/>
        <dsp:cNvSpPr/>
      </dsp:nvSpPr>
      <dsp:spPr>
        <a:xfrm>
          <a:off x="239970" y="3148868"/>
          <a:ext cx="4740141" cy="501840"/>
        </a:xfrm>
        <a:prstGeom prst="roundRect">
          <a:avLst/>
        </a:prstGeom>
        <a:gradFill rotWithShape="0">
          <a:gsLst>
            <a:gs pos="0">
              <a:schemeClr val="accent1">
                <a:hueOff val="0"/>
                <a:satOff val="0"/>
                <a:lumOff val="0"/>
                <a:alphaOff val="0"/>
                <a:tint val="98000"/>
                <a:hueMod val="94000"/>
                <a:satMod val="130000"/>
                <a:lumMod val="128000"/>
              </a:schemeClr>
            </a:gs>
            <a:gs pos="100000">
              <a:schemeClr val="accent1">
                <a:hueOff val="0"/>
                <a:satOff val="0"/>
                <a:lumOff val="0"/>
                <a:alphaOff val="0"/>
                <a:shade val="94000"/>
                <a:lumMod val="88000"/>
              </a:schemeClr>
            </a:gs>
          </a:gsLst>
          <a:lin ang="5400000" scaled="0"/>
        </a:gradFill>
        <a:ln>
          <a:noFill/>
        </a:ln>
        <a:effectLst>
          <a:innerShdw blurRad="25400" dist="12700" dir="13500000">
            <a:srgbClr val="000000">
              <a:alpha val="45000"/>
            </a:srgbClr>
          </a:inn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31878" tIns="0" rIns="131878" bIns="0" numCol="1" spcCol="1270" anchor="ctr" anchorCtr="0">
          <a:noAutofit/>
        </a:bodyPr>
        <a:lstStyle/>
        <a:p>
          <a:pPr lvl="0" algn="l" defTabSz="800100">
            <a:lnSpc>
              <a:spcPct val="90000"/>
            </a:lnSpc>
            <a:spcBef>
              <a:spcPct val="0"/>
            </a:spcBef>
            <a:spcAft>
              <a:spcPct val="35000"/>
            </a:spcAft>
          </a:pPr>
          <a:r>
            <a:rPr lang="es-ES" sz="1800" b="1" kern="1200" dirty="0" smtClean="0"/>
            <a:t>Extensión</a:t>
          </a:r>
          <a:endParaRPr lang="es-ES" sz="1800" b="1" kern="1200" dirty="0"/>
        </a:p>
      </dsp:txBody>
      <dsp:txXfrm>
        <a:off x="264468" y="3173366"/>
        <a:ext cx="4691145" cy="4528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6645D8-140A-D543-8DA5-E19970915E32}">
      <dsp:nvSpPr>
        <dsp:cNvPr id="0" name=""/>
        <dsp:cNvSpPr/>
      </dsp:nvSpPr>
      <dsp:spPr>
        <a:xfrm>
          <a:off x="528895" y="335973"/>
          <a:ext cx="4559253" cy="4559253"/>
        </a:xfrm>
        <a:prstGeom prst="pie">
          <a:avLst>
            <a:gd name="adj1" fmla="val 16200000"/>
            <a:gd name="adj2" fmla="val 20520000"/>
          </a:avLst>
        </a:prstGeom>
        <a:solidFill>
          <a:schemeClr val="lt1">
            <a:hueOff val="0"/>
            <a:satOff val="0"/>
            <a:lumOff val="0"/>
            <a:alphaOff val="0"/>
          </a:schemeClr>
        </a:solidFill>
        <a:ln>
          <a:noFill/>
        </a:ln>
        <a:effectLst>
          <a:innerShdw blurRad="25400" dist="12700" dir="13500000">
            <a:srgbClr val="000000">
              <a:alpha val="45000"/>
            </a:srgbClr>
          </a:inn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s-ES" sz="1500" kern="1200" dirty="0"/>
            <a:t>Experimentar y tomar de decisiones</a:t>
          </a:r>
        </a:p>
      </dsp:txBody>
      <dsp:txXfrm>
        <a:off x="2907306" y="1102362"/>
        <a:ext cx="1465474" cy="976982"/>
      </dsp:txXfrm>
    </dsp:sp>
    <dsp:sp modelId="{3B0F65BD-B750-CF4E-B504-A1DF7521565E}">
      <dsp:nvSpPr>
        <dsp:cNvPr id="0" name=""/>
        <dsp:cNvSpPr/>
      </dsp:nvSpPr>
      <dsp:spPr>
        <a:xfrm>
          <a:off x="567975" y="457553"/>
          <a:ext cx="4559253" cy="4559253"/>
        </a:xfrm>
        <a:prstGeom prst="pie">
          <a:avLst>
            <a:gd name="adj1" fmla="val 20520000"/>
            <a:gd name="adj2" fmla="val 3240000"/>
          </a:avLst>
        </a:prstGeom>
        <a:solidFill>
          <a:schemeClr val="lt1">
            <a:hueOff val="0"/>
            <a:satOff val="0"/>
            <a:lumOff val="0"/>
            <a:alphaOff val="0"/>
          </a:schemeClr>
        </a:solidFill>
        <a:ln>
          <a:noFill/>
        </a:ln>
        <a:effectLst>
          <a:innerShdw blurRad="25400" dist="12700" dir="13500000">
            <a:srgbClr val="000000">
              <a:alpha val="45000"/>
            </a:srgbClr>
          </a:inn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s-ES" sz="1500" kern="1200" dirty="0"/>
            <a:t>Aprovechar todos los recursos</a:t>
          </a:r>
        </a:p>
      </dsp:txBody>
      <dsp:txXfrm>
        <a:off x="3504351" y="2540698"/>
        <a:ext cx="1356920" cy="1085536"/>
      </dsp:txXfrm>
    </dsp:sp>
    <dsp:sp modelId="{4C33206B-C356-BA45-B0D4-BD0BD471772E}">
      <dsp:nvSpPr>
        <dsp:cNvPr id="0" name=""/>
        <dsp:cNvSpPr/>
      </dsp:nvSpPr>
      <dsp:spPr>
        <a:xfrm>
          <a:off x="464849" y="532455"/>
          <a:ext cx="4559253" cy="4559253"/>
        </a:xfrm>
        <a:prstGeom prst="pie">
          <a:avLst>
            <a:gd name="adj1" fmla="val 3240000"/>
            <a:gd name="adj2" fmla="val 7560000"/>
          </a:avLst>
        </a:prstGeom>
        <a:solidFill>
          <a:schemeClr val="lt1">
            <a:hueOff val="0"/>
            <a:satOff val="0"/>
            <a:lumOff val="0"/>
            <a:alphaOff val="0"/>
          </a:schemeClr>
        </a:solidFill>
        <a:ln>
          <a:noFill/>
        </a:ln>
        <a:effectLst>
          <a:innerShdw blurRad="25400" dist="12700" dir="13500000">
            <a:srgbClr val="000000">
              <a:alpha val="45000"/>
            </a:srgbClr>
          </a:inn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s-ES" sz="1500" kern="1200" dirty="0"/>
            <a:t>Crear redes de colaboración</a:t>
          </a:r>
        </a:p>
      </dsp:txBody>
      <dsp:txXfrm>
        <a:off x="2093154" y="3734788"/>
        <a:ext cx="1302643" cy="1194090"/>
      </dsp:txXfrm>
    </dsp:sp>
    <dsp:sp modelId="{41FAD886-75FA-B948-99E7-A1ABBE6D3895}">
      <dsp:nvSpPr>
        <dsp:cNvPr id="0" name=""/>
        <dsp:cNvSpPr/>
      </dsp:nvSpPr>
      <dsp:spPr>
        <a:xfrm>
          <a:off x="361723" y="457553"/>
          <a:ext cx="4559253" cy="4559253"/>
        </a:xfrm>
        <a:prstGeom prst="pie">
          <a:avLst>
            <a:gd name="adj1" fmla="val 7560000"/>
            <a:gd name="adj2" fmla="val 11880000"/>
          </a:avLst>
        </a:prstGeom>
        <a:solidFill>
          <a:schemeClr val="lt1">
            <a:hueOff val="0"/>
            <a:satOff val="0"/>
            <a:lumOff val="0"/>
            <a:alphaOff val="0"/>
          </a:schemeClr>
        </a:solidFill>
        <a:ln>
          <a:noFill/>
        </a:ln>
        <a:effectLst>
          <a:innerShdw blurRad="25400" dist="12700" dir="13500000">
            <a:srgbClr val="000000">
              <a:alpha val="45000"/>
            </a:srgbClr>
          </a:inn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s-ES" sz="1500" kern="1200" dirty="0"/>
            <a:t>Utilizar la información</a:t>
          </a:r>
        </a:p>
      </dsp:txBody>
      <dsp:txXfrm>
        <a:off x="627679" y="2540698"/>
        <a:ext cx="1356920" cy="1085536"/>
      </dsp:txXfrm>
    </dsp:sp>
    <dsp:sp modelId="{31A1D72E-E655-EF48-A748-CDC9F334ED1B}">
      <dsp:nvSpPr>
        <dsp:cNvPr id="0" name=""/>
        <dsp:cNvSpPr/>
      </dsp:nvSpPr>
      <dsp:spPr>
        <a:xfrm>
          <a:off x="400802" y="335973"/>
          <a:ext cx="4559253" cy="4559253"/>
        </a:xfrm>
        <a:prstGeom prst="pie">
          <a:avLst>
            <a:gd name="adj1" fmla="val 11880000"/>
            <a:gd name="adj2" fmla="val 16200000"/>
          </a:avLst>
        </a:prstGeom>
        <a:solidFill>
          <a:schemeClr val="lt1">
            <a:hueOff val="0"/>
            <a:satOff val="0"/>
            <a:lumOff val="0"/>
            <a:alphaOff val="0"/>
          </a:schemeClr>
        </a:solidFill>
        <a:ln>
          <a:noFill/>
        </a:ln>
        <a:effectLst>
          <a:innerShdw blurRad="25400" dist="12700" dir="13500000">
            <a:srgbClr val="000000">
              <a:alpha val="45000"/>
            </a:srgbClr>
          </a:inn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s-ES" sz="1500" kern="1200" dirty="0"/>
            <a:t>Intensificar el conocimiento</a:t>
          </a:r>
        </a:p>
      </dsp:txBody>
      <dsp:txXfrm>
        <a:off x="1116171" y="1102362"/>
        <a:ext cx="1465474" cy="976982"/>
      </dsp:txXfrm>
    </dsp:sp>
    <dsp:sp modelId="{2AC0A6E9-58FD-9D4C-97A8-83DA21957DEA}">
      <dsp:nvSpPr>
        <dsp:cNvPr id="0" name=""/>
        <dsp:cNvSpPr/>
      </dsp:nvSpPr>
      <dsp:spPr>
        <a:xfrm>
          <a:off x="246441" y="53734"/>
          <a:ext cx="5123732" cy="5123732"/>
        </a:xfrm>
        <a:prstGeom prst="circularArrow">
          <a:avLst>
            <a:gd name="adj1" fmla="val 5085"/>
            <a:gd name="adj2" fmla="val 327528"/>
            <a:gd name="adj3" fmla="val 20192361"/>
            <a:gd name="adj4" fmla="val 16200324"/>
            <a:gd name="adj5" fmla="val 5932"/>
          </a:avLst>
        </a:prstGeom>
        <a:solidFill>
          <a:schemeClr val="tx2">
            <a:lumMod val="60000"/>
            <a:lumOff val="40000"/>
          </a:schemeClr>
        </a:solidFill>
        <a:ln w="9525" cap="rnd" cmpd="sng" algn="ctr">
          <a:solidFill>
            <a:schemeClr val="accent2">
              <a:tint val="60000"/>
              <a:hueOff val="0"/>
              <a:satOff val="0"/>
              <a:lumOff val="0"/>
              <a:alphaOff val="0"/>
            </a:schemeClr>
          </a:solidFill>
          <a:prstDash val="solid"/>
        </a:ln>
        <a:effectLst>
          <a:innerShdw blurRad="25400" dist="12700" dir="13500000">
            <a:srgbClr val="000000">
              <a:alpha val="45000"/>
            </a:srgbClr>
          </a:innerShdw>
        </a:effectLst>
        <a:sp3d z="50080" prstMaterial="plastic">
          <a:bevelT w="25400" h="25400"/>
          <a:bevelB w="25400" h="25400"/>
        </a:sp3d>
      </dsp:spPr>
      <dsp:style>
        <a:lnRef idx="1">
          <a:scrgbClr r="0" g="0" b="0"/>
        </a:lnRef>
        <a:fillRef idx="1">
          <a:scrgbClr r="0" g="0" b="0"/>
        </a:fillRef>
        <a:effectRef idx="2">
          <a:scrgbClr r="0" g="0" b="0"/>
        </a:effectRef>
        <a:fontRef idx="minor">
          <a:schemeClr val="lt1"/>
        </a:fontRef>
      </dsp:style>
    </dsp:sp>
    <dsp:sp modelId="{5946055B-642B-7543-B9B7-2844F77AEA0F}">
      <dsp:nvSpPr>
        <dsp:cNvPr id="0" name=""/>
        <dsp:cNvSpPr/>
      </dsp:nvSpPr>
      <dsp:spPr>
        <a:xfrm>
          <a:off x="286050" y="175274"/>
          <a:ext cx="5123732" cy="5123732"/>
        </a:xfrm>
        <a:prstGeom prst="circularArrow">
          <a:avLst>
            <a:gd name="adj1" fmla="val 5085"/>
            <a:gd name="adj2" fmla="val 327528"/>
            <a:gd name="adj3" fmla="val 2912753"/>
            <a:gd name="adj4" fmla="val 20519953"/>
            <a:gd name="adj5" fmla="val 5932"/>
          </a:avLst>
        </a:prstGeom>
        <a:solidFill>
          <a:srgbClr val="FFC000"/>
        </a:solidFill>
        <a:ln w="9525" cap="rnd" cmpd="sng" algn="ctr">
          <a:solidFill>
            <a:schemeClr val="accent2">
              <a:tint val="60000"/>
              <a:hueOff val="0"/>
              <a:satOff val="0"/>
              <a:lumOff val="0"/>
              <a:alphaOff val="0"/>
            </a:schemeClr>
          </a:solidFill>
          <a:prstDash val="solid"/>
        </a:ln>
        <a:effectLst>
          <a:innerShdw blurRad="25400" dist="12700" dir="13500000">
            <a:srgbClr val="000000">
              <a:alpha val="45000"/>
            </a:srgbClr>
          </a:innerShdw>
        </a:effectLst>
        <a:sp3d z="50080" prstMaterial="plastic">
          <a:bevelT w="25400" h="25400"/>
          <a:bevelB w="25400" h="25400"/>
        </a:sp3d>
      </dsp:spPr>
      <dsp:style>
        <a:lnRef idx="1">
          <a:scrgbClr r="0" g="0" b="0"/>
        </a:lnRef>
        <a:fillRef idx="1">
          <a:scrgbClr r="0" g="0" b="0"/>
        </a:fillRef>
        <a:effectRef idx="2">
          <a:scrgbClr r="0" g="0" b="0"/>
        </a:effectRef>
        <a:fontRef idx="minor">
          <a:schemeClr val="lt1"/>
        </a:fontRef>
      </dsp:style>
    </dsp:sp>
    <dsp:sp modelId="{33A1FCC5-9DA0-1546-8A5D-699070277C34}">
      <dsp:nvSpPr>
        <dsp:cNvPr id="0" name=""/>
        <dsp:cNvSpPr/>
      </dsp:nvSpPr>
      <dsp:spPr>
        <a:xfrm>
          <a:off x="182609" y="250405"/>
          <a:ext cx="5123732" cy="5123732"/>
        </a:xfrm>
        <a:prstGeom prst="circularArrow">
          <a:avLst>
            <a:gd name="adj1" fmla="val 5085"/>
            <a:gd name="adj2" fmla="val 327528"/>
            <a:gd name="adj3" fmla="val 7232777"/>
            <a:gd name="adj4" fmla="val 3239695"/>
            <a:gd name="adj5" fmla="val 5932"/>
          </a:avLst>
        </a:prstGeom>
        <a:solidFill>
          <a:srgbClr val="92D050"/>
        </a:solidFill>
        <a:ln w="9525" cap="rnd" cmpd="sng" algn="ctr">
          <a:solidFill>
            <a:schemeClr val="accent2">
              <a:tint val="60000"/>
              <a:hueOff val="0"/>
              <a:satOff val="0"/>
              <a:lumOff val="0"/>
              <a:alphaOff val="0"/>
            </a:schemeClr>
          </a:solidFill>
          <a:prstDash val="solid"/>
        </a:ln>
        <a:effectLst>
          <a:innerShdw blurRad="25400" dist="12700" dir="13500000">
            <a:srgbClr val="000000">
              <a:alpha val="45000"/>
            </a:srgbClr>
          </a:innerShdw>
        </a:effectLst>
        <a:sp3d z="50080" prstMaterial="plastic">
          <a:bevelT w="25400" h="25400"/>
          <a:bevelB w="25400" h="25400"/>
        </a:sp3d>
      </dsp:spPr>
      <dsp:style>
        <a:lnRef idx="1">
          <a:scrgbClr r="0" g="0" b="0"/>
        </a:lnRef>
        <a:fillRef idx="1">
          <a:scrgbClr r="0" g="0" b="0"/>
        </a:fillRef>
        <a:effectRef idx="2">
          <a:scrgbClr r="0" g="0" b="0"/>
        </a:effectRef>
        <a:fontRef idx="minor">
          <a:schemeClr val="lt1"/>
        </a:fontRef>
      </dsp:style>
    </dsp:sp>
    <dsp:sp modelId="{C452FE2E-FB5F-584E-8401-BD25EE792071}">
      <dsp:nvSpPr>
        <dsp:cNvPr id="0" name=""/>
        <dsp:cNvSpPr/>
      </dsp:nvSpPr>
      <dsp:spPr>
        <a:xfrm>
          <a:off x="79168" y="175274"/>
          <a:ext cx="5123732" cy="5123732"/>
        </a:xfrm>
        <a:prstGeom prst="circularArrow">
          <a:avLst>
            <a:gd name="adj1" fmla="val 5085"/>
            <a:gd name="adj2" fmla="val 327528"/>
            <a:gd name="adj3" fmla="val 11552519"/>
            <a:gd name="adj4" fmla="val 7559718"/>
            <a:gd name="adj5" fmla="val 5932"/>
          </a:avLst>
        </a:prstGeom>
        <a:solidFill>
          <a:srgbClr val="FFFF00"/>
        </a:solidFill>
        <a:ln w="9525" cap="rnd" cmpd="sng" algn="ctr">
          <a:solidFill>
            <a:schemeClr val="accent2">
              <a:tint val="60000"/>
              <a:hueOff val="0"/>
              <a:satOff val="0"/>
              <a:lumOff val="0"/>
              <a:alphaOff val="0"/>
            </a:schemeClr>
          </a:solidFill>
          <a:prstDash val="solid"/>
        </a:ln>
        <a:effectLst>
          <a:innerShdw blurRad="25400" dist="12700" dir="13500000">
            <a:srgbClr val="000000">
              <a:alpha val="45000"/>
            </a:srgbClr>
          </a:innerShdw>
        </a:effectLst>
        <a:sp3d z="50080" prstMaterial="plastic">
          <a:bevelT w="25400" h="25400"/>
          <a:bevelB w="25400" h="25400"/>
        </a:sp3d>
      </dsp:spPr>
      <dsp:style>
        <a:lnRef idx="1">
          <a:scrgbClr r="0" g="0" b="0"/>
        </a:lnRef>
        <a:fillRef idx="1">
          <a:scrgbClr r="0" g="0" b="0"/>
        </a:fillRef>
        <a:effectRef idx="2">
          <a:scrgbClr r="0" g="0" b="0"/>
        </a:effectRef>
        <a:fontRef idx="minor">
          <a:schemeClr val="lt1"/>
        </a:fontRef>
      </dsp:style>
    </dsp:sp>
    <dsp:sp modelId="{323C426D-CAB2-B447-B5D5-3FD31DD70F57}">
      <dsp:nvSpPr>
        <dsp:cNvPr id="0" name=""/>
        <dsp:cNvSpPr/>
      </dsp:nvSpPr>
      <dsp:spPr>
        <a:xfrm>
          <a:off x="118777" y="53734"/>
          <a:ext cx="5123732" cy="5123732"/>
        </a:xfrm>
        <a:prstGeom prst="circularArrow">
          <a:avLst>
            <a:gd name="adj1" fmla="val 5085"/>
            <a:gd name="adj2" fmla="val 327528"/>
            <a:gd name="adj3" fmla="val 15872148"/>
            <a:gd name="adj4" fmla="val 11880111"/>
            <a:gd name="adj5" fmla="val 5932"/>
          </a:avLst>
        </a:prstGeom>
        <a:solidFill>
          <a:srgbClr val="FF0000"/>
        </a:solidFill>
        <a:ln w="9525" cap="rnd" cmpd="sng" algn="ctr">
          <a:solidFill>
            <a:schemeClr val="accent2">
              <a:tint val="60000"/>
              <a:hueOff val="0"/>
              <a:satOff val="0"/>
              <a:lumOff val="0"/>
              <a:alphaOff val="0"/>
            </a:schemeClr>
          </a:solidFill>
          <a:prstDash val="solid"/>
        </a:ln>
        <a:effectLst>
          <a:innerShdw blurRad="25400" dist="12700" dir="13500000">
            <a:srgbClr val="000000">
              <a:alpha val="45000"/>
            </a:srgbClr>
          </a:innerShdw>
        </a:effectLst>
        <a:sp3d z="50080" prstMaterial="plastic">
          <a:bevelT w="25400" h="25400"/>
          <a:bevelB w="25400" h="25400"/>
        </a:sp3d>
      </dsp:spPr>
      <dsp:style>
        <a:lnRef idx="1">
          <a:scrgbClr r="0" g="0" b="0"/>
        </a:lnRef>
        <a:fillRef idx="1">
          <a:scrgbClr r="0" g="0" b="0"/>
        </a:fillRef>
        <a:effectRef idx="2">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88194E-C0ED-7A4D-B91C-58410D639E37}">
      <dsp:nvSpPr>
        <dsp:cNvPr id="0" name=""/>
        <dsp:cNvSpPr/>
      </dsp:nvSpPr>
      <dsp:spPr>
        <a:xfrm>
          <a:off x="0" y="198480"/>
          <a:ext cx="5601547" cy="302400"/>
        </a:xfrm>
        <a:prstGeom prst="rect">
          <a:avLst/>
        </a:prstGeom>
        <a:solidFill>
          <a:schemeClr val="lt1">
            <a:alpha val="90000"/>
            <a:hueOff val="0"/>
            <a:satOff val="0"/>
            <a:lumOff val="0"/>
            <a:alphaOff val="0"/>
          </a:schemeClr>
        </a:solidFill>
        <a:ln w="15875"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998B2A4-37DB-654E-9F64-4420FE110F4A}">
      <dsp:nvSpPr>
        <dsp:cNvPr id="0" name=""/>
        <dsp:cNvSpPr/>
      </dsp:nvSpPr>
      <dsp:spPr>
        <a:xfrm>
          <a:off x="280077" y="21360"/>
          <a:ext cx="3921082" cy="354240"/>
        </a:xfrm>
        <a:prstGeom prst="roundRect">
          <a:avLst/>
        </a:prstGeom>
        <a:solidFill>
          <a:srgbClr val="00B050"/>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208" tIns="0" rIns="148208" bIns="0" numCol="1" spcCol="1270" anchor="ctr" anchorCtr="0">
          <a:noAutofit/>
        </a:bodyPr>
        <a:lstStyle/>
        <a:p>
          <a:pPr lvl="0" algn="l" defTabSz="622300">
            <a:lnSpc>
              <a:spcPct val="90000"/>
            </a:lnSpc>
            <a:spcBef>
              <a:spcPct val="0"/>
            </a:spcBef>
            <a:spcAft>
              <a:spcPct val="35000"/>
            </a:spcAft>
          </a:pPr>
          <a:r>
            <a:rPr lang="es-ES" sz="1400" kern="1200" dirty="0"/>
            <a:t> Conectividad</a:t>
          </a:r>
        </a:p>
      </dsp:txBody>
      <dsp:txXfrm>
        <a:off x="297370" y="38653"/>
        <a:ext cx="3886496" cy="319654"/>
      </dsp:txXfrm>
    </dsp:sp>
    <dsp:sp modelId="{DBB7ED03-D282-1540-9CAB-2E407A04464D}">
      <dsp:nvSpPr>
        <dsp:cNvPr id="0" name=""/>
        <dsp:cNvSpPr/>
      </dsp:nvSpPr>
      <dsp:spPr>
        <a:xfrm>
          <a:off x="0" y="742800"/>
          <a:ext cx="5601547" cy="302400"/>
        </a:xfrm>
        <a:prstGeom prst="rect">
          <a:avLst/>
        </a:prstGeom>
        <a:solidFill>
          <a:schemeClr val="lt1">
            <a:alpha val="90000"/>
            <a:hueOff val="0"/>
            <a:satOff val="0"/>
            <a:lumOff val="0"/>
            <a:alphaOff val="0"/>
          </a:schemeClr>
        </a:solidFill>
        <a:ln w="15875"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6869303-5358-564C-95CC-EE7910E87582}">
      <dsp:nvSpPr>
        <dsp:cNvPr id="0" name=""/>
        <dsp:cNvSpPr/>
      </dsp:nvSpPr>
      <dsp:spPr>
        <a:xfrm>
          <a:off x="280077" y="565680"/>
          <a:ext cx="3921082" cy="354240"/>
        </a:xfrm>
        <a:prstGeom prst="roundRect">
          <a:avLst/>
        </a:prstGeom>
        <a:solidFill>
          <a:srgbClr val="00B050"/>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208" tIns="0" rIns="148208" bIns="0" numCol="1" spcCol="1270" anchor="ctr" anchorCtr="0">
          <a:noAutofit/>
        </a:bodyPr>
        <a:lstStyle/>
        <a:p>
          <a:pPr lvl="0" algn="l" defTabSz="622300">
            <a:lnSpc>
              <a:spcPct val="90000"/>
            </a:lnSpc>
            <a:spcBef>
              <a:spcPct val="0"/>
            </a:spcBef>
            <a:spcAft>
              <a:spcPct val="35000"/>
            </a:spcAft>
          </a:pPr>
          <a:r>
            <a:rPr lang="es-ES" sz="1400" kern="1200" dirty="0"/>
            <a:t>Adaptabilidad</a:t>
          </a:r>
        </a:p>
      </dsp:txBody>
      <dsp:txXfrm>
        <a:off x="297370" y="582973"/>
        <a:ext cx="3886496" cy="319654"/>
      </dsp:txXfrm>
    </dsp:sp>
    <dsp:sp modelId="{33480149-7E38-574E-8355-1D940167E29E}">
      <dsp:nvSpPr>
        <dsp:cNvPr id="0" name=""/>
        <dsp:cNvSpPr/>
      </dsp:nvSpPr>
      <dsp:spPr>
        <a:xfrm>
          <a:off x="0" y="1287120"/>
          <a:ext cx="5601547" cy="302400"/>
        </a:xfrm>
        <a:prstGeom prst="rect">
          <a:avLst/>
        </a:prstGeom>
        <a:solidFill>
          <a:schemeClr val="lt1">
            <a:alpha val="90000"/>
            <a:hueOff val="0"/>
            <a:satOff val="0"/>
            <a:lumOff val="0"/>
            <a:alphaOff val="0"/>
          </a:schemeClr>
        </a:solidFill>
        <a:ln w="15875"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7CA6B28-CAD7-A444-B59F-42F75C3EDDF6}">
      <dsp:nvSpPr>
        <dsp:cNvPr id="0" name=""/>
        <dsp:cNvSpPr/>
      </dsp:nvSpPr>
      <dsp:spPr>
        <a:xfrm>
          <a:off x="280077" y="1110000"/>
          <a:ext cx="3921082" cy="354240"/>
        </a:xfrm>
        <a:prstGeom prst="roundRect">
          <a:avLst/>
        </a:prstGeom>
        <a:solidFill>
          <a:srgbClr val="00B050"/>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208" tIns="0" rIns="148208" bIns="0" numCol="1" spcCol="1270" anchor="ctr" anchorCtr="0">
          <a:noAutofit/>
        </a:bodyPr>
        <a:lstStyle/>
        <a:p>
          <a:pPr lvl="0" algn="l" defTabSz="622300">
            <a:lnSpc>
              <a:spcPct val="90000"/>
            </a:lnSpc>
            <a:spcBef>
              <a:spcPct val="0"/>
            </a:spcBef>
            <a:spcAft>
              <a:spcPct val="35000"/>
            </a:spcAft>
          </a:pPr>
          <a:r>
            <a:rPr lang="es-ES" sz="1400" kern="1200" dirty="0"/>
            <a:t>Accesibilidad</a:t>
          </a:r>
        </a:p>
      </dsp:txBody>
      <dsp:txXfrm>
        <a:off x="297370" y="1127293"/>
        <a:ext cx="3886496" cy="319654"/>
      </dsp:txXfrm>
    </dsp:sp>
    <dsp:sp modelId="{6F25F539-7BB9-FB47-8BE7-938EE10A7403}">
      <dsp:nvSpPr>
        <dsp:cNvPr id="0" name=""/>
        <dsp:cNvSpPr/>
      </dsp:nvSpPr>
      <dsp:spPr>
        <a:xfrm>
          <a:off x="0" y="1831440"/>
          <a:ext cx="5601547" cy="302400"/>
        </a:xfrm>
        <a:prstGeom prst="rect">
          <a:avLst/>
        </a:prstGeom>
        <a:solidFill>
          <a:schemeClr val="lt1">
            <a:alpha val="90000"/>
            <a:hueOff val="0"/>
            <a:satOff val="0"/>
            <a:lumOff val="0"/>
            <a:alphaOff val="0"/>
          </a:schemeClr>
        </a:solidFill>
        <a:ln w="15875"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3B9F9B8-F7C1-AA40-B2B1-F24508ED2178}">
      <dsp:nvSpPr>
        <dsp:cNvPr id="0" name=""/>
        <dsp:cNvSpPr/>
      </dsp:nvSpPr>
      <dsp:spPr>
        <a:xfrm>
          <a:off x="280077" y="1654320"/>
          <a:ext cx="3921082" cy="354240"/>
        </a:xfrm>
        <a:prstGeom prst="roundRect">
          <a:avLst/>
        </a:prstGeom>
        <a:solidFill>
          <a:srgbClr val="00B050"/>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208" tIns="0" rIns="148208" bIns="0" numCol="1" spcCol="1270" anchor="ctr" anchorCtr="0">
          <a:noAutofit/>
        </a:bodyPr>
        <a:lstStyle/>
        <a:p>
          <a:pPr lvl="0" algn="l" defTabSz="622300">
            <a:lnSpc>
              <a:spcPct val="90000"/>
            </a:lnSpc>
            <a:spcBef>
              <a:spcPct val="0"/>
            </a:spcBef>
            <a:spcAft>
              <a:spcPct val="35000"/>
            </a:spcAft>
          </a:pPr>
          <a:r>
            <a:rPr lang="es-ES" sz="1400" kern="1200" dirty="0"/>
            <a:t>Gestionar datos</a:t>
          </a:r>
        </a:p>
      </dsp:txBody>
      <dsp:txXfrm>
        <a:off x="297370" y="1671613"/>
        <a:ext cx="3886496" cy="319654"/>
      </dsp:txXfrm>
    </dsp:sp>
    <dsp:sp modelId="{B6613E52-0A4F-4743-8620-E1063FE9EB25}">
      <dsp:nvSpPr>
        <dsp:cNvPr id="0" name=""/>
        <dsp:cNvSpPr/>
      </dsp:nvSpPr>
      <dsp:spPr>
        <a:xfrm>
          <a:off x="0" y="2375759"/>
          <a:ext cx="5601547" cy="302400"/>
        </a:xfrm>
        <a:prstGeom prst="rect">
          <a:avLst/>
        </a:prstGeom>
        <a:solidFill>
          <a:schemeClr val="lt1">
            <a:alpha val="90000"/>
            <a:hueOff val="0"/>
            <a:satOff val="0"/>
            <a:lumOff val="0"/>
            <a:alphaOff val="0"/>
          </a:schemeClr>
        </a:solidFill>
        <a:ln w="15875"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876E873-520E-8A43-B845-7186BBED025F}">
      <dsp:nvSpPr>
        <dsp:cNvPr id="0" name=""/>
        <dsp:cNvSpPr/>
      </dsp:nvSpPr>
      <dsp:spPr>
        <a:xfrm>
          <a:off x="280077" y="2198639"/>
          <a:ext cx="3921082" cy="354240"/>
        </a:xfrm>
        <a:prstGeom prst="roundRect">
          <a:avLst/>
        </a:prstGeom>
        <a:solidFill>
          <a:srgbClr val="00B050"/>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208" tIns="0" rIns="148208" bIns="0" numCol="1" spcCol="1270" anchor="ctr" anchorCtr="0">
          <a:noAutofit/>
        </a:bodyPr>
        <a:lstStyle/>
        <a:p>
          <a:pPr lvl="0" algn="l" defTabSz="622300">
            <a:lnSpc>
              <a:spcPct val="90000"/>
            </a:lnSpc>
            <a:spcBef>
              <a:spcPct val="0"/>
            </a:spcBef>
            <a:spcAft>
              <a:spcPct val="35000"/>
            </a:spcAft>
          </a:pPr>
          <a:r>
            <a:rPr lang="es-ES" sz="1400" kern="1200" dirty="0"/>
            <a:t>Grabar experiencias</a:t>
          </a:r>
        </a:p>
      </dsp:txBody>
      <dsp:txXfrm>
        <a:off x="297370" y="2215932"/>
        <a:ext cx="3886496" cy="319654"/>
      </dsp:txXfrm>
    </dsp:sp>
    <dsp:sp modelId="{83E699CA-B566-D643-AAF7-EE0287EF1FD4}">
      <dsp:nvSpPr>
        <dsp:cNvPr id="0" name=""/>
        <dsp:cNvSpPr/>
      </dsp:nvSpPr>
      <dsp:spPr>
        <a:xfrm>
          <a:off x="0" y="2920080"/>
          <a:ext cx="5601547" cy="302400"/>
        </a:xfrm>
        <a:prstGeom prst="rect">
          <a:avLst/>
        </a:prstGeom>
        <a:solidFill>
          <a:schemeClr val="lt1">
            <a:alpha val="90000"/>
            <a:hueOff val="0"/>
            <a:satOff val="0"/>
            <a:lumOff val="0"/>
            <a:alphaOff val="0"/>
          </a:schemeClr>
        </a:solidFill>
        <a:ln w="15875"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F2F49E2-6871-F648-9A29-54FDDD2B3B3A}">
      <dsp:nvSpPr>
        <dsp:cNvPr id="0" name=""/>
        <dsp:cNvSpPr/>
      </dsp:nvSpPr>
      <dsp:spPr>
        <a:xfrm>
          <a:off x="280077" y="2742959"/>
          <a:ext cx="3921082" cy="354240"/>
        </a:xfrm>
        <a:prstGeom prst="roundRect">
          <a:avLst/>
        </a:prstGeom>
        <a:solidFill>
          <a:srgbClr val="00B050"/>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208" tIns="0" rIns="148208" bIns="0" numCol="1" spcCol="1270" anchor="ctr" anchorCtr="0">
          <a:noAutofit/>
        </a:bodyPr>
        <a:lstStyle/>
        <a:p>
          <a:pPr lvl="0" algn="l" defTabSz="622300">
            <a:lnSpc>
              <a:spcPct val="90000"/>
            </a:lnSpc>
            <a:spcBef>
              <a:spcPct val="0"/>
            </a:spcBef>
            <a:spcAft>
              <a:spcPct val="35000"/>
            </a:spcAft>
          </a:pPr>
          <a:r>
            <a:rPr lang="es-ES" sz="1400" kern="1200" dirty="0"/>
            <a:t>Distribuir información y conocimiento</a:t>
          </a:r>
        </a:p>
      </dsp:txBody>
      <dsp:txXfrm>
        <a:off x="297370" y="2760252"/>
        <a:ext cx="3886496" cy="319654"/>
      </dsp:txXfrm>
    </dsp:sp>
    <dsp:sp modelId="{1AE135E7-66FE-774F-BCD1-91A13E5DCB88}">
      <dsp:nvSpPr>
        <dsp:cNvPr id="0" name=""/>
        <dsp:cNvSpPr/>
      </dsp:nvSpPr>
      <dsp:spPr>
        <a:xfrm>
          <a:off x="0" y="3464400"/>
          <a:ext cx="5601547" cy="302400"/>
        </a:xfrm>
        <a:prstGeom prst="rect">
          <a:avLst/>
        </a:prstGeom>
        <a:solidFill>
          <a:schemeClr val="lt1">
            <a:alpha val="90000"/>
            <a:hueOff val="0"/>
            <a:satOff val="0"/>
            <a:lumOff val="0"/>
            <a:alphaOff val="0"/>
          </a:schemeClr>
        </a:solidFill>
        <a:ln w="15875"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79C35FE-8B90-BA49-88D1-C9D230CF0A9A}">
      <dsp:nvSpPr>
        <dsp:cNvPr id="0" name=""/>
        <dsp:cNvSpPr/>
      </dsp:nvSpPr>
      <dsp:spPr>
        <a:xfrm>
          <a:off x="280077" y="3287280"/>
          <a:ext cx="3921082" cy="354240"/>
        </a:xfrm>
        <a:prstGeom prst="roundRect">
          <a:avLst/>
        </a:prstGeom>
        <a:solidFill>
          <a:srgbClr val="00B050"/>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208" tIns="0" rIns="148208" bIns="0" numCol="1" spcCol="1270" anchor="ctr" anchorCtr="0">
          <a:noAutofit/>
        </a:bodyPr>
        <a:lstStyle/>
        <a:p>
          <a:pPr lvl="0" algn="l" defTabSz="622300">
            <a:lnSpc>
              <a:spcPct val="90000"/>
            </a:lnSpc>
            <a:spcBef>
              <a:spcPct val="0"/>
            </a:spcBef>
            <a:spcAft>
              <a:spcPct val="35000"/>
            </a:spcAft>
          </a:pPr>
          <a:r>
            <a:rPr lang="es-ES" sz="1400" kern="1200" dirty="0"/>
            <a:t>Practicar y experimentar</a:t>
          </a:r>
        </a:p>
      </dsp:txBody>
      <dsp:txXfrm>
        <a:off x="297370" y="3304573"/>
        <a:ext cx="3886496" cy="319654"/>
      </dsp:txXfrm>
    </dsp:sp>
    <dsp:sp modelId="{CD1C13CD-F56A-B049-838F-42942AA08504}">
      <dsp:nvSpPr>
        <dsp:cNvPr id="0" name=""/>
        <dsp:cNvSpPr/>
      </dsp:nvSpPr>
      <dsp:spPr>
        <a:xfrm>
          <a:off x="0" y="4008720"/>
          <a:ext cx="5601547" cy="302400"/>
        </a:xfrm>
        <a:prstGeom prst="rect">
          <a:avLst/>
        </a:prstGeom>
        <a:solidFill>
          <a:schemeClr val="lt1">
            <a:alpha val="90000"/>
            <a:hueOff val="0"/>
            <a:satOff val="0"/>
            <a:lumOff val="0"/>
            <a:alphaOff val="0"/>
          </a:schemeClr>
        </a:solidFill>
        <a:ln w="15875"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7BB182F-93B6-9F4E-A261-6AD70CE5FD6D}">
      <dsp:nvSpPr>
        <dsp:cNvPr id="0" name=""/>
        <dsp:cNvSpPr/>
      </dsp:nvSpPr>
      <dsp:spPr>
        <a:xfrm>
          <a:off x="280077" y="3831600"/>
          <a:ext cx="3921082" cy="354240"/>
        </a:xfrm>
        <a:prstGeom prst="roundRect">
          <a:avLst/>
        </a:prstGeom>
        <a:solidFill>
          <a:srgbClr val="00B050"/>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208" tIns="0" rIns="148208" bIns="0" numCol="1" spcCol="1270" anchor="ctr" anchorCtr="0">
          <a:noAutofit/>
        </a:bodyPr>
        <a:lstStyle/>
        <a:p>
          <a:pPr lvl="0" algn="l" defTabSz="622300">
            <a:lnSpc>
              <a:spcPct val="90000"/>
            </a:lnSpc>
            <a:spcBef>
              <a:spcPct val="0"/>
            </a:spcBef>
            <a:spcAft>
              <a:spcPct val="35000"/>
            </a:spcAft>
          </a:pPr>
          <a:r>
            <a:rPr lang="es-ES" sz="1400" kern="1200" dirty="0"/>
            <a:t>Hacer seguimiento individual y colectivo</a:t>
          </a:r>
        </a:p>
      </dsp:txBody>
      <dsp:txXfrm>
        <a:off x="297370" y="3848893"/>
        <a:ext cx="3886496" cy="319654"/>
      </dsp:txXfrm>
    </dsp:sp>
    <dsp:sp modelId="{5556AB39-2839-2E43-92DB-654B209260EB}">
      <dsp:nvSpPr>
        <dsp:cNvPr id="0" name=""/>
        <dsp:cNvSpPr/>
      </dsp:nvSpPr>
      <dsp:spPr>
        <a:xfrm>
          <a:off x="0" y="4565209"/>
          <a:ext cx="5601547" cy="302400"/>
        </a:xfrm>
        <a:prstGeom prst="rect">
          <a:avLst/>
        </a:prstGeom>
        <a:solidFill>
          <a:schemeClr val="lt1">
            <a:alpha val="90000"/>
            <a:hueOff val="0"/>
            <a:satOff val="0"/>
            <a:lumOff val="0"/>
            <a:alphaOff val="0"/>
          </a:schemeClr>
        </a:solidFill>
        <a:ln w="15875"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BC7AF79-5482-D94E-B43D-24C3CE929183}">
      <dsp:nvSpPr>
        <dsp:cNvPr id="0" name=""/>
        <dsp:cNvSpPr/>
      </dsp:nvSpPr>
      <dsp:spPr>
        <a:xfrm>
          <a:off x="280077" y="4375920"/>
          <a:ext cx="3921082" cy="354240"/>
        </a:xfrm>
        <a:prstGeom prst="roundRect">
          <a:avLst/>
        </a:prstGeom>
        <a:solidFill>
          <a:srgbClr val="00B050"/>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208" tIns="0" rIns="148208" bIns="0" numCol="1" spcCol="1270" anchor="ctr" anchorCtr="0">
          <a:noAutofit/>
        </a:bodyPr>
        <a:lstStyle/>
        <a:p>
          <a:pPr lvl="0" algn="l" defTabSz="622300">
            <a:lnSpc>
              <a:spcPct val="90000"/>
            </a:lnSpc>
            <a:spcBef>
              <a:spcPct val="0"/>
            </a:spcBef>
            <a:spcAft>
              <a:spcPct val="35000"/>
            </a:spcAft>
          </a:pPr>
          <a:r>
            <a:rPr lang="es-ES" sz="1400" kern="1200" dirty="0"/>
            <a:t>Implantar</a:t>
          </a:r>
          <a:r>
            <a:rPr lang="es-ES" sz="1400" kern="1200" baseline="0" dirty="0"/>
            <a:t> un  modelo motivacional (</a:t>
          </a:r>
          <a:r>
            <a:rPr lang="es-ES" sz="1400" kern="1200" baseline="0" dirty="0" err="1"/>
            <a:t>gamificar</a:t>
          </a:r>
          <a:r>
            <a:rPr lang="es-ES" sz="1400" kern="1200" baseline="0" dirty="0"/>
            <a:t>)</a:t>
          </a:r>
          <a:endParaRPr lang="es-ES" sz="1400" kern="1200" dirty="0"/>
        </a:p>
      </dsp:txBody>
      <dsp:txXfrm>
        <a:off x="297370" y="4393213"/>
        <a:ext cx="3886496" cy="31965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88194E-C0ED-7A4D-B91C-58410D639E37}">
      <dsp:nvSpPr>
        <dsp:cNvPr id="0" name=""/>
        <dsp:cNvSpPr/>
      </dsp:nvSpPr>
      <dsp:spPr>
        <a:xfrm>
          <a:off x="0" y="888240"/>
          <a:ext cx="3683000" cy="201600"/>
        </a:xfrm>
        <a:prstGeom prst="rect">
          <a:avLst/>
        </a:prstGeom>
        <a:solidFill>
          <a:schemeClr val="lt1">
            <a:alpha val="90000"/>
            <a:hueOff val="0"/>
            <a:satOff val="0"/>
            <a:lumOff val="0"/>
            <a:alphaOff val="0"/>
          </a:schemeClr>
        </a:solidFill>
        <a:ln w="15875"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998B2A4-37DB-654E-9F64-4420FE110F4A}">
      <dsp:nvSpPr>
        <dsp:cNvPr id="0" name=""/>
        <dsp:cNvSpPr/>
      </dsp:nvSpPr>
      <dsp:spPr>
        <a:xfrm>
          <a:off x="184150" y="770160"/>
          <a:ext cx="2578100" cy="236160"/>
        </a:xfrm>
        <a:prstGeom prst="roundRect">
          <a:avLst/>
        </a:prstGeom>
        <a:solidFill>
          <a:srgbClr val="00B050"/>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7446" tIns="0" rIns="97446" bIns="0" numCol="1" spcCol="1270" anchor="ctr" anchorCtr="0">
          <a:noAutofit/>
        </a:bodyPr>
        <a:lstStyle/>
        <a:p>
          <a:pPr lvl="0" algn="l" defTabSz="355600">
            <a:lnSpc>
              <a:spcPct val="90000"/>
            </a:lnSpc>
            <a:spcBef>
              <a:spcPct val="0"/>
            </a:spcBef>
            <a:spcAft>
              <a:spcPct val="35000"/>
            </a:spcAft>
          </a:pPr>
          <a:r>
            <a:rPr lang="es-ES" sz="800" kern="1200" dirty="0"/>
            <a:t> Conectividad</a:t>
          </a:r>
        </a:p>
      </dsp:txBody>
      <dsp:txXfrm>
        <a:off x="195678" y="781688"/>
        <a:ext cx="2555044" cy="213104"/>
      </dsp:txXfrm>
    </dsp:sp>
    <dsp:sp modelId="{DBB7ED03-D282-1540-9CAB-2E407A04464D}">
      <dsp:nvSpPr>
        <dsp:cNvPr id="0" name=""/>
        <dsp:cNvSpPr/>
      </dsp:nvSpPr>
      <dsp:spPr>
        <a:xfrm>
          <a:off x="0" y="1251120"/>
          <a:ext cx="3683000" cy="201600"/>
        </a:xfrm>
        <a:prstGeom prst="rect">
          <a:avLst/>
        </a:prstGeom>
        <a:solidFill>
          <a:schemeClr val="lt1">
            <a:alpha val="90000"/>
            <a:hueOff val="0"/>
            <a:satOff val="0"/>
            <a:lumOff val="0"/>
            <a:alphaOff val="0"/>
          </a:schemeClr>
        </a:solidFill>
        <a:ln w="15875"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6869303-5358-564C-95CC-EE7910E87582}">
      <dsp:nvSpPr>
        <dsp:cNvPr id="0" name=""/>
        <dsp:cNvSpPr/>
      </dsp:nvSpPr>
      <dsp:spPr>
        <a:xfrm>
          <a:off x="184150" y="1133040"/>
          <a:ext cx="2578100" cy="236160"/>
        </a:xfrm>
        <a:prstGeom prst="roundRect">
          <a:avLst/>
        </a:prstGeom>
        <a:solidFill>
          <a:srgbClr val="00B050"/>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7446" tIns="0" rIns="97446" bIns="0" numCol="1" spcCol="1270" anchor="ctr" anchorCtr="0">
          <a:noAutofit/>
        </a:bodyPr>
        <a:lstStyle/>
        <a:p>
          <a:pPr lvl="0" algn="l" defTabSz="355600">
            <a:lnSpc>
              <a:spcPct val="90000"/>
            </a:lnSpc>
            <a:spcBef>
              <a:spcPct val="0"/>
            </a:spcBef>
            <a:spcAft>
              <a:spcPct val="35000"/>
            </a:spcAft>
          </a:pPr>
          <a:r>
            <a:rPr lang="es-ES" sz="800" kern="1200" dirty="0"/>
            <a:t>Adaptabilidad</a:t>
          </a:r>
        </a:p>
      </dsp:txBody>
      <dsp:txXfrm>
        <a:off x="195678" y="1144568"/>
        <a:ext cx="2555044" cy="213104"/>
      </dsp:txXfrm>
    </dsp:sp>
    <dsp:sp modelId="{33480149-7E38-574E-8355-1D940167E29E}">
      <dsp:nvSpPr>
        <dsp:cNvPr id="0" name=""/>
        <dsp:cNvSpPr/>
      </dsp:nvSpPr>
      <dsp:spPr>
        <a:xfrm>
          <a:off x="0" y="1614000"/>
          <a:ext cx="3683000" cy="201600"/>
        </a:xfrm>
        <a:prstGeom prst="rect">
          <a:avLst/>
        </a:prstGeom>
        <a:solidFill>
          <a:schemeClr val="lt1">
            <a:alpha val="90000"/>
            <a:hueOff val="0"/>
            <a:satOff val="0"/>
            <a:lumOff val="0"/>
            <a:alphaOff val="0"/>
          </a:schemeClr>
        </a:solidFill>
        <a:ln w="15875"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7CA6B28-CAD7-A444-B59F-42F75C3EDDF6}">
      <dsp:nvSpPr>
        <dsp:cNvPr id="0" name=""/>
        <dsp:cNvSpPr/>
      </dsp:nvSpPr>
      <dsp:spPr>
        <a:xfrm>
          <a:off x="184150" y="1495920"/>
          <a:ext cx="2578100" cy="236160"/>
        </a:xfrm>
        <a:prstGeom prst="roundRect">
          <a:avLst/>
        </a:prstGeom>
        <a:solidFill>
          <a:srgbClr val="00B050"/>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7446" tIns="0" rIns="97446" bIns="0" numCol="1" spcCol="1270" anchor="ctr" anchorCtr="0">
          <a:noAutofit/>
        </a:bodyPr>
        <a:lstStyle/>
        <a:p>
          <a:pPr lvl="0" algn="l" defTabSz="355600">
            <a:lnSpc>
              <a:spcPct val="90000"/>
            </a:lnSpc>
            <a:spcBef>
              <a:spcPct val="0"/>
            </a:spcBef>
            <a:spcAft>
              <a:spcPct val="35000"/>
            </a:spcAft>
          </a:pPr>
          <a:r>
            <a:rPr lang="es-ES" sz="800" kern="1200" dirty="0"/>
            <a:t>Accesibilidad</a:t>
          </a:r>
        </a:p>
      </dsp:txBody>
      <dsp:txXfrm>
        <a:off x="195678" y="1507448"/>
        <a:ext cx="2555044" cy="213104"/>
      </dsp:txXfrm>
    </dsp:sp>
    <dsp:sp modelId="{6F25F539-7BB9-FB47-8BE7-938EE10A7403}">
      <dsp:nvSpPr>
        <dsp:cNvPr id="0" name=""/>
        <dsp:cNvSpPr/>
      </dsp:nvSpPr>
      <dsp:spPr>
        <a:xfrm>
          <a:off x="0" y="1976880"/>
          <a:ext cx="3683000" cy="201600"/>
        </a:xfrm>
        <a:prstGeom prst="rect">
          <a:avLst/>
        </a:prstGeom>
        <a:solidFill>
          <a:schemeClr val="lt1">
            <a:alpha val="90000"/>
            <a:hueOff val="0"/>
            <a:satOff val="0"/>
            <a:lumOff val="0"/>
            <a:alphaOff val="0"/>
          </a:schemeClr>
        </a:solidFill>
        <a:ln w="15875"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3B9F9B8-F7C1-AA40-B2B1-F24508ED2178}">
      <dsp:nvSpPr>
        <dsp:cNvPr id="0" name=""/>
        <dsp:cNvSpPr/>
      </dsp:nvSpPr>
      <dsp:spPr>
        <a:xfrm>
          <a:off x="184150" y="1858800"/>
          <a:ext cx="2578100" cy="236160"/>
        </a:xfrm>
        <a:prstGeom prst="roundRect">
          <a:avLst/>
        </a:prstGeom>
        <a:solidFill>
          <a:srgbClr val="00B050"/>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7446" tIns="0" rIns="97446" bIns="0" numCol="1" spcCol="1270" anchor="ctr" anchorCtr="0">
          <a:noAutofit/>
        </a:bodyPr>
        <a:lstStyle/>
        <a:p>
          <a:pPr lvl="0" algn="l" defTabSz="355600">
            <a:lnSpc>
              <a:spcPct val="90000"/>
            </a:lnSpc>
            <a:spcBef>
              <a:spcPct val="0"/>
            </a:spcBef>
            <a:spcAft>
              <a:spcPct val="35000"/>
            </a:spcAft>
          </a:pPr>
          <a:r>
            <a:rPr lang="es-ES" sz="800" kern="1200" dirty="0"/>
            <a:t>Gestionar datos</a:t>
          </a:r>
        </a:p>
      </dsp:txBody>
      <dsp:txXfrm>
        <a:off x="195678" y="1870328"/>
        <a:ext cx="2555044" cy="213104"/>
      </dsp:txXfrm>
    </dsp:sp>
    <dsp:sp modelId="{B6613E52-0A4F-4743-8620-E1063FE9EB25}">
      <dsp:nvSpPr>
        <dsp:cNvPr id="0" name=""/>
        <dsp:cNvSpPr/>
      </dsp:nvSpPr>
      <dsp:spPr>
        <a:xfrm>
          <a:off x="0" y="2339760"/>
          <a:ext cx="3683000" cy="201600"/>
        </a:xfrm>
        <a:prstGeom prst="rect">
          <a:avLst/>
        </a:prstGeom>
        <a:solidFill>
          <a:schemeClr val="lt1">
            <a:alpha val="90000"/>
            <a:hueOff val="0"/>
            <a:satOff val="0"/>
            <a:lumOff val="0"/>
            <a:alphaOff val="0"/>
          </a:schemeClr>
        </a:solidFill>
        <a:ln w="15875"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876E873-520E-8A43-B845-7186BBED025F}">
      <dsp:nvSpPr>
        <dsp:cNvPr id="0" name=""/>
        <dsp:cNvSpPr/>
      </dsp:nvSpPr>
      <dsp:spPr>
        <a:xfrm>
          <a:off x="184150" y="2221680"/>
          <a:ext cx="2578100" cy="236160"/>
        </a:xfrm>
        <a:prstGeom prst="roundRect">
          <a:avLst/>
        </a:prstGeom>
        <a:solidFill>
          <a:srgbClr val="00B050"/>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7446" tIns="0" rIns="97446" bIns="0" numCol="1" spcCol="1270" anchor="ctr" anchorCtr="0">
          <a:noAutofit/>
        </a:bodyPr>
        <a:lstStyle/>
        <a:p>
          <a:pPr lvl="0" algn="l" defTabSz="355600">
            <a:lnSpc>
              <a:spcPct val="90000"/>
            </a:lnSpc>
            <a:spcBef>
              <a:spcPct val="0"/>
            </a:spcBef>
            <a:spcAft>
              <a:spcPct val="35000"/>
            </a:spcAft>
          </a:pPr>
          <a:r>
            <a:rPr lang="es-ES" sz="800" kern="1200" dirty="0"/>
            <a:t>Grabar experiencias</a:t>
          </a:r>
        </a:p>
      </dsp:txBody>
      <dsp:txXfrm>
        <a:off x="195678" y="2233208"/>
        <a:ext cx="2555044" cy="213104"/>
      </dsp:txXfrm>
    </dsp:sp>
    <dsp:sp modelId="{83E699CA-B566-D643-AAF7-EE0287EF1FD4}">
      <dsp:nvSpPr>
        <dsp:cNvPr id="0" name=""/>
        <dsp:cNvSpPr/>
      </dsp:nvSpPr>
      <dsp:spPr>
        <a:xfrm>
          <a:off x="0" y="2702640"/>
          <a:ext cx="3683000" cy="201600"/>
        </a:xfrm>
        <a:prstGeom prst="rect">
          <a:avLst/>
        </a:prstGeom>
        <a:solidFill>
          <a:schemeClr val="lt1">
            <a:alpha val="90000"/>
            <a:hueOff val="0"/>
            <a:satOff val="0"/>
            <a:lumOff val="0"/>
            <a:alphaOff val="0"/>
          </a:schemeClr>
        </a:solidFill>
        <a:ln w="15875"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F2F49E2-6871-F648-9A29-54FDDD2B3B3A}">
      <dsp:nvSpPr>
        <dsp:cNvPr id="0" name=""/>
        <dsp:cNvSpPr/>
      </dsp:nvSpPr>
      <dsp:spPr>
        <a:xfrm>
          <a:off x="184150" y="2584560"/>
          <a:ext cx="2578100" cy="236160"/>
        </a:xfrm>
        <a:prstGeom prst="roundRect">
          <a:avLst/>
        </a:prstGeom>
        <a:solidFill>
          <a:srgbClr val="00B050"/>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7446" tIns="0" rIns="97446" bIns="0" numCol="1" spcCol="1270" anchor="ctr" anchorCtr="0">
          <a:noAutofit/>
        </a:bodyPr>
        <a:lstStyle/>
        <a:p>
          <a:pPr lvl="0" algn="l" defTabSz="355600">
            <a:lnSpc>
              <a:spcPct val="90000"/>
            </a:lnSpc>
            <a:spcBef>
              <a:spcPct val="0"/>
            </a:spcBef>
            <a:spcAft>
              <a:spcPct val="35000"/>
            </a:spcAft>
          </a:pPr>
          <a:r>
            <a:rPr lang="es-ES" sz="800" kern="1200" dirty="0"/>
            <a:t>Distribuir información y conocimiento</a:t>
          </a:r>
        </a:p>
      </dsp:txBody>
      <dsp:txXfrm>
        <a:off x="195678" y="2596088"/>
        <a:ext cx="2555044" cy="213104"/>
      </dsp:txXfrm>
    </dsp:sp>
    <dsp:sp modelId="{1AE135E7-66FE-774F-BCD1-91A13E5DCB88}">
      <dsp:nvSpPr>
        <dsp:cNvPr id="0" name=""/>
        <dsp:cNvSpPr/>
      </dsp:nvSpPr>
      <dsp:spPr>
        <a:xfrm>
          <a:off x="0" y="3065520"/>
          <a:ext cx="3683000" cy="201600"/>
        </a:xfrm>
        <a:prstGeom prst="rect">
          <a:avLst/>
        </a:prstGeom>
        <a:solidFill>
          <a:schemeClr val="lt1">
            <a:alpha val="90000"/>
            <a:hueOff val="0"/>
            <a:satOff val="0"/>
            <a:lumOff val="0"/>
            <a:alphaOff val="0"/>
          </a:schemeClr>
        </a:solidFill>
        <a:ln w="15875"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79C35FE-8B90-BA49-88D1-C9D230CF0A9A}">
      <dsp:nvSpPr>
        <dsp:cNvPr id="0" name=""/>
        <dsp:cNvSpPr/>
      </dsp:nvSpPr>
      <dsp:spPr>
        <a:xfrm>
          <a:off x="184150" y="2947440"/>
          <a:ext cx="2578100" cy="236160"/>
        </a:xfrm>
        <a:prstGeom prst="roundRect">
          <a:avLst/>
        </a:prstGeom>
        <a:solidFill>
          <a:srgbClr val="00B050"/>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7446" tIns="0" rIns="97446" bIns="0" numCol="1" spcCol="1270" anchor="ctr" anchorCtr="0">
          <a:noAutofit/>
        </a:bodyPr>
        <a:lstStyle/>
        <a:p>
          <a:pPr lvl="0" algn="l" defTabSz="355600">
            <a:lnSpc>
              <a:spcPct val="90000"/>
            </a:lnSpc>
            <a:spcBef>
              <a:spcPct val="0"/>
            </a:spcBef>
            <a:spcAft>
              <a:spcPct val="35000"/>
            </a:spcAft>
          </a:pPr>
          <a:r>
            <a:rPr lang="es-ES" sz="800" kern="1200" dirty="0"/>
            <a:t>Practicar y experimentar</a:t>
          </a:r>
        </a:p>
      </dsp:txBody>
      <dsp:txXfrm>
        <a:off x="195678" y="2958968"/>
        <a:ext cx="2555044" cy="213104"/>
      </dsp:txXfrm>
    </dsp:sp>
    <dsp:sp modelId="{CD1C13CD-F56A-B049-838F-42942AA08504}">
      <dsp:nvSpPr>
        <dsp:cNvPr id="0" name=""/>
        <dsp:cNvSpPr/>
      </dsp:nvSpPr>
      <dsp:spPr>
        <a:xfrm>
          <a:off x="0" y="3428400"/>
          <a:ext cx="3683000" cy="201600"/>
        </a:xfrm>
        <a:prstGeom prst="rect">
          <a:avLst/>
        </a:prstGeom>
        <a:solidFill>
          <a:schemeClr val="lt1">
            <a:alpha val="90000"/>
            <a:hueOff val="0"/>
            <a:satOff val="0"/>
            <a:lumOff val="0"/>
            <a:alphaOff val="0"/>
          </a:schemeClr>
        </a:solidFill>
        <a:ln w="15875"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7BB182F-93B6-9F4E-A261-6AD70CE5FD6D}">
      <dsp:nvSpPr>
        <dsp:cNvPr id="0" name=""/>
        <dsp:cNvSpPr/>
      </dsp:nvSpPr>
      <dsp:spPr>
        <a:xfrm>
          <a:off x="184150" y="3310320"/>
          <a:ext cx="2578100" cy="236160"/>
        </a:xfrm>
        <a:prstGeom prst="roundRect">
          <a:avLst/>
        </a:prstGeom>
        <a:solidFill>
          <a:srgbClr val="00B050"/>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7446" tIns="0" rIns="97446" bIns="0" numCol="1" spcCol="1270" anchor="ctr" anchorCtr="0">
          <a:noAutofit/>
        </a:bodyPr>
        <a:lstStyle/>
        <a:p>
          <a:pPr lvl="0" algn="l" defTabSz="355600">
            <a:lnSpc>
              <a:spcPct val="90000"/>
            </a:lnSpc>
            <a:spcBef>
              <a:spcPct val="0"/>
            </a:spcBef>
            <a:spcAft>
              <a:spcPct val="35000"/>
            </a:spcAft>
          </a:pPr>
          <a:r>
            <a:rPr lang="es-ES" sz="800" kern="1200" dirty="0"/>
            <a:t>Hacer seguimiento individual y colectivo</a:t>
          </a:r>
        </a:p>
      </dsp:txBody>
      <dsp:txXfrm>
        <a:off x="195678" y="3321848"/>
        <a:ext cx="2555044" cy="213104"/>
      </dsp:txXfrm>
    </dsp:sp>
    <dsp:sp modelId="{5556AB39-2839-2E43-92DB-654B209260EB}">
      <dsp:nvSpPr>
        <dsp:cNvPr id="0" name=""/>
        <dsp:cNvSpPr/>
      </dsp:nvSpPr>
      <dsp:spPr>
        <a:xfrm>
          <a:off x="0" y="3791280"/>
          <a:ext cx="3683000" cy="201600"/>
        </a:xfrm>
        <a:prstGeom prst="rect">
          <a:avLst/>
        </a:prstGeom>
        <a:solidFill>
          <a:schemeClr val="lt1">
            <a:alpha val="90000"/>
            <a:hueOff val="0"/>
            <a:satOff val="0"/>
            <a:lumOff val="0"/>
            <a:alphaOff val="0"/>
          </a:schemeClr>
        </a:solidFill>
        <a:ln w="15875"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BC7AF79-5482-D94E-B43D-24C3CE929183}">
      <dsp:nvSpPr>
        <dsp:cNvPr id="0" name=""/>
        <dsp:cNvSpPr/>
      </dsp:nvSpPr>
      <dsp:spPr>
        <a:xfrm>
          <a:off x="184150" y="3673200"/>
          <a:ext cx="2578100" cy="236160"/>
        </a:xfrm>
        <a:prstGeom prst="roundRect">
          <a:avLst/>
        </a:prstGeom>
        <a:solidFill>
          <a:srgbClr val="00B050"/>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7446" tIns="0" rIns="97446" bIns="0" numCol="1" spcCol="1270" anchor="ctr" anchorCtr="0">
          <a:noAutofit/>
        </a:bodyPr>
        <a:lstStyle/>
        <a:p>
          <a:pPr lvl="0" algn="l" defTabSz="355600">
            <a:lnSpc>
              <a:spcPct val="90000"/>
            </a:lnSpc>
            <a:spcBef>
              <a:spcPct val="0"/>
            </a:spcBef>
            <a:spcAft>
              <a:spcPct val="35000"/>
            </a:spcAft>
          </a:pPr>
          <a:r>
            <a:rPr lang="es-ES" sz="800" kern="1200" dirty="0"/>
            <a:t>Implantar</a:t>
          </a:r>
          <a:r>
            <a:rPr lang="es-ES" sz="800" kern="1200" baseline="0" dirty="0"/>
            <a:t> un  modelo motivacional (</a:t>
          </a:r>
          <a:r>
            <a:rPr lang="es-ES" sz="800" kern="1200" baseline="0" dirty="0" err="1"/>
            <a:t>gamificar</a:t>
          </a:r>
          <a:r>
            <a:rPr lang="es-ES" sz="800" kern="1200" baseline="0" dirty="0"/>
            <a:t>)</a:t>
          </a:r>
          <a:endParaRPr lang="es-ES" sz="800" kern="1200" dirty="0"/>
        </a:p>
      </dsp:txBody>
      <dsp:txXfrm>
        <a:off x="195678" y="3684728"/>
        <a:ext cx="2555044" cy="213104"/>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6">
  <dgm:title val=""/>
  <dgm:desc val=""/>
  <dgm:catLst>
    <dgm:cat type="3D" pri="11600"/>
  </dgm:catLst>
  <dgm:scene3d>
    <a:camera prst="perspectiveRelaxedModerately" zoom="92000"/>
    <a:lightRig rig="balanced" dir="t">
      <a:rot lat="0" lon="0" rev="12700000"/>
    </a:lightRig>
  </dgm:scene3d>
  <dgm:styleLbl name="node0">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prstMaterial="plastic">
      <a:bevelT w="50800" h="50800"/>
      <a:bevelB w="50800" h="50800"/>
    </dgm:sp3d>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z="50080" prstMaterial="plastic">
      <a:bevelT w="50800" h="50800"/>
      <a:bevelB w="50800" h="50800"/>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z="-54000" prstMaterial="plastic">
      <a:bevelT w="50800" h="50800"/>
      <a:bevelB w="50800" h="50800"/>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z="-2540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fgSibTrans2D1">
    <dgm:scene3d>
      <a:camera prst="orthographicFront"/>
      <a:lightRig rig="threePt" dir="t"/>
    </dgm:scene3d>
    <dgm:sp3d z="5008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5408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sibTrans1D1">
    <dgm:scene3d>
      <a:camera prst="orthographicFront"/>
      <a:lightRig rig="threePt" dir="t"/>
    </dgm:scene3d>
    <dgm:sp3d z="-25400" prstMaterial="plastic"/>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75000" prstMaterial="plastic"/>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3">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4">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1D1">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2">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3">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4">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fgAcc1">
    <dgm:scene3d>
      <a:camera prst="orthographicFront"/>
      <a:lightRig rig="threePt" dir="t"/>
    </dgm:scene3d>
    <dgm:sp3d z="50080" prstMaterial="plastic">
      <a:bevelT w="25400" h="25400"/>
      <a:bevelB w="25400" h="25400"/>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prstMaterial="plastic">
      <a:bevelT w="25400" h="25400"/>
      <a:bevelB w="25400" h="25400"/>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prstMaterial="plastic">
      <a:bevelT w="50800" h="50800"/>
      <a:bevelB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prstMaterial="plastic">
      <a:bevelT w="25400" h="25400"/>
      <a:bevelB w="25400" h="254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threePt" dir="t"/>
    </dgm:scene3d>
    <dgm:sp3d z="50080" prstMaterial="plastic">
      <a:bevelT w="25400" h="25400"/>
      <a:bevelB w="25400" h="25400"/>
    </dgm:sp3d>
    <dgm:txPr/>
    <dgm:style>
      <a:lnRef idx="0">
        <a:scrgbClr r="0" g="0" b="0"/>
      </a:lnRef>
      <a:fillRef idx="1">
        <a:scrgbClr r="0" g="0" b="0"/>
      </a:fillRef>
      <a:effectRef idx="2">
        <a:scrgbClr r="0" g="0" b="0"/>
      </a:effectRef>
      <a:fontRef idx="minor"/>
    </dgm:style>
  </dgm:styleLbl>
  <dgm:styleLbl name="alignAccFollowNode1">
    <dgm:scene3d>
      <a:camera prst="orthographicFront"/>
      <a:lightRig rig="threePt" dir="t"/>
    </dgm:scene3d>
    <dgm:sp3d prstMaterial="plastic">
      <a:bevelT w="25400" h="25400"/>
      <a:bevelB w="25400" h="25400"/>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152400" prstMaterial="plastic">
      <a:bevelT w="25400" h="25400"/>
      <a:bevelB w="25400" h="25400"/>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52400" prstMaterial="plastic">
      <a:bevelT w="25400" h="25400"/>
      <a:bevelB w="25400" h="25400"/>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z="-10400" extrusionH="12700" prstMaterial="plastic"/>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0080" prstMaterial="plastic">
      <a:bevelT w="50800" h="50800"/>
      <a:bevelB w="50800" h="50800"/>
    </dgm:sp3d>
    <dgm:txPr/>
    <dgm:style>
      <a:lnRef idx="0">
        <a:scrgbClr r="0" g="0" b="0"/>
      </a:lnRef>
      <a:fillRef idx="1">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1">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2.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2.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14015" cy="490410"/>
          </a:xfrm>
          <a:prstGeom prst="rect">
            <a:avLst/>
          </a:prstGeom>
        </p:spPr>
        <p:txBody>
          <a:bodyPr vert="horz" lIns="90498" tIns="45249" rIns="90498" bIns="45249" rtlCol="0"/>
          <a:lstStyle>
            <a:lvl1pPr algn="l">
              <a:defRPr sz="1200"/>
            </a:lvl1pPr>
          </a:lstStyle>
          <a:p>
            <a:endParaRPr lang="es-ES"/>
          </a:p>
        </p:txBody>
      </p:sp>
      <p:sp>
        <p:nvSpPr>
          <p:cNvPr id="3" name="Marcador de fecha 2"/>
          <p:cNvSpPr>
            <a:spLocks noGrp="1"/>
          </p:cNvSpPr>
          <p:nvPr>
            <p:ph type="dt" idx="1"/>
          </p:nvPr>
        </p:nvSpPr>
        <p:spPr>
          <a:xfrm>
            <a:off x="3809079" y="0"/>
            <a:ext cx="2914015" cy="490410"/>
          </a:xfrm>
          <a:prstGeom prst="rect">
            <a:avLst/>
          </a:prstGeom>
        </p:spPr>
        <p:txBody>
          <a:bodyPr vert="horz" lIns="90498" tIns="45249" rIns="90498" bIns="45249" rtlCol="0"/>
          <a:lstStyle>
            <a:lvl1pPr algn="r">
              <a:defRPr sz="1200"/>
            </a:lvl1pPr>
          </a:lstStyle>
          <a:p>
            <a:fld id="{6C12F48E-335F-4ADE-A454-35C169423388}" type="datetimeFigureOut">
              <a:rPr lang="es-ES" smtClean="0"/>
              <a:t>18/12/2020</a:t>
            </a:fld>
            <a:endParaRPr lang="es-ES"/>
          </a:p>
        </p:txBody>
      </p:sp>
      <p:sp>
        <p:nvSpPr>
          <p:cNvPr id="4" name="Marcador de imagen de diapositiva 3"/>
          <p:cNvSpPr>
            <a:spLocks noGrp="1" noRot="1" noChangeAspect="1"/>
          </p:cNvSpPr>
          <p:nvPr>
            <p:ph type="sldImg" idx="2"/>
          </p:nvPr>
        </p:nvSpPr>
        <p:spPr>
          <a:xfrm>
            <a:off x="431800" y="1222375"/>
            <a:ext cx="5861050" cy="3297238"/>
          </a:xfrm>
          <a:prstGeom prst="rect">
            <a:avLst/>
          </a:prstGeom>
          <a:noFill/>
          <a:ln w="12700">
            <a:solidFill>
              <a:prstClr val="black"/>
            </a:solidFill>
          </a:ln>
        </p:spPr>
        <p:txBody>
          <a:bodyPr vert="horz" lIns="90498" tIns="45249" rIns="90498" bIns="45249" rtlCol="0" anchor="ctr"/>
          <a:lstStyle/>
          <a:p>
            <a:endParaRPr lang="es-ES"/>
          </a:p>
        </p:txBody>
      </p:sp>
      <p:sp>
        <p:nvSpPr>
          <p:cNvPr id="5" name="Marcador de notas 4"/>
          <p:cNvSpPr>
            <a:spLocks noGrp="1"/>
          </p:cNvSpPr>
          <p:nvPr>
            <p:ph type="body" sz="quarter" idx="3"/>
          </p:nvPr>
        </p:nvSpPr>
        <p:spPr>
          <a:xfrm>
            <a:off x="672465" y="4703853"/>
            <a:ext cx="5379720" cy="3848606"/>
          </a:xfrm>
          <a:prstGeom prst="rect">
            <a:avLst/>
          </a:prstGeom>
        </p:spPr>
        <p:txBody>
          <a:bodyPr vert="horz" lIns="90498" tIns="45249" rIns="90498" bIns="45249" rtlCol="0"/>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9283832"/>
            <a:ext cx="2914015" cy="490409"/>
          </a:xfrm>
          <a:prstGeom prst="rect">
            <a:avLst/>
          </a:prstGeom>
        </p:spPr>
        <p:txBody>
          <a:bodyPr vert="horz" lIns="90498" tIns="45249" rIns="90498" bIns="45249"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09079" y="9283832"/>
            <a:ext cx="2914015" cy="490409"/>
          </a:xfrm>
          <a:prstGeom prst="rect">
            <a:avLst/>
          </a:prstGeom>
        </p:spPr>
        <p:txBody>
          <a:bodyPr vert="horz" lIns="90498" tIns="45249" rIns="90498" bIns="45249" rtlCol="0" anchor="b"/>
          <a:lstStyle>
            <a:lvl1pPr algn="r">
              <a:defRPr sz="1200"/>
            </a:lvl1pPr>
          </a:lstStyle>
          <a:p>
            <a:fld id="{7A50E301-D8BE-4881-865F-A231C22BB2B7}" type="slidenum">
              <a:rPr lang="es-ES" smtClean="0"/>
              <a:t>‹Nº›</a:t>
            </a:fld>
            <a:endParaRPr lang="es-ES"/>
          </a:p>
        </p:txBody>
      </p:sp>
    </p:spTree>
    <p:extLst>
      <p:ext uri="{BB962C8B-B14F-4D97-AF65-F5344CB8AC3E}">
        <p14:creationId xmlns:p14="http://schemas.microsoft.com/office/powerpoint/2010/main" val="34030397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smtClean="0"/>
              <a:t>Conceptos Transversales </a:t>
            </a:r>
            <a:r>
              <a:rPr lang="es-ES" smtClean="0"/>
              <a:t>a trabajar</a:t>
            </a:r>
            <a:endParaRPr lang="es-ES"/>
          </a:p>
        </p:txBody>
      </p:sp>
      <p:sp>
        <p:nvSpPr>
          <p:cNvPr id="4" name="Marcador de número de diapositiva 3"/>
          <p:cNvSpPr>
            <a:spLocks noGrp="1"/>
          </p:cNvSpPr>
          <p:nvPr>
            <p:ph type="sldNum" sz="quarter" idx="10"/>
          </p:nvPr>
        </p:nvSpPr>
        <p:spPr/>
        <p:txBody>
          <a:bodyPr/>
          <a:lstStyle/>
          <a:p>
            <a:fld id="{7A50E301-D8BE-4881-865F-A231C22BB2B7}" type="slidenum">
              <a:rPr lang="es-ES" smtClean="0"/>
              <a:t>11</a:t>
            </a:fld>
            <a:endParaRPr lang="es-ES"/>
          </a:p>
        </p:txBody>
      </p:sp>
    </p:spTree>
    <p:extLst>
      <p:ext uri="{BB962C8B-B14F-4D97-AF65-F5344CB8AC3E}">
        <p14:creationId xmlns:p14="http://schemas.microsoft.com/office/powerpoint/2010/main" val="11857017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defTabSz="904982">
              <a:defRPr/>
            </a:pPr>
            <a:endParaRPr lang="en-US" altLang="zh-CN" dirty="0">
              <a:solidFill>
                <a:srgbClr val="FFC000"/>
              </a:solidFill>
              <a:ea typeface="微软雅黑" panose="020B0503020204020204" pitchFamily="34" charset="-122"/>
            </a:endParaRPr>
          </a:p>
        </p:txBody>
      </p:sp>
      <p:sp>
        <p:nvSpPr>
          <p:cNvPr id="4" name="灯片编号占位符 3"/>
          <p:cNvSpPr>
            <a:spLocks noGrp="1"/>
          </p:cNvSpPr>
          <p:nvPr>
            <p:ph type="sldNum" sz="quarter" idx="10"/>
          </p:nvPr>
        </p:nvSpPr>
        <p:spPr/>
        <p:txBody>
          <a:bodyPr/>
          <a:lstStyle/>
          <a:p>
            <a:fld id="{62E23556-2DC1-4514-A0FC-A6C62A03E921}" type="slidenum">
              <a:rPr lang="zh-CN" altLang="en-US" smtClean="0">
                <a:latin typeface="Calibri" panose="020F0502020204030204" pitchFamily="34" charset="0"/>
              </a:rPr>
              <a:pPr/>
              <a:t>51</a:t>
            </a:fld>
            <a:endParaRPr lang="zh-CN" altLang="en-US" dirty="0">
              <a:latin typeface="Calibri" panose="020F0502020204030204" pitchFamily="34" charset="0"/>
            </a:endParaRPr>
          </a:p>
        </p:txBody>
      </p:sp>
    </p:spTree>
    <p:extLst>
      <p:ext uri="{BB962C8B-B14F-4D97-AF65-F5344CB8AC3E}">
        <p14:creationId xmlns:p14="http://schemas.microsoft.com/office/powerpoint/2010/main" val="19548571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a:extLst>
              <a:ext uri="{FF2B5EF4-FFF2-40B4-BE49-F238E27FC236}">
                <a16:creationId xmlns:a16="http://schemas.microsoft.com/office/drawing/2014/main" id="{EB23C94E-B39C-4125-AA0F-2C1F7AE2CA6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3" name="Notes Placeholder 2">
            <a:extLst>
              <a:ext uri="{FF2B5EF4-FFF2-40B4-BE49-F238E27FC236}">
                <a16:creationId xmlns:a16="http://schemas.microsoft.com/office/drawing/2014/main" id="{70E6D906-C84C-431B-B8A8-B8C9CADE7EC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903411">
              <a:spcBef>
                <a:spcPct val="0"/>
              </a:spcBef>
            </a:pPr>
            <a:endParaRPr lang="en-US" altLang="es-ES" dirty="0"/>
          </a:p>
        </p:txBody>
      </p:sp>
      <p:sp>
        <p:nvSpPr>
          <p:cNvPr id="92164" name="Slide Number Placeholder 3">
            <a:extLst>
              <a:ext uri="{FF2B5EF4-FFF2-40B4-BE49-F238E27FC236}">
                <a16:creationId xmlns:a16="http://schemas.microsoft.com/office/drawing/2014/main" id="{C3221848-B37C-4129-BC7B-0D3933B5BBE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03411">
              <a:defRPr>
                <a:solidFill>
                  <a:schemeClr val="tx1"/>
                </a:solidFill>
                <a:latin typeface="Calibri" panose="020F0502020204030204" pitchFamily="34" charset="0"/>
              </a:defRPr>
            </a:lvl1pPr>
            <a:lvl2pPr marL="735298" indent="-282807" defTabSz="903411">
              <a:defRPr>
                <a:solidFill>
                  <a:schemeClr val="tx1"/>
                </a:solidFill>
                <a:latin typeface="Calibri" panose="020F0502020204030204" pitchFamily="34" charset="0"/>
              </a:defRPr>
            </a:lvl2pPr>
            <a:lvl3pPr marL="1131227" indent="-226245" defTabSz="903411">
              <a:defRPr>
                <a:solidFill>
                  <a:schemeClr val="tx1"/>
                </a:solidFill>
                <a:latin typeface="Calibri" panose="020F0502020204030204" pitchFamily="34" charset="0"/>
              </a:defRPr>
            </a:lvl3pPr>
            <a:lvl4pPr marL="1583718" indent="-226245" defTabSz="903411">
              <a:defRPr>
                <a:solidFill>
                  <a:schemeClr val="tx1"/>
                </a:solidFill>
                <a:latin typeface="Calibri" panose="020F0502020204030204" pitchFamily="34" charset="0"/>
              </a:defRPr>
            </a:lvl4pPr>
            <a:lvl5pPr marL="2036209" indent="-226245" defTabSz="903411">
              <a:defRPr>
                <a:solidFill>
                  <a:schemeClr val="tx1"/>
                </a:solidFill>
                <a:latin typeface="Calibri" panose="020F0502020204030204" pitchFamily="34" charset="0"/>
              </a:defRPr>
            </a:lvl5pPr>
            <a:lvl6pPr marL="2488700" indent="-226245" defTabSz="903411" eaLnBrk="0" fontAlgn="base" hangingPunct="0">
              <a:spcBef>
                <a:spcPct val="0"/>
              </a:spcBef>
              <a:spcAft>
                <a:spcPct val="0"/>
              </a:spcAft>
              <a:defRPr>
                <a:solidFill>
                  <a:schemeClr val="tx1"/>
                </a:solidFill>
                <a:latin typeface="Calibri" panose="020F0502020204030204" pitchFamily="34" charset="0"/>
              </a:defRPr>
            </a:lvl6pPr>
            <a:lvl7pPr marL="2941190" indent="-226245" defTabSz="903411" eaLnBrk="0" fontAlgn="base" hangingPunct="0">
              <a:spcBef>
                <a:spcPct val="0"/>
              </a:spcBef>
              <a:spcAft>
                <a:spcPct val="0"/>
              </a:spcAft>
              <a:defRPr>
                <a:solidFill>
                  <a:schemeClr val="tx1"/>
                </a:solidFill>
                <a:latin typeface="Calibri" panose="020F0502020204030204" pitchFamily="34" charset="0"/>
              </a:defRPr>
            </a:lvl7pPr>
            <a:lvl8pPr marL="3393681" indent="-226245" defTabSz="903411" eaLnBrk="0" fontAlgn="base" hangingPunct="0">
              <a:spcBef>
                <a:spcPct val="0"/>
              </a:spcBef>
              <a:spcAft>
                <a:spcPct val="0"/>
              </a:spcAft>
              <a:defRPr>
                <a:solidFill>
                  <a:schemeClr val="tx1"/>
                </a:solidFill>
                <a:latin typeface="Calibri" panose="020F0502020204030204" pitchFamily="34" charset="0"/>
              </a:defRPr>
            </a:lvl8pPr>
            <a:lvl9pPr marL="3846172" indent="-226245" defTabSz="903411"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defRPr/>
            </a:pPr>
            <a:fld id="{748362A9-5CFC-44AE-98BF-694C0C422E3A}" type="slidenum">
              <a:rPr lang="en-US" altLang="es-ES">
                <a:solidFill>
                  <a:srgbClr val="000000"/>
                </a:solidFill>
              </a:rPr>
              <a:pPr fontAlgn="base">
                <a:spcBef>
                  <a:spcPct val="0"/>
                </a:spcBef>
                <a:spcAft>
                  <a:spcPct val="0"/>
                </a:spcAft>
                <a:defRPr/>
              </a:pPr>
              <a:t>53</a:t>
            </a:fld>
            <a:endParaRPr lang="en-US" altLang="es-ES">
              <a:solidFill>
                <a:srgbClr val="000000"/>
              </a:solidFill>
            </a:endParaRPr>
          </a:p>
        </p:txBody>
      </p:sp>
    </p:spTree>
    <p:extLst>
      <p:ext uri="{BB962C8B-B14F-4D97-AF65-F5344CB8AC3E}">
        <p14:creationId xmlns:p14="http://schemas.microsoft.com/office/powerpoint/2010/main" val="8290096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4945">
              <a:defRPr/>
            </a:pPr>
            <a:endParaRPr lang="en-US" b="1" i="1"/>
          </a:p>
        </p:txBody>
      </p:sp>
      <p:sp>
        <p:nvSpPr>
          <p:cNvPr id="4" name="Slide Number Placeholder 3"/>
          <p:cNvSpPr>
            <a:spLocks noGrp="1"/>
          </p:cNvSpPr>
          <p:nvPr>
            <p:ph type="sldNum" sz="quarter" idx="10"/>
          </p:nvPr>
        </p:nvSpPr>
        <p:spPr/>
        <p:txBody>
          <a:bodyPr/>
          <a:lstStyle/>
          <a:p>
            <a:pPr defTabSz="904982">
              <a:defRPr/>
            </a:pPr>
            <a:fld id="{F96C3898-AFF7-6245-8B5C-06211330E494}" type="slidenum">
              <a:rPr lang="en-US">
                <a:solidFill>
                  <a:prstClr val="black"/>
                </a:solidFill>
                <a:latin typeface="Calibri" panose="020F0502020204030204"/>
              </a:rPr>
              <a:pPr defTabSz="904982">
                <a:defRPr/>
              </a:pPr>
              <a:t>54</a:t>
            </a:fld>
            <a:endParaRPr lang="en-US">
              <a:solidFill>
                <a:prstClr val="black"/>
              </a:solidFill>
              <a:latin typeface="Calibri" panose="020F0502020204030204"/>
            </a:endParaRPr>
          </a:p>
        </p:txBody>
      </p:sp>
    </p:spTree>
    <p:extLst>
      <p:ext uri="{BB962C8B-B14F-4D97-AF65-F5344CB8AC3E}">
        <p14:creationId xmlns:p14="http://schemas.microsoft.com/office/powerpoint/2010/main" val="36722748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pPr defTabSz="904982">
              <a:defRPr/>
            </a:pPr>
            <a:fld id="{DCF94285-6E40-4292-BED7-961751ED3CCD}" type="slidenum">
              <a:rPr lang="es-ES">
                <a:solidFill>
                  <a:prstClr val="black"/>
                </a:solidFill>
                <a:latin typeface="Calibri" panose="020F0502020204030204"/>
              </a:rPr>
              <a:pPr defTabSz="904982">
                <a:defRPr/>
              </a:pPr>
              <a:t>55</a:t>
            </a:fld>
            <a:endParaRPr lang="es-ES">
              <a:solidFill>
                <a:prstClr val="black"/>
              </a:solidFill>
              <a:latin typeface="Calibri" panose="020F0502020204030204"/>
            </a:endParaRPr>
          </a:p>
        </p:txBody>
      </p:sp>
    </p:spTree>
    <p:extLst>
      <p:ext uri="{BB962C8B-B14F-4D97-AF65-F5344CB8AC3E}">
        <p14:creationId xmlns:p14="http://schemas.microsoft.com/office/powerpoint/2010/main" val="5774876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7A50E301-D8BE-4881-865F-A231C22BB2B7}" type="slidenum">
              <a:rPr lang="es-ES" smtClean="0"/>
              <a:t>16</a:t>
            </a:fld>
            <a:endParaRPr lang="es-ES"/>
          </a:p>
        </p:txBody>
      </p:sp>
    </p:spTree>
    <p:extLst>
      <p:ext uri="{BB962C8B-B14F-4D97-AF65-F5344CB8AC3E}">
        <p14:creationId xmlns:p14="http://schemas.microsoft.com/office/powerpoint/2010/main" val="13627100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7A50E301-D8BE-4881-865F-A231C22BB2B7}" type="slidenum">
              <a:rPr lang="es-ES" smtClean="0"/>
              <a:t>31</a:t>
            </a:fld>
            <a:endParaRPr lang="es-ES"/>
          </a:p>
        </p:txBody>
      </p:sp>
    </p:spTree>
    <p:extLst>
      <p:ext uri="{BB962C8B-B14F-4D97-AF65-F5344CB8AC3E}">
        <p14:creationId xmlns:p14="http://schemas.microsoft.com/office/powerpoint/2010/main" val="31077500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7A50E301-D8BE-4881-865F-A231C22BB2B7}" type="slidenum">
              <a:rPr lang="es-ES" smtClean="0"/>
              <a:t>33</a:t>
            </a:fld>
            <a:endParaRPr lang="es-ES"/>
          </a:p>
        </p:txBody>
      </p:sp>
    </p:spTree>
    <p:extLst>
      <p:ext uri="{BB962C8B-B14F-4D97-AF65-F5344CB8AC3E}">
        <p14:creationId xmlns:p14="http://schemas.microsoft.com/office/powerpoint/2010/main" val="18659224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defTabSz="904982">
              <a:defRPr/>
            </a:pPr>
            <a:endParaRPr lang="zh-CN" altLang="en-US" dirty="0"/>
          </a:p>
        </p:txBody>
      </p:sp>
      <p:sp>
        <p:nvSpPr>
          <p:cNvPr id="4" name="灯片编号占位符 3"/>
          <p:cNvSpPr>
            <a:spLocks noGrp="1"/>
          </p:cNvSpPr>
          <p:nvPr>
            <p:ph type="sldNum" sz="quarter" idx="10"/>
          </p:nvPr>
        </p:nvSpPr>
        <p:spPr/>
        <p:txBody>
          <a:bodyPr/>
          <a:lstStyle/>
          <a:p>
            <a:fld id="{4F9ABF67-8CF7-49F2-B28A-51BF256C0AD8}" type="slidenum">
              <a:rPr lang="zh-CN" altLang="en-US" smtClean="0"/>
              <a:t>46</a:t>
            </a:fld>
            <a:endParaRPr lang="zh-CN" altLang="en-US"/>
          </a:p>
        </p:txBody>
      </p:sp>
    </p:spTree>
    <p:extLst>
      <p:ext uri="{BB962C8B-B14F-4D97-AF65-F5344CB8AC3E}">
        <p14:creationId xmlns:p14="http://schemas.microsoft.com/office/powerpoint/2010/main" val="25122142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defTabSz="904982">
              <a:defRPr/>
            </a:pPr>
            <a:endParaRPr lang="zh-CN" altLang="zh-CN" dirty="0"/>
          </a:p>
        </p:txBody>
      </p:sp>
      <p:sp>
        <p:nvSpPr>
          <p:cNvPr id="4" name="灯片编号占位符 3"/>
          <p:cNvSpPr>
            <a:spLocks noGrp="1"/>
          </p:cNvSpPr>
          <p:nvPr>
            <p:ph type="sldNum" sz="quarter" idx="10"/>
          </p:nvPr>
        </p:nvSpPr>
        <p:spPr/>
        <p:txBody>
          <a:bodyPr/>
          <a:lstStyle/>
          <a:p>
            <a:fld id="{D144A721-D2A0-4BE6-B5A5-77E2712ED60F}" type="slidenum">
              <a:rPr lang="zh-CN" altLang="en-US" smtClean="0">
                <a:latin typeface="Calibri" panose="020F0502020204030204" pitchFamily="34" charset="0"/>
              </a:rPr>
              <a:pPr/>
              <a:t>47</a:t>
            </a:fld>
            <a:endParaRPr lang="zh-CN" altLang="en-US" dirty="0">
              <a:latin typeface="Calibri" panose="020F0502020204030204" pitchFamily="34" charset="0"/>
            </a:endParaRPr>
          </a:p>
        </p:txBody>
      </p:sp>
    </p:spTree>
    <p:extLst>
      <p:ext uri="{BB962C8B-B14F-4D97-AF65-F5344CB8AC3E}">
        <p14:creationId xmlns:p14="http://schemas.microsoft.com/office/powerpoint/2010/main" val="33213088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defTabSz="904982">
              <a:defRPr/>
            </a:pPr>
            <a:endParaRPr lang="zh-CN" altLang="zh-CN" dirty="0"/>
          </a:p>
        </p:txBody>
      </p:sp>
      <p:sp>
        <p:nvSpPr>
          <p:cNvPr id="4" name="灯片编号占位符 3"/>
          <p:cNvSpPr>
            <a:spLocks noGrp="1"/>
          </p:cNvSpPr>
          <p:nvPr>
            <p:ph type="sldNum" sz="quarter" idx="10"/>
          </p:nvPr>
        </p:nvSpPr>
        <p:spPr/>
        <p:txBody>
          <a:bodyPr/>
          <a:lstStyle/>
          <a:p>
            <a:fld id="{D144A721-D2A0-4BE6-B5A5-77E2712ED60F}" type="slidenum">
              <a:rPr lang="zh-CN" altLang="en-US" smtClean="0">
                <a:latin typeface="Calibri" panose="020F0502020204030204" pitchFamily="34" charset="0"/>
              </a:rPr>
              <a:pPr/>
              <a:t>48</a:t>
            </a:fld>
            <a:endParaRPr lang="zh-CN" altLang="en-US" dirty="0">
              <a:latin typeface="Calibri" panose="020F0502020204030204" pitchFamily="34" charset="0"/>
            </a:endParaRPr>
          </a:p>
        </p:txBody>
      </p:sp>
    </p:spTree>
    <p:extLst>
      <p:ext uri="{BB962C8B-B14F-4D97-AF65-F5344CB8AC3E}">
        <p14:creationId xmlns:p14="http://schemas.microsoft.com/office/powerpoint/2010/main" val="10949268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Now,  let us see the details of the teaching</a:t>
            </a:r>
            <a:r>
              <a:rPr lang="en-US" altLang="zh-CN" baseline="0" dirty="0"/>
              <a:t> and learning </a:t>
            </a:r>
            <a:r>
              <a:rPr lang="en-US" altLang="zh-CN" dirty="0"/>
              <a:t>services.</a:t>
            </a:r>
            <a:r>
              <a:rPr lang="en-US" altLang="zh-CN" baseline="0" dirty="0"/>
              <a:t> </a:t>
            </a:r>
          </a:p>
          <a:p>
            <a:pPr defTabSz="904982">
              <a:defRPr/>
            </a:pPr>
            <a:endParaRPr lang="en-US" altLang="zh-CN" baseline="0" dirty="0"/>
          </a:p>
          <a:p>
            <a:pPr defTabSz="904982">
              <a:defRPr/>
            </a:pPr>
            <a:r>
              <a:rPr lang="en-US" altLang="zh-CN" baseline="0" dirty="0"/>
              <a:t>Live </a:t>
            </a:r>
            <a:r>
              <a:rPr lang="en-US" altLang="zh-CN" baseline="0" dirty="0" err="1"/>
              <a:t>eclassroom</a:t>
            </a:r>
            <a:r>
              <a:rPr lang="en-US" altLang="zh-CN" baseline="0" dirty="0"/>
              <a:t> is the solution for remote education, </a:t>
            </a:r>
            <a:r>
              <a:rPr lang="en-US" altLang="zh-CN" dirty="0"/>
              <a:t>academic seminars and open courses. One teacher gives lesson in the Live </a:t>
            </a:r>
            <a:r>
              <a:rPr lang="en-US" altLang="zh-CN" dirty="0" err="1"/>
              <a:t>eClassroom</a:t>
            </a:r>
            <a:r>
              <a:rPr lang="en-US" altLang="zh-CN" dirty="0"/>
              <a:t>, hundreds of students could attend from branch classroom in different schools. Normally ,there will be three cameras in the middle of the live e-classroom. Two for the stage and one for the panoramic view of the classroom. The system can automatically trace and focus the teacher, the interactive students, the close-up of the blackboard. With the cameras, microphones and interactive whiteboard, the students in the remote classroom can have the same experience as in the main classroom. The video will be recorded and can be accessed by computers, pads and mobile phones. If there’s some emergency ,such as typhoon, the teacher can teach at home ,and students learn at home. </a:t>
            </a:r>
            <a:endParaRPr lang="zh-CN" altLang="en-US" dirty="0"/>
          </a:p>
          <a:p>
            <a:endParaRPr lang="zh-CN" altLang="en-US" dirty="0"/>
          </a:p>
        </p:txBody>
      </p:sp>
      <p:sp>
        <p:nvSpPr>
          <p:cNvPr id="4" name="灯片编号占位符 3"/>
          <p:cNvSpPr>
            <a:spLocks noGrp="1"/>
          </p:cNvSpPr>
          <p:nvPr>
            <p:ph type="sldNum" sz="quarter" idx="10"/>
          </p:nvPr>
        </p:nvSpPr>
        <p:spPr/>
        <p:txBody>
          <a:bodyPr/>
          <a:lstStyle/>
          <a:p>
            <a:fld id="{62E23556-2DC1-4514-A0FC-A6C62A03E921}" type="slidenum">
              <a:rPr lang="zh-CN" altLang="en-US" smtClean="0">
                <a:latin typeface="Calibri" panose="020F0502020204030204" pitchFamily="34" charset="0"/>
              </a:rPr>
              <a:pPr/>
              <a:t>49</a:t>
            </a:fld>
            <a:endParaRPr lang="zh-CN" altLang="en-US" dirty="0">
              <a:latin typeface="Calibri" panose="020F0502020204030204" pitchFamily="34" charset="0"/>
            </a:endParaRPr>
          </a:p>
        </p:txBody>
      </p:sp>
    </p:spTree>
    <p:extLst>
      <p:ext uri="{BB962C8B-B14F-4D97-AF65-F5344CB8AC3E}">
        <p14:creationId xmlns:p14="http://schemas.microsoft.com/office/powerpoint/2010/main" val="12443394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latin typeface="Calibri" panose="020F0502020204030204" pitchFamily="34" charset="0"/>
            </a:endParaRPr>
          </a:p>
        </p:txBody>
      </p:sp>
      <p:sp>
        <p:nvSpPr>
          <p:cNvPr id="4" name="Slide Number Placeholder 3"/>
          <p:cNvSpPr>
            <a:spLocks noGrp="1"/>
          </p:cNvSpPr>
          <p:nvPr>
            <p:ph type="sldNum" sz="quarter" idx="10"/>
          </p:nvPr>
        </p:nvSpPr>
        <p:spPr/>
        <p:txBody>
          <a:bodyPr/>
          <a:lstStyle/>
          <a:p>
            <a:fld id="{62E23556-2DC1-4514-A0FC-A6C62A03E921}" type="slidenum">
              <a:rPr lang="zh-CN" altLang="en-US" smtClean="0">
                <a:latin typeface="Calibri" panose="020F0502020204030204" pitchFamily="34" charset="0"/>
              </a:rPr>
              <a:pPr/>
              <a:t>50</a:t>
            </a:fld>
            <a:endParaRPr lang="zh-CN" altLang="en-US" dirty="0">
              <a:latin typeface="Calibri" panose="020F0502020204030204" pitchFamily="34" charset="0"/>
            </a:endParaRPr>
          </a:p>
        </p:txBody>
      </p:sp>
    </p:spTree>
    <p:extLst>
      <p:ext uri="{BB962C8B-B14F-4D97-AF65-F5344CB8AC3E}">
        <p14:creationId xmlns:p14="http://schemas.microsoft.com/office/powerpoint/2010/main" val="38060104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a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684212" y="685799"/>
            <a:ext cx="8001000" cy="2971801"/>
          </a:xfrm>
        </p:spPr>
        <p:txBody>
          <a:bodyPr anchor="b">
            <a:normAutofit/>
          </a:bodyPr>
          <a:lstStyle>
            <a:lvl1pPr algn="l">
              <a:defRPr sz="4800">
                <a:effectLst/>
              </a:defRPr>
            </a:lvl1pPr>
          </a:lstStyle>
          <a:p>
            <a:r>
              <a:rPr lang="es-ES" smtClean="0"/>
              <a:t>Haga clic para modificar el estilo de título del patrón</a:t>
            </a:r>
            <a:endParaRPr lang="en-US" dirty="0"/>
          </a:p>
        </p:txBody>
      </p:sp>
      <p:sp>
        <p:nvSpPr>
          <p:cNvPr id="3" name="Subtitle 2"/>
          <p:cNvSpPr>
            <a:spLocks noGrp="1"/>
          </p:cNvSpPr>
          <p:nvPr>
            <p:ph type="subTitle" idx="1"/>
          </p:nvPr>
        </p:nvSpPr>
        <p:spPr>
          <a:xfrm>
            <a:off x="684212" y="3843867"/>
            <a:ext cx="6400800" cy="1947333"/>
          </a:xfrm>
        </p:spPr>
        <p:txBody>
          <a:bodyPr anchor="t">
            <a:normAutofit/>
          </a:bodyPr>
          <a:lstStyle>
            <a:lvl1pPr marL="0" indent="0" algn="l">
              <a:buNone/>
              <a:defRPr sz="2100">
                <a:solidFill>
                  <a:schemeClr val="bg2">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editar el estilo de subtítulo del patrón</a:t>
            </a:r>
            <a:endParaRPr lang="en-US" dirty="0"/>
          </a:p>
        </p:txBody>
      </p:sp>
      <p:sp>
        <p:nvSpPr>
          <p:cNvPr id="4" name="Date Placeholder 3"/>
          <p:cNvSpPr>
            <a:spLocks noGrp="1"/>
          </p:cNvSpPr>
          <p:nvPr>
            <p:ph type="dt" sz="half" idx="10"/>
          </p:nvPr>
        </p:nvSpPr>
        <p:spPr/>
        <p:txBody>
          <a:bodyPr/>
          <a:lstStyle/>
          <a:p>
            <a:fld id="{21CB2FE8-4E13-49AF-A771-DF978378EC0E}" type="datetime1">
              <a:rPr lang="es-ES" smtClean="0"/>
              <a:t>18/1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Nº›</a:t>
            </a:fld>
            <a:endParaRPr lang="en-US" dirty="0"/>
          </a:p>
        </p:txBody>
      </p:sp>
      <p:cxnSp>
        <p:nvCxnSpPr>
          <p:cNvPr id="16" name="Straight Connector 15"/>
          <p:cNvCxnSpPr/>
          <p:nvPr/>
        </p:nvCxnSpPr>
        <p:spPr>
          <a:xfrm flipH="1">
            <a:off x="8228012" y="8467"/>
            <a:ext cx="3810000" cy="3810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flipH="1">
            <a:off x="6108170" y="91545"/>
            <a:ext cx="6080655" cy="6080655"/>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flipH="1">
            <a:off x="7235825" y="228600"/>
            <a:ext cx="4953000" cy="4953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335837" y="32278"/>
            <a:ext cx="4852989" cy="485298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7845426" y="609601"/>
            <a:ext cx="4343399" cy="434339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665979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Imagen panorámica con descripció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Haga clic para modificar el estilo de título del patrón</a:t>
            </a:r>
            <a:endParaRPr lang="en-US" dirty="0"/>
          </a:p>
        </p:txBody>
      </p:sp>
      <p:sp>
        <p:nvSpPr>
          <p:cNvPr id="17" name="Picture Placeholder 2"/>
          <p:cNvSpPr>
            <a:spLocks noGrp="1" noChangeAspect="1"/>
          </p:cNvSpPr>
          <p:nvPr>
            <p:ph type="pic" idx="13"/>
          </p:nvPr>
        </p:nvSpPr>
        <p:spPr>
          <a:xfrm>
            <a:off x="685800" y="533400"/>
            <a:ext cx="10818812" cy="3124200"/>
          </a:xfrm>
          <a:prstGeom prst="snip2DiagRect">
            <a:avLst>
              <a:gd name="adj1" fmla="val 10815"/>
              <a:gd name="adj2" fmla="val 0"/>
            </a:avLst>
          </a:prstGeom>
          <a:ln w="15875">
            <a:solidFill>
              <a:schemeClr val="tx1">
                <a:alpha val="40000"/>
              </a:schemeClr>
            </a:solidFill>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s-ES" smtClean="0"/>
              <a:t>Haga clic en el icono para agregar una imagen</a:t>
            </a:r>
            <a:endParaRPr lang="en-US" dirty="0"/>
          </a:p>
        </p:txBody>
      </p:sp>
      <p:sp>
        <p:nvSpPr>
          <p:cNvPr id="16" name="Text Placeholder 9"/>
          <p:cNvSpPr>
            <a:spLocks noGrp="1"/>
          </p:cNvSpPr>
          <p:nvPr>
            <p:ph type="body" sz="quarter" idx="14"/>
          </p:nvPr>
        </p:nvSpPr>
        <p:spPr>
          <a:xfrm>
            <a:off x="914402" y="3843867"/>
            <a:ext cx="8304210" cy="457200"/>
          </a:xfrm>
        </p:spPr>
        <p:txBody>
          <a:bodyPr anchor="t">
            <a:normAutofit/>
          </a:bodyPr>
          <a:lstStyle>
            <a:lvl1pPr marL="0" indent="0">
              <a:buFontTx/>
              <a:buNone/>
              <a:defRPr sz="16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s-ES" smtClean="0"/>
              <a:t>Editar el estilo de texto del patrón</a:t>
            </a:r>
          </a:p>
        </p:txBody>
      </p:sp>
      <p:sp>
        <p:nvSpPr>
          <p:cNvPr id="3" name="Date Placeholder 2"/>
          <p:cNvSpPr>
            <a:spLocks noGrp="1"/>
          </p:cNvSpPr>
          <p:nvPr>
            <p:ph type="dt" sz="half" idx="10"/>
          </p:nvPr>
        </p:nvSpPr>
        <p:spPr/>
        <p:txBody>
          <a:bodyPr/>
          <a:lstStyle/>
          <a:p>
            <a:fld id="{47CF35F0-4A9E-4C80-AE5D-6ED727AA8A04}" type="datetime1">
              <a:rPr lang="es-ES" smtClean="0"/>
              <a:t>18/12/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Nº›</a:t>
            </a:fld>
            <a:endParaRPr lang="en-US" dirty="0"/>
          </a:p>
        </p:txBody>
      </p:sp>
    </p:spTree>
    <p:extLst>
      <p:ext uri="{BB962C8B-B14F-4D97-AF65-F5344CB8AC3E}">
        <p14:creationId xmlns:p14="http://schemas.microsoft.com/office/powerpoint/2010/main" val="27915105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ítulo y descripción">
    <p:spTree>
      <p:nvGrpSpPr>
        <p:cNvPr id="1" name=""/>
        <p:cNvGrpSpPr/>
        <p:nvPr/>
      </p:nvGrpSpPr>
      <p:grpSpPr>
        <a:xfrm>
          <a:off x="0" y="0"/>
          <a:ext cx="0" cy="0"/>
          <a:chOff x="0" y="0"/>
          <a:chExt cx="0" cy="0"/>
        </a:xfrm>
      </p:grpSpPr>
      <p:sp>
        <p:nvSpPr>
          <p:cNvPr id="2" name="Title 1"/>
          <p:cNvSpPr>
            <a:spLocks noGrp="1"/>
          </p:cNvSpPr>
          <p:nvPr>
            <p:ph type="title"/>
          </p:nvPr>
        </p:nvSpPr>
        <p:spPr>
          <a:xfrm>
            <a:off x="684213" y="685800"/>
            <a:ext cx="10058400" cy="2743200"/>
          </a:xfrm>
        </p:spPr>
        <p:txBody>
          <a:bodyPr anchor="ctr">
            <a:normAutofit/>
          </a:bodyPr>
          <a:lstStyle>
            <a:lvl1pPr algn="l">
              <a:defRPr sz="3200" b="0" cap="all"/>
            </a:lvl1pPr>
          </a:lstStyle>
          <a:p>
            <a:r>
              <a:rPr lang="es-ES" smtClean="0"/>
              <a:t>Haga clic para modificar el estilo de título del patrón</a:t>
            </a:r>
            <a:endParaRPr lang="en-US" dirty="0"/>
          </a:p>
        </p:txBody>
      </p:sp>
      <p:sp>
        <p:nvSpPr>
          <p:cNvPr id="3" name="Text Placeholder 2"/>
          <p:cNvSpPr>
            <a:spLocks noGrp="1"/>
          </p:cNvSpPr>
          <p:nvPr>
            <p:ph type="body" idx="1"/>
          </p:nvPr>
        </p:nvSpPr>
        <p:spPr>
          <a:xfrm>
            <a:off x="684212" y="4114800"/>
            <a:ext cx="8535988" cy="1879600"/>
          </a:xfrm>
        </p:spPr>
        <p:txBody>
          <a:bodyPr anchor="ctr">
            <a:normAutofit/>
          </a:bodyPr>
          <a:lstStyle>
            <a:lvl1pPr marL="0" indent="0" algn="l">
              <a:buNone/>
              <a:defRPr sz="20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smtClean="0"/>
              <a:t>Editar el estilo de texto del patrón</a:t>
            </a:r>
          </a:p>
        </p:txBody>
      </p:sp>
      <p:sp>
        <p:nvSpPr>
          <p:cNvPr id="4" name="Date Placeholder 3"/>
          <p:cNvSpPr>
            <a:spLocks noGrp="1"/>
          </p:cNvSpPr>
          <p:nvPr>
            <p:ph type="dt" sz="half" idx="10"/>
          </p:nvPr>
        </p:nvSpPr>
        <p:spPr/>
        <p:txBody>
          <a:bodyPr/>
          <a:lstStyle/>
          <a:p>
            <a:fld id="{BA471D1B-8CDE-4F24-B072-67F0C30AE880}" type="datetime1">
              <a:rPr lang="es-ES" smtClean="0"/>
              <a:t>18/1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Nº›</a:t>
            </a:fld>
            <a:endParaRPr lang="en-US" dirty="0"/>
          </a:p>
        </p:txBody>
      </p:sp>
    </p:spTree>
    <p:extLst>
      <p:ext uri="{BB962C8B-B14F-4D97-AF65-F5344CB8AC3E}">
        <p14:creationId xmlns:p14="http://schemas.microsoft.com/office/powerpoint/2010/main" val="5002974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ita con descripción">
    <p:spTree>
      <p:nvGrpSpPr>
        <p:cNvPr id="1" name=""/>
        <p:cNvGrpSpPr/>
        <p:nvPr/>
      </p:nvGrpSpPr>
      <p:grpSpPr>
        <a:xfrm>
          <a:off x="0" y="0"/>
          <a:ext cx="0" cy="0"/>
          <a:chOff x="0" y="0"/>
          <a:chExt cx="0" cy="0"/>
        </a:xfrm>
      </p:grpSpPr>
      <p:sp>
        <p:nvSpPr>
          <p:cNvPr id="2" name="Title 1"/>
          <p:cNvSpPr>
            <a:spLocks noGrp="1"/>
          </p:cNvSpPr>
          <p:nvPr>
            <p:ph type="title"/>
          </p:nvPr>
        </p:nvSpPr>
        <p:spPr>
          <a:xfrm>
            <a:off x="1141411" y="685800"/>
            <a:ext cx="9144001" cy="2743200"/>
          </a:xfrm>
        </p:spPr>
        <p:txBody>
          <a:bodyPr anchor="ctr">
            <a:normAutofit/>
          </a:bodyPr>
          <a:lstStyle>
            <a:lvl1pPr algn="l">
              <a:defRPr sz="3200" b="0" cap="all">
                <a:solidFill>
                  <a:schemeClr val="tx1"/>
                </a:solidFill>
              </a:defRPr>
            </a:lvl1pPr>
          </a:lstStyle>
          <a:p>
            <a:r>
              <a:rPr lang="es-ES" smtClean="0"/>
              <a:t>Haga clic para modificar el estilo de título del patrón</a:t>
            </a:r>
            <a:endParaRPr lang="en-US" dirty="0"/>
          </a:p>
        </p:txBody>
      </p:sp>
      <p:sp>
        <p:nvSpPr>
          <p:cNvPr id="10" name="Text Placeholder 9"/>
          <p:cNvSpPr>
            <a:spLocks noGrp="1"/>
          </p:cNvSpPr>
          <p:nvPr>
            <p:ph type="body" sz="quarter" idx="13"/>
          </p:nvPr>
        </p:nvSpPr>
        <p:spPr>
          <a:xfrm>
            <a:off x="1446212" y="3429000"/>
            <a:ext cx="8534400" cy="381000"/>
          </a:xfrm>
        </p:spPr>
        <p:txBody>
          <a:bodyPr anchor="ct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s-ES" smtClean="0"/>
              <a:t>Editar el estilo de texto del patrón</a:t>
            </a:r>
          </a:p>
        </p:txBody>
      </p:sp>
      <p:sp>
        <p:nvSpPr>
          <p:cNvPr id="3" name="Text Placeholder 2"/>
          <p:cNvSpPr>
            <a:spLocks noGrp="1"/>
          </p:cNvSpPr>
          <p:nvPr>
            <p:ph type="body" idx="1"/>
          </p:nvPr>
        </p:nvSpPr>
        <p:spPr>
          <a:xfrm>
            <a:off x="684213" y="4301067"/>
            <a:ext cx="8534400" cy="1684865"/>
          </a:xfrm>
        </p:spPr>
        <p:txBody>
          <a:bodyPr anchor="ctr">
            <a:normAutofit/>
          </a:bodyPr>
          <a:lstStyle>
            <a:lvl1pPr marL="0" indent="0" algn="l">
              <a:buNone/>
              <a:defRPr sz="20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smtClean="0"/>
              <a:t>Editar el estilo de texto del patrón</a:t>
            </a:r>
          </a:p>
        </p:txBody>
      </p:sp>
      <p:sp>
        <p:nvSpPr>
          <p:cNvPr id="4" name="Date Placeholder 3"/>
          <p:cNvSpPr>
            <a:spLocks noGrp="1"/>
          </p:cNvSpPr>
          <p:nvPr>
            <p:ph type="dt" sz="half" idx="10"/>
          </p:nvPr>
        </p:nvSpPr>
        <p:spPr/>
        <p:txBody>
          <a:bodyPr/>
          <a:lstStyle/>
          <a:p>
            <a:fld id="{AEB9DB0C-39E7-46A0-B694-9C100A32D820}" type="datetime1">
              <a:rPr lang="es-ES" smtClean="0"/>
              <a:t>18/1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Nº›</a:t>
            </a:fld>
            <a:endParaRPr lang="en-US" dirty="0"/>
          </a:p>
        </p:txBody>
      </p:sp>
      <p:sp>
        <p:nvSpPr>
          <p:cNvPr id="14" name="TextBox 13"/>
          <p:cNvSpPr txBox="1"/>
          <p:nvPr/>
        </p:nvSpPr>
        <p:spPr>
          <a:xfrm>
            <a:off x="531812" y="812222"/>
            <a:ext cx="609600" cy="584776"/>
          </a:xfrm>
          <a:prstGeom prst="rect">
            <a:avLst/>
          </a:prstGeom>
        </p:spPr>
        <p:txBody>
          <a:bodyPr vert="horz" lIns="91440" tIns="45720" rIns="91440" bIns="45720" rtlCol="0" anchor="ctr">
            <a:noAutofit/>
          </a:bodyPr>
          <a:lstStyle/>
          <a:p>
            <a:pPr lvl="0"/>
            <a:r>
              <a:rPr lang="en-US" sz="8000" dirty="0">
                <a:solidFill>
                  <a:schemeClr val="tx1"/>
                </a:solidFill>
                <a:effectLst/>
              </a:rPr>
              <a:t>“</a:t>
            </a:r>
          </a:p>
        </p:txBody>
      </p:sp>
      <p:sp>
        <p:nvSpPr>
          <p:cNvPr id="15" name="TextBox 14"/>
          <p:cNvSpPr txBox="1"/>
          <p:nvPr/>
        </p:nvSpPr>
        <p:spPr>
          <a:xfrm>
            <a:off x="10285412" y="2768601"/>
            <a:ext cx="609600" cy="584776"/>
          </a:xfrm>
          <a:prstGeom prst="rect">
            <a:avLst/>
          </a:prstGeom>
        </p:spPr>
        <p:txBody>
          <a:bodyPr vert="horz" lIns="91440" tIns="45720" rIns="91440" bIns="45720" rtlCol="0" anchor="ctr">
            <a:noAutofit/>
          </a:bodyPr>
          <a:lstStyle/>
          <a:p>
            <a:pPr lvl="0" algn="r"/>
            <a:r>
              <a:rPr lang="en-US" sz="8000" dirty="0">
                <a:solidFill>
                  <a:schemeClr val="tx1"/>
                </a:solidFill>
                <a:effectLst/>
              </a:rPr>
              <a:t>”</a:t>
            </a:r>
          </a:p>
        </p:txBody>
      </p:sp>
    </p:spTree>
    <p:extLst>
      <p:ext uri="{BB962C8B-B14F-4D97-AF65-F5344CB8AC3E}">
        <p14:creationId xmlns:p14="http://schemas.microsoft.com/office/powerpoint/2010/main" val="35167141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arjeta de nombre">
    <p:spTree>
      <p:nvGrpSpPr>
        <p:cNvPr id="1" name=""/>
        <p:cNvGrpSpPr/>
        <p:nvPr/>
      </p:nvGrpSpPr>
      <p:grpSpPr>
        <a:xfrm>
          <a:off x="0" y="0"/>
          <a:ext cx="0" cy="0"/>
          <a:chOff x="0" y="0"/>
          <a:chExt cx="0" cy="0"/>
        </a:xfrm>
      </p:grpSpPr>
      <p:sp>
        <p:nvSpPr>
          <p:cNvPr id="2" name="Title 1"/>
          <p:cNvSpPr>
            <a:spLocks noGrp="1"/>
          </p:cNvSpPr>
          <p:nvPr>
            <p:ph type="title"/>
          </p:nvPr>
        </p:nvSpPr>
        <p:spPr>
          <a:xfrm>
            <a:off x="684212" y="3429000"/>
            <a:ext cx="8534400" cy="1697400"/>
          </a:xfrm>
        </p:spPr>
        <p:txBody>
          <a:bodyPr anchor="b">
            <a:normAutofit/>
          </a:bodyPr>
          <a:lstStyle>
            <a:lvl1pPr algn="l">
              <a:defRPr sz="3200" b="0" cap="all"/>
            </a:lvl1pPr>
          </a:lstStyle>
          <a:p>
            <a:r>
              <a:rPr lang="es-ES" smtClean="0"/>
              <a:t>Haga clic para modificar el estilo de título del patrón</a:t>
            </a:r>
            <a:endParaRPr lang="en-US" dirty="0"/>
          </a:p>
        </p:txBody>
      </p:sp>
      <p:sp>
        <p:nvSpPr>
          <p:cNvPr id="3" name="Text Placeholder 2"/>
          <p:cNvSpPr>
            <a:spLocks noGrp="1"/>
          </p:cNvSpPr>
          <p:nvPr>
            <p:ph type="body" idx="1"/>
          </p:nvPr>
        </p:nvSpPr>
        <p:spPr>
          <a:xfrm>
            <a:off x="684211" y="5132981"/>
            <a:ext cx="8535990" cy="860400"/>
          </a:xfrm>
        </p:spPr>
        <p:txBody>
          <a:bodyPr anchor="t">
            <a:normAutofit/>
          </a:bodyPr>
          <a:lstStyle>
            <a:lvl1pPr marL="0" indent="0" algn="l">
              <a:buNone/>
              <a:defRPr sz="20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smtClean="0"/>
              <a:t>Editar el estilo de texto del patrón</a:t>
            </a:r>
          </a:p>
        </p:txBody>
      </p:sp>
      <p:sp>
        <p:nvSpPr>
          <p:cNvPr id="4" name="Date Placeholder 3"/>
          <p:cNvSpPr>
            <a:spLocks noGrp="1"/>
          </p:cNvSpPr>
          <p:nvPr>
            <p:ph type="dt" sz="half" idx="10"/>
          </p:nvPr>
        </p:nvSpPr>
        <p:spPr/>
        <p:txBody>
          <a:bodyPr/>
          <a:lstStyle/>
          <a:p>
            <a:fld id="{6578E76E-5553-454F-B35E-2357F424E025}" type="datetime1">
              <a:rPr lang="es-ES" smtClean="0"/>
              <a:t>18/1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Nº›</a:t>
            </a:fld>
            <a:endParaRPr lang="en-US" dirty="0"/>
          </a:p>
        </p:txBody>
      </p:sp>
    </p:spTree>
    <p:extLst>
      <p:ext uri="{BB962C8B-B14F-4D97-AF65-F5344CB8AC3E}">
        <p14:creationId xmlns:p14="http://schemas.microsoft.com/office/powerpoint/2010/main" val="8045997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itar la tarjeta de nombre">
    <p:spTree>
      <p:nvGrpSpPr>
        <p:cNvPr id="1" name=""/>
        <p:cNvGrpSpPr/>
        <p:nvPr/>
      </p:nvGrpSpPr>
      <p:grpSpPr>
        <a:xfrm>
          <a:off x="0" y="0"/>
          <a:ext cx="0" cy="0"/>
          <a:chOff x="0" y="0"/>
          <a:chExt cx="0" cy="0"/>
        </a:xfrm>
      </p:grpSpPr>
      <p:sp>
        <p:nvSpPr>
          <p:cNvPr id="2" name="Title 1"/>
          <p:cNvSpPr>
            <a:spLocks noGrp="1"/>
          </p:cNvSpPr>
          <p:nvPr>
            <p:ph type="title"/>
          </p:nvPr>
        </p:nvSpPr>
        <p:spPr>
          <a:xfrm>
            <a:off x="1141413" y="685800"/>
            <a:ext cx="9144000" cy="2743200"/>
          </a:xfrm>
        </p:spPr>
        <p:txBody>
          <a:bodyPr anchor="ctr">
            <a:normAutofit/>
          </a:bodyPr>
          <a:lstStyle>
            <a:lvl1pPr algn="l">
              <a:defRPr sz="3200" b="0" cap="all">
                <a:solidFill>
                  <a:schemeClr val="tx1"/>
                </a:solidFill>
              </a:defRPr>
            </a:lvl1pPr>
          </a:lstStyle>
          <a:p>
            <a:r>
              <a:rPr lang="es-ES" smtClean="0"/>
              <a:t>Haga clic para modificar el estilo de título del patrón</a:t>
            </a:r>
            <a:endParaRPr lang="en-US" dirty="0"/>
          </a:p>
        </p:txBody>
      </p:sp>
      <p:sp>
        <p:nvSpPr>
          <p:cNvPr id="10" name="Text Placeholder 9"/>
          <p:cNvSpPr>
            <a:spLocks noGrp="1"/>
          </p:cNvSpPr>
          <p:nvPr>
            <p:ph type="body" sz="quarter" idx="13"/>
          </p:nvPr>
        </p:nvSpPr>
        <p:spPr>
          <a:xfrm>
            <a:off x="684212" y="3928534"/>
            <a:ext cx="8534401" cy="1049866"/>
          </a:xfrm>
        </p:spPr>
        <p:txBody>
          <a:bodyPr vert="horz" lIns="91440" tIns="45720" rIns="91440" bIns="45720" rtlCol="0" anchor="b">
            <a:normAutofit/>
          </a:bodyPr>
          <a:lstStyle>
            <a:lvl1pPr>
              <a:buNone/>
              <a:defRPr lang="en-US" sz="2400" b="0" cap="all" dirty="0">
                <a:ln w="3175" cmpd="sng">
                  <a:noFill/>
                </a:ln>
                <a:solidFill>
                  <a:schemeClr val="tx1"/>
                </a:solidFill>
                <a:effectLst/>
              </a:defRPr>
            </a:lvl1pPr>
          </a:lstStyle>
          <a:p>
            <a:pPr marL="0" lvl="0">
              <a:spcBef>
                <a:spcPct val="0"/>
              </a:spcBef>
              <a:buNone/>
            </a:pPr>
            <a:r>
              <a:rPr lang="es-ES" smtClean="0"/>
              <a:t>Editar el estilo de texto del patrón</a:t>
            </a:r>
          </a:p>
        </p:txBody>
      </p:sp>
      <p:sp>
        <p:nvSpPr>
          <p:cNvPr id="3" name="Text Placeholder 2"/>
          <p:cNvSpPr>
            <a:spLocks noGrp="1"/>
          </p:cNvSpPr>
          <p:nvPr>
            <p:ph type="body" idx="1"/>
          </p:nvPr>
        </p:nvSpPr>
        <p:spPr>
          <a:xfrm>
            <a:off x="684211" y="4978400"/>
            <a:ext cx="8534401" cy="1016000"/>
          </a:xfrm>
        </p:spPr>
        <p:txBody>
          <a:bodyPr anchor="t">
            <a:normAutofit/>
          </a:bodyPr>
          <a:lstStyle>
            <a:lvl1pPr marL="0" indent="0" algn="l">
              <a:buNone/>
              <a:defRPr sz="18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smtClean="0"/>
              <a:t>Editar el estilo de texto del patrón</a:t>
            </a:r>
          </a:p>
        </p:txBody>
      </p:sp>
      <p:sp>
        <p:nvSpPr>
          <p:cNvPr id="4" name="Date Placeholder 3"/>
          <p:cNvSpPr>
            <a:spLocks noGrp="1"/>
          </p:cNvSpPr>
          <p:nvPr>
            <p:ph type="dt" sz="half" idx="10"/>
          </p:nvPr>
        </p:nvSpPr>
        <p:spPr/>
        <p:txBody>
          <a:bodyPr/>
          <a:lstStyle/>
          <a:p>
            <a:fld id="{3EE90F3D-9C2F-4306-A2E5-CD664CA6AAF9}" type="datetime1">
              <a:rPr lang="es-ES" smtClean="0"/>
              <a:t>18/1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Nº›</a:t>
            </a:fld>
            <a:endParaRPr lang="en-US" dirty="0"/>
          </a:p>
        </p:txBody>
      </p:sp>
      <p:sp>
        <p:nvSpPr>
          <p:cNvPr id="11" name="TextBox 10"/>
          <p:cNvSpPr txBox="1"/>
          <p:nvPr/>
        </p:nvSpPr>
        <p:spPr>
          <a:xfrm>
            <a:off x="531812" y="812222"/>
            <a:ext cx="609600" cy="584776"/>
          </a:xfrm>
          <a:prstGeom prst="rect">
            <a:avLst/>
          </a:prstGeom>
        </p:spPr>
        <p:txBody>
          <a:bodyPr vert="horz" lIns="91440" tIns="45720" rIns="91440" bIns="45720" rtlCol="0" anchor="ctr">
            <a:noAutofit/>
          </a:bodyPr>
          <a:lstStyle/>
          <a:p>
            <a:pPr lvl="0"/>
            <a:r>
              <a:rPr lang="en-US" sz="8000" dirty="0">
                <a:solidFill>
                  <a:schemeClr val="tx1"/>
                </a:solidFill>
                <a:effectLst/>
              </a:rPr>
              <a:t>“</a:t>
            </a:r>
          </a:p>
        </p:txBody>
      </p:sp>
      <p:sp>
        <p:nvSpPr>
          <p:cNvPr id="12" name="TextBox 11"/>
          <p:cNvSpPr txBox="1"/>
          <p:nvPr/>
        </p:nvSpPr>
        <p:spPr>
          <a:xfrm>
            <a:off x="10285412" y="2768601"/>
            <a:ext cx="609600" cy="584776"/>
          </a:xfrm>
          <a:prstGeom prst="rect">
            <a:avLst/>
          </a:prstGeom>
        </p:spPr>
        <p:txBody>
          <a:bodyPr vert="horz" lIns="91440" tIns="45720" rIns="91440" bIns="45720" rtlCol="0" anchor="ctr">
            <a:noAutofit/>
          </a:bodyPr>
          <a:lstStyle/>
          <a:p>
            <a:pPr lvl="0" algn="r"/>
            <a:r>
              <a:rPr lang="en-US" sz="8000" dirty="0">
                <a:solidFill>
                  <a:schemeClr val="tx1"/>
                </a:solidFill>
                <a:effectLst/>
              </a:rPr>
              <a:t>”</a:t>
            </a:r>
          </a:p>
        </p:txBody>
      </p:sp>
    </p:spTree>
    <p:extLst>
      <p:ext uri="{BB962C8B-B14F-4D97-AF65-F5344CB8AC3E}">
        <p14:creationId xmlns:p14="http://schemas.microsoft.com/office/powerpoint/2010/main" val="39630280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Verdadero o falso">
    <p:spTree>
      <p:nvGrpSpPr>
        <p:cNvPr id="1" name=""/>
        <p:cNvGrpSpPr/>
        <p:nvPr/>
      </p:nvGrpSpPr>
      <p:grpSpPr>
        <a:xfrm>
          <a:off x="0" y="0"/>
          <a:ext cx="0" cy="0"/>
          <a:chOff x="0" y="0"/>
          <a:chExt cx="0" cy="0"/>
        </a:xfrm>
      </p:grpSpPr>
      <p:sp>
        <p:nvSpPr>
          <p:cNvPr id="2" name="Title 1"/>
          <p:cNvSpPr>
            <a:spLocks noGrp="1"/>
          </p:cNvSpPr>
          <p:nvPr>
            <p:ph type="title"/>
          </p:nvPr>
        </p:nvSpPr>
        <p:spPr>
          <a:xfrm>
            <a:off x="684213" y="685800"/>
            <a:ext cx="10058400" cy="2743200"/>
          </a:xfrm>
        </p:spPr>
        <p:txBody>
          <a:bodyPr vert="horz" lIns="91440" tIns="45720" rIns="91440" bIns="45720" rtlCol="0" anchor="ctr">
            <a:normAutofit/>
          </a:bodyPr>
          <a:lstStyle>
            <a:lvl1pPr>
              <a:defRPr lang="en-US" b="0" dirty="0"/>
            </a:lvl1pPr>
          </a:lstStyle>
          <a:p>
            <a:pPr marL="0" lvl="0"/>
            <a:r>
              <a:rPr lang="es-ES" smtClean="0"/>
              <a:t>Haga clic para modificar el estilo de título del patrón</a:t>
            </a:r>
            <a:endParaRPr lang="en-US" dirty="0"/>
          </a:p>
        </p:txBody>
      </p:sp>
      <p:sp>
        <p:nvSpPr>
          <p:cNvPr id="10" name="Text Placeholder 9"/>
          <p:cNvSpPr>
            <a:spLocks noGrp="1"/>
          </p:cNvSpPr>
          <p:nvPr>
            <p:ph type="body" sz="quarter" idx="13"/>
          </p:nvPr>
        </p:nvSpPr>
        <p:spPr>
          <a:xfrm>
            <a:off x="684212" y="3928534"/>
            <a:ext cx="8534400" cy="838200"/>
          </a:xfrm>
        </p:spPr>
        <p:txBody>
          <a:bodyPr vert="horz" lIns="91440" tIns="45720" rIns="91440" bIns="45720" rtlCol="0" anchor="b">
            <a:normAutofit/>
          </a:bodyPr>
          <a:lstStyle>
            <a:lvl1pPr>
              <a:buNone/>
              <a:defRPr lang="en-US" sz="2400" b="0" cap="all" dirty="0">
                <a:ln w="3175" cmpd="sng">
                  <a:noFill/>
                </a:ln>
                <a:solidFill>
                  <a:schemeClr val="tx1"/>
                </a:solidFill>
                <a:effectLst/>
              </a:defRPr>
            </a:lvl1pPr>
          </a:lstStyle>
          <a:p>
            <a:pPr marL="0" lvl="0">
              <a:spcBef>
                <a:spcPct val="0"/>
              </a:spcBef>
              <a:buNone/>
            </a:pPr>
            <a:r>
              <a:rPr lang="es-ES" smtClean="0"/>
              <a:t>Editar el estilo de texto del patrón</a:t>
            </a:r>
          </a:p>
        </p:txBody>
      </p:sp>
      <p:sp>
        <p:nvSpPr>
          <p:cNvPr id="3" name="Text Placeholder 2"/>
          <p:cNvSpPr>
            <a:spLocks noGrp="1"/>
          </p:cNvSpPr>
          <p:nvPr>
            <p:ph type="body" idx="1"/>
          </p:nvPr>
        </p:nvSpPr>
        <p:spPr>
          <a:xfrm>
            <a:off x="684211" y="4766732"/>
            <a:ext cx="8534401" cy="1227667"/>
          </a:xfrm>
        </p:spPr>
        <p:txBody>
          <a:bodyPr anchor="t">
            <a:normAutofit/>
          </a:bodyPr>
          <a:lstStyle>
            <a:lvl1pPr marL="0" indent="0" algn="l">
              <a:buNone/>
              <a:defRPr sz="18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smtClean="0"/>
              <a:t>Editar el estilo de texto del patrón</a:t>
            </a:r>
          </a:p>
        </p:txBody>
      </p:sp>
      <p:sp>
        <p:nvSpPr>
          <p:cNvPr id="4" name="Date Placeholder 3"/>
          <p:cNvSpPr>
            <a:spLocks noGrp="1"/>
          </p:cNvSpPr>
          <p:nvPr>
            <p:ph type="dt" sz="half" idx="10"/>
          </p:nvPr>
        </p:nvSpPr>
        <p:spPr/>
        <p:txBody>
          <a:bodyPr/>
          <a:lstStyle/>
          <a:p>
            <a:fld id="{33FF9149-64BC-439C-9A6F-C7DB433ECF27}" type="datetime1">
              <a:rPr lang="es-ES" smtClean="0"/>
              <a:t>18/1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Nº›</a:t>
            </a:fld>
            <a:endParaRPr lang="en-US" dirty="0"/>
          </a:p>
        </p:txBody>
      </p:sp>
    </p:spTree>
    <p:extLst>
      <p:ext uri="{BB962C8B-B14F-4D97-AF65-F5344CB8AC3E}">
        <p14:creationId xmlns:p14="http://schemas.microsoft.com/office/powerpoint/2010/main" val="10033682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vertTx" preserve="1">
  <p:cSld name="Título y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s-ES" smtClean="0"/>
              <a:t>Haga clic para modificar el estilo de título del patrón</a:t>
            </a:r>
            <a:endParaRPr lang="en-US" dirty="0"/>
          </a:p>
        </p:txBody>
      </p:sp>
      <p:sp>
        <p:nvSpPr>
          <p:cNvPr id="3" name="Vertical Text Placeholder 2"/>
          <p:cNvSpPr>
            <a:spLocks noGrp="1"/>
          </p:cNvSpPr>
          <p:nvPr>
            <p:ph type="body" orient="vert" idx="1"/>
          </p:nvPr>
        </p:nvSpPr>
        <p:spPr/>
        <p:txBody>
          <a:bodyPr vert="eaVert" anchor="t"/>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4" name="Date Placeholder 3"/>
          <p:cNvSpPr>
            <a:spLocks noGrp="1"/>
          </p:cNvSpPr>
          <p:nvPr>
            <p:ph type="dt" sz="half" idx="10"/>
          </p:nvPr>
        </p:nvSpPr>
        <p:spPr/>
        <p:txBody>
          <a:bodyPr/>
          <a:lstStyle/>
          <a:p>
            <a:fld id="{C54BEA48-E246-403B-8812-1428CEE53DD7}" type="datetime1">
              <a:rPr lang="es-ES" smtClean="0"/>
              <a:t>18/1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Nº›</a:t>
            </a:fld>
            <a:endParaRPr lang="en-US" dirty="0"/>
          </a:p>
        </p:txBody>
      </p:sp>
    </p:spTree>
    <p:extLst>
      <p:ext uri="{BB962C8B-B14F-4D97-AF65-F5344CB8AC3E}">
        <p14:creationId xmlns:p14="http://schemas.microsoft.com/office/powerpoint/2010/main" val="8766658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vertTitleAndTx" preserve="1">
  <p:cSld name="Título vertical y texto">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5212" y="685800"/>
            <a:ext cx="2057400" cy="4572000"/>
          </a:xfrm>
        </p:spPr>
        <p:txBody>
          <a:bodyPr vert="eaVert"/>
          <a:lstStyle/>
          <a:p>
            <a:r>
              <a:rPr lang="es-ES" smtClean="0"/>
              <a:t>Haga clic para modificar el estilo de título del patrón</a:t>
            </a:r>
            <a:endParaRPr lang="en-US" dirty="0"/>
          </a:p>
        </p:txBody>
      </p:sp>
      <p:sp>
        <p:nvSpPr>
          <p:cNvPr id="3" name="Vertical Text Placeholder 2"/>
          <p:cNvSpPr>
            <a:spLocks noGrp="1"/>
          </p:cNvSpPr>
          <p:nvPr>
            <p:ph type="body" orient="vert" idx="1"/>
          </p:nvPr>
        </p:nvSpPr>
        <p:spPr>
          <a:xfrm>
            <a:off x="685800" y="685800"/>
            <a:ext cx="7823200" cy="5308600"/>
          </a:xfrm>
        </p:spPr>
        <p:txBody>
          <a:bodyPr vert="eaVert" anchor="t"/>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4" name="Date Placeholder 3"/>
          <p:cNvSpPr>
            <a:spLocks noGrp="1"/>
          </p:cNvSpPr>
          <p:nvPr>
            <p:ph type="dt" sz="half" idx="10"/>
          </p:nvPr>
        </p:nvSpPr>
        <p:spPr/>
        <p:txBody>
          <a:bodyPr/>
          <a:lstStyle/>
          <a:p>
            <a:fld id="{85F8D3A7-DFFC-4167-B480-E4A37CEF0BF4}" type="datetime1">
              <a:rPr lang="es-ES" smtClean="0"/>
              <a:t>18/1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Nº›</a:t>
            </a:fld>
            <a:endParaRPr lang="en-US" dirty="0"/>
          </a:p>
        </p:txBody>
      </p:sp>
    </p:spTree>
    <p:extLst>
      <p:ext uri="{BB962C8B-B14F-4D97-AF65-F5344CB8AC3E}">
        <p14:creationId xmlns:p14="http://schemas.microsoft.com/office/powerpoint/2010/main" val="34983857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6_标题幻灯片">
    <p:spTree>
      <p:nvGrpSpPr>
        <p:cNvPr id="1" name=""/>
        <p:cNvGrpSpPr/>
        <p:nvPr/>
      </p:nvGrpSpPr>
      <p:grpSpPr>
        <a:xfrm>
          <a:off x="0" y="0"/>
          <a:ext cx="0" cy="0"/>
          <a:chOff x="0" y="0"/>
          <a:chExt cx="0" cy="0"/>
        </a:xfrm>
      </p:grpSpPr>
      <p:sp>
        <p:nvSpPr>
          <p:cNvPr id="4" name="标题 1"/>
          <p:cNvSpPr>
            <a:spLocks noGrp="1"/>
          </p:cNvSpPr>
          <p:nvPr>
            <p:ph type="ctrTitle" hasCustomPrompt="1"/>
          </p:nvPr>
        </p:nvSpPr>
        <p:spPr>
          <a:xfrm>
            <a:off x="912774" y="1154488"/>
            <a:ext cx="9990713" cy="778875"/>
          </a:xfrm>
          <a:prstGeom prst="rect">
            <a:avLst/>
          </a:prstGeom>
        </p:spPr>
        <p:txBody>
          <a:bodyPr>
            <a:normAutofit/>
          </a:bodyPr>
          <a:lstStyle>
            <a:lvl1pPr marL="0" marR="0" indent="0" algn="l" defTabSz="1219180" rtl="0" eaLnBrk="1" fontAlgn="auto" latinLnBrk="0" hangingPunct="1">
              <a:lnSpc>
                <a:spcPct val="100000"/>
              </a:lnSpc>
              <a:spcBef>
                <a:spcPct val="0"/>
              </a:spcBef>
              <a:spcAft>
                <a:spcPts val="0"/>
              </a:spcAft>
              <a:buClrTx/>
              <a:buSzTx/>
              <a:buFontTx/>
              <a:buNone/>
              <a:tabLst/>
              <a:defRPr sz="3600" b="0" baseline="0">
                <a:solidFill>
                  <a:schemeClr val="tx1">
                    <a:lumMod val="65000"/>
                    <a:lumOff val="35000"/>
                  </a:schemeClr>
                </a:solidFill>
                <a:latin typeface="+mj-lt"/>
              </a:defRPr>
            </a:lvl1pPr>
          </a:lstStyle>
          <a:p>
            <a:r>
              <a:rPr lang="en-US" altLang="zh-CN" dirty="0"/>
              <a:t>Slide Title</a:t>
            </a:r>
          </a:p>
        </p:txBody>
      </p:sp>
      <p:sp>
        <p:nvSpPr>
          <p:cNvPr id="5" name="副标题 2"/>
          <p:cNvSpPr>
            <a:spLocks noGrp="1"/>
          </p:cNvSpPr>
          <p:nvPr>
            <p:ph type="subTitle" idx="1" hasCustomPrompt="1"/>
          </p:nvPr>
        </p:nvSpPr>
        <p:spPr>
          <a:xfrm>
            <a:off x="912774" y="2133157"/>
            <a:ext cx="9990713" cy="4096643"/>
          </a:xfrm>
          <a:prstGeom prst="rect">
            <a:avLst/>
          </a:prstGeom>
        </p:spPr>
        <p:txBody>
          <a:bodyPr>
            <a:normAutofit/>
          </a:bodyPr>
          <a:lstStyle>
            <a:lvl1pPr marL="0" marR="0" indent="0" algn="l" defTabSz="1219180" rtl="0" eaLnBrk="1" fontAlgn="auto" latinLnBrk="0" hangingPunct="1">
              <a:lnSpc>
                <a:spcPct val="100000"/>
              </a:lnSpc>
              <a:spcBef>
                <a:spcPct val="20000"/>
              </a:spcBef>
              <a:spcAft>
                <a:spcPts val="0"/>
              </a:spcAft>
              <a:buClrTx/>
              <a:buSzTx/>
              <a:buFont typeface="Arial" pitchFamily="34" charset="0"/>
              <a:buNone/>
              <a:tabLst/>
              <a:defRPr sz="2399" baseline="0">
                <a:solidFill>
                  <a:schemeClr val="tx1">
                    <a:lumMod val="65000"/>
                    <a:lumOff val="35000"/>
                  </a:schemeClr>
                </a:solidFill>
                <a:latin typeface="+mn-lt"/>
              </a:defRPr>
            </a:lvl1pPr>
            <a:lvl2pPr marL="609590" indent="0" algn="ctr">
              <a:buNone/>
              <a:defRPr>
                <a:solidFill>
                  <a:schemeClr val="tx1">
                    <a:tint val="75000"/>
                  </a:schemeClr>
                </a:solidFill>
              </a:defRPr>
            </a:lvl2pPr>
            <a:lvl3pPr marL="1219180" indent="0" algn="ctr">
              <a:buNone/>
              <a:defRPr>
                <a:solidFill>
                  <a:schemeClr val="tx1">
                    <a:tint val="75000"/>
                  </a:schemeClr>
                </a:solidFill>
              </a:defRPr>
            </a:lvl3pPr>
            <a:lvl4pPr marL="1828769" indent="0" algn="ctr">
              <a:buNone/>
              <a:defRPr>
                <a:solidFill>
                  <a:schemeClr val="tx1">
                    <a:tint val="75000"/>
                  </a:schemeClr>
                </a:solidFill>
              </a:defRPr>
            </a:lvl4pPr>
            <a:lvl5pPr marL="2438359" indent="0" algn="ctr">
              <a:buNone/>
              <a:defRPr>
                <a:solidFill>
                  <a:schemeClr val="tx1">
                    <a:tint val="75000"/>
                  </a:schemeClr>
                </a:solidFill>
              </a:defRPr>
            </a:lvl5pPr>
            <a:lvl6pPr marL="3047950" indent="0" algn="ctr">
              <a:buNone/>
              <a:defRPr>
                <a:solidFill>
                  <a:schemeClr val="tx1">
                    <a:tint val="75000"/>
                  </a:schemeClr>
                </a:solidFill>
              </a:defRPr>
            </a:lvl6pPr>
            <a:lvl7pPr marL="3657540" indent="0" algn="ctr">
              <a:buNone/>
              <a:defRPr>
                <a:solidFill>
                  <a:schemeClr val="tx1">
                    <a:tint val="75000"/>
                  </a:schemeClr>
                </a:solidFill>
              </a:defRPr>
            </a:lvl7pPr>
            <a:lvl8pPr marL="4267128" indent="0" algn="ctr">
              <a:buNone/>
              <a:defRPr>
                <a:solidFill>
                  <a:schemeClr val="tx1">
                    <a:tint val="75000"/>
                  </a:schemeClr>
                </a:solidFill>
              </a:defRPr>
            </a:lvl8pPr>
            <a:lvl9pPr marL="4876718" indent="0" algn="ctr">
              <a:buNone/>
              <a:defRPr>
                <a:solidFill>
                  <a:schemeClr val="tx1">
                    <a:tint val="75000"/>
                  </a:schemeClr>
                </a:solidFill>
              </a:defRPr>
            </a:lvl9pPr>
          </a:lstStyle>
          <a:p>
            <a:r>
              <a:rPr lang="en-US" altLang="zh-CN" dirty="0"/>
              <a:t>Headline in Arial Regular 24 - 32 point</a:t>
            </a:r>
          </a:p>
        </p:txBody>
      </p:sp>
    </p:spTree>
    <p:extLst>
      <p:ext uri="{BB962C8B-B14F-4D97-AF65-F5344CB8AC3E}">
        <p14:creationId xmlns:p14="http://schemas.microsoft.com/office/powerpoint/2010/main" val="23744332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_标题幻灯片">
    <p:spTree>
      <p:nvGrpSpPr>
        <p:cNvPr id="1" name=""/>
        <p:cNvGrpSpPr/>
        <p:nvPr/>
      </p:nvGrpSpPr>
      <p:grpSpPr>
        <a:xfrm>
          <a:off x="0" y="0"/>
          <a:ext cx="0" cy="0"/>
          <a:chOff x="0" y="0"/>
          <a:chExt cx="0" cy="0"/>
        </a:xfrm>
      </p:grpSpPr>
      <p:sp>
        <p:nvSpPr>
          <p:cNvPr id="3" name="副标题 2"/>
          <p:cNvSpPr>
            <a:spLocks noGrp="1"/>
          </p:cNvSpPr>
          <p:nvPr>
            <p:ph type="subTitle" idx="1" hasCustomPrompt="1"/>
          </p:nvPr>
        </p:nvSpPr>
        <p:spPr>
          <a:xfrm>
            <a:off x="424938" y="2646690"/>
            <a:ext cx="11342125" cy="1564620"/>
          </a:xfrm>
          <a:prstGeom prst="rect">
            <a:avLst/>
          </a:prstGeom>
        </p:spPr>
        <p:txBody>
          <a:bodyPr>
            <a:normAutofit/>
          </a:bodyPr>
          <a:lstStyle>
            <a:lvl1pPr marL="0" marR="0" indent="0" algn="ctr" defTabSz="1219180" rtl="0" eaLnBrk="1" fontAlgn="auto" latinLnBrk="0" hangingPunct="1">
              <a:lnSpc>
                <a:spcPct val="100000"/>
              </a:lnSpc>
              <a:spcBef>
                <a:spcPct val="20000"/>
              </a:spcBef>
              <a:spcAft>
                <a:spcPts val="0"/>
              </a:spcAft>
              <a:buClrTx/>
              <a:buSzTx/>
              <a:buFont typeface="Arial" pitchFamily="34" charset="0"/>
              <a:buNone/>
              <a:tabLst/>
              <a:defRPr sz="3999" baseline="0">
                <a:solidFill>
                  <a:schemeClr val="bg1"/>
                </a:solidFill>
                <a:latin typeface="Calibri" panose="020F0502020204030204" pitchFamily="34" charset="0"/>
                <a:ea typeface="方正兰亭细黑_GBK" pitchFamily="2" charset="-122"/>
                <a:cs typeface="Arial" pitchFamily="34" charset="0"/>
              </a:defRPr>
            </a:lvl1pPr>
            <a:lvl2pPr marL="609590" indent="0" algn="ctr">
              <a:buNone/>
              <a:defRPr>
                <a:solidFill>
                  <a:schemeClr val="tx1">
                    <a:tint val="75000"/>
                  </a:schemeClr>
                </a:solidFill>
              </a:defRPr>
            </a:lvl2pPr>
            <a:lvl3pPr marL="1219180" indent="0" algn="ctr">
              <a:buNone/>
              <a:defRPr>
                <a:solidFill>
                  <a:schemeClr val="tx1">
                    <a:tint val="75000"/>
                  </a:schemeClr>
                </a:solidFill>
              </a:defRPr>
            </a:lvl3pPr>
            <a:lvl4pPr marL="1828769" indent="0" algn="ctr">
              <a:buNone/>
              <a:defRPr>
                <a:solidFill>
                  <a:schemeClr val="tx1">
                    <a:tint val="75000"/>
                  </a:schemeClr>
                </a:solidFill>
              </a:defRPr>
            </a:lvl4pPr>
            <a:lvl5pPr marL="2438359" indent="0" algn="ctr">
              <a:buNone/>
              <a:defRPr>
                <a:solidFill>
                  <a:schemeClr val="tx1">
                    <a:tint val="75000"/>
                  </a:schemeClr>
                </a:solidFill>
              </a:defRPr>
            </a:lvl5pPr>
            <a:lvl6pPr marL="3047950" indent="0" algn="ctr">
              <a:buNone/>
              <a:defRPr>
                <a:solidFill>
                  <a:schemeClr val="tx1">
                    <a:tint val="75000"/>
                  </a:schemeClr>
                </a:solidFill>
              </a:defRPr>
            </a:lvl6pPr>
            <a:lvl7pPr marL="3657540" indent="0" algn="ctr">
              <a:buNone/>
              <a:defRPr>
                <a:solidFill>
                  <a:schemeClr val="tx1">
                    <a:tint val="75000"/>
                  </a:schemeClr>
                </a:solidFill>
              </a:defRPr>
            </a:lvl7pPr>
            <a:lvl8pPr marL="4267128" indent="0" algn="ctr">
              <a:buNone/>
              <a:defRPr>
                <a:solidFill>
                  <a:schemeClr val="tx1">
                    <a:tint val="75000"/>
                  </a:schemeClr>
                </a:solidFill>
              </a:defRPr>
            </a:lvl8pPr>
            <a:lvl9pPr marL="4876718" indent="0" algn="ctr">
              <a:buNone/>
              <a:defRPr>
                <a:solidFill>
                  <a:schemeClr val="tx1">
                    <a:tint val="75000"/>
                  </a:schemeClr>
                </a:solidFill>
              </a:defRPr>
            </a:lvl9pPr>
          </a:lstStyle>
          <a:p>
            <a:r>
              <a:rPr lang="en-US" altLang="zh-CN" dirty="0" err="1"/>
              <a:t>Arail</a:t>
            </a:r>
            <a:r>
              <a:rPr lang="en-US" altLang="zh-CN" dirty="0"/>
              <a:t> 40pt, Center, up to two lines</a:t>
            </a:r>
            <a:endParaRPr lang="zh-CN" altLang="en-US" dirty="0"/>
          </a:p>
        </p:txBody>
      </p:sp>
    </p:spTree>
    <p:extLst>
      <p:ext uri="{BB962C8B-B14F-4D97-AF65-F5344CB8AC3E}">
        <p14:creationId xmlns:p14="http://schemas.microsoft.com/office/powerpoint/2010/main" val="35981026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Haga clic para modificar el estilo de título del patrón</a:t>
            </a:r>
            <a:endParaRPr lang="en-US" dirty="0"/>
          </a:p>
        </p:txBody>
      </p:sp>
      <p:sp>
        <p:nvSpPr>
          <p:cNvPr id="3" name="Content Placeholder 2"/>
          <p:cNvSpPr>
            <a:spLocks noGrp="1"/>
          </p:cNvSpPr>
          <p:nvPr>
            <p:ph idx="1"/>
          </p:nvPr>
        </p:nvSpPr>
        <p:spPr/>
        <p:txBody>
          <a:bodyPr anchor="ct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4" name="Date Placeholder 3"/>
          <p:cNvSpPr>
            <a:spLocks noGrp="1"/>
          </p:cNvSpPr>
          <p:nvPr>
            <p:ph type="dt" sz="half" idx="10"/>
          </p:nvPr>
        </p:nvSpPr>
        <p:spPr/>
        <p:txBody>
          <a:bodyPr/>
          <a:lstStyle/>
          <a:p>
            <a:fld id="{24D9977E-DA3E-4475-BC1A-8B3000C2D929}" type="datetime1">
              <a:rPr lang="es-ES" smtClean="0"/>
              <a:t>18/1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Nº›</a:t>
            </a:fld>
            <a:endParaRPr lang="en-US" dirty="0"/>
          </a:p>
        </p:txBody>
      </p:sp>
    </p:spTree>
    <p:extLst>
      <p:ext uri="{BB962C8B-B14F-4D97-AF65-F5344CB8AC3E}">
        <p14:creationId xmlns:p14="http://schemas.microsoft.com/office/powerpoint/2010/main" val="34353287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Texto">
    <p:spTree>
      <p:nvGrpSpPr>
        <p:cNvPr id="1" name=""/>
        <p:cNvGrpSpPr/>
        <p:nvPr/>
      </p:nvGrpSpPr>
      <p:grpSpPr>
        <a:xfrm>
          <a:off x="0" y="0"/>
          <a:ext cx="0" cy="0"/>
          <a:chOff x="0" y="0"/>
          <a:chExt cx="0" cy="0"/>
        </a:xfrm>
      </p:grpSpPr>
      <p:sp>
        <p:nvSpPr>
          <p:cNvPr id="6" name="2 Marcador de contenido"/>
          <p:cNvSpPr>
            <a:spLocks noGrp="1"/>
          </p:cNvSpPr>
          <p:nvPr>
            <p:ph sz="half" idx="12"/>
          </p:nvPr>
        </p:nvSpPr>
        <p:spPr>
          <a:xfrm>
            <a:off x="371850" y="1591042"/>
            <a:ext cx="11233150" cy="4458066"/>
          </a:xfrm>
          <a:prstGeom prst="rect">
            <a:avLst/>
          </a:prstGeom>
        </p:spPr>
        <p:txBody>
          <a:bodyPr/>
          <a:lstStyle>
            <a:lvl1pPr marL="0" indent="0">
              <a:buClr>
                <a:schemeClr val="bg1"/>
              </a:buClr>
              <a:buSzPct val="100000"/>
              <a:buFont typeface="Arial" panose="020B0604020202020204" pitchFamily="34" charset="0"/>
              <a:buNone/>
              <a:defRPr sz="1800" b="0" i="0">
                <a:solidFill>
                  <a:schemeClr val="tx1"/>
                </a:solidFill>
                <a:latin typeface="Arial Regular"/>
                <a:cs typeface="Arial" panose="020B0604020202020204" pitchFamily="34" charset="0"/>
              </a:defRPr>
            </a:lvl1pPr>
            <a:lvl2pPr marL="1066827" indent="-457212">
              <a:buClr>
                <a:schemeClr val="bg1"/>
              </a:buClr>
              <a:buFont typeface="Courier New" panose="02070309020205020404" pitchFamily="49" charset="0"/>
              <a:buChar char="o"/>
              <a:defRPr sz="1800">
                <a:solidFill>
                  <a:schemeClr val="bg1"/>
                </a:solidFill>
                <a:latin typeface="Arial" panose="020B0604020202020204" pitchFamily="34" charset="0"/>
                <a:cs typeface="Arial" panose="020B0604020202020204" pitchFamily="34" charset="0"/>
              </a:defRPr>
            </a:lvl2pPr>
            <a:lvl3pPr marL="1676442" indent="-457212">
              <a:buClr>
                <a:schemeClr val="bg1"/>
              </a:buClr>
              <a:buFont typeface="Wingdings" panose="05000000000000000000" pitchFamily="2" charset="2"/>
              <a:buChar char="§"/>
              <a:defRPr sz="1600">
                <a:solidFill>
                  <a:schemeClr val="bg1"/>
                </a:solidFill>
                <a:latin typeface="Arial" panose="020B0604020202020204" pitchFamily="34" charset="0"/>
                <a:cs typeface="Arial" panose="020B0604020202020204" pitchFamily="34" charset="0"/>
              </a:defRPr>
            </a:lvl3pPr>
            <a:lvl4pPr>
              <a:buClr>
                <a:schemeClr val="bg1"/>
              </a:buClr>
              <a:defRPr sz="1600">
                <a:solidFill>
                  <a:schemeClr val="bg1"/>
                </a:solidFill>
                <a:latin typeface="Arial" panose="020B0604020202020204" pitchFamily="34" charset="0"/>
                <a:cs typeface="Arial" panose="020B0604020202020204" pitchFamily="34" charset="0"/>
              </a:defRPr>
            </a:lvl4pPr>
            <a:lvl5pPr>
              <a:buClr>
                <a:schemeClr val="tx2"/>
              </a:buClr>
              <a:defRPr sz="2667">
                <a:solidFill>
                  <a:schemeClr val="tx2"/>
                </a:solidFill>
                <a:latin typeface="Calibri" panose="020F0502020204030204" pitchFamily="34" charset="0"/>
                <a:cs typeface="Calibri" panose="020F0502020204030204" pitchFamily="34" charset="0"/>
              </a:defRPr>
            </a:lvl5pPr>
            <a:lvl6pPr>
              <a:defRPr sz="2400"/>
            </a:lvl6pPr>
            <a:lvl7pPr>
              <a:defRPr sz="2400"/>
            </a:lvl7pPr>
            <a:lvl8pPr>
              <a:defRPr sz="2400"/>
            </a:lvl8pPr>
            <a:lvl9pPr>
              <a:defRPr sz="2400"/>
            </a:lvl9pPr>
          </a:lstStyle>
          <a:p>
            <a:pPr lvl="0"/>
            <a:endParaRPr lang="es-ES"/>
          </a:p>
        </p:txBody>
      </p:sp>
      <p:sp>
        <p:nvSpPr>
          <p:cNvPr id="11" name="Content Placeholder 6">
            <a:extLst>
              <a:ext uri="{FF2B5EF4-FFF2-40B4-BE49-F238E27FC236}">
                <a16:creationId xmlns:a16="http://schemas.microsoft.com/office/drawing/2014/main" id="{20D6A149-3323-AD45-A0FF-DA3190C58AA3}"/>
              </a:ext>
            </a:extLst>
          </p:cNvPr>
          <p:cNvSpPr>
            <a:spLocks noGrp="1"/>
          </p:cNvSpPr>
          <p:nvPr>
            <p:ph sz="half" idx="15" hasCustomPrompt="1"/>
          </p:nvPr>
        </p:nvSpPr>
        <p:spPr>
          <a:xfrm>
            <a:off x="371850" y="1045754"/>
            <a:ext cx="7416799" cy="545288"/>
          </a:xfrm>
          <a:prstGeom prst="rect">
            <a:avLst/>
          </a:prstGeom>
        </p:spPr>
        <p:txBody>
          <a:bodyPr/>
          <a:lstStyle>
            <a:lvl1pPr marL="0" indent="0">
              <a:buNone/>
              <a:defRPr sz="2000" b="0" i="0">
                <a:solidFill>
                  <a:schemeClr val="tx2"/>
                </a:solidFill>
                <a:latin typeface="Arial Regular"/>
                <a:cs typeface="Arial" panose="020B0604020202020204" pitchFamily="34" charset="0"/>
              </a:defRPr>
            </a:lvl1pPr>
          </a:lstStyle>
          <a:p>
            <a:r>
              <a:rPr lang="es-ES" altLang="es-ES"/>
              <a:t>Escribe aquí el subtítulo</a:t>
            </a:r>
            <a:endParaRPr lang="en-US"/>
          </a:p>
        </p:txBody>
      </p:sp>
      <p:sp>
        <p:nvSpPr>
          <p:cNvPr id="12" name="Content Placeholder 5">
            <a:extLst>
              <a:ext uri="{FF2B5EF4-FFF2-40B4-BE49-F238E27FC236}">
                <a16:creationId xmlns:a16="http://schemas.microsoft.com/office/drawing/2014/main" id="{99D519E4-86D7-0040-9207-F996F68FD6B8}"/>
              </a:ext>
            </a:extLst>
          </p:cNvPr>
          <p:cNvSpPr>
            <a:spLocks noGrp="1"/>
          </p:cNvSpPr>
          <p:nvPr>
            <p:ph sz="half" idx="14" hasCustomPrompt="1"/>
          </p:nvPr>
        </p:nvSpPr>
        <p:spPr>
          <a:xfrm>
            <a:off x="371850" y="333375"/>
            <a:ext cx="7416798" cy="707932"/>
          </a:xfrm>
          <a:prstGeom prst="rect">
            <a:avLst/>
          </a:prstGeom>
        </p:spPr>
        <p:txBody>
          <a:bodyPr/>
          <a:lstStyle>
            <a:lvl1pPr marL="0" indent="0">
              <a:buNone/>
              <a:defRPr b="0" i="0">
                <a:solidFill>
                  <a:schemeClr val="tx1"/>
                </a:solidFill>
                <a:latin typeface="Arial Regular"/>
                <a:cs typeface="Arial" panose="020B0604020202020204" pitchFamily="34" charset="0"/>
              </a:defRPr>
            </a:lvl1pPr>
          </a:lstStyle>
          <a:p>
            <a:r>
              <a:rPr lang="es-ES" altLang="es-ES" sz="3600" b="0"/>
              <a:t>Escribe aquí el título</a:t>
            </a:r>
            <a:endParaRPr lang="en-US" sz="3600" b="0"/>
          </a:p>
        </p:txBody>
      </p:sp>
    </p:spTree>
    <p:extLst>
      <p:ext uri="{BB962C8B-B14F-4D97-AF65-F5344CB8AC3E}">
        <p14:creationId xmlns:p14="http://schemas.microsoft.com/office/powerpoint/2010/main" val="34481490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9_标题幻灯片">
    <p:spTree>
      <p:nvGrpSpPr>
        <p:cNvPr id="1" name=""/>
        <p:cNvGrpSpPr/>
        <p:nvPr/>
      </p:nvGrpSpPr>
      <p:grpSpPr>
        <a:xfrm>
          <a:off x="0" y="0"/>
          <a:ext cx="0" cy="0"/>
          <a:chOff x="0" y="0"/>
          <a:chExt cx="0" cy="0"/>
        </a:xfrm>
      </p:grpSpPr>
      <p:sp>
        <p:nvSpPr>
          <p:cNvPr id="4" name="标题 1"/>
          <p:cNvSpPr>
            <a:spLocks noGrp="1"/>
          </p:cNvSpPr>
          <p:nvPr>
            <p:ph type="ctrTitle" hasCustomPrompt="1"/>
          </p:nvPr>
        </p:nvSpPr>
        <p:spPr>
          <a:xfrm>
            <a:off x="912774" y="1154488"/>
            <a:ext cx="9990713" cy="778875"/>
          </a:xfrm>
          <a:prstGeom prst="rect">
            <a:avLst/>
          </a:prstGeom>
        </p:spPr>
        <p:txBody>
          <a:bodyPr>
            <a:normAutofit/>
          </a:bodyPr>
          <a:lstStyle>
            <a:lvl1pPr marL="0" marR="0" indent="0" algn="l" defTabSz="1219180" rtl="0" eaLnBrk="1" fontAlgn="auto" latinLnBrk="0" hangingPunct="1">
              <a:lnSpc>
                <a:spcPct val="100000"/>
              </a:lnSpc>
              <a:spcBef>
                <a:spcPct val="0"/>
              </a:spcBef>
              <a:spcAft>
                <a:spcPts val="0"/>
              </a:spcAft>
              <a:buClrTx/>
              <a:buSzTx/>
              <a:buFontTx/>
              <a:buNone/>
              <a:tabLst/>
              <a:defRPr sz="3600" b="0" baseline="0">
                <a:solidFill>
                  <a:schemeClr val="tx1">
                    <a:lumMod val="65000"/>
                    <a:lumOff val="35000"/>
                  </a:schemeClr>
                </a:solidFill>
                <a:latin typeface="+mj-lt"/>
              </a:defRPr>
            </a:lvl1pPr>
          </a:lstStyle>
          <a:p>
            <a:r>
              <a:rPr lang="en-US" altLang="zh-CN" dirty="0"/>
              <a:t>Slide Title</a:t>
            </a:r>
          </a:p>
        </p:txBody>
      </p:sp>
      <p:sp>
        <p:nvSpPr>
          <p:cNvPr id="5" name="副标题 2"/>
          <p:cNvSpPr>
            <a:spLocks noGrp="1"/>
          </p:cNvSpPr>
          <p:nvPr>
            <p:ph type="subTitle" idx="1" hasCustomPrompt="1"/>
          </p:nvPr>
        </p:nvSpPr>
        <p:spPr>
          <a:xfrm>
            <a:off x="912774" y="2133157"/>
            <a:ext cx="9990713" cy="4096643"/>
          </a:xfrm>
          <a:prstGeom prst="rect">
            <a:avLst/>
          </a:prstGeom>
        </p:spPr>
        <p:txBody>
          <a:bodyPr>
            <a:normAutofit/>
          </a:bodyPr>
          <a:lstStyle>
            <a:lvl1pPr marL="0" marR="0" indent="0" algn="l" defTabSz="1219180" rtl="0" eaLnBrk="1" fontAlgn="auto" latinLnBrk="0" hangingPunct="1">
              <a:lnSpc>
                <a:spcPct val="100000"/>
              </a:lnSpc>
              <a:spcBef>
                <a:spcPct val="20000"/>
              </a:spcBef>
              <a:spcAft>
                <a:spcPts val="0"/>
              </a:spcAft>
              <a:buClrTx/>
              <a:buSzTx/>
              <a:buFont typeface="Arial" pitchFamily="34" charset="0"/>
              <a:buNone/>
              <a:tabLst/>
              <a:defRPr sz="2399" baseline="0">
                <a:solidFill>
                  <a:schemeClr val="tx1">
                    <a:lumMod val="65000"/>
                    <a:lumOff val="35000"/>
                  </a:schemeClr>
                </a:solidFill>
                <a:latin typeface="+mn-lt"/>
              </a:defRPr>
            </a:lvl1pPr>
            <a:lvl2pPr marL="609590" indent="0" algn="ctr">
              <a:buNone/>
              <a:defRPr>
                <a:solidFill>
                  <a:schemeClr val="tx1">
                    <a:tint val="75000"/>
                  </a:schemeClr>
                </a:solidFill>
              </a:defRPr>
            </a:lvl2pPr>
            <a:lvl3pPr marL="1219180" indent="0" algn="ctr">
              <a:buNone/>
              <a:defRPr>
                <a:solidFill>
                  <a:schemeClr val="tx1">
                    <a:tint val="75000"/>
                  </a:schemeClr>
                </a:solidFill>
              </a:defRPr>
            </a:lvl3pPr>
            <a:lvl4pPr marL="1828769" indent="0" algn="ctr">
              <a:buNone/>
              <a:defRPr>
                <a:solidFill>
                  <a:schemeClr val="tx1">
                    <a:tint val="75000"/>
                  </a:schemeClr>
                </a:solidFill>
              </a:defRPr>
            </a:lvl4pPr>
            <a:lvl5pPr marL="2438359" indent="0" algn="ctr">
              <a:buNone/>
              <a:defRPr>
                <a:solidFill>
                  <a:schemeClr val="tx1">
                    <a:tint val="75000"/>
                  </a:schemeClr>
                </a:solidFill>
              </a:defRPr>
            </a:lvl5pPr>
            <a:lvl6pPr marL="3047950" indent="0" algn="ctr">
              <a:buNone/>
              <a:defRPr>
                <a:solidFill>
                  <a:schemeClr val="tx1">
                    <a:tint val="75000"/>
                  </a:schemeClr>
                </a:solidFill>
              </a:defRPr>
            </a:lvl6pPr>
            <a:lvl7pPr marL="3657540" indent="0" algn="ctr">
              <a:buNone/>
              <a:defRPr>
                <a:solidFill>
                  <a:schemeClr val="tx1">
                    <a:tint val="75000"/>
                  </a:schemeClr>
                </a:solidFill>
              </a:defRPr>
            </a:lvl7pPr>
            <a:lvl8pPr marL="4267128" indent="0" algn="ctr">
              <a:buNone/>
              <a:defRPr>
                <a:solidFill>
                  <a:schemeClr val="tx1">
                    <a:tint val="75000"/>
                  </a:schemeClr>
                </a:solidFill>
              </a:defRPr>
            </a:lvl8pPr>
            <a:lvl9pPr marL="4876718" indent="0" algn="ctr">
              <a:buNone/>
              <a:defRPr>
                <a:solidFill>
                  <a:schemeClr val="tx1">
                    <a:tint val="75000"/>
                  </a:schemeClr>
                </a:solidFill>
              </a:defRPr>
            </a:lvl9pPr>
          </a:lstStyle>
          <a:p>
            <a:r>
              <a:rPr lang="en-US" altLang="zh-CN" dirty="0"/>
              <a:t>Headline in Arial Regular 24 - 32 point</a:t>
            </a:r>
          </a:p>
        </p:txBody>
      </p:sp>
    </p:spTree>
    <p:extLst>
      <p:ext uri="{BB962C8B-B14F-4D97-AF65-F5344CB8AC3E}">
        <p14:creationId xmlns:p14="http://schemas.microsoft.com/office/powerpoint/2010/main" val="28739888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3_标题幻灯片">
    <p:spTree>
      <p:nvGrpSpPr>
        <p:cNvPr id="1" name=""/>
        <p:cNvGrpSpPr/>
        <p:nvPr/>
      </p:nvGrpSpPr>
      <p:grpSpPr>
        <a:xfrm>
          <a:off x="0" y="0"/>
          <a:ext cx="0" cy="0"/>
          <a:chOff x="0" y="0"/>
          <a:chExt cx="0" cy="0"/>
        </a:xfrm>
      </p:grpSpPr>
      <p:sp>
        <p:nvSpPr>
          <p:cNvPr id="3" name="副标题 2"/>
          <p:cNvSpPr>
            <a:spLocks noGrp="1"/>
          </p:cNvSpPr>
          <p:nvPr>
            <p:ph type="subTitle" idx="1" hasCustomPrompt="1"/>
          </p:nvPr>
        </p:nvSpPr>
        <p:spPr>
          <a:xfrm>
            <a:off x="424938" y="2646690"/>
            <a:ext cx="11342125" cy="1564620"/>
          </a:xfrm>
          <a:prstGeom prst="rect">
            <a:avLst/>
          </a:prstGeom>
        </p:spPr>
        <p:txBody>
          <a:bodyPr>
            <a:normAutofit/>
          </a:bodyPr>
          <a:lstStyle>
            <a:lvl1pPr marL="0" marR="0" indent="0" algn="ctr" defTabSz="1219180" rtl="0" eaLnBrk="1" fontAlgn="auto" latinLnBrk="0" hangingPunct="1">
              <a:lnSpc>
                <a:spcPct val="100000"/>
              </a:lnSpc>
              <a:spcBef>
                <a:spcPct val="20000"/>
              </a:spcBef>
              <a:spcAft>
                <a:spcPts val="0"/>
              </a:spcAft>
              <a:buClrTx/>
              <a:buSzTx/>
              <a:buFont typeface="Arial" pitchFamily="34" charset="0"/>
              <a:buNone/>
              <a:tabLst/>
              <a:defRPr sz="3999" baseline="0">
                <a:solidFill>
                  <a:schemeClr val="bg1"/>
                </a:solidFill>
                <a:latin typeface="Calibri" panose="020F0502020204030204" pitchFamily="34" charset="0"/>
                <a:ea typeface="方正兰亭细黑_GBK" pitchFamily="2" charset="-122"/>
                <a:cs typeface="Arial" pitchFamily="34" charset="0"/>
              </a:defRPr>
            </a:lvl1pPr>
            <a:lvl2pPr marL="609590" indent="0" algn="ctr">
              <a:buNone/>
              <a:defRPr>
                <a:solidFill>
                  <a:schemeClr val="tx1">
                    <a:tint val="75000"/>
                  </a:schemeClr>
                </a:solidFill>
              </a:defRPr>
            </a:lvl2pPr>
            <a:lvl3pPr marL="1219180" indent="0" algn="ctr">
              <a:buNone/>
              <a:defRPr>
                <a:solidFill>
                  <a:schemeClr val="tx1">
                    <a:tint val="75000"/>
                  </a:schemeClr>
                </a:solidFill>
              </a:defRPr>
            </a:lvl3pPr>
            <a:lvl4pPr marL="1828769" indent="0" algn="ctr">
              <a:buNone/>
              <a:defRPr>
                <a:solidFill>
                  <a:schemeClr val="tx1">
                    <a:tint val="75000"/>
                  </a:schemeClr>
                </a:solidFill>
              </a:defRPr>
            </a:lvl4pPr>
            <a:lvl5pPr marL="2438359" indent="0" algn="ctr">
              <a:buNone/>
              <a:defRPr>
                <a:solidFill>
                  <a:schemeClr val="tx1">
                    <a:tint val="75000"/>
                  </a:schemeClr>
                </a:solidFill>
              </a:defRPr>
            </a:lvl5pPr>
            <a:lvl6pPr marL="3047950" indent="0" algn="ctr">
              <a:buNone/>
              <a:defRPr>
                <a:solidFill>
                  <a:schemeClr val="tx1">
                    <a:tint val="75000"/>
                  </a:schemeClr>
                </a:solidFill>
              </a:defRPr>
            </a:lvl6pPr>
            <a:lvl7pPr marL="3657540" indent="0" algn="ctr">
              <a:buNone/>
              <a:defRPr>
                <a:solidFill>
                  <a:schemeClr val="tx1">
                    <a:tint val="75000"/>
                  </a:schemeClr>
                </a:solidFill>
              </a:defRPr>
            </a:lvl7pPr>
            <a:lvl8pPr marL="4267128" indent="0" algn="ctr">
              <a:buNone/>
              <a:defRPr>
                <a:solidFill>
                  <a:schemeClr val="tx1">
                    <a:tint val="75000"/>
                  </a:schemeClr>
                </a:solidFill>
              </a:defRPr>
            </a:lvl8pPr>
            <a:lvl9pPr marL="4876718" indent="0" algn="ctr">
              <a:buNone/>
              <a:defRPr>
                <a:solidFill>
                  <a:schemeClr val="tx1">
                    <a:tint val="75000"/>
                  </a:schemeClr>
                </a:solidFill>
              </a:defRPr>
            </a:lvl9pPr>
          </a:lstStyle>
          <a:p>
            <a:r>
              <a:rPr lang="en-US" altLang="zh-CN" dirty="0" err="1"/>
              <a:t>Arail</a:t>
            </a:r>
            <a:r>
              <a:rPr lang="en-US" altLang="zh-CN" dirty="0"/>
              <a:t> 40pt, Center, up to two lines</a:t>
            </a:r>
            <a:endParaRPr lang="zh-CN" altLang="en-US" dirty="0"/>
          </a:p>
        </p:txBody>
      </p:sp>
    </p:spTree>
    <p:extLst>
      <p:ext uri="{BB962C8B-B14F-4D97-AF65-F5344CB8AC3E}">
        <p14:creationId xmlns:p14="http://schemas.microsoft.com/office/powerpoint/2010/main" val="23144348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7_标题幻灯片">
    <p:spTree>
      <p:nvGrpSpPr>
        <p:cNvPr id="1" name=""/>
        <p:cNvGrpSpPr/>
        <p:nvPr/>
      </p:nvGrpSpPr>
      <p:grpSpPr>
        <a:xfrm>
          <a:off x="0" y="0"/>
          <a:ext cx="0" cy="0"/>
          <a:chOff x="0" y="0"/>
          <a:chExt cx="0" cy="0"/>
        </a:xfrm>
      </p:grpSpPr>
      <p:sp>
        <p:nvSpPr>
          <p:cNvPr id="3" name="副标题 2"/>
          <p:cNvSpPr>
            <a:spLocks noGrp="1"/>
          </p:cNvSpPr>
          <p:nvPr>
            <p:ph type="subTitle" idx="1" hasCustomPrompt="1"/>
          </p:nvPr>
        </p:nvSpPr>
        <p:spPr>
          <a:xfrm>
            <a:off x="424938" y="2646690"/>
            <a:ext cx="11342125" cy="1564620"/>
          </a:xfrm>
          <a:prstGeom prst="rect">
            <a:avLst/>
          </a:prstGeom>
        </p:spPr>
        <p:txBody>
          <a:bodyPr>
            <a:normAutofit/>
          </a:bodyPr>
          <a:lstStyle>
            <a:lvl1pPr marL="0" marR="0" indent="0" algn="ctr" defTabSz="1219180" rtl="0" eaLnBrk="1" fontAlgn="auto" latinLnBrk="0" hangingPunct="1">
              <a:lnSpc>
                <a:spcPct val="100000"/>
              </a:lnSpc>
              <a:spcBef>
                <a:spcPct val="20000"/>
              </a:spcBef>
              <a:spcAft>
                <a:spcPts val="0"/>
              </a:spcAft>
              <a:buClrTx/>
              <a:buSzTx/>
              <a:buFont typeface="Arial" pitchFamily="34" charset="0"/>
              <a:buNone/>
              <a:tabLst/>
              <a:defRPr sz="3999" baseline="0">
                <a:solidFill>
                  <a:schemeClr val="bg1"/>
                </a:solidFill>
                <a:latin typeface="Calibri" panose="020F0502020204030204" pitchFamily="34" charset="0"/>
                <a:ea typeface="方正兰亭细黑_GBK" pitchFamily="2" charset="-122"/>
                <a:cs typeface="Arial" pitchFamily="34" charset="0"/>
              </a:defRPr>
            </a:lvl1pPr>
            <a:lvl2pPr marL="609590" indent="0" algn="ctr">
              <a:buNone/>
              <a:defRPr>
                <a:solidFill>
                  <a:schemeClr val="tx1">
                    <a:tint val="75000"/>
                  </a:schemeClr>
                </a:solidFill>
              </a:defRPr>
            </a:lvl2pPr>
            <a:lvl3pPr marL="1219180" indent="0" algn="ctr">
              <a:buNone/>
              <a:defRPr>
                <a:solidFill>
                  <a:schemeClr val="tx1">
                    <a:tint val="75000"/>
                  </a:schemeClr>
                </a:solidFill>
              </a:defRPr>
            </a:lvl3pPr>
            <a:lvl4pPr marL="1828769" indent="0" algn="ctr">
              <a:buNone/>
              <a:defRPr>
                <a:solidFill>
                  <a:schemeClr val="tx1">
                    <a:tint val="75000"/>
                  </a:schemeClr>
                </a:solidFill>
              </a:defRPr>
            </a:lvl4pPr>
            <a:lvl5pPr marL="2438359" indent="0" algn="ctr">
              <a:buNone/>
              <a:defRPr>
                <a:solidFill>
                  <a:schemeClr val="tx1">
                    <a:tint val="75000"/>
                  </a:schemeClr>
                </a:solidFill>
              </a:defRPr>
            </a:lvl5pPr>
            <a:lvl6pPr marL="3047950" indent="0" algn="ctr">
              <a:buNone/>
              <a:defRPr>
                <a:solidFill>
                  <a:schemeClr val="tx1">
                    <a:tint val="75000"/>
                  </a:schemeClr>
                </a:solidFill>
              </a:defRPr>
            </a:lvl6pPr>
            <a:lvl7pPr marL="3657540" indent="0" algn="ctr">
              <a:buNone/>
              <a:defRPr>
                <a:solidFill>
                  <a:schemeClr val="tx1">
                    <a:tint val="75000"/>
                  </a:schemeClr>
                </a:solidFill>
              </a:defRPr>
            </a:lvl7pPr>
            <a:lvl8pPr marL="4267128" indent="0" algn="ctr">
              <a:buNone/>
              <a:defRPr>
                <a:solidFill>
                  <a:schemeClr val="tx1">
                    <a:tint val="75000"/>
                  </a:schemeClr>
                </a:solidFill>
              </a:defRPr>
            </a:lvl8pPr>
            <a:lvl9pPr marL="4876718" indent="0" algn="ctr">
              <a:buNone/>
              <a:defRPr>
                <a:solidFill>
                  <a:schemeClr val="tx1">
                    <a:tint val="75000"/>
                  </a:schemeClr>
                </a:solidFill>
              </a:defRPr>
            </a:lvl9pPr>
          </a:lstStyle>
          <a:p>
            <a:r>
              <a:rPr lang="en-US" altLang="zh-CN" dirty="0" err="1"/>
              <a:t>Arail</a:t>
            </a:r>
            <a:r>
              <a:rPr lang="en-US" altLang="zh-CN" dirty="0"/>
              <a:t> 40pt, Center, up to two lines</a:t>
            </a:r>
            <a:endParaRPr lang="zh-CN" altLang="en-US" dirty="0"/>
          </a:p>
        </p:txBody>
      </p:sp>
    </p:spTree>
    <p:extLst>
      <p:ext uri="{BB962C8B-B14F-4D97-AF65-F5344CB8AC3E}">
        <p14:creationId xmlns:p14="http://schemas.microsoft.com/office/powerpoint/2010/main" val="30541419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Encabezado de sección">
    <p:spTree>
      <p:nvGrpSpPr>
        <p:cNvPr id="1" name=""/>
        <p:cNvGrpSpPr/>
        <p:nvPr/>
      </p:nvGrpSpPr>
      <p:grpSpPr>
        <a:xfrm>
          <a:off x="0" y="0"/>
          <a:ext cx="0" cy="0"/>
          <a:chOff x="0" y="0"/>
          <a:chExt cx="0" cy="0"/>
        </a:xfrm>
      </p:grpSpPr>
      <p:sp>
        <p:nvSpPr>
          <p:cNvPr id="2" name="Title 1"/>
          <p:cNvSpPr>
            <a:spLocks noGrp="1"/>
          </p:cNvSpPr>
          <p:nvPr>
            <p:ph type="title"/>
          </p:nvPr>
        </p:nvSpPr>
        <p:spPr>
          <a:xfrm>
            <a:off x="684211" y="2006600"/>
            <a:ext cx="8534401" cy="2281600"/>
          </a:xfrm>
        </p:spPr>
        <p:txBody>
          <a:bodyPr anchor="b">
            <a:normAutofit/>
          </a:bodyPr>
          <a:lstStyle>
            <a:lvl1pPr algn="l">
              <a:defRPr sz="3600" b="0" cap="all"/>
            </a:lvl1pPr>
          </a:lstStyle>
          <a:p>
            <a:r>
              <a:rPr lang="es-ES" smtClean="0"/>
              <a:t>Haga clic para modificar el estilo de título del patrón</a:t>
            </a:r>
            <a:endParaRPr lang="en-US" dirty="0"/>
          </a:p>
        </p:txBody>
      </p:sp>
      <p:sp>
        <p:nvSpPr>
          <p:cNvPr id="3" name="Text Placeholder 2"/>
          <p:cNvSpPr>
            <a:spLocks noGrp="1"/>
          </p:cNvSpPr>
          <p:nvPr>
            <p:ph type="body" idx="1"/>
          </p:nvPr>
        </p:nvSpPr>
        <p:spPr>
          <a:xfrm>
            <a:off x="684213" y="4495800"/>
            <a:ext cx="8534400" cy="1498600"/>
          </a:xfrm>
        </p:spPr>
        <p:txBody>
          <a:bodyPr anchor="t">
            <a:normAutofit/>
          </a:bodyPr>
          <a:lstStyle>
            <a:lvl1pPr marL="0" indent="0" algn="l">
              <a:buNone/>
              <a:defRPr sz="18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smtClean="0"/>
              <a:t>Editar el estilo de texto del patrón</a:t>
            </a:r>
          </a:p>
        </p:txBody>
      </p:sp>
      <p:sp>
        <p:nvSpPr>
          <p:cNvPr id="4" name="Date Placeholder 3"/>
          <p:cNvSpPr>
            <a:spLocks noGrp="1"/>
          </p:cNvSpPr>
          <p:nvPr>
            <p:ph type="dt" sz="half" idx="10"/>
          </p:nvPr>
        </p:nvSpPr>
        <p:spPr/>
        <p:txBody>
          <a:bodyPr/>
          <a:lstStyle/>
          <a:p>
            <a:fld id="{41468C3D-50FD-452B-A24D-F642266AF302}" type="datetime1">
              <a:rPr lang="es-ES" smtClean="0"/>
              <a:t>18/1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Nº›</a:t>
            </a:fld>
            <a:endParaRPr lang="en-US" dirty="0"/>
          </a:p>
        </p:txBody>
      </p:sp>
    </p:spTree>
    <p:extLst>
      <p:ext uri="{BB962C8B-B14F-4D97-AF65-F5344CB8AC3E}">
        <p14:creationId xmlns:p14="http://schemas.microsoft.com/office/powerpoint/2010/main" val="31319835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Dos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Haga clic para modificar el estilo de título del patrón</a:t>
            </a:r>
            <a:endParaRPr lang="en-US" dirty="0"/>
          </a:p>
        </p:txBody>
      </p:sp>
      <p:sp>
        <p:nvSpPr>
          <p:cNvPr id="3" name="Content Placeholder 2"/>
          <p:cNvSpPr>
            <a:spLocks noGrp="1"/>
          </p:cNvSpPr>
          <p:nvPr>
            <p:ph sz="half" idx="1"/>
          </p:nvPr>
        </p:nvSpPr>
        <p:spPr>
          <a:xfrm>
            <a:off x="684211" y="685800"/>
            <a:ext cx="4937655" cy="3615267"/>
          </a:xfrm>
        </p:spPr>
        <p:txBody>
          <a:bodyPr>
            <a:normAutofit/>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4" name="Content Placeholder 3"/>
          <p:cNvSpPr>
            <a:spLocks noGrp="1"/>
          </p:cNvSpPr>
          <p:nvPr>
            <p:ph sz="half" idx="2"/>
          </p:nvPr>
        </p:nvSpPr>
        <p:spPr>
          <a:xfrm>
            <a:off x="5808133" y="685801"/>
            <a:ext cx="4934479" cy="3615266"/>
          </a:xfrm>
        </p:spPr>
        <p:txBody>
          <a:bodyPr>
            <a:normAutofit/>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5" name="Date Placeholder 4"/>
          <p:cNvSpPr>
            <a:spLocks noGrp="1"/>
          </p:cNvSpPr>
          <p:nvPr>
            <p:ph type="dt" sz="half" idx="10"/>
          </p:nvPr>
        </p:nvSpPr>
        <p:spPr/>
        <p:txBody>
          <a:bodyPr/>
          <a:lstStyle/>
          <a:p>
            <a:fld id="{58D30D32-6EC3-498A-866B-885515A8682D}" type="datetime1">
              <a:rPr lang="es-ES" smtClean="0"/>
              <a:t>18/12/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Nº›</a:t>
            </a:fld>
            <a:endParaRPr lang="en-US" dirty="0"/>
          </a:p>
        </p:txBody>
      </p:sp>
    </p:spTree>
    <p:extLst>
      <p:ext uri="{BB962C8B-B14F-4D97-AF65-F5344CB8AC3E}">
        <p14:creationId xmlns:p14="http://schemas.microsoft.com/office/powerpoint/2010/main" val="9685528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ació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s-ES" smtClean="0"/>
              <a:t>Haga clic para modificar el estilo de título del patrón</a:t>
            </a:r>
            <a:endParaRPr lang="en-US" dirty="0"/>
          </a:p>
        </p:txBody>
      </p:sp>
      <p:sp>
        <p:nvSpPr>
          <p:cNvPr id="3" name="Text Placeholder 2"/>
          <p:cNvSpPr>
            <a:spLocks noGrp="1"/>
          </p:cNvSpPr>
          <p:nvPr>
            <p:ph type="body" idx="1"/>
          </p:nvPr>
        </p:nvSpPr>
        <p:spPr>
          <a:xfrm>
            <a:off x="972080" y="685800"/>
            <a:ext cx="4649787" cy="576262"/>
          </a:xfrm>
        </p:spPr>
        <p:txBody>
          <a:bodyPr anchor="b">
            <a:no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Editar el estilo de texto del patrón</a:t>
            </a:r>
          </a:p>
        </p:txBody>
      </p:sp>
      <p:sp>
        <p:nvSpPr>
          <p:cNvPr id="4" name="Content Placeholder 3"/>
          <p:cNvSpPr>
            <a:spLocks noGrp="1"/>
          </p:cNvSpPr>
          <p:nvPr>
            <p:ph sz="half" idx="2"/>
          </p:nvPr>
        </p:nvSpPr>
        <p:spPr>
          <a:xfrm>
            <a:off x="684211" y="1270529"/>
            <a:ext cx="4937655" cy="3030538"/>
          </a:xfrm>
        </p:spPr>
        <p:txBody>
          <a:bodyPr anchor="t">
            <a:normAutofit/>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5" name="Text Placeholder 4"/>
          <p:cNvSpPr>
            <a:spLocks noGrp="1"/>
          </p:cNvSpPr>
          <p:nvPr>
            <p:ph type="body" sz="quarter" idx="3"/>
          </p:nvPr>
        </p:nvSpPr>
        <p:spPr>
          <a:xfrm>
            <a:off x="6079066" y="685800"/>
            <a:ext cx="4665134" cy="576262"/>
          </a:xfrm>
        </p:spPr>
        <p:txBody>
          <a:bodyPr anchor="b">
            <a:no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Editar el estilo de texto del patrón</a:t>
            </a:r>
          </a:p>
        </p:txBody>
      </p:sp>
      <p:sp>
        <p:nvSpPr>
          <p:cNvPr id="6" name="Content Placeholder 5"/>
          <p:cNvSpPr>
            <a:spLocks noGrp="1"/>
          </p:cNvSpPr>
          <p:nvPr>
            <p:ph sz="quarter" idx="4"/>
          </p:nvPr>
        </p:nvSpPr>
        <p:spPr>
          <a:xfrm>
            <a:off x="5806545" y="1262062"/>
            <a:ext cx="4929188" cy="3030538"/>
          </a:xfrm>
        </p:spPr>
        <p:txBody>
          <a:bodyPr anchor="t">
            <a:normAutofit/>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7" name="Date Placeholder 6"/>
          <p:cNvSpPr>
            <a:spLocks noGrp="1"/>
          </p:cNvSpPr>
          <p:nvPr>
            <p:ph type="dt" sz="half" idx="10"/>
          </p:nvPr>
        </p:nvSpPr>
        <p:spPr/>
        <p:txBody>
          <a:bodyPr/>
          <a:lstStyle/>
          <a:p>
            <a:fld id="{393A007C-F8EA-49ED-ADAD-100D66745277}" type="datetime1">
              <a:rPr lang="es-ES" smtClean="0"/>
              <a:t>18/12/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smtClean="0"/>
              <a:pPr/>
              <a:t>‹Nº›</a:t>
            </a:fld>
            <a:endParaRPr lang="en-US" dirty="0"/>
          </a:p>
        </p:txBody>
      </p:sp>
    </p:spTree>
    <p:extLst>
      <p:ext uri="{BB962C8B-B14F-4D97-AF65-F5344CB8AC3E}">
        <p14:creationId xmlns:p14="http://schemas.microsoft.com/office/powerpoint/2010/main" val="25141439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Solo el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Haga clic para modificar el estilo de título del patrón</a:t>
            </a:r>
            <a:endParaRPr lang="en-US" dirty="0"/>
          </a:p>
        </p:txBody>
      </p:sp>
      <p:sp>
        <p:nvSpPr>
          <p:cNvPr id="3" name="Date Placeholder 2"/>
          <p:cNvSpPr>
            <a:spLocks noGrp="1"/>
          </p:cNvSpPr>
          <p:nvPr>
            <p:ph type="dt" sz="half" idx="10"/>
          </p:nvPr>
        </p:nvSpPr>
        <p:spPr/>
        <p:txBody>
          <a:bodyPr/>
          <a:lstStyle/>
          <a:p>
            <a:fld id="{AE72FBB4-E616-49C4-AA69-9556D51B62D9}" type="datetime1">
              <a:rPr lang="es-ES" smtClean="0"/>
              <a:t>18/12/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Nº›</a:t>
            </a:fld>
            <a:endParaRPr lang="en-US" dirty="0"/>
          </a:p>
        </p:txBody>
      </p:sp>
    </p:spTree>
    <p:extLst>
      <p:ext uri="{BB962C8B-B14F-4D97-AF65-F5344CB8AC3E}">
        <p14:creationId xmlns:p14="http://schemas.microsoft.com/office/powerpoint/2010/main" val="36219525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En bl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96D018A-7B91-4DA3-991F-4885C1D17EFD}" type="datetime1">
              <a:rPr lang="es-ES" smtClean="0"/>
              <a:t>18/12/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smtClean="0"/>
              <a:pPr/>
              <a:t>‹Nº›</a:t>
            </a:fld>
            <a:endParaRPr lang="en-US" dirty="0"/>
          </a:p>
        </p:txBody>
      </p:sp>
      <p:pic>
        <p:nvPicPr>
          <p:cNvPr id="5" name="Imagen 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 y="-10137"/>
            <a:ext cx="2181102" cy="528722"/>
          </a:xfrm>
          <a:prstGeom prst="rect">
            <a:avLst/>
          </a:prstGeom>
        </p:spPr>
      </p:pic>
    </p:spTree>
    <p:extLst>
      <p:ext uri="{BB962C8B-B14F-4D97-AF65-F5344CB8AC3E}">
        <p14:creationId xmlns:p14="http://schemas.microsoft.com/office/powerpoint/2010/main" val="2745706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ido con título">
    <p:spTree>
      <p:nvGrpSpPr>
        <p:cNvPr id="1" name=""/>
        <p:cNvGrpSpPr/>
        <p:nvPr/>
      </p:nvGrpSpPr>
      <p:grpSpPr>
        <a:xfrm>
          <a:off x="0" y="0"/>
          <a:ext cx="0" cy="0"/>
          <a:chOff x="0" y="0"/>
          <a:chExt cx="0" cy="0"/>
        </a:xfrm>
      </p:grpSpPr>
      <p:sp>
        <p:nvSpPr>
          <p:cNvPr id="2" name="Title 1"/>
          <p:cNvSpPr>
            <a:spLocks noGrp="1"/>
          </p:cNvSpPr>
          <p:nvPr>
            <p:ph type="title"/>
          </p:nvPr>
        </p:nvSpPr>
        <p:spPr>
          <a:xfrm>
            <a:off x="7085012" y="685800"/>
            <a:ext cx="3657600" cy="1371600"/>
          </a:xfrm>
        </p:spPr>
        <p:txBody>
          <a:bodyPr anchor="b">
            <a:normAutofit/>
          </a:bodyPr>
          <a:lstStyle>
            <a:lvl1pPr algn="l">
              <a:defRPr sz="2400" b="0"/>
            </a:lvl1pPr>
          </a:lstStyle>
          <a:p>
            <a:r>
              <a:rPr lang="es-ES" smtClean="0"/>
              <a:t>Haga clic para modificar el estilo de título del patrón</a:t>
            </a:r>
            <a:endParaRPr lang="en-US" dirty="0"/>
          </a:p>
        </p:txBody>
      </p:sp>
      <p:sp>
        <p:nvSpPr>
          <p:cNvPr id="3" name="Content Placeholder 2"/>
          <p:cNvSpPr>
            <a:spLocks noGrp="1"/>
          </p:cNvSpPr>
          <p:nvPr>
            <p:ph idx="1"/>
          </p:nvPr>
        </p:nvSpPr>
        <p:spPr>
          <a:xfrm>
            <a:off x="684212" y="685800"/>
            <a:ext cx="5943601" cy="5308600"/>
          </a:xfrm>
        </p:spPr>
        <p:txBody>
          <a:bodyPr anchor="ctr">
            <a:normAutofit/>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4" name="Text Placeholder 3"/>
          <p:cNvSpPr>
            <a:spLocks noGrp="1"/>
          </p:cNvSpPr>
          <p:nvPr>
            <p:ph type="body" sz="half" idx="2"/>
          </p:nvPr>
        </p:nvSpPr>
        <p:spPr>
          <a:xfrm>
            <a:off x="7085012" y="2209799"/>
            <a:ext cx="3657600" cy="2091267"/>
          </a:xfrm>
        </p:spPr>
        <p:txBody>
          <a:bodyPr anchor="t">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Editar el estilo de texto del patrón</a:t>
            </a:r>
          </a:p>
        </p:txBody>
      </p:sp>
      <p:sp>
        <p:nvSpPr>
          <p:cNvPr id="5" name="Date Placeholder 4"/>
          <p:cNvSpPr>
            <a:spLocks noGrp="1"/>
          </p:cNvSpPr>
          <p:nvPr>
            <p:ph type="dt" sz="half" idx="10"/>
          </p:nvPr>
        </p:nvSpPr>
        <p:spPr/>
        <p:txBody>
          <a:bodyPr/>
          <a:lstStyle/>
          <a:p>
            <a:fld id="{BF8AB38E-C677-4621-AF69-A24B439476D2}" type="datetime1">
              <a:rPr lang="es-ES" smtClean="0"/>
              <a:t>18/12/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Nº›</a:t>
            </a:fld>
            <a:endParaRPr lang="en-US" dirty="0"/>
          </a:p>
        </p:txBody>
      </p:sp>
    </p:spTree>
    <p:extLst>
      <p:ext uri="{BB962C8B-B14F-4D97-AF65-F5344CB8AC3E}">
        <p14:creationId xmlns:p14="http://schemas.microsoft.com/office/powerpoint/2010/main" val="981929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Imagen con título">
    <p:spTree>
      <p:nvGrpSpPr>
        <p:cNvPr id="1" name=""/>
        <p:cNvGrpSpPr/>
        <p:nvPr/>
      </p:nvGrpSpPr>
      <p:grpSpPr>
        <a:xfrm>
          <a:off x="0" y="0"/>
          <a:ext cx="0" cy="0"/>
          <a:chOff x="0" y="0"/>
          <a:chExt cx="0" cy="0"/>
        </a:xfrm>
      </p:grpSpPr>
      <p:sp>
        <p:nvSpPr>
          <p:cNvPr id="2" name="Title 1"/>
          <p:cNvSpPr>
            <a:spLocks noGrp="1"/>
          </p:cNvSpPr>
          <p:nvPr>
            <p:ph type="title"/>
          </p:nvPr>
        </p:nvSpPr>
        <p:spPr>
          <a:xfrm>
            <a:off x="4722812" y="1447800"/>
            <a:ext cx="6019800" cy="1143000"/>
          </a:xfrm>
        </p:spPr>
        <p:txBody>
          <a:bodyPr anchor="b">
            <a:normAutofit/>
          </a:bodyPr>
          <a:lstStyle>
            <a:lvl1pPr algn="l">
              <a:defRPr sz="2800" b="0"/>
            </a:lvl1pPr>
          </a:lstStyle>
          <a:p>
            <a:r>
              <a:rPr lang="es-ES" smtClean="0"/>
              <a:t>Haga clic para modificar el estilo de título del patrón</a:t>
            </a:r>
            <a:endParaRPr lang="en-US" dirty="0"/>
          </a:p>
        </p:txBody>
      </p:sp>
      <p:sp>
        <p:nvSpPr>
          <p:cNvPr id="14" name="Picture Placeholder 2"/>
          <p:cNvSpPr>
            <a:spLocks noGrp="1" noChangeAspect="1"/>
          </p:cNvSpPr>
          <p:nvPr>
            <p:ph type="pic" idx="1"/>
          </p:nvPr>
        </p:nvSpPr>
        <p:spPr>
          <a:xfrm>
            <a:off x="989012" y="914400"/>
            <a:ext cx="3280974" cy="4572000"/>
          </a:xfrm>
          <a:prstGeom prst="snip2DiagRect">
            <a:avLst>
              <a:gd name="adj1" fmla="val 10815"/>
              <a:gd name="adj2" fmla="val 0"/>
            </a:avLst>
          </a:prstGeom>
          <a:ln w="15875">
            <a:solidFill>
              <a:schemeClr val="tx1">
                <a:alpha val="40000"/>
              </a:schemeClr>
            </a:solidFill>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s-ES" smtClean="0"/>
              <a:t>Haga clic en el icono para agregar una imagen</a:t>
            </a:r>
            <a:endParaRPr lang="en-US" dirty="0"/>
          </a:p>
        </p:txBody>
      </p:sp>
      <p:sp>
        <p:nvSpPr>
          <p:cNvPr id="4" name="Text Placeholder 3"/>
          <p:cNvSpPr>
            <a:spLocks noGrp="1"/>
          </p:cNvSpPr>
          <p:nvPr>
            <p:ph type="body" sz="half" idx="2"/>
          </p:nvPr>
        </p:nvSpPr>
        <p:spPr>
          <a:xfrm>
            <a:off x="4722812" y="2777066"/>
            <a:ext cx="6021388" cy="2048933"/>
          </a:xfrm>
        </p:spPr>
        <p:txBody>
          <a:bodyPr anchor="t">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Editar el estilo de texto del patrón</a:t>
            </a:r>
          </a:p>
        </p:txBody>
      </p:sp>
      <p:sp>
        <p:nvSpPr>
          <p:cNvPr id="5" name="Date Placeholder 4"/>
          <p:cNvSpPr>
            <a:spLocks noGrp="1"/>
          </p:cNvSpPr>
          <p:nvPr>
            <p:ph type="dt" sz="half" idx="10"/>
          </p:nvPr>
        </p:nvSpPr>
        <p:spPr/>
        <p:txBody>
          <a:bodyPr/>
          <a:lstStyle/>
          <a:p>
            <a:fld id="{B28DC311-90A2-4017-8C4E-CF1BEE616601}" type="datetime1">
              <a:rPr lang="es-ES" smtClean="0"/>
              <a:t>18/12/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Nº›</a:t>
            </a:fld>
            <a:endParaRPr lang="en-US" dirty="0"/>
          </a:p>
        </p:txBody>
      </p:sp>
    </p:spTree>
    <p:extLst>
      <p:ext uri="{BB962C8B-B14F-4D97-AF65-F5344CB8AC3E}">
        <p14:creationId xmlns:p14="http://schemas.microsoft.com/office/powerpoint/2010/main" val="16799045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grpSp>
        <p:nvGrpSpPr>
          <p:cNvPr id="7" name="Group 6"/>
          <p:cNvGrpSpPr/>
          <p:nvPr/>
        </p:nvGrpSpPr>
        <p:grpSpPr>
          <a:xfrm>
            <a:off x="9206969" y="2963333"/>
            <a:ext cx="2981858" cy="3208867"/>
            <a:chOff x="9206969" y="2963333"/>
            <a:chExt cx="2981858" cy="3208867"/>
          </a:xfrm>
        </p:grpSpPr>
        <p:cxnSp>
          <p:nvCxnSpPr>
            <p:cNvPr id="8" name="Straight Connector 7"/>
            <p:cNvCxnSpPr/>
            <p:nvPr/>
          </p:nvCxnSpPr>
          <p:spPr>
            <a:xfrm flipH="1">
              <a:off x="11276012" y="2963333"/>
              <a:ext cx="912814" cy="912812"/>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H="1">
              <a:off x="9206969" y="3190344"/>
              <a:ext cx="2981857" cy="2981856"/>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H="1">
              <a:off x="10292292" y="3285067"/>
              <a:ext cx="1896534" cy="1896533"/>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flipH="1">
              <a:off x="10443103" y="3131080"/>
              <a:ext cx="1745722" cy="1745720"/>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flipH="1">
              <a:off x="10918826" y="3683001"/>
              <a:ext cx="1270001" cy="1269999"/>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 name="Title Placeholder 1"/>
          <p:cNvSpPr>
            <a:spLocks noGrp="1"/>
          </p:cNvSpPr>
          <p:nvPr>
            <p:ph type="title"/>
          </p:nvPr>
        </p:nvSpPr>
        <p:spPr>
          <a:xfrm>
            <a:off x="684212" y="4487332"/>
            <a:ext cx="8534400" cy="1507067"/>
          </a:xfrm>
          <a:prstGeom prst="rect">
            <a:avLst/>
          </a:prstGeom>
          <a:effectLst/>
        </p:spPr>
        <p:txBody>
          <a:bodyPr vert="horz" lIns="91440" tIns="45720" rIns="91440" bIns="45720" rtlCol="0" anchor="ctr">
            <a:normAutofit/>
          </a:bodyPr>
          <a:lstStyle/>
          <a:p>
            <a:r>
              <a:rPr lang="es-ES" smtClean="0"/>
              <a:t>Haga clic para modificar el estilo de título del patrón</a:t>
            </a:r>
            <a:endParaRPr lang="en-US" dirty="0"/>
          </a:p>
        </p:txBody>
      </p:sp>
      <p:sp>
        <p:nvSpPr>
          <p:cNvPr id="3" name="Text Placeholder 2"/>
          <p:cNvSpPr>
            <a:spLocks noGrp="1"/>
          </p:cNvSpPr>
          <p:nvPr>
            <p:ph type="body" idx="1"/>
          </p:nvPr>
        </p:nvSpPr>
        <p:spPr>
          <a:xfrm>
            <a:off x="684212" y="685800"/>
            <a:ext cx="8534400" cy="3615267"/>
          </a:xfrm>
          <a:prstGeom prst="rect">
            <a:avLst/>
          </a:prstGeom>
        </p:spPr>
        <p:txBody>
          <a:bodyPr vert="horz" lIns="91440" tIns="45720" rIns="91440" bIns="45720" rtlCol="0" anchor="ctr">
            <a:normAutofit/>
          </a:bodyPr>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4" name="Date Placeholder 3"/>
          <p:cNvSpPr>
            <a:spLocks noGrp="1"/>
          </p:cNvSpPr>
          <p:nvPr>
            <p:ph type="dt" sz="half" idx="2"/>
          </p:nvPr>
        </p:nvSpPr>
        <p:spPr>
          <a:xfrm>
            <a:off x="9904412" y="6172200"/>
            <a:ext cx="1600200" cy="365125"/>
          </a:xfrm>
          <a:prstGeom prst="rect">
            <a:avLst/>
          </a:prstGeom>
        </p:spPr>
        <p:txBody>
          <a:bodyPr vert="horz" lIns="91440" tIns="45720" rIns="91440" bIns="45720" rtlCol="0" anchor="t"/>
          <a:lstStyle>
            <a:lvl1pPr algn="r">
              <a:defRPr sz="1000" b="0" i="0">
                <a:solidFill>
                  <a:schemeClr val="bg2">
                    <a:lumMod val="50000"/>
                  </a:schemeClr>
                </a:solidFill>
                <a:effectLst/>
                <a:latin typeface="+mn-lt"/>
              </a:defRPr>
            </a:lvl1pPr>
          </a:lstStyle>
          <a:p>
            <a:fld id="{73B67B5B-5139-45AE-AA6B-0653FF37A190}" type="datetime1">
              <a:rPr lang="es-ES" smtClean="0"/>
              <a:t>18/12/2020</a:t>
            </a:fld>
            <a:endParaRPr lang="es-ES"/>
          </a:p>
        </p:txBody>
      </p:sp>
      <p:sp>
        <p:nvSpPr>
          <p:cNvPr id="5" name="Footer Placeholder 4"/>
          <p:cNvSpPr>
            <a:spLocks noGrp="1"/>
          </p:cNvSpPr>
          <p:nvPr>
            <p:ph type="ftr" sz="quarter" idx="3"/>
          </p:nvPr>
        </p:nvSpPr>
        <p:spPr>
          <a:xfrm>
            <a:off x="684212" y="6172200"/>
            <a:ext cx="7543800" cy="365125"/>
          </a:xfrm>
          <a:prstGeom prst="rect">
            <a:avLst/>
          </a:prstGeom>
        </p:spPr>
        <p:txBody>
          <a:bodyPr vert="horz" lIns="91440" tIns="45720" rIns="91440" bIns="45720" rtlCol="0" anchor="t"/>
          <a:lstStyle>
            <a:lvl1pPr algn="l">
              <a:defRPr sz="1000" b="0" i="0">
                <a:solidFill>
                  <a:schemeClr val="bg2">
                    <a:lumMod val="50000"/>
                  </a:schemeClr>
                </a:solidFill>
                <a:effectLst/>
                <a:latin typeface="+mn-lt"/>
              </a:defRPr>
            </a:lvl1pPr>
          </a:lstStyle>
          <a:p>
            <a:endParaRPr lang="es-ES"/>
          </a:p>
        </p:txBody>
      </p:sp>
      <p:sp>
        <p:nvSpPr>
          <p:cNvPr id="6" name="Slide Number Placeholder 5"/>
          <p:cNvSpPr>
            <a:spLocks noGrp="1"/>
          </p:cNvSpPr>
          <p:nvPr>
            <p:ph type="sldNum" sz="quarter" idx="4"/>
          </p:nvPr>
        </p:nvSpPr>
        <p:spPr>
          <a:xfrm>
            <a:off x="10363200" y="5578475"/>
            <a:ext cx="1142245" cy="669925"/>
          </a:xfrm>
          <a:prstGeom prst="rect">
            <a:avLst/>
          </a:prstGeom>
        </p:spPr>
        <p:txBody>
          <a:bodyPr vert="horz" lIns="91440" tIns="45720" rIns="91440" bIns="45720" rtlCol="0" anchor="b"/>
          <a:lstStyle>
            <a:lvl1pPr algn="r">
              <a:defRPr sz="3200" b="0" i="0">
                <a:solidFill>
                  <a:schemeClr val="bg2">
                    <a:lumMod val="50000"/>
                  </a:schemeClr>
                </a:solidFill>
                <a:effectLst/>
                <a:latin typeface="+mn-lt"/>
              </a:defRPr>
            </a:lvl1pPr>
          </a:lstStyle>
          <a:p>
            <a:fld id="{4BAA65A3-FB2B-4F32-BBA3-F7AEE21573CC}" type="slidenum">
              <a:rPr lang="es-ES" smtClean="0"/>
              <a:t>‹Nº›</a:t>
            </a:fld>
            <a:endParaRPr lang="es-ES"/>
          </a:p>
        </p:txBody>
      </p:sp>
    </p:spTree>
    <p:extLst>
      <p:ext uri="{BB962C8B-B14F-4D97-AF65-F5344CB8AC3E}">
        <p14:creationId xmlns:p14="http://schemas.microsoft.com/office/powerpoint/2010/main" val="3493712791"/>
      </p:ext>
    </p:extLst>
  </p:cSld>
  <p:clrMap bg1="dk1" tx1="lt1" bg2="dk2" tx2="lt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661" r:id="rId21"/>
    <p:sldLayoutId id="2147483663" r:id="rId22"/>
    <p:sldLayoutId id="2147483664" r:id="rId23"/>
  </p:sldLayoutIdLst>
  <p:hf hdr="0" ftr="0" dt="0"/>
  <p:txStyles>
    <p:title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2000" kern="1200" cap="none">
          <a:solidFill>
            <a:schemeClr val="bg2">
              <a:lumMod val="75000"/>
            </a:schemeClr>
          </a:solidFill>
          <a:effectLst/>
          <a:latin typeface="+mn-lt"/>
          <a:ea typeface="+mn-ea"/>
          <a:cs typeface="+mn-cs"/>
        </a:defRPr>
      </a:lvl1pPr>
      <a:lvl2pPr marL="7429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800" kern="1200" cap="none">
          <a:solidFill>
            <a:schemeClr val="bg2">
              <a:lumMod val="75000"/>
            </a:schemeClr>
          </a:solidFill>
          <a:effectLst/>
          <a:latin typeface="+mn-lt"/>
          <a:ea typeface="+mn-ea"/>
          <a:cs typeface="+mn-cs"/>
        </a:defRPr>
      </a:lvl2pPr>
      <a:lvl3pPr marL="12001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600" kern="1200" cap="none">
          <a:solidFill>
            <a:schemeClr val="bg2">
              <a:lumMod val="75000"/>
            </a:schemeClr>
          </a:solidFill>
          <a:effectLst/>
          <a:latin typeface="+mn-lt"/>
          <a:ea typeface="+mn-ea"/>
          <a:cs typeface="+mn-cs"/>
        </a:defRPr>
      </a:lvl3pPr>
      <a:lvl4pPr marL="15430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4pPr>
      <a:lvl5pPr marL="20002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5pPr>
      <a:lvl6pPr marL="25146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3.svg"/><Relationship Id="rId7" Type="http://schemas.openxmlformats.org/officeDocument/2006/relationships/image" Target="../media/image37.svg"/><Relationship Id="rId2" Type="http://schemas.openxmlformats.org/officeDocument/2006/relationships/image" Target="../media/image23.png"/><Relationship Id="rId1" Type="http://schemas.openxmlformats.org/officeDocument/2006/relationships/slideLayout" Target="../slideLayouts/slideLayout1.xml"/><Relationship Id="rId6" Type="http://schemas.openxmlformats.org/officeDocument/2006/relationships/image" Target="../media/image25.png"/><Relationship Id="rId5" Type="http://schemas.openxmlformats.org/officeDocument/2006/relationships/image" Target="../media/image35.svg"/><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1.xml"/><Relationship Id="rId6" Type="http://schemas.openxmlformats.org/officeDocument/2006/relationships/image" Target="../media/image30.png"/><Relationship Id="rId5" Type="http://schemas.openxmlformats.org/officeDocument/2006/relationships/image" Target="../media/image29.png"/><Relationship Id="rId10" Type="http://schemas.openxmlformats.org/officeDocument/2006/relationships/image" Target="../media/image46.svg"/><Relationship Id="rId4" Type="http://schemas.openxmlformats.org/officeDocument/2006/relationships/image" Target="../media/image28.jpg"/><Relationship Id="rId9" Type="http://schemas.openxmlformats.org/officeDocument/2006/relationships/image" Target="../media/image33.png"/></Relationships>
</file>

<file path=ppt/slides/_rels/slide16.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3.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6.png"/><Relationship Id="rId15" Type="http://schemas.openxmlformats.org/officeDocument/2006/relationships/image" Target="../media/image46.pn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png"/><Relationship Id="rId14" Type="http://schemas.openxmlformats.org/officeDocument/2006/relationships/image" Target="../media/image45.png"/></Relationships>
</file>

<file path=ppt/slides/_rels/slide1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9.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28.jp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slide" Target="slide9.xml"/><Relationship Id="rId13" Type="http://schemas.openxmlformats.org/officeDocument/2006/relationships/slide" Target="slide16.xml"/><Relationship Id="rId18" Type="http://schemas.openxmlformats.org/officeDocument/2006/relationships/slide" Target="slide21.xml"/><Relationship Id="rId26" Type="http://schemas.openxmlformats.org/officeDocument/2006/relationships/slide" Target="slide35.xml"/><Relationship Id="rId3" Type="http://schemas.openxmlformats.org/officeDocument/2006/relationships/slide" Target="slide4.xml"/><Relationship Id="rId21" Type="http://schemas.openxmlformats.org/officeDocument/2006/relationships/slide" Target="slide24.xml"/><Relationship Id="rId7" Type="http://schemas.openxmlformats.org/officeDocument/2006/relationships/slide" Target="slide8.xml"/><Relationship Id="rId12" Type="http://schemas.openxmlformats.org/officeDocument/2006/relationships/slide" Target="slide15.xml"/><Relationship Id="rId17" Type="http://schemas.openxmlformats.org/officeDocument/2006/relationships/slide" Target="slide20.xml"/><Relationship Id="rId25" Type="http://schemas.openxmlformats.org/officeDocument/2006/relationships/slide" Target="slide28.xml"/><Relationship Id="rId2" Type="http://schemas.openxmlformats.org/officeDocument/2006/relationships/slide" Target="slide3.xml"/><Relationship Id="rId16" Type="http://schemas.openxmlformats.org/officeDocument/2006/relationships/slide" Target="slide19.xml"/><Relationship Id="rId20" Type="http://schemas.openxmlformats.org/officeDocument/2006/relationships/slide" Target="slide23.xml"/><Relationship Id="rId29" Type="http://schemas.openxmlformats.org/officeDocument/2006/relationships/slide" Target="slide52.xml"/><Relationship Id="rId1" Type="http://schemas.openxmlformats.org/officeDocument/2006/relationships/slideLayout" Target="../slideLayouts/slideLayout7.xml"/><Relationship Id="rId6" Type="http://schemas.openxmlformats.org/officeDocument/2006/relationships/slide" Target="slide7.xml"/><Relationship Id="rId11" Type="http://schemas.openxmlformats.org/officeDocument/2006/relationships/slide" Target="slide14.xml"/><Relationship Id="rId24" Type="http://schemas.openxmlformats.org/officeDocument/2006/relationships/slide" Target="slide27.xml"/><Relationship Id="rId5" Type="http://schemas.openxmlformats.org/officeDocument/2006/relationships/slide" Target="slide6.xml"/><Relationship Id="rId15" Type="http://schemas.openxmlformats.org/officeDocument/2006/relationships/slide" Target="slide18.xml"/><Relationship Id="rId23" Type="http://schemas.openxmlformats.org/officeDocument/2006/relationships/slide" Target="slide26.xml"/><Relationship Id="rId28" Type="http://schemas.openxmlformats.org/officeDocument/2006/relationships/slide" Target="slide45.xml"/><Relationship Id="rId10" Type="http://schemas.openxmlformats.org/officeDocument/2006/relationships/slide" Target="slide11.xml"/><Relationship Id="rId19" Type="http://schemas.openxmlformats.org/officeDocument/2006/relationships/slide" Target="slide22.xml"/><Relationship Id="rId4" Type="http://schemas.openxmlformats.org/officeDocument/2006/relationships/slide" Target="slide5.xml"/><Relationship Id="rId9" Type="http://schemas.openxmlformats.org/officeDocument/2006/relationships/slide" Target="slide10.xml"/><Relationship Id="rId14" Type="http://schemas.openxmlformats.org/officeDocument/2006/relationships/slide" Target="slide17.xml"/><Relationship Id="rId22" Type="http://schemas.openxmlformats.org/officeDocument/2006/relationships/slide" Target="slide25.xml"/><Relationship Id="rId27" Type="http://schemas.openxmlformats.org/officeDocument/2006/relationships/slide" Target="slide4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51.png"/><Relationship Id="rId1" Type="http://schemas.openxmlformats.org/officeDocument/2006/relationships/slideLayout" Target="../slideLayouts/slideLayout1.xml"/><Relationship Id="rId5" Type="http://schemas.openxmlformats.org/officeDocument/2006/relationships/image" Target="../media/image67.svg"/><Relationship Id="rId4" Type="http://schemas.openxmlformats.org/officeDocument/2006/relationships/image" Target="../media/image52.png"/></Relationships>
</file>

<file path=ppt/slides/_rels/slide22.xml.rels><?xml version="1.0" encoding="UTF-8" standalone="yes"?>
<Relationships xmlns="http://schemas.openxmlformats.org/package/2006/relationships"><Relationship Id="rId3" Type="http://schemas.openxmlformats.org/officeDocument/2006/relationships/image" Target="../media/image69.svg"/><Relationship Id="rId2" Type="http://schemas.openxmlformats.org/officeDocument/2006/relationships/image" Target="../media/image53.png"/><Relationship Id="rId1" Type="http://schemas.openxmlformats.org/officeDocument/2006/relationships/slideLayout" Target="../slideLayouts/slideLayout1.xml"/><Relationship Id="rId5" Type="http://schemas.openxmlformats.org/officeDocument/2006/relationships/image" Target="../media/image71.svg"/><Relationship Id="rId4" Type="http://schemas.openxmlformats.org/officeDocument/2006/relationships/image" Target="../media/image54.png"/></Relationships>
</file>

<file path=ppt/slides/_rels/slide2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55.png"/><Relationship Id="rId1" Type="http://schemas.openxmlformats.org/officeDocument/2006/relationships/slideLayout" Target="../slideLayouts/slideLayout1.xml"/><Relationship Id="rId5" Type="http://schemas.openxmlformats.org/officeDocument/2006/relationships/image" Target="../media/image74.svg"/><Relationship Id="rId4" Type="http://schemas.openxmlformats.org/officeDocument/2006/relationships/image" Target="../media/image56.png"/></Relationships>
</file>

<file path=ppt/slides/_rels/slide2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55.png"/><Relationship Id="rId1" Type="http://schemas.openxmlformats.org/officeDocument/2006/relationships/slideLayout" Target="../slideLayouts/slideLayout1.xml"/><Relationship Id="rId5" Type="http://schemas.openxmlformats.org/officeDocument/2006/relationships/image" Target="../media/image74.svg"/><Relationship Id="rId4" Type="http://schemas.openxmlformats.org/officeDocument/2006/relationships/image" Target="../media/image56.png"/></Relationships>
</file>

<file path=ppt/slides/_rels/slide2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55.png"/><Relationship Id="rId1" Type="http://schemas.openxmlformats.org/officeDocument/2006/relationships/slideLayout" Target="../slideLayouts/slideLayout1.xml"/><Relationship Id="rId5" Type="http://schemas.openxmlformats.org/officeDocument/2006/relationships/image" Target="../media/image74.svg"/><Relationship Id="rId4" Type="http://schemas.openxmlformats.org/officeDocument/2006/relationships/image" Target="../media/image56.png"/></Relationships>
</file>

<file path=ppt/slides/_rels/slide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8" Type="http://schemas.openxmlformats.org/officeDocument/2006/relationships/slide" Target="slide28.xm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image" Target="../media/image57.png"/><Relationship Id="rId2" Type="http://schemas.openxmlformats.org/officeDocument/2006/relationships/slide" Target="slide42.xml"/><Relationship Id="rId1" Type="http://schemas.openxmlformats.org/officeDocument/2006/relationships/slideLayout" Target="../slideLayouts/slideLayout7.xml"/><Relationship Id="rId6" Type="http://schemas.openxmlformats.org/officeDocument/2006/relationships/slide" Target="slide45.xm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slide" Target="slide52.xml"/><Relationship Id="rId4" Type="http://schemas.openxmlformats.org/officeDocument/2006/relationships/slide" Target="slide35.xml"/><Relationship Id="rId9" Type="http://schemas.openxmlformats.org/officeDocument/2006/relationships/image" Target="../media/image5.png"/></Relationships>
</file>

<file path=ppt/slides/_rels/slide2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57.png"/><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1.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57.png"/><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3.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9.jpe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2.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38.xml.rels><?xml version="1.0" encoding="UTF-8" standalone="yes"?>
<Relationships xmlns="http://schemas.openxmlformats.org/package/2006/relationships"><Relationship Id="rId8" Type="http://schemas.openxmlformats.org/officeDocument/2006/relationships/image" Target="../media/image71.png"/><Relationship Id="rId13" Type="http://schemas.openxmlformats.org/officeDocument/2006/relationships/image" Target="../media/image76.png"/><Relationship Id="rId18" Type="http://schemas.openxmlformats.org/officeDocument/2006/relationships/image" Target="../media/image81.png"/><Relationship Id="rId3" Type="http://schemas.openxmlformats.org/officeDocument/2006/relationships/image" Target="../media/image66.jpeg"/><Relationship Id="rId7" Type="http://schemas.openxmlformats.org/officeDocument/2006/relationships/image" Target="../media/image70.png"/><Relationship Id="rId12" Type="http://schemas.openxmlformats.org/officeDocument/2006/relationships/image" Target="../media/image75.png"/><Relationship Id="rId17" Type="http://schemas.openxmlformats.org/officeDocument/2006/relationships/image" Target="../media/image80.png"/><Relationship Id="rId2" Type="http://schemas.openxmlformats.org/officeDocument/2006/relationships/image" Target="../media/image65.jpeg"/><Relationship Id="rId16" Type="http://schemas.openxmlformats.org/officeDocument/2006/relationships/image" Target="../media/image79.png"/><Relationship Id="rId1" Type="http://schemas.openxmlformats.org/officeDocument/2006/relationships/slideLayout" Target="../slideLayouts/slideLayout2.xml"/><Relationship Id="rId6" Type="http://schemas.openxmlformats.org/officeDocument/2006/relationships/image" Target="../media/image69.png"/><Relationship Id="rId11" Type="http://schemas.openxmlformats.org/officeDocument/2006/relationships/image" Target="../media/image74.jpeg"/><Relationship Id="rId5" Type="http://schemas.openxmlformats.org/officeDocument/2006/relationships/image" Target="../media/image68.png"/><Relationship Id="rId15" Type="http://schemas.openxmlformats.org/officeDocument/2006/relationships/image" Target="../media/image78.png"/><Relationship Id="rId10" Type="http://schemas.openxmlformats.org/officeDocument/2006/relationships/image" Target="../media/image73.jpeg"/><Relationship Id="rId4" Type="http://schemas.openxmlformats.org/officeDocument/2006/relationships/image" Target="../media/image67.png"/><Relationship Id="rId9" Type="http://schemas.openxmlformats.org/officeDocument/2006/relationships/image" Target="../media/image72.png"/><Relationship Id="rId14" Type="http://schemas.openxmlformats.org/officeDocument/2006/relationships/image" Target="../media/image77.png"/></Relationships>
</file>

<file path=ppt/slides/_rels/slide39.xml.rels><?xml version="1.0" encoding="UTF-8" standalone="yes"?>
<Relationships xmlns="http://schemas.openxmlformats.org/package/2006/relationships"><Relationship Id="rId8" Type="http://schemas.microsoft.com/office/2007/relationships/hdphoto" Target="../media/hdphoto1.wdp"/><Relationship Id="rId13" Type="http://schemas.microsoft.com/office/2007/relationships/hdphoto" Target="../media/hdphoto2.wdp"/><Relationship Id="rId18" Type="http://schemas.openxmlformats.org/officeDocument/2006/relationships/image" Target="../media/image96.png"/><Relationship Id="rId26" Type="http://schemas.openxmlformats.org/officeDocument/2006/relationships/image" Target="../media/image102.png"/><Relationship Id="rId3" Type="http://schemas.openxmlformats.org/officeDocument/2006/relationships/image" Target="../media/image83.png"/><Relationship Id="rId21" Type="http://schemas.openxmlformats.org/officeDocument/2006/relationships/image" Target="../media/image82.wmf"/><Relationship Id="rId7" Type="http://schemas.openxmlformats.org/officeDocument/2006/relationships/image" Target="../media/image87.png"/><Relationship Id="rId12" Type="http://schemas.openxmlformats.org/officeDocument/2006/relationships/image" Target="../media/image91.png"/><Relationship Id="rId17" Type="http://schemas.openxmlformats.org/officeDocument/2006/relationships/image" Target="../media/image95.png"/><Relationship Id="rId25" Type="http://schemas.openxmlformats.org/officeDocument/2006/relationships/image" Target="../media/image101.png"/><Relationship Id="rId2" Type="http://schemas.openxmlformats.org/officeDocument/2006/relationships/slideLayout" Target="../slideLayouts/slideLayout2.xml"/><Relationship Id="rId16" Type="http://schemas.openxmlformats.org/officeDocument/2006/relationships/image" Target="../media/image94.png"/><Relationship Id="rId20" Type="http://schemas.openxmlformats.org/officeDocument/2006/relationships/oleObject" Target="../embeddings/oleObject1.bin"/><Relationship Id="rId29" Type="http://schemas.openxmlformats.org/officeDocument/2006/relationships/image" Target="../media/image104.png"/><Relationship Id="rId1" Type="http://schemas.openxmlformats.org/officeDocument/2006/relationships/vmlDrawing" Target="../drawings/vmlDrawing1.vml"/><Relationship Id="rId6" Type="http://schemas.openxmlformats.org/officeDocument/2006/relationships/image" Target="../media/image86.png"/><Relationship Id="rId11" Type="http://schemas.openxmlformats.org/officeDocument/2006/relationships/image" Target="../media/image90.png"/><Relationship Id="rId24" Type="http://schemas.openxmlformats.org/officeDocument/2006/relationships/image" Target="../media/image100.png"/><Relationship Id="rId32" Type="http://schemas.openxmlformats.org/officeDocument/2006/relationships/image" Target="../media/image107.jpeg"/><Relationship Id="rId5" Type="http://schemas.openxmlformats.org/officeDocument/2006/relationships/image" Target="../media/image85.png"/><Relationship Id="rId15" Type="http://schemas.openxmlformats.org/officeDocument/2006/relationships/image" Target="../media/image93.jpeg"/><Relationship Id="rId23" Type="http://schemas.openxmlformats.org/officeDocument/2006/relationships/image" Target="../media/image99.png"/><Relationship Id="rId28" Type="http://schemas.openxmlformats.org/officeDocument/2006/relationships/image" Target="../media/image52.svg"/><Relationship Id="rId10" Type="http://schemas.openxmlformats.org/officeDocument/2006/relationships/image" Target="../media/image89.png"/><Relationship Id="rId19" Type="http://schemas.openxmlformats.org/officeDocument/2006/relationships/image" Target="../media/image97.png"/><Relationship Id="rId31" Type="http://schemas.openxmlformats.org/officeDocument/2006/relationships/image" Target="../media/image106.png"/><Relationship Id="rId4" Type="http://schemas.openxmlformats.org/officeDocument/2006/relationships/image" Target="../media/image84.png"/><Relationship Id="rId9" Type="http://schemas.openxmlformats.org/officeDocument/2006/relationships/image" Target="../media/image88.png"/><Relationship Id="rId14" Type="http://schemas.openxmlformats.org/officeDocument/2006/relationships/image" Target="../media/image92.jpeg"/><Relationship Id="rId22" Type="http://schemas.openxmlformats.org/officeDocument/2006/relationships/image" Target="../media/image98.png"/><Relationship Id="rId27" Type="http://schemas.openxmlformats.org/officeDocument/2006/relationships/image" Target="../media/image103.png"/><Relationship Id="rId30" Type="http://schemas.openxmlformats.org/officeDocument/2006/relationships/image" Target="../media/image105.png"/></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png"/><Relationship Id="rId18" Type="http://schemas.openxmlformats.org/officeDocument/2006/relationships/image" Target="../media/image94.png"/><Relationship Id="rId26" Type="http://schemas.openxmlformats.org/officeDocument/2006/relationships/image" Target="../media/image52.svg"/><Relationship Id="rId3" Type="http://schemas.openxmlformats.org/officeDocument/2006/relationships/image" Target="../media/image108.png"/><Relationship Id="rId21" Type="http://schemas.openxmlformats.org/officeDocument/2006/relationships/image" Target="../media/image97.png"/><Relationship Id="rId7" Type="http://schemas.openxmlformats.org/officeDocument/2006/relationships/image" Target="../media/image112.png"/><Relationship Id="rId12" Type="http://schemas.openxmlformats.org/officeDocument/2006/relationships/image" Target="../media/image117.png"/><Relationship Id="rId17" Type="http://schemas.openxmlformats.org/officeDocument/2006/relationships/image" Target="../media/image120.png"/><Relationship Id="rId25" Type="http://schemas.openxmlformats.org/officeDocument/2006/relationships/image" Target="../media/image103.png"/><Relationship Id="rId2" Type="http://schemas.openxmlformats.org/officeDocument/2006/relationships/slideLayout" Target="../slideLayouts/slideLayout2.xml"/><Relationship Id="rId16" Type="http://schemas.openxmlformats.org/officeDocument/2006/relationships/image" Target="../media/image70.svg"/><Relationship Id="rId20" Type="http://schemas.openxmlformats.org/officeDocument/2006/relationships/image" Target="../media/image96.png"/><Relationship Id="rId1" Type="http://schemas.openxmlformats.org/officeDocument/2006/relationships/vmlDrawing" Target="../drawings/vmlDrawing2.vml"/><Relationship Id="rId6" Type="http://schemas.openxmlformats.org/officeDocument/2006/relationships/image" Target="../media/image111.png"/><Relationship Id="rId11" Type="http://schemas.openxmlformats.org/officeDocument/2006/relationships/image" Target="../media/image116.png"/><Relationship Id="rId24" Type="http://schemas.openxmlformats.org/officeDocument/2006/relationships/image" Target="../media/image98.png"/><Relationship Id="rId5" Type="http://schemas.openxmlformats.org/officeDocument/2006/relationships/image" Target="../media/image110.png"/><Relationship Id="rId15" Type="http://schemas.openxmlformats.org/officeDocument/2006/relationships/image" Target="../media/image119.png"/><Relationship Id="rId23" Type="http://schemas.openxmlformats.org/officeDocument/2006/relationships/image" Target="../media/image82.wmf"/><Relationship Id="rId10" Type="http://schemas.openxmlformats.org/officeDocument/2006/relationships/image" Target="../media/image115.png"/><Relationship Id="rId19" Type="http://schemas.openxmlformats.org/officeDocument/2006/relationships/image" Target="../media/image95.png"/><Relationship Id="rId4" Type="http://schemas.openxmlformats.org/officeDocument/2006/relationships/image" Target="../media/image109.png"/><Relationship Id="rId9" Type="http://schemas.openxmlformats.org/officeDocument/2006/relationships/image" Target="../media/image114.png"/><Relationship Id="rId14" Type="http://schemas.openxmlformats.org/officeDocument/2006/relationships/image" Target="../media/image68.svg"/><Relationship Id="rId22" Type="http://schemas.openxmlformats.org/officeDocument/2006/relationships/oleObject" Target="../embeddings/oleObject2.bin"/></Relationships>
</file>

<file path=ppt/slides/_rels/slide41.xml.rels><?xml version="1.0" encoding="UTF-8" standalone="yes"?>
<Relationships xmlns="http://schemas.openxmlformats.org/package/2006/relationships"><Relationship Id="rId8" Type="http://schemas.openxmlformats.org/officeDocument/2006/relationships/image" Target="../media/image78.svg"/><Relationship Id="rId13" Type="http://schemas.openxmlformats.org/officeDocument/2006/relationships/image" Target="../media/image83.svg"/><Relationship Id="rId3" Type="http://schemas.openxmlformats.org/officeDocument/2006/relationships/image" Target="../media/image122.png"/><Relationship Id="rId7" Type="http://schemas.openxmlformats.org/officeDocument/2006/relationships/image" Target="../media/image124.png"/><Relationship Id="rId12" Type="http://schemas.openxmlformats.org/officeDocument/2006/relationships/image" Target="../media/image127.png"/><Relationship Id="rId2" Type="http://schemas.openxmlformats.org/officeDocument/2006/relationships/image" Target="../media/image121.png"/><Relationship Id="rId1" Type="http://schemas.openxmlformats.org/officeDocument/2006/relationships/slideLayout" Target="../slideLayouts/slideLayout1.xml"/><Relationship Id="rId6" Type="http://schemas.openxmlformats.org/officeDocument/2006/relationships/image" Target="../media/image76.svg"/><Relationship Id="rId11" Type="http://schemas.openxmlformats.org/officeDocument/2006/relationships/image" Target="../media/image81.svg"/><Relationship Id="rId5" Type="http://schemas.openxmlformats.org/officeDocument/2006/relationships/image" Target="../media/image123.png"/><Relationship Id="rId10" Type="http://schemas.openxmlformats.org/officeDocument/2006/relationships/image" Target="../media/image126.png"/><Relationship Id="rId4" Type="http://schemas.openxmlformats.org/officeDocument/2006/relationships/image" Target="../media/image740.svg"/><Relationship Id="rId9" Type="http://schemas.openxmlformats.org/officeDocument/2006/relationships/image" Target="../media/image125.png"/></Relationships>
</file>

<file path=ppt/slides/_rels/slide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128.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5.xml"/><Relationship Id="rId17" Type="http://schemas.openxmlformats.org/officeDocument/2006/relationships/image" Target="../media/image4.png"/><Relationship Id="rId2" Type="http://schemas.openxmlformats.org/officeDocument/2006/relationships/tags" Target="../tags/tag2.xml"/><Relationship Id="rId16" Type="http://schemas.openxmlformats.org/officeDocument/2006/relationships/image" Target="../media/image131.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6.xml"/><Relationship Id="rId5" Type="http://schemas.openxmlformats.org/officeDocument/2006/relationships/tags" Target="../tags/tag5.xml"/><Relationship Id="rId15" Type="http://schemas.openxmlformats.org/officeDocument/2006/relationships/image" Target="../media/image130.pn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129.png"/></Relationships>
</file>

<file path=ppt/slides/_rels/slide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image" Target="../media/image132.png"/><Relationship Id="rId7" Type="http://schemas.openxmlformats.org/officeDocument/2006/relationships/image" Target="../media/image136.png"/><Relationship Id="rId2" Type="http://schemas.openxmlformats.org/officeDocument/2006/relationships/notesSlide" Target="../notesSlides/notesSlide7.xml"/><Relationship Id="rId1" Type="http://schemas.openxmlformats.org/officeDocument/2006/relationships/slideLayout" Target="../slideLayouts/slideLayout18.xml"/><Relationship Id="rId6" Type="http://schemas.openxmlformats.org/officeDocument/2006/relationships/image" Target="../media/image135.png"/><Relationship Id="rId5" Type="http://schemas.openxmlformats.org/officeDocument/2006/relationships/image" Target="../media/image134.png"/><Relationship Id="rId4" Type="http://schemas.openxmlformats.org/officeDocument/2006/relationships/image" Target="../media/image133.png"/><Relationship Id="rId9" Type="http://schemas.openxmlformats.org/officeDocument/2006/relationships/image" Target="../media/image4.png"/></Relationships>
</file>

<file path=ppt/slides/_rels/slide49.xml.rels><?xml version="1.0" encoding="UTF-8" standalone="yes"?>
<Relationships xmlns="http://schemas.openxmlformats.org/package/2006/relationships"><Relationship Id="rId8" Type="http://schemas.openxmlformats.org/officeDocument/2006/relationships/image" Target="../media/image143.jpeg"/><Relationship Id="rId3" Type="http://schemas.openxmlformats.org/officeDocument/2006/relationships/image" Target="../media/image138.jpeg"/><Relationship Id="rId7" Type="http://schemas.openxmlformats.org/officeDocument/2006/relationships/image" Target="../media/image142.png"/><Relationship Id="rId12"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image" Target="../media/image141.png"/><Relationship Id="rId11" Type="http://schemas.openxmlformats.org/officeDocument/2006/relationships/image" Target="../media/image146.jpeg"/><Relationship Id="rId5" Type="http://schemas.openxmlformats.org/officeDocument/2006/relationships/image" Target="../media/image140.png"/><Relationship Id="rId10" Type="http://schemas.openxmlformats.org/officeDocument/2006/relationships/image" Target="../media/image145.jpeg"/><Relationship Id="rId4" Type="http://schemas.openxmlformats.org/officeDocument/2006/relationships/image" Target="../media/image139.jpeg"/><Relationship Id="rId9" Type="http://schemas.openxmlformats.org/officeDocument/2006/relationships/image" Target="../media/image144.jpeg"/></Relationships>
</file>

<file path=ppt/slides/_rels/slide5.xml.rels><?xml version="1.0" encoding="UTF-8" standalone="yes"?>
<Relationships xmlns="http://schemas.openxmlformats.org/package/2006/relationships"><Relationship Id="rId8" Type="http://schemas.openxmlformats.org/officeDocument/2006/relationships/image" Target="../media/image7.svg"/><Relationship Id="rId13" Type="http://schemas.openxmlformats.org/officeDocument/2006/relationships/image" Target="../media/image12.png"/><Relationship Id="rId18" Type="http://schemas.openxmlformats.org/officeDocument/2006/relationships/image" Target="../media/image17.svg"/><Relationship Id="rId3" Type="http://schemas.openxmlformats.org/officeDocument/2006/relationships/hyperlink" Target="https://theglocal.network/how_it_works" TargetMode="External"/><Relationship Id="rId21" Type="http://schemas.openxmlformats.org/officeDocument/2006/relationships/image" Target="../media/image16.png"/><Relationship Id="rId7" Type="http://schemas.openxmlformats.org/officeDocument/2006/relationships/image" Target="../media/image9.png"/><Relationship Id="rId12" Type="http://schemas.openxmlformats.org/officeDocument/2006/relationships/image" Target="../media/image11.svg"/><Relationship Id="rId17" Type="http://schemas.openxmlformats.org/officeDocument/2006/relationships/image" Target="../media/image14.png"/><Relationship Id="rId2" Type="http://schemas.openxmlformats.org/officeDocument/2006/relationships/hyperlink" Target="https://youtu.be/GmdXJy_IdNw" TargetMode="External"/><Relationship Id="rId16" Type="http://schemas.openxmlformats.org/officeDocument/2006/relationships/image" Target="../media/image15.svg"/><Relationship Id="rId20" Type="http://schemas.openxmlformats.org/officeDocument/2006/relationships/image" Target="../media/image19.svg"/><Relationship Id="rId1" Type="http://schemas.openxmlformats.org/officeDocument/2006/relationships/slideLayout" Target="../slideLayouts/slideLayout1.xml"/><Relationship Id="rId6" Type="http://schemas.openxmlformats.org/officeDocument/2006/relationships/image" Target="../media/image5.svg"/><Relationship Id="rId11" Type="http://schemas.openxmlformats.org/officeDocument/2006/relationships/image" Target="../media/image11.png"/><Relationship Id="rId24" Type="http://schemas.openxmlformats.org/officeDocument/2006/relationships/image" Target="../media/image23.svg"/><Relationship Id="rId5" Type="http://schemas.openxmlformats.org/officeDocument/2006/relationships/image" Target="../media/image8.png"/><Relationship Id="rId15" Type="http://schemas.openxmlformats.org/officeDocument/2006/relationships/image" Target="../media/image13.png"/><Relationship Id="rId23" Type="http://schemas.openxmlformats.org/officeDocument/2006/relationships/image" Target="../media/image17.png"/><Relationship Id="rId10" Type="http://schemas.openxmlformats.org/officeDocument/2006/relationships/image" Target="../media/image9.svg"/><Relationship Id="rId19" Type="http://schemas.openxmlformats.org/officeDocument/2006/relationships/image" Target="../media/image15.png"/><Relationship Id="rId4" Type="http://schemas.openxmlformats.org/officeDocument/2006/relationships/hyperlink" Target="https://ms-my.facebook.com/solidvirtual/videos/359482464945900/" TargetMode="External"/><Relationship Id="rId9" Type="http://schemas.openxmlformats.org/officeDocument/2006/relationships/image" Target="../media/image10.png"/><Relationship Id="rId14" Type="http://schemas.openxmlformats.org/officeDocument/2006/relationships/image" Target="../media/image13.svg"/><Relationship Id="rId22" Type="http://schemas.openxmlformats.org/officeDocument/2006/relationships/image" Target="../media/image21.svg"/></Relationships>
</file>

<file path=ppt/slides/_rels/slide50.xml.rels><?xml version="1.0" encoding="UTF-8" standalone="yes"?>
<Relationships xmlns="http://schemas.openxmlformats.org/package/2006/relationships"><Relationship Id="rId8" Type="http://schemas.openxmlformats.org/officeDocument/2006/relationships/image" Target="../media/image152.png"/><Relationship Id="rId13" Type="http://schemas.openxmlformats.org/officeDocument/2006/relationships/image" Target="../media/image4.png"/><Relationship Id="rId3" Type="http://schemas.openxmlformats.org/officeDocument/2006/relationships/image" Target="../media/image147.jpeg"/><Relationship Id="rId7" Type="http://schemas.openxmlformats.org/officeDocument/2006/relationships/image" Target="../media/image151.png"/><Relationship Id="rId12" Type="http://schemas.openxmlformats.org/officeDocument/2006/relationships/image" Target="../media/image156.png"/><Relationship Id="rId2" Type="http://schemas.openxmlformats.org/officeDocument/2006/relationships/notesSlide" Target="../notesSlides/notesSlide9.xml"/><Relationship Id="rId1" Type="http://schemas.openxmlformats.org/officeDocument/2006/relationships/slideLayout" Target="../slideLayouts/slideLayout19.xml"/><Relationship Id="rId6" Type="http://schemas.openxmlformats.org/officeDocument/2006/relationships/image" Target="../media/image150.png"/><Relationship Id="rId11" Type="http://schemas.openxmlformats.org/officeDocument/2006/relationships/image" Target="../media/image155.png"/><Relationship Id="rId5" Type="http://schemas.openxmlformats.org/officeDocument/2006/relationships/image" Target="../media/image149.jpeg"/><Relationship Id="rId10" Type="http://schemas.openxmlformats.org/officeDocument/2006/relationships/image" Target="../media/image154.png"/><Relationship Id="rId4" Type="http://schemas.openxmlformats.org/officeDocument/2006/relationships/image" Target="../media/image148.png"/><Relationship Id="rId9" Type="http://schemas.openxmlformats.org/officeDocument/2006/relationships/image" Target="../media/image153.jpeg"/></Relationships>
</file>

<file path=ppt/slides/_rels/slide5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157.png"/><Relationship Id="rId7" Type="http://schemas.openxmlformats.org/officeDocument/2006/relationships/image" Target="../media/image161.png"/><Relationship Id="rId2" Type="http://schemas.openxmlformats.org/officeDocument/2006/relationships/notesSlide" Target="../notesSlides/notesSlide10.xml"/><Relationship Id="rId1" Type="http://schemas.openxmlformats.org/officeDocument/2006/relationships/slideLayout" Target="../slideLayouts/slideLayout19.xml"/><Relationship Id="rId6" Type="http://schemas.openxmlformats.org/officeDocument/2006/relationships/image" Target="../media/image160.png"/><Relationship Id="rId5" Type="http://schemas.openxmlformats.org/officeDocument/2006/relationships/image" Target="../media/image159.png"/><Relationship Id="rId4" Type="http://schemas.openxmlformats.org/officeDocument/2006/relationships/image" Target="../media/image158.jpeg"/></Relationships>
</file>

<file path=ppt/slides/_rels/slide52.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8" Type="http://schemas.openxmlformats.org/officeDocument/2006/relationships/image" Target="../media/image167.png"/><Relationship Id="rId13" Type="http://schemas.openxmlformats.org/officeDocument/2006/relationships/image" Target="../media/image171.png"/><Relationship Id="rId18" Type="http://schemas.openxmlformats.org/officeDocument/2006/relationships/image" Target="../media/image175.png"/><Relationship Id="rId3" Type="http://schemas.openxmlformats.org/officeDocument/2006/relationships/image" Target="../media/image163.png"/><Relationship Id="rId7" Type="http://schemas.openxmlformats.org/officeDocument/2006/relationships/image" Target="../media/image166.png"/><Relationship Id="rId12" Type="http://schemas.openxmlformats.org/officeDocument/2006/relationships/image" Target="../media/image127.svg"/><Relationship Id="rId17" Type="http://schemas.openxmlformats.org/officeDocument/2006/relationships/image" Target="../media/image132.svg"/><Relationship Id="rId2" Type="http://schemas.openxmlformats.org/officeDocument/2006/relationships/notesSlide" Target="../notesSlides/notesSlide11.xml"/><Relationship Id="rId16" Type="http://schemas.openxmlformats.org/officeDocument/2006/relationships/image" Target="../media/image174.png"/><Relationship Id="rId20" Type="http://schemas.openxmlformats.org/officeDocument/2006/relationships/image" Target="../media/image6.png"/><Relationship Id="rId1" Type="http://schemas.openxmlformats.org/officeDocument/2006/relationships/slideLayout" Target="../slideLayouts/slideLayout20.xml"/><Relationship Id="rId6" Type="http://schemas.openxmlformats.org/officeDocument/2006/relationships/image" Target="../media/image162.png"/><Relationship Id="rId11" Type="http://schemas.openxmlformats.org/officeDocument/2006/relationships/image" Target="../media/image170.png"/><Relationship Id="rId5" Type="http://schemas.openxmlformats.org/officeDocument/2006/relationships/image" Target="../media/image165.png"/><Relationship Id="rId15" Type="http://schemas.openxmlformats.org/officeDocument/2006/relationships/image" Target="../media/image173.png"/><Relationship Id="rId10" Type="http://schemas.openxmlformats.org/officeDocument/2006/relationships/image" Target="../media/image169.png"/><Relationship Id="rId19" Type="http://schemas.openxmlformats.org/officeDocument/2006/relationships/image" Target="../media/image134.svg"/><Relationship Id="rId4" Type="http://schemas.openxmlformats.org/officeDocument/2006/relationships/image" Target="../media/image164.png"/><Relationship Id="rId9" Type="http://schemas.openxmlformats.org/officeDocument/2006/relationships/image" Target="../media/image168.png"/><Relationship Id="rId14" Type="http://schemas.openxmlformats.org/officeDocument/2006/relationships/image" Target="../media/image172.png"/></Relationships>
</file>

<file path=ppt/slides/_rels/slide54.xml.rels><?xml version="1.0" encoding="UTF-8" standalone="yes"?>
<Relationships xmlns="http://schemas.openxmlformats.org/package/2006/relationships"><Relationship Id="rId8" Type="http://schemas.openxmlformats.org/officeDocument/2006/relationships/image" Target="../media/image167.png"/><Relationship Id="rId3" Type="http://schemas.openxmlformats.org/officeDocument/2006/relationships/notesSlide" Target="../notesSlides/notesSlide12.xml"/><Relationship Id="rId7" Type="http://schemas.openxmlformats.org/officeDocument/2006/relationships/image" Target="../media/image178.png"/><Relationship Id="rId2" Type="http://schemas.openxmlformats.org/officeDocument/2006/relationships/slideLayout" Target="../slideLayouts/slideLayout20.xml"/><Relationship Id="rId1" Type="http://schemas.openxmlformats.org/officeDocument/2006/relationships/tags" Target="../tags/tag11.xml"/><Relationship Id="rId6" Type="http://schemas.openxmlformats.org/officeDocument/2006/relationships/image" Target="../media/image177.png"/><Relationship Id="rId5" Type="http://schemas.openxmlformats.org/officeDocument/2006/relationships/image" Target="../media/image136.svg"/><Relationship Id="rId4" Type="http://schemas.openxmlformats.org/officeDocument/2006/relationships/image" Target="../media/image176.png"/><Relationship Id="rId9" Type="http://schemas.openxmlformats.org/officeDocument/2006/relationships/image" Target="../media/image6.png"/></Relationships>
</file>

<file path=ppt/slides/_rels/slide55.xml.rels><?xml version="1.0" encoding="UTF-8" standalone="yes"?>
<Relationships xmlns="http://schemas.openxmlformats.org/package/2006/relationships"><Relationship Id="rId8" Type="http://schemas.openxmlformats.org/officeDocument/2006/relationships/image" Target="../media/image183.png"/><Relationship Id="rId13" Type="http://schemas.openxmlformats.org/officeDocument/2006/relationships/image" Target="../media/image186.png"/><Relationship Id="rId18" Type="http://schemas.openxmlformats.org/officeDocument/2006/relationships/image" Target="../media/image190.png"/><Relationship Id="rId3" Type="http://schemas.openxmlformats.org/officeDocument/2006/relationships/image" Target="../media/image179.png"/><Relationship Id="rId7" Type="http://schemas.openxmlformats.org/officeDocument/2006/relationships/image" Target="../media/image182.png"/><Relationship Id="rId12" Type="http://schemas.openxmlformats.org/officeDocument/2006/relationships/image" Target="../media/image185.png"/><Relationship Id="rId17" Type="http://schemas.openxmlformats.org/officeDocument/2006/relationships/image" Target="../media/image167.png"/><Relationship Id="rId2" Type="http://schemas.openxmlformats.org/officeDocument/2006/relationships/notesSlide" Target="../notesSlides/notesSlide13.xml"/><Relationship Id="rId16" Type="http://schemas.openxmlformats.org/officeDocument/2006/relationships/image" Target="../media/image189.png"/><Relationship Id="rId20" Type="http://schemas.openxmlformats.org/officeDocument/2006/relationships/image" Target="../media/image6.png"/><Relationship Id="rId1" Type="http://schemas.openxmlformats.org/officeDocument/2006/relationships/slideLayout" Target="../slideLayouts/slideLayout20.xml"/><Relationship Id="rId6" Type="http://schemas.openxmlformats.org/officeDocument/2006/relationships/image" Target="../media/image181.png"/><Relationship Id="rId11" Type="http://schemas.openxmlformats.org/officeDocument/2006/relationships/image" Target="../media/image146.svg"/><Relationship Id="rId5" Type="http://schemas.openxmlformats.org/officeDocument/2006/relationships/image" Target="../media/image180.png"/><Relationship Id="rId15" Type="http://schemas.openxmlformats.org/officeDocument/2006/relationships/image" Target="../media/image188.png"/><Relationship Id="rId10" Type="http://schemas.openxmlformats.org/officeDocument/2006/relationships/image" Target="../media/image184.png"/><Relationship Id="rId19" Type="http://schemas.openxmlformats.org/officeDocument/2006/relationships/image" Target="../media/image134.svg"/><Relationship Id="rId4" Type="http://schemas.openxmlformats.org/officeDocument/2006/relationships/image" Target="../media/image140.svg"/><Relationship Id="rId9" Type="http://schemas.openxmlformats.org/officeDocument/2006/relationships/image" Target="../media/image132.svg"/><Relationship Id="rId14" Type="http://schemas.openxmlformats.org/officeDocument/2006/relationships/image" Target="../media/image187.png"/></Relationships>
</file>

<file path=ppt/slides/_rels/slide6.xml.rels><?xml version="1.0" encoding="UTF-8" standalone="yes"?>
<Relationships xmlns="http://schemas.openxmlformats.org/package/2006/relationships"><Relationship Id="rId3" Type="http://schemas.openxmlformats.org/officeDocument/2006/relationships/image" Target="../media/image25.svg"/><Relationship Id="rId7" Type="http://schemas.openxmlformats.org/officeDocument/2006/relationships/image" Target="../media/image29.svg"/><Relationship Id="rId2" Type="http://schemas.openxmlformats.org/officeDocument/2006/relationships/image" Target="../media/image18.png"/><Relationship Id="rId1" Type="http://schemas.openxmlformats.org/officeDocument/2006/relationships/slideLayout" Target="../slideLayouts/slideLayout1.xml"/><Relationship Id="rId6" Type="http://schemas.openxmlformats.org/officeDocument/2006/relationships/image" Target="../media/image20.png"/><Relationship Id="rId5" Type="http://schemas.openxmlformats.org/officeDocument/2006/relationships/image" Target="../media/image27.svg"/><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s://www.espaciobim.com/realidad-mixta" TargetMode="Externa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s://www.microsoft.com/es-es/hololens/hardware" TargetMode="Externa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ítulo 1"/>
          <p:cNvSpPr>
            <a:spLocks noGrp="1"/>
          </p:cNvSpPr>
          <p:nvPr>
            <p:ph type="ctrTitle"/>
          </p:nvPr>
        </p:nvSpPr>
        <p:spPr>
          <a:xfrm>
            <a:off x="2141537" y="1390650"/>
            <a:ext cx="8001000" cy="1038225"/>
          </a:xfrm>
        </p:spPr>
        <p:txBody>
          <a:bodyPr/>
          <a:lstStyle/>
          <a:p>
            <a:r>
              <a:rPr lang="es-ES" dirty="0" smtClean="0"/>
              <a:t>AULAS TECNOLÓGICAS</a:t>
            </a:r>
            <a:endParaRPr lang="es-ES" dirty="0"/>
          </a:p>
        </p:txBody>
      </p:sp>
      <p:sp>
        <p:nvSpPr>
          <p:cNvPr id="3" name="Subtítulo 2"/>
          <p:cNvSpPr>
            <a:spLocks noGrp="1"/>
          </p:cNvSpPr>
          <p:nvPr>
            <p:ph type="subTitle" idx="1"/>
          </p:nvPr>
        </p:nvSpPr>
        <p:spPr>
          <a:xfrm>
            <a:off x="1417636" y="2662155"/>
            <a:ext cx="8412163" cy="1947333"/>
          </a:xfrm>
        </p:spPr>
        <p:txBody>
          <a:bodyPr>
            <a:normAutofit/>
          </a:bodyPr>
          <a:lstStyle/>
          <a:p>
            <a:pPr algn="ctr"/>
            <a:r>
              <a:rPr lang="es-ES" sz="2800" b="1" dirty="0" smtClean="0"/>
              <a:t>Cambio de paradigma en</a:t>
            </a:r>
          </a:p>
          <a:p>
            <a:pPr algn="ctr"/>
            <a:r>
              <a:rPr lang="es-ES" sz="2800" b="1" dirty="0" smtClean="0"/>
              <a:t> Formación y Espacios de Aprendizaje</a:t>
            </a:r>
            <a:endParaRPr lang="es-ES" sz="2800" b="1" dirty="0"/>
          </a:p>
        </p:txBody>
      </p:sp>
      <p:sp>
        <p:nvSpPr>
          <p:cNvPr id="4" name="Rectángulo 3"/>
          <p:cNvSpPr/>
          <p:nvPr/>
        </p:nvSpPr>
        <p:spPr>
          <a:xfrm>
            <a:off x="400050" y="628650"/>
            <a:ext cx="10858500" cy="5381625"/>
          </a:xfrm>
          <a:prstGeom prst="rect">
            <a:avLst/>
          </a:prstGeom>
          <a:no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 name="Rectángulo 4"/>
          <p:cNvSpPr/>
          <p:nvPr/>
        </p:nvSpPr>
        <p:spPr>
          <a:xfrm>
            <a:off x="1533525" y="1157370"/>
            <a:ext cx="8724900" cy="4324183"/>
          </a:xfrm>
          <a:prstGeom prst="rect">
            <a:avLst/>
          </a:prstGeom>
          <a:no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6" name="Imagen 5"/>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 y="-10137"/>
            <a:ext cx="2181102" cy="528722"/>
          </a:xfrm>
          <a:prstGeom prst="rect">
            <a:avLst/>
          </a:prstGeom>
        </p:spPr>
      </p:pic>
    </p:spTree>
    <p:extLst>
      <p:ext uri="{BB962C8B-B14F-4D97-AF65-F5344CB8AC3E}">
        <p14:creationId xmlns:p14="http://schemas.microsoft.com/office/powerpoint/2010/main" val="364361225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23FEED7-63F6-4545-95DD-474E69B1B82D}"/>
              </a:ext>
            </a:extLst>
          </p:cNvPr>
          <p:cNvSpPr/>
          <p:nvPr/>
        </p:nvSpPr>
        <p:spPr>
          <a:xfrm>
            <a:off x="419022" y="193816"/>
            <a:ext cx="5214889" cy="707886"/>
          </a:xfrm>
          <a:prstGeom prst="rect">
            <a:avLst/>
          </a:prstGeom>
          <a:noFill/>
        </p:spPr>
        <p:txBody>
          <a:bodyPr wrap="none" lIns="91440" tIns="45720" rIns="91440" bIns="45720">
            <a:spAutoFit/>
          </a:bodyPr>
          <a:lstStyle/>
          <a:p>
            <a:r>
              <a:rPr lang="es-ES" sz="4000" b="1"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Realidad Mixta (MR)</a:t>
            </a:r>
          </a:p>
        </p:txBody>
      </p:sp>
      <p:sp>
        <p:nvSpPr>
          <p:cNvPr id="4" name="Rectángulo 3">
            <a:extLst>
              <a:ext uri="{FF2B5EF4-FFF2-40B4-BE49-F238E27FC236}">
                <a16:creationId xmlns:a16="http://schemas.microsoft.com/office/drawing/2014/main" id="{974CD814-1269-44B4-B042-01CCFDE171A3}"/>
              </a:ext>
            </a:extLst>
          </p:cNvPr>
          <p:cNvSpPr/>
          <p:nvPr/>
        </p:nvSpPr>
        <p:spPr>
          <a:xfrm>
            <a:off x="427065" y="1058874"/>
            <a:ext cx="4084964" cy="584775"/>
          </a:xfrm>
          <a:prstGeom prst="rect">
            <a:avLst/>
          </a:prstGeom>
          <a:noFill/>
        </p:spPr>
        <p:txBody>
          <a:bodyPr wrap="none" lIns="91440" tIns="45720" rIns="91440" bIns="45720">
            <a:spAutoFit/>
          </a:bodyPr>
          <a:lstStyle/>
          <a:p>
            <a:r>
              <a:rPr lang="es-ES" sz="3200" b="1" dirty="0">
                <a:ln w="9525">
                  <a:solidFill>
                    <a:schemeClr val="tx1"/>
                  </a:solidFill>
                  <a:prstDash val="solid"/>
                </a:ln>
                <a:solidFill>
                  <a:srgbClr val="FFFF00"/>
                </a:solidFill>
                <a:effectLst>
                  <a:outerShdw blurRad="63500" sx="102000" sy="102000" algn="ctr" rotWithShape="0">
                    <a:prstClr val="black">
                      <a:alpha val="40000"/>
                    </a:prstClr>
                  </a:outerShdw>
                </a:effectLst>
              </a:rPr>
              <a:t>Implantación - Utilidad</a:t>
            </a:r>
          </a:p>
        </p:txBody>
      </p:sp>
      <p:grpSp>
        <p:nvGrpSpPr>
          <p:cNvPr id="7" name="Grupo 6">
            <a:extLst>
              <a:ext uri="{FF2B5EF4-FFF2-40B4-BE49-F238E27FC236}">
                <a16:creationId xmlns:a16="http://schemas.microsoft.com/office/drawing/2014/main" id="{CFE7F4BE-317E-42D9-B144-814BCFC7AC81}"/>
              </a:ext>
            </a:extLst>
          </p:cNvPr>
          <p:cNvGrpSpPr/>
          <p:nvPr/>
        </p:nvGrpSpPr>
        <p:grpSpPr>
          <a:xfrm>
            <a:off x="565847" y="1703478"/>
            <a:ext cx="3909535" cy="4922992"/>
            <a:chOff x="1712489" y="1765932"/>
            <a:chExt cx="2231679" cy="4922992"/>
          </a:xfrm>
        </p:grpSpPr>
        <p:sp>
          <p:nvSpPr>
            <p:cNvPr id="82" name="Rectangle: Rounded Corners 6">
              <a:extLst>
                <a:ext uri="{FF2B5EF4-FFF2-40B4-BE49-F238E27FC236}">
                  <a16:creationId xmlns:a16="http://schemas.microsoft.com/office/drawing/2014/main" id="{AEB18F1B-0B67-4B6C-BA5A-AC0F45DA8441}"/>
                </a:ext>
              </a:extLst>
            </p:cNvPr>
            <p:cNvSpPr/>
            <p:nvPr/>
          </p:nvSpPr>
          <p:spPr>
            <a:xfrm>
              <a:off x="1712489" y="2177321"/>
              <a:ext cx="2153952" cy="4376768"/>
            </a:xfrm>
            <a:prstGeom prst="roundRect">
              <a:avLst>
                <a:gd name="adj" fmla="val 11105"/>
              </a:avLst>
            </a:prstGeom>
            <a:solidFill>
              <a:srgbClr val="FF82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5" name="Rectangle: Rounded Corners 1">
              <a:extLst>
                <a:ext uri="{FF2B5EF4-FFF2-40B4-BE49-F238E27FC236}">
                  <a16:creationId xmlns:a16="http://schemas.microsoft.com/office/drawing/2014/main" id="{9D404708-37A7-44B0-8043-118A03CA3FA1}"/>
                </a:ext>
              </a:extLst>
            </p:cNvPr>
            <p:cNvSpPr/>
            <p:nvPr/>
          </p:nvSpPr>
          <p:spPr>
            <a:xfrm>
              <a:off x="2273496" y="2685322"/>
              <a:ext cx="1087570" cy="815676"/>
            </a:xfrm>
            <a:prstGeom prst="roundRect">
              <a:avLst>
                <a:gd name="adj" fmla="val 16667"/>
              </a:avLst>
            </a:prstGeom>
            <a:solidFill>
              <a:srgbClr val="FFFFFF"/>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90" name="Graphic 20" descr="Aula">
              <a:extLst>
                <a:ext uri="{FF2B5EF4-FFF2-40B4-BE49-F238E27FC236}">
                  <a16:creationId xmlns:a16="http://schemas.microsoft.com/office/drawing/2014/main" id="{4C5220B3-4D2D-46D7-9946-2F74C5485691}"/>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2490590" y="2739808"/>
              <a:ext cx="573149" cy="683731"/>
            </a:xfrm>
            <a:prstGeom prst="rect">
              <a:avLst/>
            </a:prstGeom>
          </p:spPr>
        </p:pic>
        <p:sp>
          <p:nvSpPr>
            <p:cNvPr id="94" name="TextBox 28">
              <a:extLst>
                <a:ext uri="{FF2B5EF4-FFF2-40B4-BE49-F238E27FC236}">
                  <a16:creationId xmlns:a16="http://schemas.microsoft.com/office/drawing/2014/main" id="{354B6075-C36D-4A9A-9E18-127077E0726E}"/>
                </a:ext>
              </a:extLst>
            </p:cNvPr>
            <p:cNvSpPr txBox="1"/>
            <p:nvPr/>
          </p:nvSpPr>
          <p:spPr>
            <a:xfrm>
              <a:off x="1804600" y="3641936"/>
              <a:ext cx="2077809" cy="3046988"/>
            </a:xfrm>
            <a:prstGeom prst="rect">
              <a:avLst/>
            </a:prstGeom>
            <a:noFill/>
          </p:spPr>
          <p:txBody>
            <a:bodyPr wrap="square" rtlCol="0">
              <a:spAutoFit/>
            </a:bodyPr>
            <a:lstStyle/>
            <a:p>
              <a:pPr marL="85725" indent="-85725">
                <a:buFont typeface="Arial" panose="020B0604020202020204" pitchFamily="34" charset="0"/>
                <a:buChar char="•"/>
              </a:pPr>
              <a:r>
                <a:rPr lang="es-ES" sz="1200" dirty="0">
                  <a:solidFill>
                    <a:schemeClr val="bg1"/>
                  </a:solidFill>
                </a:rPr>
                <a:t>Interactuar con el entorno en una experiencia de inmersión</a:t>
              </a:r>
              <a:r>
                <a:rPr lang="es-ES" sz="1200" dirty="0" smtClean="0">
                  <a:solidFill>
                    <a:schemeClr val="bg1"/>
                  </a:solidFill>
                </a:rPr>
                <a:t>.</a:t>
              </a:r>
            </a:p>
            <a:p>
              <a:pPr marL="85725" indent="-85725">
                <a:buFont typeface="Arial" panose="020B0604020202020204" pitchFamily="34" charset="0"/>
                <a:buChar char="•"/>
              </a:pPr>
              <a:endParaRPr lang="es-ES" sz="1200" dirty="0">
                <a:solidFill>
                  <a:schemeClr val="bg1"/>
                </a:solidFill>
              </a:endParaRPr>
            </a:p>
            <a:p>
              <a:pPr marL="85725" indent="-85725">
                <a:buFont typeface="Arial" panose="020B0604020202020204" pitchFamily="34" charset="0"/>
                <a:buChar char="•"/>
              </a:pPr>
              <a:r>
                <a:rPr lang="es-ES" sz="1200" dirty="0">
                  <a:solidFill>
                    <a:schemeClr val="bg1"/>
                  </a:solidFill>
                </a:rPr>
                <a:t>Tocar y manipular objetos</a:t>
              </a:r>
              <a:r>
                <a:rPr lang="es-ES" sz="1200" dirty="0" smtClean="0">
                  <a:solidFill>
                    <a:schemeClr val="bg1"/>
                  </a:solidFill>
                </a:rPr>
                <a:t>.</a:t>
              </a:r>
            </a:p>
            <a:p>
              <a:pPr marL="85725" indent="-85725">
                <a:buFont typeface="Arial" panose="020B0604020202020204" pitchFamily="34" charset="0"/>
                <a:buChar char="•"/>
              </a:pPr>
              <a:endParaRPr lang="es-ES" sz="1200" dirty="0">
                <a:solidFill>
                  <a:schemeClr val="bg1"/>
                </a:solidFill>
              </a:endParaRPr>
            </a:p>
            <a:p>
              <a:pPr marL="85725" indent="-85725">
                <a:buFont typeface="Arial" panose="020B0604020202020204" pitchFamily="34" charset="0"/>
                <a:buChar char="•"/>
              </a:pPr>
              <a:r>
                <a:rPr lang="es-ES" sz="1200" dirty="0">
                  <a:solidFill>
                    <a:schemeClr val="bg1"/>
                  </a:solidFill>
                </a:rPr>
                <a:t>Experimentar con elementos difícilmente presentes en un Centro de FP</a:t>
              </a:r>
              <a:r>
                <a:rPr lang="es-ES" sz="1200" dirty="0" smtClean="0">
                  <a:solidFill>
                    <a:schemeClr val="bg1"/>
                  </a:solidFill>
                </a:rPr>
                <a:t>.</a:t>
              </a:r>
            </a:p>
            <a:p>
              <a:pPr marL="85725" indent="-85725">
                <a:buFont typeface="Arial" panose="020B0604020202020204" pitchFamily="34" charset="0"/>
                <a:buChar char="•"/>
              </a:pPr>
              <a:endParaRPr lang="es-ES" sz="1200" dirty="0">
                <a:solidFill>
                  <a:schemeClr val="bg1"/>
                </a:solidFill>
              </a:endParaRPr>
            </a:p>
            <a:p>
              <a:pPr marL="85725" indent="-85725">
                <a:buFont typeface="Arial" panose="020B0604020202020204" pitchFamily="34" charset="0"/>
                <a:buChar char="•"/>
              </a:pPr>
              <a:r>
                <a:rPr lang="es-ES" sz="1200" dirty="0">
                  <a:solidFill>
                    <a:schemeClr val="bg1"/>
                  </a:solidFill>
                </a:rPr>
                <a:t>Asimilar mejor los conceptos</a:t>
              </a:r>
            </a:p>
            <a:p>
              <a:pPr marL="85725" indent="-85725">
                <a:buFont typeface="Arial" panose="020B0604020202020204" pitchFamily="34" charset="0"/>
                <a:buChar char="•"/>
              </a:pPr>
              <a:r>
                <a:rPr lang="es-ES" sz="1200" dirty="0">
                  <a:solidFill>
                    <a:schemeClr val="bg1"/>
                  </a:solidFill>
                </a:rPr>
                <a:t>Trabajar en equipo dentro de su grupo, interdisciplinar e </a:t>
              </a:r>
              <a:r>
                <a:rPr lang="es-ES" sz="1200" dirty="0" err="1">
                  <a:solidFill>
                    <a:schemeClr val="bg1"/>
                  </a:solidFill>
                </a:rPr>
                <a:t>intercentros</a:t>
              </a:r>
              <a:r>
                <a:rPr lang="es-ES" sz="1200" dirty="0" smtClean="0">
                  <a:solidFill>
                    <a:schemeClr val="bg1"/>
                  </a:solidFill>
                </a:rPr>
                <a:t>.</a:t>
              </a:r>
            </a:p>
            <a:p>
              <a:pPr marL="85725" indent="-85725">
                <a:buFont typeface="Arial" panose="020B0604020202020204" pitchFamily="34" charset="0"/>
                <a:buChar char="•"/>
              </a:pPr>
              <a:endParaRPr lang="es-ES" sz="1200" dirty="0">
                <a:solidFill>
                  <a:schemeClr val="bg1"/>
                </a:solidFill>
              </a:endParaRPr>
            </a:p>
            <a:p>
              <a:pPr marL="85725" indent="-85725">
                <a:buFont typeface="Arial" panose="020B0604020202020204" pitchFamily="34" charset="0"/>
                <a:buChar char="•"/>
              </a:pPr>
              <a:r>
                <a:rPr lang="es-ES" sz="1200" dirty="0">
                  <a:solidFill>
                    <a:schemeClr val="bg1"/>
                  </a:solidFill>
                </a:rPr>
                <a:t>Aprender cualquier tipo de tema (transversal o técnico).</a:t>
              </a:r>
            </a:p>
          </p:txBody>
        </p:sp>
        <p:sp>
          <p:nvSpPr>
            <p:cNvPr id="103" name="TextBox 46">
              <a:extLst>
                <a:ext uri="{FF2B5EF4-FFF2-40B4-BE49-F238E27FC236}">
                  <a16:creationId xmlns:a16="http://schemas.microsoft.com/office/drawing/2014/main" id="{0629D3D0-4416-47E7-A65F-C0FDD78B8957}"/>
                </a:ext>
              </a:extLst>
            </p:cNvPr>
            <p:cNvSpPr txBox="1"/>
            <p:nvPr/>
          </p:nvSpPr>
          <p:spPr>
            <a:xfrm>
              <a:off x="1758184" y="1765932"/>
              <a:ext cx="2185984" cy="338554"/>
            </a:xfrm>
            <a:prstGeom prst="rect">
              <a:avLst/>
            </a:prstGeom>
            <a:noFill/>
          </p:spPr>
          <p:txBody>
            <a:bodyPr wrap="square" rtlCol="0">
              <a:spAutoFit/>
            </a:bodyPr>
            <a:lstStyle/>
            <a:p>
              <a:pPr algn="ctr"/>
              <a:r>
                <a:rPr lang="en-US" sz="1600" b="1" dirty="0">
                  <a:ea typeface="Open Sans" panose="020B0606030504020204" pitchFamily="34" charset="0"/>
                  <a:cs typeface="Open Sans" panose="020B0606030504020204" pitchFamily="34" charset="0"/>
                </a:rPr>
                <a:t>01 </a:t>
              </a:r>
              <a:r>
                <a:rPr lang="en-US" sz="1600" b="1" dirty="0" err="1">
                  <a:ea typeface="Open Sans" panose="020B0606030504020204" pitchFamily="34" charset="0"/>
                  <a:cs typeface="Open Sans" panose="020B0606030504020204" pitchFamily="34" charset="0"/>
                </a:rPr>
                <a:t>Alumnado</a:t>
              </a:r>
              <a:r>
                <a:rPr lang="en-US" sz="1600" b="1" dirty="0">
                  <a:ea typeface="Open Sans" panose="020B0606030504020204" pitchFamily="34" charset="0"/>
                  <a:cs typeface="Open Sans" panose="020B0606030504020204" pitchFamily="34" charset="0"/>
                </a:rPr>
                <a:t> </a:t>
              </a:r>
              <a:r>
                <a:rPr lang="en-US" sz="1600" b="1" dirty="0" err="1">
                  <a:ea typeface="Open Sans" panose="020B0606030504020204" pitchFamily="34" charset="0"/>
                  <a:cs typeface="Open Sans" panose="020B0606030504020204" pitchFamily="34" charset="0"/>
                </a:rPr>
                <a:t>capaz</a:t>
              </a:r>
              <a:r>
                <a:rPr lang="en-US" sz="1600" b="1" dirty="0">
                  <a:ea typeface="Open Sans" panose="020B0606030504020204" pitchFamily="34" charset="0"/>
                  <a:cs typeface="Open Sans" panose="020B0606030504020204" pitchFamily="34" charset="0"/>
                </a:rPr>
                <a:t> de:</a:t>
              </a:r>
            </a:p>
          </p:txBody>
        </p:sp>
        <p:sp>
          <p:nvSpPr>
            <p:cNvPr id="106" name="Rectangle: Rounded Corners 52">
              <a:extLst>
                <a:ext uri="{FF2B5EF4-FFF2-40B4-BE49-F238E27FC236}">
                  <a16:creationId xmlns:a16="http://schemas.microsoft.com/office/drawing/2014/main" id="{CD996FE6-6ECD-4CA3-BE54-B1C558B9B319}"/>
                </a:ext>
              </a:extLst>
            </p:cNvPr>
            <p:cNvSpPr/>
            <p:nvPr/>
          </p:nvSpPr>
          <p:spPr>
            <a:xfrm>
              <a:off x="2227776" y="2524733"/>
              <a:ext cx="100760" cy="100760"/>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nvGrpSpPr>
          <p:cNvPr id="6" name="Grupo 5">
            <a:extLst>
              <a:ext uri="{FF2B5EF4-FFF2-40B4-BE49-F238E27FC236}">
                <a16:creationId xmlns:a16="http://schemas.microsoft.com/office/drawing/2014/main" id="{C231D17E-3764-4DA1-873E-CC796462AAD3}"/>
              </a:ext>
            </a:extLst>
          </p:cNvPr>
          <p:cNvGrpSpPr/>
          <p:nvPr/>
        </p:nvGrpSpPr>
        <p:grpSpPr>
          <a:xfrm>
            <a:off x="4628223" y="1707631"/>
            <a:ext cx="3805796" cy="4784004"/>
            <a:chOff x="3766940" y="1770085"/>
            <a:chExt cx="3153317" cy="4784004"/>
          </a:xfrm>
        </p:grpSpPr>
        <p:sp>
          <p:nvSpPr>
            <p:cNvPr id="83" name="Rectangle: Rounded Corners 7">
              <a:extLst>
                <a:ext uri="{FF2B5EF4-FFF2-40B4-BE49-F238E27FC236}">
                  <a16:creationId xmlns:a16="http://schemas.microsoft.com/office/drawing/2014/main" id="{62DDF62F-92DC-4E1C-9609-EED7298498A8}"/>
                </a:ext>
              </a:extLst>
            </p:cNvPr>
            <p:cNvSpPr/>
            <p:nvPr/>
          </p:nvSpPr>
          <p:spPr>
            <a:xfrm>
              <a:off x="4071906" y="2177321"/>
              <a:ext cx="2848351" cy="4376768"/>
            </a:xfrm>
            <a:prstGeom prst="roundRect">
              <a:avLst>
                <a:gd name="adj" fmla="val 11105"/>
              </a:avLst>
            </a:prstGeom>
            <a:solidFill>
              <a:srgbClr val="FFC8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Rounded Corners 12">
              <a:extLst>
                <a:ext uri="{FF2B5EF4-FFF2-40B4-BE49-F238E27FC236}">
                  <a16:creationId xmlns:a16="http://schemas.microsoft.com/office/drawing/2014/main" id="{8395623A-0A6A-4030-8067-89DFDEAC5329}"/>
                </a:ext>
              </a:extLst>
            </p:cNvPr>
            <p:cNvSpPr/>
            <p:nvPr/>
          </p:nvSpPr>
          <p:spPr>
            <a:xfrm>
              <a:off x="4491702" y="2685322"/>
              <a:ext cx="1087570" cy="815676"/>
            </a:xfrm>
            <a:prstGeom prst="roundRect">
              <a:avLst>
                <a:gd name="adj" fmla="val 16667"/>
              </a:avLst>
            </a:prstGeom>
            <a:solidFill>
              <a:srgbClr val="FFFFFF"/>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9" name="Graphic 18" descr="Presentación con gráfico de barras">
              <a:extLst>
                <a:ext uri="{FF2B5EF4-FFF2-40B4-BE49-F238E27FC236}">
                  <a16:creationId xmlns:a16="http://schemas.microsoft.com/office/drawing/2014/main" id="{601C692F-7C20-4B09-BF4C-D91DDBC42B60}"/>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4734927" y="2743194"/>
              <a:ext cx="563418" cy="679999"/>
            </a:xfrm>
            <a:prstGeom prst="rect">
              <a:avLst/>
            </a:prstGeom>
          </p:spPr>
        </p:pic>
        <p:sp>
          <p:nvSpPr>
            <p:cNvPr id="98" name="TextBox 33">
              <a:extLst>
                <a:ext uri="{FF2B5EF4-FFF2-40B4-BE49-F238E27FC236}">
                  <a16:creationId xmlns:a16="http://schemas.microsoft.com/office/drawing/2014/main" id="{A4ECFD43-16EC-43A4-ACD0-C2B4550B1FA8}"/>
                </a:ext>
              </a:extLst>
            </p:cNvPr>
            <p:cNvSpPr txBox="1"/>
            <p:nvPr/>
          </p:nvSpPr>
          <p:spPr>
            <a:xfrm>
              <a:off x="4087690" y="3688715"/>
              <a:ext cx="2774611" cy="1938992"/>
            </a:xfrm>
            <a:prstGeom prst="rect">
              <a:avLst/>
            </a:prstGeom>
            <a:noFill/>
          </p:spPr>
          <p:txBody>
            <a:bodyPr wrap="square" rtlCol="0">
              <a:spAutoFit/>
            </a:bodyPr>
            <a:lstStyle/>
            <a:p>
              <a:pPr marL="85725" indent="-85725">
                <a:buFont typeface="Arial" panose="020B0604020202020204" pitchFamily="34" charset="0"/>
                <a:buChar char="•"/>
              </a:pPr>
              <a:r>
                <a:rPr lang="es-ES" sz="1200" dirty="0">
                  <a:solidFill>
                    <a:schemeClr val="bg1"/>
                  </a:solidFill>
                </a:rPr>
                <a:t>Contenidos transversales sobre FOL, </a:t>
              </a:r>
              <a:r>
                <a:rPr lang="es-ES" sz="1200" dirty="0" smtClean="0">
                  <a:solidFill>
                    <a:schemeClr val="bg1"/>
                  </a:solidFill>
                </a:rPr>
                <a:t>EIE</a:t>
              </a:r>
            </a:p>
            <a:p>
              <a:endParaRPr lang="es-ES" sz="1200" dirty="0">
                <a:solidFill>
                  <a:schemeClr val="bg1"/>
                </a:solidFill>
              </a:endParaRPr>
            </a:p>
            <a:p>
              <a:pPr marL="85725" indent="-85725">
                <a:buFont typeface="Arial" panose="020B0604020202020204" pitchFamily="34" charset="0"/>
                <a:buChar char="•"/>
              </a:pPr>
              <a:r>
                <a:rPr lang="es-ES" sz="1200" dirty="0">
                  <a:solidFill>
                    <a:schemeClr val="bg1"/>
                  </a:solidFill>
                </a:rPr>
                <a:t>Competencias transversales  (trabajarlos desde otro punto de vista</a:t>
              </a:r>
              <a:r>
                <a:rPr lang="es-ES" sz="1200" dirty="0" smtClean="0">
                  <a:solidFill>
                    <a:schemeClr val="bg1"/>
                  </a:solidFill>
                </a:rPr>
                <a:t>)</a:t>
              </a:r>
            </a:p>
            <a:p>
              <a:endParaRPr lang="es-ES" sz="1200" dirty="0">
                <a:solidFill>
                  <a:schemeClr val="bg1"/>
                </a:solidFill>
              </a:endParaRPr>
            </a:p>
            <a:p>
              <a:pPr marL="85725" indent="-85725">
                <a:buFont typeface="Arial" panose="020B0604020202020204" pitchFamily="34" charset="0"/>
                <a:buChar char="•"/>
              </a:pPr>
              <a:r>
                <a:rPr lang="es-ES" sz="1200" dirty="0">
                  <a:solidFill>
                    <a:schemeClr val="bg1"/>
                  </a:solidFill>
                </a:rPr>
                <a:t>Material técnico transversal a varios </a:t>
              </a:r>
            </a:p>
            <a:p>
              <a:endParaRPr lang="es-ES" sz="1200" dirty="0" smtClean="0">
                <a:solidFill>
                  <a:schemeClr val="bg1"/>
                </a:solidFill>
              </a:endParaRPr>
            </a:p>
            <a:p>
              <a:pPr marL="85725" indent="-85725">
                <a:buFont typeface="Arial" panose="020B0604020202020204" pitchFamily="34" charset="0"/>
                <a:buChar char="•"/>
              </a:pPr>
              <a:r>
                <a:rPr lang="es-ES" sz="1200" dirty="0" smtClean="0">
                  <a:solidFill>
                    <a:schemeClr val="bg1"/>
                  </a:solidFill>
                </a:rPr>
                <a:t>ciclos </a:t>
              </a:r>
              <a:r>
                <a:rPr lang="es-ES" sz="1200" dirty="0">
                  <a:solidFill>
                    <a:schemeClr val="bg1"/>
                  </a:solidFill>
                </a:rPr>
                <a:t>de una misma familia </a:t>
              </a:r>
              <a:r>
                <a:rPr lang="es-ES" sz="1200" dirty="0" smtClean="0">
                  <a:solidFill>
                    <a:schemeClr val="bg1"/>
                  </a:solidFill>
                </a:rPr>
                <a:t>profesional</a:t>
              </a:r>
            </a:p>
            <a:p>
              <a:endParaRPr lang="es-ES" sz="1200" dirty="0">
                <a:solidFill>
                  <a:schemeClr val="bg1"/>
                </a:solidFill>
              </a:endParaRPr>
            </a:p>
            <a:p>
              <a:pPr marL="85725" indent="-85725">
                <a:buFont typeface="Arial" panose="020B0604020202020204" pitchFamily="34" charset="0"/>
                <a:buChar char="•"/>
              </a:pPr>
              <a:r>
                <a:rPr lang="es-ES" sz="1200" dirty="0">
                  <a:solidFill>
                    <a:schemeClr val="bg1"/>
                  </a:solidFill>
                </a:rPr>
                <a:t>Material técnico específico de un ciclo</a:t>
              </a:r>
            </a:p>
          </p:txBody>
        </p:sp>
        <p:sp>
          <p:nvSpPr>
            <p:cNvPr id="104" name="TextBox 47">
              <a:extLst>
                <a:ext uri="{FF2B5EF4-FFF2-40B4-BE49-F238E27FC236}">
                  <a16:creationId xmlns:a16="http://schemas.microsoft.com/office/drawing/2014/main" id="{62F5CE30-5948-418D-81B5-7ABC72EF79F9}"/>
                </a:ext>
              </a:extLst>
            </p:cNvPr>
            <p:cNvSpPr txBox="1"/>
            <p:nvPr/>
          </p:nvSpPr>
          <p:spPr>
            <a:xfrm>
              <a:off x="3766940" y="1770085"/>
              <a:ext cx="2940142" cy="369332"/>
            </a:xfrm>
            <a:prstGeom prst="rect">
              <a:avLst/>
            </a:prstGeom>
            <a:noFill/>
          </p:spPr>
          <p:txBody>
            <a:bodyPr wrap="square" rtlCol="0">
              <a:spAutoFit/>
            </a:bodyPr>
            <a:lstStyle/>
            <a:p>
              <a:pPr algn="ctr"/>
              <a:r>
                <a:rPr lang="en-US" b="1" dirty="0">
                  <a:ea typeface="Open Sans" panose="020B0606030504020204" pitchFamily="34" charset="0"/>
                  <a:cs typeface="Open Sans" panose="020B0606030504020204" pitchFamily="34" charset="0"/>
                </a:rPr>
                <a:t>02 </a:t>
              </a:r>
              <a:r>
                <a:rPr lang="en-US" b="1" dirty="0" err="1">
                  <a:ea typeface="Open Sans" panose="020B0606030504020204" pitchFamily="34" charset="0"/>
                  <a:cs typeface="Open Sans" panose="020B0606030504020204" pitchFamily="34" charset="0"/>
                </a:rPr>
                <a:t>Generación</a:t>
              </a:r>
              <a:r>
                <a:rPr lang="en-US" b="1" dirty="0">
                  <a:ea typeface="Open Sans" panose="020B0606030504020204" pitchFamily="34" charset="0"/>
                  <a:cs typeface="Open Sans" panose="020B0606030504020204" pitchFamily="34" charset="0"/>
                </a:rPr>
                <a:t> de </a:t>
              </a:r>
              <a:r>
                <a:rPr lang="en-US" b="1" dirty="0" err="1">
                  <a:ea typeface="Open Sans" panose="020B0606030504020204" pitchFamily="34" charset="0"/>
                  <a:cs typeface="Open Sans" panose="020B0606030504020204" pitchFamily="34" charset="0"/>
                </a:rPr>
                <a:t>Contenidos</a:t>
              </a:r>
              <a:endParaRPr lang="en-US" b="1" dirty="0">
                <a:ea typeface="Open Sans" panose="020B0606030504020204" pitchFamily="34" charset="0"/>
                <a:cs typeface="Open Sans" panose="020B0606030504020204" pitchFamily="34" charset="0"/>
              </a:endParaRPr>
            </a:p>
          </p:txBody>
        </p:sp>
        <p:sp>
          <p:nvSpPr>
            <p:cNvPr id="107" name="Rectangle: Rounded Corners 53">
              <a:extLst>
                <a:ext uri="{FF2B5EF4-FFF2-40B4-BE49-F238E27FC236}">
                  <a16:creationId xmlns:a16="http://schemas.microsoft.com/office/drawing/2014/main" id="{7718E287-A5BE-42D2-8D59-1A4477CD4074}"/>
                </a:ext>
              </a:extLst>
            </p:cNvPr>
            <p:cNvSpPr/>
            <p:nvPr/>
          </p:nvSpPr>
          <p:spPr>
            <a:xfrm>
              <a:off x="4491702" y="2520166"/>
              <a:ext cx="100760" cy="100760"/>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 name="Grupo 4">
            <a:extLst>
              <a:ext uri="{FF2B5EF4-FFF2-40B4-BE49-F238E27FC236}">
                <a16:creationId xmlns:a16="http://schemas.microsoft.com/office/drawing/2014/main" id="{E72554FE-DEAC-495A-956C-1884FD5436B3}"/>
              </a:ext>
            </a:extLst>
          </p:cNvPr>
          <p:cNvGrpSpPr/>
          <p:nvPr/>
        </p:nvGrpSpPr>
        <p:grpSpPr>
          <a:xfrm>
            <a:off x="7976725" y="1697678"/>
            <a:ext cx="4215275" cy="4793957"/>
            <a:chOff x="6096827" y="1760132"/>
            <a:chExt cx="3540803" cy="4793957"/>
          </a:xfrm>
        </p:grpSpPr>
        <p:sp>
          <p:nvSpPr>
            <p:cNvPr id="84" name="Rectangle: Rounded Corners 8">
              <a:extLst>
                <a:ext uri="{FF2B5EF4-FFF2-40B4-BE49-F238E27FC236}">
                  <a16:creationId xmlns:a16="http://schemas.microsoft.com/office/drawing/2014/main" id="{7389AE57-B4B9-490A-AE37-EB746322938D}"/>
                </a:ext>
              </a:extLst>
            </p:cNvPr>
            <p:cNvSpPr/>
            <p:nvPr/>
          </p:nvSpPr>
          <p:spPr>
            <a:xfrm>
              <a:off x="6770168" y="2177321"/>
              <a:ext cx="2825345" cy="4376768"/>
            </a:xfrm>
            <a:prstGeom prst="roundRect">
              <a:avLst>
                <a:gd name="adj" fmla="val 11105"/>
              </a:avLst>
            </a:prstGeom>
            <a:solidFill>
              <a:srgbClr val="00BE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Rounded Corners 13">
              <a:extLst>
                <a:ext uri="{FF2B5EF4-FFF2-40B4-BE49-F238E27FC236}">
                  <a16:creationId xmlns:a16="http://schemas.microsoft.com/office/drawing/2014/main" id="{ABBBBB21-681A-49D4-8C78-03004B87D52E}"/>
                </a:ext>
              </a:extLst>
            </p:cNvPr>
            <p:cNvSpPr/>
            <p:nvPr/>
          </p:nvSpPr>
          <p:spPr>
            <a:xfrm>
              <a:off x="7257780" y="2673835"/>
              <a:ext cx="1087570" cy="815676"/>
            </a:xfrm>
            <a:prstGeom prst="roundRect">
              <a:avLst>
                <a:gd name="adj" fmla="val 16667"/>
              </a:avLst>
            </a:prstGeom>
            <a:solidFill>
              <a:srgbClr val="FFFFFF"/>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8" name="Graphic 16" descr="Internet">
              <a:extLst>
                <a:ext uri="{FF2B5EF4-FFF2-40B4-BE49-F238E27FC236}">
                  <a16:creationId xmlns:a16="http://schemas.microsoft.com/office/drawing/2014/main" id="{E80BAE28-C601-499E-9AED-51DADF385B69}"/>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7535935" y="2739808"/>
              <a:ext cx="531261" cy="632458"/>
            </a:xfrm>
            <a:prstGeom prst="rect">
              <a:avLst/>
            </a:prstGeom>
          </p:spPr>
        </p:pic>
        <p:sp>
          <p:nvSpPr>
            <p:cNvPr id="102" name="TextBox 37">
              <a:extLst>
                <a:ext uri="{FF2B5EF4-FFF2-40B4-BE49-F238E27FC236}">
                  <a16:creationId xmlns:a16="http://schemas.microsoft.com/office/drawing/2014/main" id="{FD2DB265-3784-48A7-8BCD-FC9F7B735CED}"/>
                </a:ext>
              </a:extLst>
            </p:cNvPr>
            <p:cNvSpPr txBox="1"/>
            <p:nvPr/>
          </p:nvSpPr>
          <p:spPr>
            <a:xfrm>
              <a:off x="6770167" y="3688715"/>
              <a:ext cx="2536129" cy="1384995"/>
            </a:xfrm>
            <a:prstGeom prst="rect">
              <a:avLst/>
            </a:prstGeom>
            <a:noFill/>
          </p:spPr>
          <p:txBody>
            <a:bodyPr wrap="square" rtlCol="0">
              <a:spAutoFit/>
            </a:bodyPr>
            <a:lstStyle/>
            <a:p>
              <a:pPr marL="85725" indent="-85725">
                <a:buFont typeface="Arial" panose="020B0604020202020204" pitchFamily="34" charset="0"/>
                <a:buChar char="•"/>
              </a:pPr>
              <a:r>
                <a:rPr lang="es-ES" sz="1200" dirty="0">
                  <a:solidFill>
                    <a:schemeClr val="bg1"/>
                  </a:solidFill>
                </a:rPr>
                <a:t>Presencia holográfica y/o virtual de expertos en diferentes </a:t>
              </a:r>
              <a:r>
                <a:rPr lang="es-ES" sz="1200" dirty="0" smtClean="0">
                  <a:solidFill>
                    <a:schemeClr val="bg1"/>
                  </a:solidFill>
                </a:rPr>
                <a:t>materias</a:t>
              </a:r>
            </a:p>
            <a:p>
              <a:pPr marL="85725" indent="-85725">
                <a:buFont typeface="Arial" panose="020B0604020202020204" pitchFamily="34" charset="0"/>
                <a:buChar char="•"/>
              </a:pPr>
              <a:endParaRPr lang="es-ES" sz="1200" dirty="0">
                <a:solidFill>
                  <a:schemeClr val="bg1"/>
                </a:solidFill>
              </a:endParaRPr>
            </a:p>
            <a:p>
              <a:pPr marL="85725" indent="-85725">
                <a:buFont typeface="Arial" panose="020B0604020202020204" pitchFamily="34" charset="0"/>
                <a:buChar char="•"/>
              </a:pPr>
              <a:r>
                <a:rPr lang="es-ES" sz="1200" dirty="0">
                  <a:solidFill>
                    <a:schemeClr val="bg1"/>
                  </a:solidFill>
                </a:rPr>
                <a:t>Presencia virtual de </a:t>
              </a:r>
              <a:r>
                <a:rPr lang="es-ES" sz="1200" dirty="0" smtClean="0">
                  <a:solidFill>
                    <a:schemeClr val="bg1"/>
                  </a:solidFill>
                </a:rPr>
                <a:t>empresas</a:t>
              </a:r>
            </a:p>
            <a:p>
              <a:pPr marL="85725" indent="-85725">
                <a:buFont typeface="Arial" panose="020B0604020202020204" pitchFamily="34" charset="0"/>
                <a:buChar char="•"/>
              </a:pPr>
              <a:r>
                <a:rPr lang="es-ES" sz="1200" dirty="0" smtClean="0">
                  <a:solidFill>
                    <a:schemeClr val="bg1"/>
                  </a:solidFill>
                </a:rPr>
                <a:t> </a:t>
              </a:r>
              <a:endParaRPr lang="es-ES" sz="1200" dirty="0">
                <a:solidFill>
                  <a:schemeClr val="bg1"/>
                </a:solidFill>
              </a:endParaRPr>
            </a:p>
            <a:p>
              <a:pPr marL="85725" indent="-85725">
                <a:buFont typeface="Arial" panose="020B0604020202020204" pitchFamily="34" charset="0"/>
                <a:buChar char="•"/>
              </a:pPr>
              <a:r>
                <a:rPr lang="es-ES" sz="1200" dirty="0">
                  <a:solidFill>
                    <a:schemeClr val="bg1"/>
                  </a:solidFill>
                </a:rPr>
                <a:t>Presencia virtual de alumnado de otros Centros</a:t>
              </a:r>
            </a:p>
          </p:txBody>
        </p:sp>
        <p:sp>
          <p:nvSpPr>
            <p:cNvPr id="105" name="TextBox 48">
              <a:extLst>
                <a:ext uri="{FF2B5EF4-FFF2-40B4-BE49-F238E27FC236}">
                  <a16:creationId xmlns:a16="http://schemas.microsoft.com/office/drawing/2014/main" id="{DA0BBCAC-6E3D-4E42-8900-67C4790AD73D}"/>
                </a:ext>
              </a:extLst>
            </p:cNvPr>
            <p:cNvSpPr txBox="1"/>
            <p:nvPr/>
          </p:nvSpPr>
          <p:spPr>
            <a:xfrm>
              <a:off x="6237592" y="1800112"/>
              <a:ext cx="3400038" cy="338554"/>
            </a:xfrm>
            <a:prstGeom prst="rect">
              <a:avLst/>
            </a:prstGeom>
            <a:noFill/>
          </p:spPr>
          <p:txBody>
            <a:bodyPr wrap="square" rtlCol="0">
              <a:spAutoFit/>
            </a:bodyPr>
            <a:lstStyle/>
            <a:p>
              <a:pPr algn="ctr"/>
              <a:r>
                <a:rPr lang="en-US" sz="1600" b="1" dirty="0">
                  <a:ea typeface="Open Sans" panose="020B0606030504020204" pitchFamily="34" charset="0"/>
                  <a:cs typeface="Open Sans" panose="020B0606030504020204" pitchFamily="34" charset="0"/>
                </a:rPr>
                <a:t>03  </a:t>
              </a:r>
              <a:r>
                <a:rPr lang="en-US" sz="1600" b="1" dirty="0" err="1">
                  <a:ea typeface="Open Sans" panose="020B0606030504020204" pitchFamily="34" charset="0"/>
                  <a:cs typeface="Open Sans" panose="020B0606030504020204" pitchFamily="34" charset="0"/>
                </a:rPr>
                <a:t>Enriquecimiento</a:t>
              </a:r>
              <a:r>
                <a:rPr lang="en-US" sz="1600" b="1" dirty="0">
                  <a:ea typeface="Open Sans" panose="020B0606030504020204" pitchFamily="34" charset="0"/>
                  <a:cs typeface="Open Sans" panose="020B0606030504020204" pitchFamily="34" charset="0"/>
                </a:rPr>
                <a:t> del </a:t>
              </a:r>
              <a:r>
                <a:rPr lang="en-US" sz="1600" b="1" dirty="0" err="1">
                  <a:ea typeface="Open Sans" panose="020B0606030504020204" pitchFamily="34" charset="0"/>
                  <a:cs typeface="Open Sans" panose="020B0606030504020204" pitchFamily="34" charset="0"/>
                </a:rPr>
                <a:t>Aprendizaje</a:t>
              </a:r>
              <a:endParaRPr lang="en-US" sz="1600" b="1" dirty="0">
                <a:ea typeface="Open Sans" panose="020B0606030504020204" pitchFamily="34" charset="0"/>
                <a:cs typeface="Open Sans" panose="020B0606030504020204" pitchFamily="34" charset="0"/>
              </a:endParaRPr>
            </a:p>
          </p:txBody>
        </p:sp>
        <p:sp>
          <p:nvSpPr>
            <p:cNvPr id="108" name="Rectangle: Rounded Corners 54">
              <a:extLst>
                <a:ext uri="{FF2B5EF4-FFF2-40B4-BE49-F238E27FC236}">
                  <a16:creationId xmlns:a16="http://schemas.microsoft.com/office/drawing/2014/main" id="{AC748862-802D-44B6-92B4-6FC4E4F56802}"/>
                </a:ext>
              </a:extLst>
            </p:cNvPr>
            <p:cNvSpPr/>
            <p:nvPr/>
          </p:nvSpPr>
          <p:spPr>
            <a:xfrm>
              <a:off x="6759105" y="2520166"/>
              <a:ext cx="100760" cy="100760"/>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Rounded Corners 59">
              <a:extLst>
                <a:ext uri="{FF2B5EF4-FFF2-40B4-BE49-F238E27FC236}">
                  <a16:creationId xmlns:a16="http://schemas.microsoft.com/office/drawing/2014/main" id="{D8039D6D-0283-4CC4-9DD4-4A458B174B5F}"/>
                </a:ext>
              </a:extLst>
            </p:cNvPr>
            <p:cNvSpPr/>
            <p:nvPr/>
          </p:nvSpPr>
          <p:spPr>
            <a:xfrm>
              <a:off x="6191743" y="1874383"/>
              <a:ext cx="100760" cy="100760"/>
            </a:xfrm>
            <a:prstGeom prst="roundRect">
              <a:avLst/>
            </a:prstGeom>
            <a:solidFill>
              <a:srgbClr val="00BE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Rounded Corners 64">
              <a:extLst>
                <a:ext uri="{FF2B5EF4-FFF2-40B4-BE49-F238E27FC236}">
                  <a16:creationId xmlns:a16="http://schemas.microsoft.com/office/drawing/2014/main" id="{B467663C-C365-44FF-AEB9-9E7647843053}"/>
                </a:ext>
              </a:extLst>
            </p:cNvPr>
            <p:cNvSpPr/>
            <p:nvPr/>
          </p:nvSpPr>
          <p:spPr>
            <a:xfrm>
              <a:off x="6096827" y="1760132"/>
              <a:ext cx="100760" cy="100760"/>
            </a:xfrm>
            <a:prstGeom prst="roundRect">
              <a:avLst/>
            </a:prstGeom>
            <a:solidFill>
              <a:srgbClr val="00BE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7" name="Marcador de número de diapositiva 1"/>
          <p:cNvSpPr>
            <a:spLocks noGrp="1"/>
          </p:cNvSpPr>
          <p:nvPr>
            <p:ph type="sldNum" sz="quarter" idx="12"/>
          </p:nvPr>
        </p:nvSpPr>
        <p:spPr>
          <a:xfrm>
            <a:off x="11777051" y="6458134"/>
            <a:ext cx="487378" cy="481343"/>
          </a:xfrm>
        </p:spPr>
        <p:txBody>
          <a:bodyPr/>
          <a:lstStyle/>
          <a:p>
            <a:r>
              <a:rPr lang="en-US" sz="2000" dirty="0" smtClean="0"/>
              <a:t>10</a:t>
            </a:r>
            <a:endParaRPr lang="en-US" sz="2000" dirty="0"/>
          </a:p>
        </p:txBody>
      </p:sp>
    </p:spTree>
    <p:extLst>
      <p:ext uri="{BB962C8B-B14F-4D97-AF65-F5344CB8AC3E}">
        <p14:creationId xmlns:p14="http://schemas.microsoft.com/office/powerpoint/2010/main" val="400177555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23FEED7-63F6-4545-95DD-474E69B1B82D}"/>
              </a:ext>
            </a:extLst>
          </p:cNvPr>
          <p:cNvSpPr/>
          <p:nvPr/>
        </p:nvSpPr>
        <p:spPr>
          <a:xfrm>
            <a:off x="419022" y="193816"/>
            <a:ext cx="6805068" cy="707886"/>
          </a:xfrm>
          <a:prstGeom prst="rect">
            <a:avLst/>
          </a:prstGeom>
          <a:noFill/>
        </p:spPr>
        <p:txBody>
          <a:bodyPr wrap="none" lIns="91440" tIns="45720" rIns="91440" bIns="45720">
            <a:spAutoFit/>
          </a:bodyPr>
          <a:lstStyle/>
          <a:p>
            <a:r>
              <a:rPr lang="es-ES" sz="4000" b="1"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Impresión y Escaneado 3D</a:t>
            </a:r>
          </a:p>
        </p:txBody>
      </p:sp>
      <p:sp>
        <p:nvSpPr>
          <p:cNvPr id="5" name="Freeform: Shape 17">
            <a:extLst>
              <a:ext uri="{FF2B5EF4-FFF2-40B4-BE49-F238E27FC236}">
                <a16:creationId xmlns:a16="http://schemas.microsoft.com/office/drawing/2014/main" id="{9828DEB8-F5DF-4049-A287-0EB4B59F24DD}"/>
              </a:ext>
            </a:extLst>
          </p:cNvPr>
          <p:cNvSpPr/>
          <p:nvPr/>
        </p:nvSpPr>
        <p:spPr>
          <a:xfrm>
            <a:off x="1012203" y="2151914"/>
            <a:ext cx="4724241" cy="1016000"/>
          </a:xfrm>
          <a:custGeom>
            <a:avLst/>
            <a:gdLst/>
            <a:ahLst/>
            <a:cxnLst/>
            <a:rect l="l" t="t" r="r" b="b"/>
            <a:pathLst>
              <a:path w="4724241" h="1016000">
                <a:moveTo>
                  <a:pt x="0" y="0"/>
                </a:moveTo>
                <a:lnTo>
                  <a:pt x="4724241" y="0"/>
                </a:lnTo>
                <a:lnTo>
                  <a:pt x="4724241" y="1016000"/>
                </a:lnTo>
                <a:lnTo>
                  <a:pt x="0" y="1016000"/>
                </a:lnTo>
                <a:lnTo>
                  <a:pt x="0" y="0"/>
                </a:lnTo>
                <a:close/>
              </a:path>
            </a:pathLst>
          </a:custGeom>
          <a:solidFill>
            <a:srgbClr val="0099FF"/>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Freeform: Shape 18">
            <a:extLst>
              <a:ext uri="{FF2B5EF4-FFF2-40B4-BE49-F238E27FC236}">
                <a16:creationId xmlns:a16="http://schemas.microsoft.com/office/drawing/2014/main" id="{3A72F696-C42E-4B47-AE32-84F359DEE975}"/>
              </a:ext>
            </a:extLst>
          </p:cNvPr>
          <p:cNvSpPr/>
          <p:nvPr/>
        </p:nvSpPr>
        <p:spPr>
          <a:xfrm>
            <a:off x="6690103" y="3693626"/>
            <a:ext cx="4881416" cy="1016000"/>
          </a:xfrm>
          <a:custGeom>
            <a:avLst/>
            <a:gdLst/>
            <a:ahLst/>
            <a:cxnLst/>
            <a:rect l="l" t="t" r="r" b="b"/>
            <a:pathLst>
              <a:path w="4881416" h="1016000">
                <a:moveTo>
                  <a:pt x="380330" y="0"/>
                </a:moveTo>
                <a:lnTo>
                  <a:pt x="4881416" y="0"/>
                </a:lnTo>
                <a:lnTo>
                  <a:pt x="4881416" y="1016000"/>
                </a:lnTo>
                <a:lnTo>
                  <a:pt x="122110" y="1016000"/>
                </a:lnTo>
                <a:lnTo>
                  <a:pt x="197588" y="997919"/>
                </a:lnTo>
                <a:cubicBezTo>
                  <a:pt x="245188" y="981719"/>
                  <a:pt x="286544" y="957418"/>
                  <a:pt x="321655" y="925017"/>
                </a:cubicBezTo>
                <a:cubicBezTo>
                  <a:pt x="391877" y="860215"/>
                  <a:pt x="426988" y="776679"/>
                  <a:pt x="426988" y="674409"/>
                </a:cubicBezTo>
                <a:cubicBezTo>
                  <a:pt x="426988" y="582036"/>
                  <a:pt x="397532" y="508515"/>
                  <a:pt x="338621" y="453846"/>
                </a:cubicBezTo>
                <a:cubicBezTo>
                  <a:pt x="279710" y="399176"/>
                  <a:pt x="198177" y="371841"/>
                  <a:pt x="94022" y="371841"/>
                </a:cubicBezTo>
                <a:cubicBezTo>
                  <a:pt x="67630" y="371841"/>
                  <a:pt x="36289" y="373255"/>
                  <a:pt x="0" y="376083"/>
                </a:cubicBezTo>
                <a:lnTo>
                  <a:pt x="14139" y="173193"/>
                </a:lnTo>
                <a:lnTo>
                  <a:pt x="380330" y="173193"/>
                </a:lnTo>
                <a:lnTo>
                  <a:pt x="380330" y="0"/>
                </a:lnTo>
                <a:close/>
              </a:path>
            </a:pathLst>
          </a:custGeom>
          <a:solidFill>
            <a:srgbClr val="FF66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Freeform: Shape 19">
            <a:extLst>
              <a:ext uri="{FF2B5EF4-FFF2-40B4-BE49-F238E27FC236}">
                <a16:creationId xmlns:a16="http://schemas.microsoft.com/office/drawing/2014/main" id="{8B8FAA28-1A81-4F34-9A19-9CAC92DC038D}"/>
              </a:ext>
            </a:extLst>
          </p:cNvPr>
          <p:cNvSpPr/>
          <p:nvPr/>
        </p:nvSpPr>
        <p:spPr>
          <a:xfrm>
            <a:off x="803509" y="3681404"/>
            <a:ext cx="4932935" cy="1016000"/>
          </a:xfrm>
          <a:custGeom>
            <a:avLst/>
            <a:gdLst/>
            <a:ahLst/>
            <a:cxnLst/>
            <a:rect l="l" t="t" r="r" b="b"/>
            <a:pathLst>
              <a:path w="4932935" h="1016000">
                <a:moveTo>
                  <a:pt x="191359" y="0"/>
                </a:moveTo>
                <a:lnTo>
                  <a:pt x="4932935" y="0"/>
                </a:lnTo>
                <a:lnTo>
                  <a:pt x="4932935" y="1016000"/>
                </a:lnTo>
                <a:lnTo>
                  <a:pt x="429815" y="1016000"/>
                </a:lnTo>
                <a:lnTo>
                  <a:pt x="429815" y="836796"/>
                </a:lnTo>
                <a:lnTo>
                  <a:pt x="0" y="836796"/>
                </a:lnTo>
                <a:cubicBezTo>
                  <a:pt x="0" y="823599"/>
                  <a:pt x="4712" y="809696"/>
                  <a:pt x="14138" y="795087"/>
                </a:cubicBezTo>
                <a:cubicBezTo>
                  <a:pt x="23564" y="780477"/>
                  <a:pt x="36289" y="765513"/>
                  <a:pt x="52313" y="750196"/>
                </a:cubicBezTo>
                <a:cubicBezTo>
                  <a:pt x="68336" y="734879"/>
                  <a:pt x="86835" y="719327"/>
                  <a:pt x="107807" y="703539"/>
                </a:cubicBezTo>
                <a:cubicBezTo>
                  <a:pt x="128779" y="687750"/>
                  <a:pt x="150576" y="671844"/>
                  <a:pt x="173198" y="655821"/>
                </a:cubicBezTo>
                <a:cubicBezTo>
                  <a:pt x="206660" y="632727"/>
                  <a:pt x="238943" y="608809"/>
                  <a:pt x="270048" y="584067"/>
                </a:cubicBezTo>
                <a:cubicBezTo>
                  <a:pt x="301153" y="559324"/>
                  <a:pt x="328606" y="532107"/>
                  <a:pt x="352406" y="502416"/>
                </a:cubicBezTo>
                <a:cubicBezTo>
                  <a:pt x="376206" y="472725"/>
                  <a:pt x="395293" y="439735"/>
                  <a:pt x="409668" y="403445"/>
                </a:cubicBezTo>
                <a:cubicBezTo>
                  <a:pt x="424042" y="367156"/>
                  <a:pt x="431229" y="325683"/>
                  <a:pt x="431229" y="279025"/>
                </a:cubicBezTo>
                <a:cubicBezTo>
                  <a:pt x="431229" y="235195"/>
                  <a:pt x="423806" y="195489"/>
                  <a:pt x="408961" y="159907"/>
                </a:cubicBezTo>
                <a:cubicBezTo>
                  <a:pt x="394115" y="124324"/>
                  <a:pt x="372554" y="94044"/>
                  <a:pt x="344276" y="69066"/>
                </a:cubicBezTo>
                <a:cubicBezTo>
                  <a:pt x="315999" y="44087"/>
                  <a:pt x="281477" y="24882"/>
                  <a:pt x="240710" y="11450"/>
                </a:cubicBezTo>
                <a:lnTo>
                  <a:pt x="191359" y="0"/>
                </a:lnTo>
                <a:close/>
              </a:path>
            </a:pathLst>
          </a:custGeom>
          <a:solidFill>
            <a:srgbClr val="6666FF"/>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Freeform: Shape 20">
            <a:extLst>
              <a:ext uri="{FF2B5EF4-FFF2-40B4-BE49-F238E27FC236}">
                <a16:creationId xmlns:a16="http://schemas.microsoft.com/office/drawing/2014/main" id="{B37BC7C6-429E-4A29-90EF-B92A7DF44DA2}"/>
              </a:ext>
            </a:extLst>
          </p:cNvPr>
          <p:cNvSpPr/>
          <p:nvPr/>
        </p:nvSpPr>
        <p:spPr>
          <a:xfrm>
            <a:off x="6669100" y="5187203"/>
            <a:ext cx="4902419" cy="1016000"/>
          </a:xfrm>
          <a:custGeom>
            <a:avLst/>
            <a:gdLst>
              <a:gd name="connsiteX0" fmla="*/ 140456 w 4902419"/>
              <a:gd name="connsiteY0" fmla="*/ 529318 h 1016000"/>
              <a:gd name="connsiteX1" fmla="*/ 273188 w 4902419"/>
              <a:gd name="connsiteY1" fmla="*/ 691545 h 1016000"/>
              <a:gd name="connsiteX2" fmla="*/ 264058 w 4902419"/>
              <a:gd name="connsiteY2" fmla="*/ 760018 h 1016000"/>
              <a:gd name="connsiteX3" fmla="*/ 237722 w 4902419"/>
              <a:gd name="connsiteY3" fmla="*/ 813391 h 1016000"/>
              <a:gd name="connsiteX4" fmla="*/ 196288 w 4902419"/>
              <a:gd name="connsiteY4" fmla="*/ 847803 h 1016000"/>
              <a:gd name="connsiteX5" fmla="*/ 141861 w 4902419"/>
              <a:gd name="connsiteY5" fmla="*/ 860093 h 1016000"/>
              <a:gd name="connsiteX6" fmla="*/ 87083 w 4902419"/>
              <a:gd name="connsiteY6" fmla="*/ 846047 h 1016000"/>
              <a:gd name="connsiteX7" fmla="*/ 44595 w 4902419"/>
              <a:gd name="connsiteY7" fmla="*/ 807773 h 1016000"/>
              <a:gd name="connsiteX8" fmla="*/ 16854 w 4902419"/>
              <a:gd name="connsiteY8" fmla="*/ 751239 h 1016000"/>
              <a:gd name="connsiteX9" fmla="*/ 7023 w 4902419"/>
              <a:gd name="connsiteY9" fmla="*/ 681713 h 1016000"/>
              <a:gd name="connsiteX10" fmla="*/ 16503 w 4902419"/>
              <a:gd name="connsiteY10" fmla="*/ 620263 h 1016000"/>
              <a:gd name="connsiteX11" fmla="*/ 43541 w 4902419"/>
              <a:gd name="connsiteY11" fmla="*/ 572157 h 1016000"/>
              <a:gd name="connsiteX12" fmla="*/ 85678 w 4902419"/>
              <a:gd name="connsiteY12" fmla="*/ 540554 h 1016000"/>
              <a:gd name="connsiteX13" fmla="*/ 140456 w 4902419"/>
              <a:gd name="connsiteY13" fmla="*/ 529318 h 1016000"/>
              <a:gd name="connsiteX14" fmla="*/ 358313 w 4902419"/>
              <a:gd name="connsiteY14" fmla="*/ 0 h 1016000"/>
              <a:gd name="connsiteX15" fmla="*/ 4902419 w 4902419"/>
              <a:gd name="connsiteY15" fmla="*/ 0 h 1016000"/>
              <a:gd name="connsiteX16" fmla="*/ 4902419 w 4902419"/>
              <a:gd name="connsiteY16" fmla="*/ 1016000 h 1016000"/>
              <a:gd name="connsiteX17" fmla="*/ 238753 w 4902419"/>
              <a:gd name="connsiteY17" fmla="*/ 1016000 h 1016000"/>
              <a:gd name="connsiteX18" fmla="*/ 281615 w 4902419"/>
              <a:gd name="connsiteY18" fmla="*/ 1003006 h 1016000"/>
              <a:gd name="connsiteX19" fmla="*/ 391873 w 4902419"/>
              <a:gd name="connsiteY19" fmla="*/ 928564 h 1016000"/>
              <a:gd name="connsiteX20" fmla="*/ 464209 w 4902419"/>
              <a:gd name="connsiteY20" fmla="*/ 816550 h 1016000"/>
              <a:gd name="connsiteX21" fmla="*/ 490193 w 4902419"/>
              <a:gd name="connsiteY21" fmla="*/ 677498 h 1016000"/>
              <a:gd name="connsiteX22" fmla="*/ 470529 w 4902419"/>
              <a:gd name="connsiteY22" fmla="*/ 549683 h 1016000"/>
              <a:gd name="connsiteX23" fmla="*/ 415049 w 4902419"/>
              <a:gd name="connsiteY23" fmla="*/ 451012 h 1016000"/>
              <a:gd name="connsiteX24" fmla="*/ 328668 w 4902419"/>
              <a:gd name="connsiteY24" fmla="*/ 387456 h 1016000"/>
              <a:gd name="connsiteX25" fmla="*/ 215600 w 4902419"/>
              <a:gd name="connsiteY25" fmla="*/ 364983 h 1016000"/>
              <a:gd name="connsiteX26" fmla="*/ 4213 w 4902419"/>
              <a:gd name="connsiteY26" fmla="*/ 464004 h 1016000"/>
              <a:gd name="connsiteX27" fmla="*/ 0 w 4902419"/>
              <a:gd name="connsiteY27" fmla="*/ 464004 h 1016000"/>
              <a:gd name="connsiteX28" fmla="*/ 20015 w 4902419"/>
              <a:gd name="connsiteY28" fmla="*/ 337945 h 1016000"/>
              <a:gd name="connsiteX29" fmla="*/ 71281 w 4902419"/>
              <a:gd name="connsiteY29" fmla="*/ 241381 h 1016000"/>
              <a:gd name="connsiteX30" fmla="*/ 149586 w 4902419"/>
              <a:gd name="connsiteY30" fmla="*/ 179580 h 1016000"/>
              <a:gd name="connsiteX31" fmla="*/ 251417 w 4902419"/>
              <a:gd name="connsiteY31" fmla="*/ 157809 h 1016000"/>
              <a:gd name="connsiteX32" fmla="*/ 418560 w 4902419"/>
              <a:gd name="connsiteY32" fmla="*/ 201351 h 1016000"/>
              <a:gd name="connsiteX33" fmla="*/ 418560 w 4902419"/>
              <a:gd name="connsiteY33" fmla="*/ 15948 h 10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902419" h="1016000">
                <a:moveTo>
                  <a:pt x="140456" y="529318"/>
                </a:moveTo>
                <a:cubicBezTo>
                  <a:pt x="228944" y="529318"/>
                  <a:pt x="273188" y="583393"/>
                  <a:pt x="273188" y="691545"/>
                </a:cubicBezTo>
                <a:cubicBezTo>
                  <a:pt x="273188" y="716359"/>
                  <a:pt x="270144" y="739183"/>
                  <a:pt x="264058" y="760018"/>
                </a:cubicBezTo>
                <a:cubicBezTo>
                  <a:pt x="257972" y="780852"/>
                  <a:pt x="249193" y="798643"/>
                  <a:pt x="237722" y="813391"/>
                </a:cubicBezTo>
                <a:cubicBezTo>
                  <a:pt x="226252" y="828139"/>
                  <a:pt x="212440" y="839610"/>
                  <a:pt x="196288" y="847803"/>
                </a:cubicBezTo>
                <a:cubicBezTo>
                  <a:pt x="180135" y="855996"/>
                  <a:pt x="161993" y="860093"/>
                  <a:pt x="141861" y="860093"/>
                </a:cubicBezTo>
                <a:cubicBezTo>
                  <a:pt x="121729" y="860093"/>
                  <a:pt x="103469" y="855411"/>
                  <a:pt x="87083" y="846047"/>
                </a:cubicBezTo>
                <a:cubicBezTo>
                  <a:pt x="70696" y="836683"/>
                  <a:pt x="56533" y="823925"/>
                  <a:pt x="44595" y="807773"/>
                </a:cubicBezTo>
                <a:cubicBezTo>
                  <a:pt x="32656" y="791620"/>
                  <a:pt x="23409" y="772776"/>
                  <a:pt x="16854" y="751239"/>
                </a:cubicBezTo>
                <a:cubicBezTo>
                  <a:pt x="10300" y="729702"/>
                  <a:pt x="7023" y="706527"/>
                  <a:pt x="7023" y="681713"/>
                </a:cubicBezTo>
                <a:cubicBezTo>
                  <a:pt x="7023" y="659240"/>
                  <a:pt x="10183" y="638757"/>
                  <a:pt x="16503" y="620263"/>
                </a:cubicBezTo>
                <a:cubicBezTo>
                  <a:pt x="22824" y="601770"/>
                  <a:pt x="31837" y="585734"/>
                  <a:pt x="43541" y="572157"/>
                </a:cubicBezTo>
                <a:cubicBezTo>
                  <a:pt x="55246" y="558579"/>
                  <a:pt x="69292" y="548045"/>
                  <a:pt x="85678" y="540554"/>
                </a:cubicBezTo>
                <a:cubicBezTo>
                  <a:pt x="102065" y="533063"/>
                  <a:pt x="120324" y="529318"/>
                  <a:pt x="140456" y="529318"/>
                </a:cubicBezTo>
                <a:close/>
                <a:moveTo>
                  <a:pt x="358313" y="0"/>
                </a:moveTo>
                <a:lnTo>
                  <a:pt x="4902419" y="0"/>
                </a:lnTo>
                <a:lnTo>
                  <a:pt x="4902419" y="1016000"/>
                </a:lnTo>
                <a:lnTo>
                  <a:pt x="238753" y="1016000"/>
                </a:lnTo>
                <a:lnTo>
                  <a:pt x="281615" y="1003006"/>
                </a:lnTo>
                <a:cubicBezTo>
                  <a:pt x="324220" y="984981"/>
                  <a:pt x="360973" y="960167"/>
                  <a:pt x="391873" y="928564"/>
                </a:cubicBezTo>
                <a:cubicBezTo>
                  <a:pt x="422774" y="896962"/>
                  <a:pt x="446886" y="859624"/>
                  <a:pt x="464209" y="816550"/>
                </a:cubicBezTo>
                <a:cubicBezTo>
                  <a:pt x="481531" y="773477"/>
                  <a:pt x="490193" y="727126"/>
                  <a:pt x="490193" y="677498"/>
                </a:cubicBezTo>
                <a:cubicBezTo>
                  <a:pt x="490193" y="630679"/>
                  <a:pt x="483638" y="588074"/>
                  <a:pt x="470529" y="549683"/>
                </a:cubicBezTo>
                <a:cubicBezTo>
                  <a:pt x="457420" y="511291"/>
                  <a:pt x="438926" y="478401"/>
                  <a:pt x="415049" y="451012"/>
                </a:cubicBezTo>
                <a:cubicBezTo>
                  <a:pt x="391171" y="423623"/>
                  <a:pt x="362378" y="402438"/>
                  <a:pt x="328668" y="387456"/>
                </a:cubicBezTo>
                <a:cubicBezTo>
                  <a:pt x="294958" y="372474"/>
                  <a:pt x="257269" y="364983"/>
                  <a:pt x="215600" y="364983"/>
                </a:cubicBezTo>
                <a:cubicBezTo>
                  <a:pt x="122431" y="364983"/>
                  <a:pt x="51969" y="397990"/>
                  <a:pt x="4213" y="464004"/>
                </a:cubicBezTo>
                <a:lnTo>
                  <a:pt x="0" y="464004"/>
                </a:lnTo>
                <a:cubicBezTo>
                  <a:pt x="936" y="417654"/>
                  <a:pt x="7608" y="375634"/>
                  <a:pt x="20015" y="337945"/>
                </a:cubicBezTo>
                <a:cubicBezTo>
                  <a:pt x="32422" y="300255"/>
                  <a:pt x="49511" y="268068"/>
                  <a:pt x="71281" y="241381"/>
                </a:cubicBezTo>
                <a:cubicBezTo>
                  <a:pt x="93052" y="214694"/>
                  <a:pt x="119154" y="194094"/>
                  <a:pt x="149586" y="179580"/>
                </a:cubicBezTo>
                <a:cubicBezTo>
                  <a:pt x="180018" y="165066"/>
                  <a:pt x="213962" y="157809"/>
                  <a:pt x="251417" y="157809"/>
                </a:cubicBezTo>
                <a:cubicBezTo>
                  <a:pt x="311813" y="157809"/>
                  <a:pt x="367528" y="172323"/>
                  <a:pt x="418560" y="201351"/>
                </a:cubicBezTo>
                <a:lnTo>
                  <a:pt x="418560" y="15948"/>
                </a:lnTo>
                <a:close/>
              </a:path>
            </a:pathLst>
          </a:custGeom>
          <a:solidFill>
            <a:srgbClr val="CC99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Freeform: Shape 21">
            <a:extLst>
              <a:ext uri="{FF2B5EF4-FFF2-40B4-BE49-F238E27FC236}">
                <a16:creationId xmlns:a16="http://schemas.microsoft.com/office/drawing/2014/main" id="{73DC60B2-9536-485A-89A0-AAB1440A145C}"/>
              </a:ext>
            </a:extLst>
          </p:cNvPr>
          <p:cNvSpPr/>
          <p:nvPr/>
        </p:nvSpPr>
        <p:spPr>
          <a:xfrm>
            <a:off x="966015" y="5186184"/>
            <a:ext cx="4770429" cy="1016000"/>
          </a:xfrm>
          <a:custGeom>
            <a:avLst/>
            <a:gdLst/>
            <a:ahLst/>
            <a:cxnLst/>
            <a:rect l="l" t="t" r="r" b="b"/>
            <a:pathLst>
              <a:path w="4770429" h="1016000">
                <a:moveTo>
                  <a:pt x="9547" y="0"/>
                </a:moveTo>
                <a:lnTo>
                  <a:pt x="4770429" y="0"/>
                </a:lnTo>
                <a:lnTo>
                  <a:pt x="4770429" y="1016000"/>
                </a:lnTo>
                <a:lnTo>
                  <a:pt x="0" y="1016000"/>
                </a:lnTo>
                <a:lnTo>
                  <a:pt x="32137" y="1009502"/>
                </a:lnTo>
                <a:cubicBezTo>
                  <a:pt x="79659" y="995808"/>
                  <a:pt x="120625" y="975266"/>
                  <a:pt x="155037" y="947877"/>
                </a:cubicBezTo>
                <a:cubicBezTo>
                  <a:pt x="223861" y="893099"/>
                  <a:pt x="258273" y="818657"/>
                  <a:pt x="258273" y="724551"/>
                </a:cubicBezTo>
                <a:cubicBezTo>
                  <a:pt x="258273" y="662282"/>
                  <a:pt x="237672" y="609728"/>
                  <a:pt x="196472" y="566889"/>
                </a:cubicBezTo>
                <a:cubicBezTo>
                  <a:pt x="155271" y="524050"/>
                  <a:pt x="99088" y="498182"/>
                  <a:pt x="27924" y="489287"/>
                </a:cubicBezTo>
                <a:lnTo>
                  <a:pt x="27924" y="485775"/>
                </a:lnTo>
                <a:cubicBezTo>
                  <a:pt x="161357" y="452534"/>
                  <a:pt x="228074" y="370133"/>
                  <a:pt x="228074" y="238572"/>
                </a:cubicBezTo>
                <a:cubicBezTo>
                  <a:pt x="228074" y="164598"/>
                  <a:pt x="199398" y="104436"/>
                  <a:pt x="142045" y="58085"/>
                </a:cubicBezTo>
                <a:cubicBezTo>
                  <a:pt x="113369" y="34910"/>
                  <a:pt x="78986" y="17528"/>
                  <a:pt x="38897" y="5940"/>
                </a:cubicBezTo>
                <a:lnTo>
                  <a:pt x="9547" y="0"/>
                </a:lnTo>
                <a:close/>
              </a:path>
            </a:pathLst>
          </a:custGeom>
          <a:solidFill>
            <a:srgbClr val="CC00FF"/>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Freeform: Shape 24">
            <a:extLst>
              <a:ext uri="{FF2B5EF4-FFF2-40B4-BE49-F238E27FC236}">
                <a16:creationId xmlns:a16="http://schemas.microsoft.com/office/drawing/2014/main" id="{C18502A1-58A6-408C-A76D-ADDD717F67F9}"/>
              </a:ext>
            </a:extLst>
          </p:cNvPr>
          <p:cNvSpPr/>
          <p:nvPr/>
        </p:nvSpPr>
        <p:spPr>
          <a:xfrm>
            <a:off x="6614012" y="2160107"/>
            <a:ext cx="5004084" cy="1016000"/>
          </a:xfrm>
          <a:custGeom>
            <a:avLst/>
            <a:gdLst>
              <a:gd name="connsiteX0" fmla="*/ 246543 w 5004084"/>
              <a:gd name="connsiteY0" fmla="*/ 282326 h 1016000"/>
              <a:gd name="connsiteX1" fmla="*/ 246543 w 5004084"/>
              <a:gd name="connsiteY1" fmla="*/ 643490 h 1016000"/>
              <a:gd name="connsiteX2" fmla="*/ 0 w 5004084"/>
              <a:gd name="connsiteY2" fmla="*/ 643490 h 1016000"/>
              <a:gd name="connsiteX3" fmla="*/ 64159 w 5004084"/>
              <a:gd name="connsiteY3" fmla="*/ 561669 h 1016000"/>
              <a:gd name="connsiteX4" fmla="*/ 129760 w 5004084"/>
              <a:gd name="connsiteY4" fmla="*/ 471558 h 1016000"/>
              <a:gd name="connsiteX5" fmla="*/ 191756 w 5004084"/>
              <a:gd name="connsiteY5" fmla="*/ 377122 h 1016000"/>
              <a:gd name="connsiteX6" fmla="*/ 246543 w 5004084"/>
              <a:gd name="connsiteY6" fmla="*/ 282326 h 1016000"/>
              <a:gd name="connsiteX7" fmla="*/ 454158 w 5004084"/>
              <a:gd name="connsiteY7" fmla="*/ 0 h 1016000"/>
              <a:gd name="connsiteX8" fmla="*/ 5004084 w 5004084"/>
              <a:gd name="connsiteY8" fmla="*/ 0 h 1016000"/>
              <a:gd name="connsiteX9" fmla="*/ 5004084 w 5004084"/>
              <a:gd name="connsiteY9" fmla="*/ 1016000 h 1016000"/>
              <a:gd name="connsiteX10" fmla="*/ 454158 w 5004084"/>
              <a:gd name="connsiteY10" fmla="*/ 1016000 h 1016000"/>
              <a:gd name="connsiteX11" fmla="*/ 454158 w 5004084"/>
              <a:gd name="connsiteY11" fmla="*/ 813619 h 1016000"/>
              <a:gd name="connsiteX12" fmla="*/ 578150 w 5004084"/>
              <a:gd name="connsiteY12" fmla="*/ 813619 h 1016000"/>
              <a:gd name="connsiteX13" fmla="*/ 578150 w 5004084"/>
              <a:gd name="connsiteY13" fmla="*/ 643490 h 1016000"/>
              <a:gd name="connsiteX14" fmla="*/ 454158 w 5004084"/>
              <a:gd name="connsiteY14" fmla="*/ 643490 h 10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04084" h="1016000">
                <a:moveTo>
                  <a:pt x="246543" y="282326"/>
                </a:moveTo>
                <a:lnTo>
                  <a:pt x="246543" y="643490"/>
                </a:lnTo>
                <a:lnTo>
                  <a:pt x="0" y="643490"/>
                </a:lnTo>
                <a:cubicBezTo>
                  <a:pt x="20666" y="618018"/>
                  <a:pt x="42052" y="590745"/>
                  <a:pt x="64159" y="561669"/>
                </a:cubicBezTo>
                <a:cubicBezTo>
                  <a:pt x="86266" y="532593"/>
                  <a:pt x="108133" y="502556"/>
                  <a:pt x="129760" y="471558"/>
                </a:cubicBezTo>
                <a:cubicBezTo>
                  <a:pt x="151387" y="440560"/>
                  <a:pt x="172052" y="409081"/>
                  <a:pt x="191756" y="377122"/>
                </a:cubicBezTo>
                <a:cubicBezTo>
                  <a:pt x="211460" y="345163"/>
                  <a:pt x="229723" y="313564"/>
                  <a:pt x="246543" y="282326"/>
                </a:cubicBezTo>
                <a:close/>
                <a:moveTo>
                  <a:pt x="454158" y="0"/>
                </a:moveTo>
                <a:lnTo>
                  <a:pt x="5004084" y="0"/>
                </a:lnTo>
                <a:lnTo>
                  <a:pt x="5004084" y="1016000"/>
                </a:lnTo>
                <a:lnTo>
                  <a:pt x="454158" y="1016000"/>
                </a:lnTo>
                <a:lnTo>
                  <a:pt x="454158" y="813619"/>
                </a:lnTo>
                <a:lnTo>
                  <a:pt x="578150" y="813619"/>
                </a:lnTo>
                <a:lnTo>
                  <a:pt x="578150" y="643490"/>
                </a:lnTo>
                <a:lnTo>
                  <a:pt x="454158" y="643490"/>
                </a:lnTo>
                <a:close/>
              </a:path>
            </a:pathLst>
          </a:custGeom>
          <a:solidFill>
            <a:srgbClr val="FF0066"/>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Freeform: Shape 25">
            <a:extLst>
              <a:ext uri="{FF2B5EF4-FFF2-40B4-BE49-F238E27FC236}">
                <a16:creationId xmlns:a16="http://schemas.microsoft.com/office/drawing/2014/main" id="{FE39B433-F08E-4560-8AEB-A846838F9124}"/>
              </a:ext>
            </a:extLst>
          </p:cNvPr>
          <p:cNvSpPr/>
          <p:nvPr/>
        </p:nvSpPr>
        <p:spPr>
          <a:xfrm>
            <a:off x="573904" y="2143912"/>
            <a:ext cx="438299" cy="1036364"/>
          </a:xfrm>
          <a:custGeom>
            <a:avLst/>
            <a:gdLst>
              <a:gd name="connsiteX0" fmla="*/ 303274 w 438299"/>
              <a:gd name="connsiteY0" fmla="*/ 0 h 1036364"/>
              <a:gd name="connsiteX1" fmla="*/ 438299 w 438299"/>
              <a:gd name="connsiteY1" fmla="*/ 0 h 1036364"/>
              <a:gd name="connsiteX2" fmla="*/ 438299 w 438299"/>
              <a:gd name="connsiteY2" fmla="*/ 8002 h 1036364"/>
              <a:gd name="connsiteX3" fmla="*/ 438299 w 438299"/>
              <a:gd name="connsiteY3" fmla="*/ 8003 h 1036364"/>
              <a:gd name="connsiteX4" fmla="*/ 438299 w 438299"/>
              <a:gd name="connsiteY4" fmla="*/ 1024002 h 1036364"/>
              <a:gd name="connsiteX5" fmla="*/ 438298 w 438299"/>
              <a:gd name="connsiteY5" fmla="*/ 1024002 h 1036364"/>
              <a:gd name="connsiteX6" fmla="*/ 438298 w 438299"/>
              <a:gd name="connsiteY6" fmla="*/ 1036364 h 1036364"/>
              <a:gd name="connsiteX7" fmla="*/ 215614 w 438299"/>
              <a:gd name="connsiteY7" fmla="*/ 1036364 h 1036364"/>
              <a:gd name="connsiteX8" fmla="*/ 215614 w 438299"/>
              <a:gd name="connsiteY8" fmla="*/ 1024002 h 1036364"/>
              <a:gd name="connsiteX9" fmla="*/ 215615 w 438299"/>
              <a:gd name="connsiteY9" fmla="*/ 1024002 h 1036364"/>
              <a:gd name="connsiteX10" fmla="*/ 215615 w 438299"/>
              <a:gd name="connsiteY10" fmla="*/ 251668 h 1036364"/>
              <a:gd name="connsiteX11" fmla="*/ 172138 w 438299"/>
              <a:gd name="connsiteY11" fmla="*/ 282419 h 1036364"/>
              <a:gd name="connsiteX12" fmla="*/ 118765 w 438299"/>
              <a:gd name="connsiteY12" fmla="*/ 308576 h 1036364"/>
              <a:gd name="connsiteX13" fmla="*/ 60089 w 438299"/>
              <a:gd name="connsiteY13" fmla="*/ 328370 h 1036364"/>
              <a:gd name="connsiteX14" fmla="*/ 0 w 438299"/>
              <a:gd name="connsiteY14" fmla="*/ 340034 h 1036364"/>
              <a:gd name="connsiteX15" fmla="*/ 0 w 438299"/>
              <a:gd name="connsiteY15" fmla="*/ 151990 h 1036364"/>
              <a:gd name="connsiteX16" fmla="*/ 164009 w 438299"/>
              <a:gd name="connsiteY16" fmla="*/ 86952 h 1036364"/>
              <a:gd name="connsiteX17" fmla="*/ 290456 w 438299"/>
              <a:gd name="connsiteY17" fmla="*/ 8002 h 1036364"/>
              <a:gd name="connsiteX18" fmla="*/ 290458 w 438299"/>
              <a:gd name="connsiteY18" fmla="*/ 8002 h 103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38299" h="1036364">
                <a:moveTo>
                  <a:pt x="303274" y="0"/>
                </a:moveTo>
                <a:lnTo>
                  <a:pt x="438299" y="0"/>
                </a:lnTo>
                <a:lnTo>
                  <a:pt x="438299" y="8002"/>
                </a:lnTo>
                <a:lnTo>
                  <a:pt x="438299" y="8003"/>
                </a:lnTo>
                <a:lnTo>
                  <a:pt x="438299" y="1024002"/>
                </a:lnTo>
                <a:lnTo>
                  <a:pt x="438298" y="1024002"/>
                </a:lnTo>
                <a:lnTo>
                  <a:pt x="438298" y="1036364"/>
                </a:lnTo>
                <a:lnTo>
                  <a:pt x="215614" y="1036364"/>
                </a:lnTo>
                <a:lnTo>
                  <a:pt x="215614" y="1024002"/>
                </a:lnTo>
                <a:lnTo>
                  <a:pt x="215615" y="1024002"/>
                </a:lnTo>
                <a:lnTo>
                  <a:pt x="215615" y="251668"/>
                </a:lnTo>
                <a:cubicBezTo>
                  <a:pt x="203361" y="262507"/>
                  <a:pt x="188869" y="272758"/>
                  <a:pt x="172138" y="282419"/>
                </a:cubicBezTo>
                <a:cubicBezTo>
                  <a:pt x="155408" y="292081"/>
                  <a:pt x="137616" y="300800"/>
                  <a:pt x="118765" y="308576"/>
                </a:cubicBezTo>
                <a:cubicBezTo>
                  <a:pt x="99913" y="316352"/>
                  <a:pt x="80355" y="322950"/>
                  <a:pt x="60089" y="328370"/>
                </a:cubicBezTo>
                <a:cubicBezTo>
                  <a:pt x="39824" y="333790"/>
                  <a:pt x="19794" y="337678"/>
                  <a:pt x="0" y="340034"/>
                </a:cubicBezTo>
                <a:lnTo>
                  <a:pt x="0" y="151990"/>
                </a:lnTo>
                <a:cubicBezTo>
                  <a:pt x="57969" y="135024"/>
                  <a:pt x="112638" y="113344"/>
                  <a:pt x="164009" y="86952"/>
                </a:cubicBezTo>
                <a:lnTo>
                  <a:pt x="290456" y="8002"/>
                </a:lnTo>
                <a:lnTo>
                  <a:pt x="290458" y="8002"/>
                </a:lnTo>
                <a:close/>
              </a:path>
            </a:pathLst>
          </a:custGeom>
          <a:solidFill>
            <a:srgbClr val="0062A4"/>
          </a:solidFill>
          <a:ln>
            <a:noFill/>
          </a:ln>
          <a:effectLst>
            <a:outerShdw blurRad="101600" dist="38100" sx="103000" sy="103000" algn="l" rotWithShape="0">
              <a:prstClr val="black"/>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Freeform: Shape 26">
            <a:extLst>
              <a:ext uri="{FF2B5EF4-FFF2-40B4-BE49-F238E27FC236}">
                <a16:creationId xmlns:a16="http://schemas.microsoft.com/office/drawing/2014/main" id="{E50E363D-FEB5-425F-A5E6-A1D93BC3DDBB}"/>
              </a:ext>
            </a:extLst>
          </p:cNvPr>
          <p:cNvSpPr/>
          <p:nvPr/>
        </p:nvSpPr>
        <p:spPr>
          <a:xfrm>
            <a:off x="6480145" y="3684430"/>
            <a:ext cx="636947" cy="1031416"/>
          </a:xfrm>
          <a:custGeom>
            <a:avLst/>
            <a:gdLst>
              <a:gd name="connsiteX0" fmla="*/ 53726 w 636947"/>
              <a:gd name="connsiteY0" fmla="*/ 0 h 1031416"/>
              <a:gd name="connsiteX1" fmla="*/ 590288 w 636947"/>
              <a:gd name="connsiteY1" fmla="*/ 0 h 1031416"/>
              <a:gd name="connsiteX2" fmla="*/ 590288 w 636947"/>
              <a:gd name="connsiteY2" fmla="*/ 9196 h 1031416"/>
              <a:gd name="connsiteX3" fmla="*/ 590289 w 636947"/>
              <a:gd name="connsiteY3" fmla="*/ 9196 h 1031416"/>
              <a:gd name="connsiteX4" fmla="*/ 590289 w 636947"/>
              <a:gd name="connsiteY4" fmla="*/ 182389 h 1031416"/>
              <a:gd name="connsiteX5" fmla="*/ 224098 w 636947"/>
              <a:gd name="connsiteY5" fmla="*/ 182389 h 1031416"/>
              <a:gd name="connsiteX6" fmla="*/ 209959 w 636947"/>
              <a:gd name="connsiteY6" fmla="*/ 385279 h 1031416"/>
              <a:gd name="connsiteX7" fmla="*/ 303981 w 636947"/>
              <a:gd name="connsiteY7" fmla="*/ 381037 h 1031416"/>
              <a:gd name="connsiteX8" fmla="*/ 548580 w 636947"/>
              <a:gd name="connsiteY8" fmla="*/ 463042 h 1031416"/>
              <a:gd name="connsiteX9" fmla="*/ 636947 w 636947"/>
              <a:gd name="connsiteY9" fmla="*/ 683605 h 1031416"/>
              <a:gd name="connsiteX10" fmla="*/ 531614 w 636947"/>
              <a:gd name="connsiteY10" fmla="*/ 934213 h 1031416"/>
              <a:gd name="connsiteX11" fmla="*/ 407547 w 636947"/>
              <a:gd name="connsiteY11" fmla="*/ 1007115 h 1031416"/>
              <a:gd name="connsiteX12" fmla="*/ 332069 w 636947"/>
              <a:gd name="connsiteY12" fmla="*/ 1025196 h 1031416"/>
              <a:gd name="connsiteX13" fmla="*/ 331463 w 636947"/>
              <a:gd name="connsiteY13" fmla="*/ 1025341 h 1031416"/>
              <a:gd name="connsiteX14" fmla="*/ 246013 w 636947"/>
              <a:gd name="connsiteY14" fmla="*/ 1031416 h 1031416"/>
              <a:gd name="connsiteX15" fmla="*/ 169564 w 636947"/>
              <a:gd name="connsiteY15" fmla="*/ 1025196 h 1031416"/>
              <a:gd name="connsiteX16" fmla="*/ 111342 w 636947"/>
              <a:gd name="connsiteY16" fmla="*/ 1020459 h 1031416"/>
              <a:gd name="connsiteX17" fmla="*/ 0 w 636947"/>
              <a:gd name="connsiteY17" fmla="*/ 987587 h 1031416"/>
              <a:gd name="connsiteX18" fmla="*/ 0 w 636947"/>
              <a:gd name="connsiteY18" fmla="*/ 796714 h 1031416"/>
              <a:gd name="connsiteX19" fmla="*/ 221270 w 636947"/>
              <a:gd name="connsiteY19" fmla="*/ 860339 h 1031416"/>
              <a:gd name="connsiteX20" fmla="*/ 359476 w 636947"/>
              <a:gd name="connsiteY20" fmla="*/ 818276 h 1031416"/>
              <a:gd name="connsiteX21" fmla="*/ 409314 w 636947"/>
              <a:gd name="connsiteY21" fmla="*/ 704106 h 1031416"/>
              <a:gd name="connsiteX22" fmla="*/ 196527 w 636947"/>
              <a:gd name="connsiteY22" fmla="*/ 553529 h 1031416"/>
              <a:gd name="connsiteX23" fmla="*/ 15552 w 636947"/>
              <a:gd name="connsiteY23" fmla="*/ 565547 h 1031416"/>
              <a:gd name="connsiteX24" fmla="*/ 53107 w 636947"/>
              <a:gd name="connsiteY24" fmla="*/ 9196 h 1031416"/>
              <a:gd name="connsiteX25" fmla="*/ 53106 w 636947"/>
              <a:gd name="connsiteY25" fmla="*/ 9196 h 103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36947" h="1031416">
                <a:moveTo>
                  <a:pt x="53726" y="0"/>
                </a:moveTo>
                <a:lnTo>
                  <a:pt x="590288" y="0"/>
                </a:lnTo>
                <a:lnTo>
                  <a:pt x="590288" y="9196"/>
                </a:lnTo>
                <a:lnTo>
                  <a:pt x="590289" y="9196"/>
                </a:lnTo>
                <a:lnTo>
                  <a:pt x="590289" y="182389"/>
                </a:lnTo>
                <a:lnTo>
                  <a:pt x="224098" y="182389"/>
                </a:lnTo>
                <a:lnTo>
                  <a:pt x="209959" y="385279"/>
                </a:lnTo>
                <a:cubicBezTo>
                  <a:pt x="246248" y="382451"/>
                  <a:pt x="277589" y="381037"/>
                  <a:pt x="303981" y="381037"/>
                </a:cubicBezTo>
                <a:cubicBezTo>
                  <a:pt x="408136" y="381037"/>
                  <a:pt x="489669" y="408372"/>
                  <a:pt x="548580" y="463042"/>
                </a:cubicBezTo>
                <a:cubicBezTo>
                  <a:pt x="607491" y="517711"/>
                  <a:pt x="636947" y="591232"/>
                  <a:pt x="636947" y="683605"/>
                </a:cubicBezTo>
                <a:cubicBezTo>
                  <a:pt x="636947" y="785875"/>
                  <a:pt x="601836" y="869411"/>
                  <a:pt x="531614" y="934213"/>
                </a:cubicBezTo>
                <a:cubicBezTo>
                  <a:pt x="496503" y="966614"/>
                  <a:pt x="455147" y="990915"/>
                  <a:pt x="407547" y="1007115"/>
                </a:cubicBezTo>
                <a:lnTo>
                  <a:pt x="332069" y="1025196"/>
                </a:lnTo>
                <a:lnTo>
                  <a:pt x="331463" y="1025341"/>
                </a:lnTo>
                <a:cubicBezTo>
                  <a:pt x="304541" y="1029391"/>
                  <a:pt x="276058" y="1031416"/>
                  <a:pt x="246013" y="1031416"/>
                </a:cubicBezTo>
                <a:lnTo>
                  <a:pt x="169564" y="1025196"/>
                </a:lnTo>
                <a:lnTo>
                  <a:pt x="111342" y="1020459"/>
                </a:lnTo>
                <a:cubicBezTo>
                  <a:pt x="70340" y="1013154"/>
                  <a:pt x="33226" y="1002197"/>
                  <a:pt x="0" y="987587"/>
                </a:cubicBezTo>
                <a:lnTo>
                  <a:pt x="0" y="796714"/>
                </a:lnTo>
                <a:cubicBezTo>
                  <a:pt x="69279" y="839130"/>
                  <a:pt x="143036" y="860339"/>
                  <a:pt x="221270" y="860339"/>
                </a:cubicBezTo>
                <a:cubicBezTo>
                  <a:pt x="280181" y="860339"/>
                  <a:pt x="326250" y="846318"/>
                  <a:pt x="359476" y="818276"/>
                </a:cubicBezTo>
                <a:cubicBezTo>
                  <a:pt x="392701" y="790234"/>
                  <a:pt x="409314" y="752178"/>
                  <a:pt x="409314" y="704106"/>
                </a:cubicBezTo>
                <a:cubicBezTo>
                  <a:pt x="409314" y="603722"/>
                  <a:pt x="338385" y="553529"/>
                  <a:pt x="196527" y="553529"/>
                </a:cubicBezTo>
                <a:cubicBezTo>
                  <a:pt x="144214" y="553529"/>
                  <a:pt x="83889" y="557535"/>
                  <a:pt x="15552" y="565547"/>
                </a:cubicBezTo>
                <a:lnTo>
                  <a:pt x="53107" y="9196"/>
                </a:lnTo>
                <a:lnTo>
                  <a:pt x="53106" y="9196"/>
                </a:lnTo>
                <a:close/>
              </a:path>
            </a:pathLst>
          </a:custGeom>
          <a:solidFill>
            <a:srgbClr val="A24200"/>
          </a:solidFill>
          <a:ln>
            <a:noFill/>
          </a:ln>
          <a:effectLst>
            <a:outerShdw blurRad="101600" dist="38100" sx="103000" sy="103000" algn="l" rotWithShape="0">
              <a:prstClr val="black"/>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Freeform: Shape 27">
            <a:extLst>
              <a:ext uri="{FF2B5EF4-FFF2-40B4-BE49-F238E27FC236}">
                <a16:creationId xmlns:a16="http://schemas.microsoft.com/office/drawing/2014/main" id="{AF335D9C-3A4B-4871-8888-55B6AA58533C}"/>
              </a:ext>
            </a:extLst>
          </p:cNvPr>
          <p:cNvSpPr/>
          <p:nvPr/>
        </p:nvSpPr>
        <p:spPr>
          <a:xfrm>
            <a:off x="558909" y="3672708"/>
            <a:ext cx="675828" cy="1030708"/>
          </a:xfrm>
          <a:custGeom>
            <a:avLst/>
            <a:gdLst>
              <a:gd name="connsiteX0" fmla="*/ 347105 w 675828"/>
              <a:gd name="connsiteY0" fmla="*/ 0 h 1030708"/>
              <a:gd name="connsiteX1" fmla="*/ 420184 w 675828"/>
              <a:gd name="connsiteY1" fmla="*/ 5037 h 1030708"/>
              <a:gd name="connsiteX2" fmla="*/ 435955 w 675828"/>
              <a:gd name="connsiteY2" fmla="*/ 8696 h 1030708"/>
              <a:gd name="connsiteX3" fmla="*/ 435958 w 675828"/>
              <a:gd name="connsiteY3" fmla="*/ 8696 h 1030708"/>
              <a:gd name="connsiteX4" fmla="*/ 485309 w 675828"/>
              <a:gd name="connsiteY4" fmla="*/ 20146 h 1030708"/>
              <a:gd name="connsiteX5" fmla="*/ 588875 w 675828"/>
              <a:gd name="connsiteY5" fmla="*/ 77762 h 1030708"/>
              <a:gd name="connsiteX6" fmla="*/ 653560 w 675828"/>
              <a:gd name="connsiteY6" fmla="*/ 168603 h 1030708"/>
              <a:gd name="connsiteX7" fmla="*/ 675828 w 675828"/>
              <a:gd name="connsiteY7" fmla="*/ 287721 h 1030708"/>
              <a:gd name="connsiteX8" fmla="*/ 654267 w 675828"/>
              <a:gd name="connsiteY8" fmla="*/ 412141 h 1030708"/>
              <a:gd name="connsiteX9" fmla="*/ 597005 w 675828"/>
              <a:gd name="connsiteY9" fmla="*/ 511112 h 1030708"/>
              <a:gd name="connsiteX10" fmla="*/ 514647 w 675828"/>
              <a:gd name="connsiteY10" fmla="*/ 592763 h 1030708"/>
              <a:gd name="connsiteX11" fmla="*/ 417797 w 675828"/>
              <a:gd name="connsiteY11" fmla="*/ 664517 h 1030708"/>
              <a:gd name="connsiteX12" fmla="*/ 352406 w 675828"/>
              <a:gd name="connsiteY12" fmla="*/ 712235 h 1030708"/>
              <a:gd name="connsiteX13" fmla="*/ 296912 w 675828"/>
              <a:gd name="connsiteY13" fmla="*/ 758892 h 1030708"/>
              <a:gd name="connsiteX14" fmla="*/ 258737 w 675828"/>
              <a:gd name="connsiteY14" fmla="*/ 803783 h 1030708"/>
              <a:gd name="connsiteX15" fmla="*/ 244599 w 675828"/>
              <a:gd name="connsiteY15" fmla="*/ 845492 h 1030708"/>
              <a:gd name="connsiteX16" fmla="*/ 674414 w 675828"/>
              <a:gd name="connsiteY16" fmla="*/ 845492 h 1030708"/>
              <a:gd name="connsiteX17" fmla="*/ 674414 w 675828"/>
              <a:gd name="connsiteY17" fmla="*/ 1024696 h 1030708"/>
              <a:gd name="connsiteX18" fmla="*/ 674414 w 675828"/>
              <a:gd name="connsiteY18" fmla="*/ 1030708 h 1030708"/>
              <a:gd name="connsiteX19" fmla="*/ 0 w 675828"/>
              <a:gd name="connsiteY19" fmla="*/ 1030708 h 1030708"/>
              <a:gd name="connsiteX20" fmla="*/ 0 w 675828"/>
              <a:gd name="connsiteY20" fmla="*/ 1024696 h 1030708"/>
              <a:gd name="connsiteX21" fmla="*/ 0 w 675828"/>
              <a:gd name="connsiteY21" fmla="*/ 954359 h 1030708"/>
              <a:gd name="connsiteX22" fmla="*/ 26156 w 675828"/>
              <a:gd name="connsiteY22" fmla="*/ 814740 h 1030708"/>
              <a:gd name="connsiteX23" fmla="*/ 91901 w 675828"/>
              <a:gd name="connsiteY23" fmla="*/ 703751 h 1030708"/>
              <a:gd name="connsiteX24" fmla="*/ 178500 w 675828"/>
              <a:gd name="connsiteY24" fmla="*/ 616799 h 1030708"/>
              <a:gd name="connsiteX25" fmla="*/ 267927 w 675828"/>
              <a:gd name="connsiteY25" fmla="*/ 548579 h 1030708"/>
              <a:gd name="connsiteX26" fmla="*/ 346044 w 675828"/>
              <a:gd name="connsiteY26" fmla="*/ 487783 h 1030708"/>
              <a:gd name="connsiteX27" fmla="*/ 402598 w 675828"/>
              <a:gd name="connsiteY27" fmla="*/ 430168 h 1030708"/>
              <a:gd name="connsiteX28" fmla="*/ 436884 w 675828"/>
              <a:gd name="connsiteY28" fmla="*/ 372200 h 1030708"/>
              <a:gd name="connsiteX29" fmla="*/ 448195 w 675828"/>
              <a:gd name="connsiteY29" fmla="*/ 309636 h 1030708"/>
              <a:gd name="connsiteX30" fmla="*/ 411435 w 675828"/>
              <a:gd name="connsiteY30" fmla="*/ 211372 h 1030708"/>
              <a:gd name="connsiteX31" fmla="*/ 299032 w 675828"/>
              <a:gd name="connsiteY31" fmla="*/ 178146 h 1030708"/>
              <a:gd name="connsiteX32" fmla="*/ 48778 w 675828"/>
              <a:gd name="connsiteY32" fmla="*/ 282066 h 1030708"/>
              <a:gd name="connsiteX33" fmla="*/ 48778 w 675828"/>
              <a:gd name="connsiteY33" fmla="*/ 85538 h 1030708"/>
              <a:gd name="connsiteX34" fmla="*/ 189458 w 675828"/>
              <a:gd name="connsiteY34" fmla="*/ 21384 h 1030708"/>
              <a:gd name="connsiteX35" fmla="*/ 250135 w 675828"/>
              <a:gd name="connsiteY35" fmla="*/ 8696 h 1030708"/>
              <a:gd name="connsiteX36" fmla="*/ 250141 w 675828"/>
              <a:gd name="connsiteY36" fmla="*/ 8696 h 1030708"/>
              <a:gd name="connsiteX37" fmla="*/ 266161 w 675828"/>
              <a:gd name="connsiteY37" fmla="*/ 5346 h 1030708"/>
              <a:gd name="connsiteX38" fmla="*/ 347105 w 675828"/>
              <a:gd name="connsiteY38" fmla="*/ 0 h 1030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75828" h="1030708">
                <a:moveTo>
                  <a:pt x="347105" y="0"/>
                </a:moveTo>
                <a:cubicBezTo>
                  <a:pt x="372790" y="0"/>
                  <a:pt x="397150" y="1679"/>
                  <a:pt x="420184" y="5037"/>
                </a:cubicBezTo>
                <a:lnTo>
                  <a:pt x="435955" y="8696"/>
                </a:lnTo>
                <a:lnTo>
                  <a:pt x="435958" y="8696"/>
                </a:lnTo>
                <a:lnTo>
                  <a:pt x="485309" y="20146"/>
                </a:lnTo>
                <a:cubicBezTo>
                  <a:pt x="526076" y="33578"/>
                  <a:pt x="560598" y="52783"/>
                  <a:pt x="588875" y="77762"/>
                </a:cubicBezTo>
                <a:cubicBezTo>
                  <a:pt x="617153" y="102740"/>
                  <a:pt x="638714" y="133020"/>
                  <a:pt x="653560" y="168603"/>
                </a:cubicBezTo>
                <a:cubicBezTo>
                  <a:pt x="668405" y="204185"/>
                  <a:pt x="675828" y="243891"/>
                  <a:pt x="675828" y="287721"/>
                </a:cubicBezTo>
                <a:cubicBezTo>
                  <a:pt x="675828" y="334379"/>
                  <a:pt x="668641" y="375852"/>
                  <a:pt x="654267" y="412141"/>
                </a:cubicBezTo>
                <a:cubicBezTo>
                  <a:pt x="639892" y="448431"/>
                  <a:pt x="620805" y="481421"/>
                  <a:pt x="597005" y="511112"/>
                </a:cubicBezTo>
                <a:cubicBezTo>
                  <a:pt x="573205" y="540803"/>
                  <a:pt x="545752" y="568020"/>
                  <a:pt x="514647" y="592763"/>
                </a:cubicBezTo>
                <a:cubicBezTo>
                  <a:pt x="483542" y="617505"/>
                  <a:pt x="451259" y="641423"/>
                  <a:pt x="417797" y="664517"/>
                </a:cubicBezTo>
                <a:cubicBezTo>
                  <a:pt x="395175" y="680540"/>
                  <a:pt x="373378" y="696446"/>
                  <a:pt x="352406" y="712235"/>
                </a:cubicBezTo>
                <a:cubicBezTo>
                  <a:pt x="331434" y="728023"/>
                  <a:pt x="312935" y="743575"/>
                  <a:pt x="296912" y="758892"/>
                </a:cubicBezTo>
                <a:cubicBezTo>
                  <a:pt x="280888" y="774209"/>
                  <a:pt x="268163" y="789173"/>
                  <a:pt x="258737" y="803783"/>
                </a:cubicBezTo>
                <a:cubicBezTo>
                  <a:pt x="249311" y="818392"/>
                  <a:pt x="244599" y="832295"/>
                  <a:pt x="244599" y="845492"/>
                </a:cubicBezTo>
                <a:lnTo>
                  <a:pt x="674414" y="845492"/>
                </a:lnTo>
                <a:lnTo>
                  <a:pt x="674414" y="1024696"/>
                </a:lnTo>
                <a:lnTo>
                  <a:pt x="674414" y="1030708"/>
                </a:lnTo>
                <a:lnTo>
                  <a:pt x="0" y="1030708"/>
                </a:lnTo>
                <a:lnTo>
                  <a:pt x="0" y="1024696"/>
                </a:lnTo>
                <a:lnTo>
                  <a:pt x="0" y="954359"/>
                </a:lnTo>
                <a:cubicBezTo>
                  <a:pt x="0" y="902518"/>
                  <a:pt x="8718" y="855978"/>
                  <a:pt x="26156" y="814740"/>
                </a:cubicBezTo>
                <a:cubicBezTo>
                  <a:pt x="43594" y="773502"/>
                  <a:pt x="65509" y="736506"/>
                  <a:pt x="91901" y="703751"/>
                </a:cubicBezTo>
                <a:cubicBezTo>
                  <a:pt x="118293" y="670997"/>
                  <a:pt x="147160" y="642013"/>
                  <a:pt x="178500" y="616799"/>
                </a:cubicBezTo>
                <a:cubicBezTo>
                  <a:pt x="209841" y="591585"/>
                  <a:pt x="239650" y="568845"/>
                  <a:pt x="267927" y="548579"/>
                </a:cubicBezTo>
                <a:cubicBezTo>
                  <a:pt x="297619" y="527371"/>
                  <a:pt x="323657" y="507106"/>
                  <a:pt x="346044" y="487783"/>
                </a:cubicBezTo>
                <a:cubicBezTo>
                  <a:pt x="368430" y="468460"/>
                  <a:pt x="387281" y="449255"/>
                  <a:pt x="402598" y="430168"/>
                </a:cubicBezTo>
                <a:cubicBezTo>
                  <a:pt x="417915" y="411081"/>
                  <a:pt x="429344" y="391758"/>
                  <a:pt x="436884" y="372200"/>
                </a:cubicBezTo>
                <a:cubicBezTo>
                  <a:pt x="444425" y="352641"/>
                  <a:pt x="448195" y="331786"/>
                  <a:pt x="448195" y="309636"/>
                </a:cubicBezTo>
                <a:cubicBezTo>
                  <a:pt x="448195" y="266277"/>
                  <a:pt x="435942" y="233523"/>
                  <a:pt x="411435" y="211372"/>
                </a:cubicBezTo>
                <a:cubicBezTo>
                  <a:pt x="386928" y="189222"/>
                  <a:pt x="349460" y="178146"/>
                  <a:pt x="299032" y="178146"/>
                </a:cubicBezTo>
                <a:cubicBezTo>
                  <a:pt x="211844" y="178146"/>
                  <a:pt x="128426" y="212786"/>
                  <a:pt x="48778" y="282066"/>
                </a:cubicBezTo>
                <a:lnTo>
                  <a:pt x="48778" y="85538"/>
                </a:lnTo>
                <a:cubicBezTo>
                  <a:pt x="92844" y="57025"/>
                  <a:pt x="139737" y="35640"/>
                  <a:pt x="189458" y="21384"/>
                </a:cubicBezTo>
                <a:lnTo>
                  <a:pt x="250135" y="8696"/>
                </a:lnTo>
                <a:lnTo>
                  <a:pt x="250141" y="8696"/>
                </a:lnTo>
                <a:lnTo>
                  <a:pt x="266161" y="5346"/>
                </a:lnTo>
                <a:cubicBezTo>
                  <a:pt x="292435" y="1782"/>
                  <a:pt x="319417" y="0"/>
                  <a:pt x="347105" y="0"/>
                </a:cubicBezTo>
                <a:close/>
              </a:path>
            </a:pathLst>
          </a:custGeom>
          <a:solidFill>
            <a:srgbClr val="0000B4"/>
          </a:solidFill>
          <a:ln>
            <a:noFill/>
          </a:ln>
          <a:effectLst>
            <a:outerShdw blurRad="101600" dist="38100" sx="103000" sy="103000" algn="l" rotWithShape="0">
              <a:prstClr val="black"/>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Freeform: Shape 28">
            <a:extLst>
              <a:ext uri="{FF2B5EF4-FFF2-40B4-BE49-F238E27FC236}">
                <a16:creationId xmlns:a16="http://schemas.microsoft.com/office/drawing/2014/main" id="{3733AFF2-DD81-472F-91D0-D20283C04E21}"/>
              </a:ext>
            </a:extLst>
          </p:cNvPr>
          <p:cNvSpPr/>
          <p:nvPr/>
        </p:nvSpPr>
        <p:spPr>
          <a:xfrm>
            <a:off x="6449988" y="5175764"/>
            <a:ext cx="709305" cy="1041484"/>
          </a:xfrm>
          <a:custGeom>
            <a:avLst/>
            <a:gdLst>
              <a:gd name="connsiteX0" fmla="*/ 359568 w 709305"/>
              <a:gd name="connsiteY0" fmla="*/ 540757 h 1041484"/>
              <a:gd name="connsiteX1" fmla="*/ 304790 w 709305"/>
              <a:gd name="connsiteY1" fmla="*/ 551993 h 1041484"/>
              <a:gd name="connsiteX2" fmla="*/ 262653 w 709305"/>
              <a:gd name="connsiteY2" fmla="*/ 583596 h 1041484"/>
              <a:gd name="connsiteX3" fmla="*/ 235615 w 709305"/>
              <a:gd name="connsiteY3" fmla="*/ 631702 h 1041484"/>
              <a:gd name="connsiteX4" fmla="*/ 226135 w 709305"/>
              <a:gd name="connsiteY4" fmla="*/ 693152 h 1041484"/>
              <a:gd name="connsiteX5" fmla="*/ 235966 w 709305"/>
              <a:gd name="connsiteY5" fmla="*/ 762678 h 1041484"/>
              <a:gd name="connsiteX6" fmla="*/ 263707 w 709305"/>
              <a:gd name="connsiteY6" fmla="*/ 819212 h 1041484"/>
              <a:gd name="connsiteX7" fmla="*/ 306195 w 709305"/>
              <a:gd name="connsiteY7" fmla="*/ 857486 h 1041484"/>
              <a:gd name="connsiteX8" fmla="*/ 360973 w 709305"/>
              <a:gd name="connsiteY8" fmla="*/ 871532 h 1041484"/>
              <a:gd name="connsiteX9" fmla="*/ 415400 w 709305"/>
              <a:gd name="connsiteY9" fmla="*/ 859242 h 1041484"/>
              <a:gd name="connsiteX10" fmla="*/ 456834 w 709305"/>
              <a:gd name="connsiteY10" fmla="*/ 824830 h 1041484"/>
              <a:gd name="connsiteX11" fmla="*/ 483170 w 709305"/>
              <a:gd name="connsiteY11" fmla="*/ 771457 h 1041484"/>
              <a:gd name="connsiteX12" fmla="*/ 492300 w 709305"/>
              <a:gd name="connsiteY12" fmla="*/ 702984 h 1041484"/>
              <a:gd name="connsiteX13" fmla="*/ 359568 w 709305"/>
              <a:gd name="connsiteY13" fmla="*/ 540757 h 1041484"/>
              <a:gd name="connsiteX14" fmla="*/ 456483 w 709305"/>
              <a:gd name="connsiteY14" fmla="*/ 0 h 1041484"/>
              <a:gd name="connsiteX15" fmla="*/ 560070 w 709305"/>
              <a:gd name="connsiteY15" fmla="*/ 6847 h 1041484"/>
              <a:gd name="connsiteX16" fmla="*/ 577422 w 709305"/>
              <a:gd name="connsiteY16" fmla="*/ 11440 h 1041484"/>
              <a:gd name="connsiteX17" fmla="*/ 577425 w 709305"/>
              <a:gd name="connsiteY17" fmla="*/ 11440 h 1041484"/>
              <a:gd name="connsiteX18" fmla="*/ 637672 w 709305"/>
              <a:gd name="connsiteY18" fmla="*/ 27388 h 1041484"/>
              <a:gd name="connsiteX19" fmla="*/ 637672 w 709305"/>
              <a:gd name="connsiteY19" fmla="*/ 212791 h 1041484"/>
              <a:gd name="connsiteX20" fmla="*/ 470529 w 709305"/>
              <a:gd name="connsiteY20" fmla="*/ 169249 h 1041484"/>
              <a:gd name="connsiteX21" fmla="*/ 368698 w 709305"/>
              <a:gd name="connsiteY21" fmla="*/ 191020 h 1041484"/>
              <a:gd name="connsiteX22" fmla="*/ 290393 w 709305"/>
              <a:gd name="connsiteY22" fmla="*/ 252821 h 1041484"/>
              <a:gd name="connsiteX23" fmla="*/ 239127 w 709305"/>
              <a:gd name="connsiteY23" fmla="*/ 349385 h 1041484"/>
              <a:gd name="connsiteX24" fmla="*/ 219112 w 709305"/>
              <a:gd name="connsiteY24" fmla="*/ 475444 h 1041484"/>
              <a:gd name="connsiteX25" fmla="*/ 223325 w 709305"/>
              <a:gd name="connsiteY25" fmla="*/ 475444 h 1041484"/>
              <a:gd name="connsiteX26" fmla="*/ 434712 w 709305"/>
              <a:gd name="connsiteY26" fmla="*/ 376423 h 1041484"/>
              <a:gd name="connsiteX27" fmla="*/ 547780 w 709305"/>
              <a:gd name="connsiteY27" fmla="*/ 398896 h 1041484"/>
              <a:gd name="connsiteX28" fmla="*/ 634161 w 709305"/>
              <a:gd name="connsiteY28" fmla="*/ 462452 h 1041484"/>
              <a:gd name="connsiteX29" fmla="*/ 689641 w 709305"/>
              <a:gd name="connsiteY29" fmla="*/ 561123 h 1041484"/>
              <a:gd name="connsiteX30" fmla="*/ 709305 w 709305"/>
              <a:gd name="connsiteY30" fmla="*/ 688938 h 1041484"/>
              <a:gd name="connsiteX31" fmla="*/ 683321 w 709305"/>
              <a:gd name="connsiteY31" fmla="*/ 827990 h 1041484"/>
              <a:gd name="connsiteX32" fmla="*/ 610985 w 709305"/>
              <a:gd name="connsiteY32" fmla="*/ 940004 h 1041484"/>
              <a:gd name="connsiteX33" fmla="*/ 500727 w 709305"/>
              <a:gd name="connsiteY33" fmla="*/ 1014446 h 1041484"/>
              <a:gd name="connsiteX34" fmla="*/ 457865 w 709305"/>
              <a:gd name="connsiteY34" fmla="*/ 1027440 h 1041484"/>
              <a:gd name="connsiteX35" fmla="*/ 433835 w 709305"/>
              <a:gd name="connsiteY35" fmla="*/ 1034725 h 1041484"/>
              <a:gd name="connsiteX36" fmla="*/ 360973 w 709305"/>
              <a:gd name="connsiteY36" fmla="*/ 1041484 h 1041484"/>
              <a:gd name="connsiteX37" fmla="*/ 280474 w 709305"/>
              <a:gd name="connsiteY37" fmla="*/ 1033584 h 1041484"/>
              <a:gd name="connsiteX38" fmla="*/ 261928 w 709305"/>
              <a:gd name="connsiteY38" fmla="*/ 1027440 h 1041484"/>
              <a:gd name="connsiteX39" fmla="*/ 208929 w 709305"/>
              <a:gd name="connsiteY39" fmla="*/ 1009882 h 1041484"/>
              <a:gd name="connsiteX40" fmla="*/ 95510 w 709305"/>
              <a:gd name="connsiteY40" fmla="*/ 918234 h 1041484"/>
              <a:gd name="connsiteX41" fmla="*/ 24579 w 709305"/>
              <a:gd name="connsiteY41" fmla="*/ 771105 h 1041484"/>
              <a:gd name="connsiteX42" fmla="*/ 0 w 709305"/>
              <a:gd name="connsiteY42" fmla="*/ 573764 h 1041484"/>
              <a:gd name="connsiteX43" fmla="*/ 31953 w 709305"/>
              <a:gd name="connsiteY43" fmla="*/ 338148 h 1041484"/>
              <a:gd name="connsiteX44" fmla="*/ 123250 w 709305"/>
              <a:gd name="connsiteY44" fmla="*/ 157310 h 1041484"/>
              <a:gd name="connsiteX45" fmla="*/ 266867 w 709305"/>
              <a:gd name="connsiteY45" fmla="*/ 41082 h 1041484"/>
              <a:gd name="connsiteX46" fmla="*/ 353008 w 709305"/>
              <a:gd name="connsiteY46" fmla="*/ 11440 h 1041484"/>
              <a:gd name="connsiteX47" fmla="*/ 353011 w 709305"/>
              <a:gd name="connsiteY47" fmla="*/ 11440 h 1041484"/>
              <a:gd name="connsiteX48" fmla="*/ 356408 w 709305"/>
              <a:gd name="connsiteY48" fmla="*/ 10271 h 1041484"/>
              <a:gd name="connsiteX49" fmla="*/ 456483 w 709305"/>
              <a:gd name="connsiteY49" fmla="*/ 0 h 1041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09305" h="1041484">
                <a:moveTo>
                  <a:pt x="359568" y="540757"/>
                </a:moveTo>
                <a:cubicBezTo>
                  <a:pt x="339436" y="540757"/>
                  <a:pt x="321177" y="544502"/>
                  <a:pt x="304790" y="551993"/>
                </a:cubicBezTo>
                <a:cubicBezTo>
                  <a:pt x="288404" y="559484"/>
                  <a:pt x="274358" y="570018"/>
                  <a:pt x="262653" y="583596"/>
                </a:cubicBezTo>
                <a:cubicBezTo>
                  <a:pt x="250949" y="597173"/>
                  <a:pt x="241936" y="613209"/>
                  <a:pt x="235615" y="631702"/>
                </a:cubicBezTo>
                <a:cubicBezTo>
                  <a:pt x="229295" y="650196"/>
                  <a:pt x="226135" y="670679"/>
                  <a:pt x="226135" y="693152"/>
                </a:cubicBezTo>
                <a:cubicBezTo>
                  <a:pt x="226135" y="717966"/>
                  <a:pt x="229412" y="741141"/>
                  <a:pt x="235966" y="762678"/>
                </a:cubicBezTo>
                <a:cubicBezTo>
                  <a:pt x="242521" y="784215"/>
                  <a:pt x="251768" y="803059"/>
                  <a:pt x="263707" y="819212"/>
                </a:cubicBezTo>
                <a:cubicBezTo>
                  <a:pt x="275645" y="835364"/>
                  <a:pt x="289808" y="848122"/>
                  <a:pt x="306195" y="857486"/>
                </a:cubicBezTo>
                <a:cubicBezTo>
                  <a:pt x="322581" y="866850"/>
                  <a:pt x="340841" y="871532"/>
                  <a:pt x="360973" y="871532"/>
                </a:cubicBezTo>
                <a:cubicBezTo>
                  <a:pt x="381105" y="871532"/>
                  <a:pt x="399247" y="867435"/>
                  <a:pt x="415400" y="859242"/>
                </a:cubicBezTo>
                <a:cubicBezTo>
                  <a:pt x="431552" y="851049"/>
                  <a:pt x="445364" y="839578"/>
                  <a:pt x="456834" y="824830"/>
                </a:cubicBezTo>
                <a:cubicBezTo>
                  <a:pt x="468305" y="810082"/>
                  <a:pt x="477084" y="792291"/>
                  <a:pt x="483170" y="771457"/>
                </a:cubicBezTo>
                <a:cubicBezTo>
                  <a:pt x="489256" y="750622"/>
                  <a:pt x="492300" y="727798"/>
                  <a:pt x="492300" y="702984"/>
                </a:cubicBezTo>
                <a:cubicBezTo>
                  <a:pt x="492300" y="594832"/>
                  <a:pt x="448056" y="540757"/>
                  <a:pt x="359568" y="540757"/>
                </a:cubicBezTo>
                <a:close/>
                <a:moveTo>
                  <a:pt x="456483" y="0"/>
                </a:moveTo>
                <a:cubicBezTo>
                  <a:pt x="495343" y="0"/>
                  <a:pt x="529872" y="2283"/>
                  <a:pt x="560070" y="6847"/>
                </a:cubicBezTo>
                <a:lnTo>
                  <a:pt x="577422" y="11440"/>
                </a:lnTo>
                <a:lnTo>
                  <a:pt x="577425" y="11440"/>
                </a:lnTo>
                <a:lnTo>
                  <a:pt x="637672" y="27388"/>
                </a:lnTo>
                <a:lnTo>
                  <a:pt x="637672" y="212791"/>
                </a:lnTo>
                <a:cubicBezTo>
                  <a:pt x="586640" y="183763"/>
                  <a:pt x="530925" y="169249"/>
                  <a:pt x="470529" y="169249"/>
                </a:cubicBezTo>
                <a:cubicBezTo>
                  <a:pt x="433074" y="169249"/>
                  <a:pt x="399130" y="176506"/>
                  <a:pt x="368698" y="191020"/>
                </a:cubicBezTo>
                <a:cubicBezTo>
                  <a:pt x="338266" y="205534"/>
                  <a:pt x="312164" y="226134"/>
                  <a:pt x="290393" y="252821"/>
                </a:cubicBezTo>
                <a:cubicBezTo>
                  <a:pt x="268623" y="279508"/>
                  <a:pt x="251534" y="311695"/>
                  <a:pt x="239127" y="349385"/>
                </a:cubicBezTo>
                <a:cubicBezTo>
                  <a:pt x="226720" y="387074"/>
                  <a:pt x="220048" y="429094"/>
                  <a:pt x="219112" y="475444"/>
                </a:cubicBezTo>
                <a:lnTo>
                  <a:pt x="223325" y="475444"/>
                </a:lnTo>
                <a:cubicBezTo>
                  <a:pt x="271081" y="409430"/>
                  <a:pt x="341543" y="376423"/>
                  <a:pt x="434712" y="376423"/>
                </a:cubicBezTo>
                <a:cubicBezTo>
                  <a:pt x="476381" y="376423"/>
                  <a:pt x="514070" y="383914"/>
                  <a:pt x="547780" y="398896"/>
                </a:cubicBezTo>
                <a:cubicBezTo>
                  <a:pt x="581490" y="413878"/>
                  <a:pt x="610283" y="435063"/>
                  <a:pt x="634161" y="462452"/>
                </a:cubicBezTo>
                <a:cubicBezTo>
                  <a:pt x="658038" y="489841"/>
                  <a:pt x="676532" y="522731"/>
                  <a:pt x="689641" y="561123"/>
                </a:cubicBezTo>
                <a:cubicBezTo>
                  <a:pt x="702750" y="599514"/>
                  <a:pt x="709305" y="642119"/>
                  <a:pt x="709305" y="688938"/>
                </a:cubicBezTo>
                <a:cubicBezTo>
                  <a:pt x="709305" y="738566"/>
                  <a:pt x="700643" y="784917"/>
                  <a:pt x="683321" y="827990"/>
                </a:cubicBezTo>
                <a:cubicBezTo>
                  <a:pt x="665998" y="871064"/>
                  <a:pt x="641886" y="908402"/>
                  <a:pt x="610985" y="940004"/>
                </a:cubicBezTo>
                <a:cubicBezTo>
                  <a:pt x="580085" y="971607"/>
                  <a:pt x="543332" y="996421"/>
                  <a:pt x="500727" y="1014446"/>
                </a:cubicBezTo>
                <a:lnTo>
                  <a:pt x="457865" y="1027440"/>
                </a:lnTo>
                <a:lnTo>
                  <a:pt x="433835" y="1034725"/>
                </a:lnTo>
                <a:cubicBezTo>
                  <a:pt x="410542" y="1039231"/>
                  <a:pt x="386255" y="1041484"/>
                  <a:pt x="360973" y="1041484"/>
                </a:cubicBezTo>
                <a:cubicBezTo>
                  <a:pt x="332648" y="1041484"/>
                  <a:pt x="305815" y="1038851"/>
                  <a:pt x="280474" y="1033584"/>
                </a:cubicBezTo>
                <a:lnTo>
                  <a:pt x="261928" y="1027440"/>
                </a:lnTo>
                <a:lnTo>
                  <a:pt x="208929" y="1009882"/>
                </a:lnTo>
                <a:cubicBezTo>
                  <a:pt x="164217" y="988813"/>
                  <a:pt x="126410" y="958264"/>
                  <a:pt x="95510" y="918234"/>
                </a:cubicBezTo>
                <a:cubicBezTo>
                  <a:pt x="64610" y="878204"/>
                  <a:pt x="40966" y="829161"/>
                  <a:pt x="24579" y="771105"/>
                </a:cubicBezTo>
                <a:cubicBezTo>
                  <a:pt x="8193" y="713050"/>
                  <a:pt x="0" y="647270"/>
                  <a:pt x="0" y="573764"/>
                </a:cubicBezTo>
                <a:cubicBezTo>
                  <a:pt x="0" y="487149"/>
                  <a:pt x="10651" y="408610"/>
                  <a:pt x="31953" y="338148"/>
                </a:cubicBezTo>
                <a:cubicBezTo>
                  <a:pt x="53256" y="267686"/>
                  <a:pt x="83688" y="207407"/>
                  <a:pt x="123250" y="157310"/>
                </a:cubicBezTo>
                <a:cubicBezTo>
                  <a:pt x="162812" y="107214"/>
                  <a:pt x="210684" y="68471"/>
                  <a:pt x="266867" y="41082"/>
                </a:cubicBezTo>
                <a:lnTo>
                  <a:pt x="353008" y="11440"/>
                </a:lnTo>
                <a:lnTo>
                  <a:pt x="353011" y="11440"/>
                </a:lnTo>
                <a:lnTo>
                  <a:pt x="356408" y="10271"/>
                </a:lnTo>
                <a:cubicBezTo>
                  <a:pt x="388011" y="3424"/>
                  <a:pt x="421369" y="0"/>
                  <a:pt x="456483" y="0"/>
                </a:cubicBezTo>
                <a:close/>
              </a:path>
            </a:pathLst>
          </a:custGeom>
          <a:solidFill>
            <a:srgbClr val="7A5A00"/>
          </a:solidFill>
          <a:ln>
            <a:noFill/>
          </a:ln>
          <a:effectLst>
            <a:outerShdw blurRad="101600" dist="38100" sx="103000" sy="103000" algn="l" rotWithShape="0">
              <a:prstClr val="black"/>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7" name="Freeform: Shape 29">
            <a:extLst>
              <a:ext uri="{FF2B5EF4-FFF2-40B4-BE49-F238E27FC236}">
                <a16:creationId xmlns:a16="http://schemas.microsoft.com/office/drawing/2014/main" id="{8774D425-F13F-4D81-B727-90FB41D1DE20}"/>
              </a:ext>
            </a:extLst>
          </p:cNvPr>
          <p:cNvSpPr/>
          <p:nvPr/>
        </p:nvSpPr>
        <p:spPr>
          <a:xfrm>
            <a:off x="582401" y="5174744"/>
            <a:ext cx="641887" cy="1041484"/>
          </a:xfrm>
          <a:custGeom>
            <a:avLst/>
            <a:gdLst>
              <a:gd name="connsiteX0" fmla="*/ 285126 w 641887"/>
              <a:gd name="connsiteY0" fmla="*/ 0 h 1041484"/>
              <a:gd name="connsiteX1" fmla="*/ 358097 w 641887"/>
              <a:gd name="connsiteY1" fmla="*/ 4345 h 1041484"/>
              <a:gd name="connsiteX2" fmla="*/ 393155 w 641887"/>
              <a:gd name="connsiteY2" fmla="*/ 11440 h 1041484"/>
              <a:gd name="connsiteX3" fmla="*/ 393161 w 641887"/>
              <a:gd name="connsiteY3" fmla="*/ 11440 h 1041484"/>
              <a:gd name="connsiteX4" fmla="*/ 422511 w 641887"/>
              <a:gd name="connsiteY4" fmla="*/ 17380 h 1041484"/>
              <a:gd name="connsiteX5" fmla="*/ 525659 w 641887"/>
              <a:gd name="connsiteY5" fmla="*/ 69525 h 1041484"/>
              <a:gd name="connsiteX6" fmla="*/ 611688 w 641887"/>
              <a:gd name="connsiteY6" fmla="*/ 250012 h 1041484"/>
              <a:gd name="connsiteX7" fmla="*/ 411538 w 641887"/>
              <a:gd name="connsiteY7" fmla="*/ 497215 h 1041484"/>
              <a:gd name="connsiteX8" fmla="*/ 411538 w 641887"/>
              <a:gd name="connsiteY8" fmla="*/ 500727 h 1041484"/>
              <a:gd name="connsiteX9" fmla="*/ 580086 w 641887"/>
              <a:gd name="connsiteY9" fmla="*/ 578329 h 1041484"/>
              <a:gd name="connsiteX10" fmla="*/ 641887 w 641887"/>
              <a:gd name="connsiteY10" fmla="*/ 735991 h 1041484"/>
              <a:gd name="connsiteX11" fmla="*/ 538651 w 641887"/>
              <a:gd name="connsiteY11" fmla="*/ 959317 h 1041484"/>
              <a:gd name="connsiteX12" fmla="*/ 415751 w 641887"/>
              <a:gd name="connsiteY12" fmla="*/ 1020942 h 1041484"/>
              <a:gd name="connsiteX13" fmla="*/ 383614 w 641887"/>
              <a:gd name="connsiteY13" fmla="*/ 1027440 h 1041484"/>
              <a:gd name="connsiteX14" fmla="*/ 339554 w 641887"/>
              <a:gd name="connsiteY14" fmla="*/ 1036349 h 1041484"/>
              <a:gd name="connsiteX15" fmla="*/ 253524 w 641887"/>
              <a:gd name="connsiteY15" fmla="*/ 1041484 h 1041484"/>
              <a:gd name="connsiteX16" fmla="*/ 112190 w 641887"/>
              <a:gd name="connsiteY16" fmla="*/ 1028843 h 1041484"/>
              <a:gd name="connsiteX17" fmla="*/ 108039 w 641887"/>
              <a:gd name="connsiteY17" fmla="*/ 1027440 h 1041484"/>
              <a:gd name="connsiteX18" fmla="*/ 0 w 641887"/>
              <a:gd name="connsiteY18" fmla="*/ 990920 h 1041484"/>
              <a:gd name="connsiteX19" fmla="*/ 0 w 641887"/>
              <a:gd name="connsiteY19" fmla="*/ 797792 h 1041484"/>
              <a:gd name="connsiteX20" fmla="*/ 235967 w 641887"/>
              <a:gd name="connsiteY20" fmla="*/ 871532 h 1041484"/>
              <a:gd name="connsiteX21" fmla="*/ 368347 w 641887"/>
              <a:gd name="connsiteY21" fmla="*/ 835013 h 1041484"/>
              <a:gd name="connsiteX22" fmla="*/ 415751 w 641887"/>
              <a:gd name="connsiteY22" fmla="*/ 733182 h 1041484"/>
              <a:gd name="connsiteX23" fmla="*/ 357111 w 641887"/>
              <a:gd name="connsiteY23" fmla="*/ 629244 h 1041484"/>
              <a:gd name="connsiteX24" fmla="*/ 195937 w 641887"/>
              <a:gd name="connsiteY24" fmla="*/ 592726 h 1041484"/>
              <a:gd name="connsiteX25" fmla="*/ 102533 w 641887"/>
              <a:gd name="connsiteY25" fmla="*/ 592726 h 1041484"/>
              <a:gd name="connsiteX26" fmla="*/ 102533 w 641887"/>
              <a:gd name="connsiteY26" fmla="*/ 422773 h 1041484"/>
              <a:gd name="connsiteX27" fmla="*/ 188914 w 641887"/>
              <a:gd name="connsiteY27" fmla="*/ 422773 h 1041484"/>
              <a:gd name="connsiteX28" fmla="*/ 385553 w 641887"/>
              <a:gd name="connsiteY28" fmla="*/ 292149 h 1041484"/>
              <a:gd name="connsiteX29" fmla="*/ 234563 w 641887"/>
              <a:gd name="connsiteY29" fmla="*/ 169249 h 1041484"/>
              <a:gd name="connsiteX30" fmla="*/ 37923 w 641887"/>
              <a:gd name="connsiteY30" fmla="*/ 234561 h 1041484"/>
              <a:gd name="connsiteX31" fmla="*/ 37923 w 641887"/>
              <a:gd name="connsiteY31" fmla="*/ 53372 h 1041484"/>
              <a:gd name="connsiteX32" fmla="*/ 152747 w 641887"/>
              <a:gd name="connsiteY32" fmla="*/ 13342 h 1041484"/>
              <a:gd name="connsiteX33" fmla="*/ 171617 w 641887"/>
              <a:gd name="connsiteY33" fmla="*/ 11440 h 1041484"/>
              <a:gd name="connsiteX34" fmla="*/ 171626 w 641887"/>
              <a:gd name="connsiteY34" fmla="*/ 11440 h 1041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1887" h="1041484">
                <a:moveTo>
                  <a:pt x="285126" y="0"/>
                </a:moveTo>
                <a:cubicBezTo>
                  <a:pt x="310876" y="0"/>
                  <a:pt x="335200" y="1449"/>
                  <a:pt x="358097" y="4345"/>
                </a:cubicBezTo>
                <a:lnTo>
                  <a:pt x="393155" y="11440"/>
                </a:lnTo>
                <a:lnTo>
                  <a:pt x="393161" y="11440"/>
                </a:lnTo>
                <a:lnTo>
                  <a:pt x="422511" y="17380"/>
                </a:lnTo>
                <a:cubicBezTo>
                  <a:pt x="462600" y="28968"/>
                  <a:pt x="496983" y="46350"/>
                  <a:pt x="525659" y="69525"/>
                </a:cubicBezTo>
                <a:cubicBezTo>
                  <a:pt x="583012" y="115876"/>
                  <a:pt x="611688" y="176038"/>
                  <a:pt x="611688" y="250012"/>
                </a:cubicBezTo>
                <a:cubicBezTo>
                  <a:pt x="611688" y="381573"/>
                  <a:pt x="544971" y="463974"/>
                  <a:pt x="411538" y="497215"/>
                </a:cubicBezTo>
                <a:lnTo>
                  <a:pt x="411538" y="500727"/>
                </a:lnTo>
                <a:cubicBezTo>
                  <a:pt x="482702" y="509622"/>
                  <a:pt x="538885" y="535490"/>
                  <a:pt x="580086" y="578329"/>
                </a:cubicBezTo>
                <a:cubicBezTo>
                  <a:pt x="621286" y="621168"/>
                  <a:pt x="641887" y="673722"/>
                  <a:pt x="641887" y="735991"/>
                </a:cubicBezTo>
                <a:cubicBezTo>
                  <a:pt x="641887" y="830097"/>
                  <a:pt x="607475" y="904539"/>
                  <a:pt x="538651" y="959317"/>
                </a:cubicBezTo>
                <a:cubicBezTo>
                  <a:pt x="504239" y="986706"/>
                  <a:pt x="463273" y="1007248"/>
                  <a:pt x="415751" y="1020942"/>
                </a:cubicBezTo>
                <a:lnTo>
                  <a:pt x="383614" y="1027440"/>
                </a:lnTo>
                <a:lnTo>
                  <a:pt x="339554" y="1036349"/>
                </a:lnTo>
                <a:cubicBezTo>
                  <a:pt x="312516" y="1039772"/>
                  <a:pt x="283839" y="1041484"/>
                  <a:pt x="253524" y="1041484"/>
                </a:cubicBezTo>
                <a:cubicBezTo>
                  <a:pt x="201555" y="1041484"/>
                  <a:pt x="154444" y="1037270"/>
                  <a:pt x="112190" y="1028843"/>
                </a:cubicBezTo>
                <a:lnTo>
                  <a:pt x="108039" y="1027440"/>
                </a:lnTo>
                <a:lnTo>
                  <a:pt x="0" y="990920"/>
                </a:lnTo>
                <a:lnTo>
                  <a:pt x="0" y="797792"/>
                </a:lnTo>
                <a:cubicBezTo>
                  <a:pt x="67419" y="846952"/>
                  <a:pt x="146075" y="871532"/>
                  <a:pt x="235967" y="871532"/>
                </a:cubicBezTo>
                <a:cubicBezTo>
                  <a:pt x="292618" y="871532"/>
                  <a:pt x="336745" y="859359"/>
                  <a:pt x="368347" y="835013"/>
                </a:cubicBezTo>
                <a:cubicBezTo>
                  <a:pt x="399950" y="810667"/>
                  <a:pt x="415751" y="776724"/>
                  <a:pt x="415751" y="733182"/>
                </a:cubicBezTo>
                <a:cubicBezTo>
                  <a:pt x="415751" y="688236"/>
                  <a:pt x="396205" y="653590"/>
                  <a:pt x="357111" y="629244"/>
                </a:cubicBezTo>
                <a:cubicBezTo>
                  <a:pt x="318017" y="604899"/>
                  <a:pt x="264293" y="592726"/>
                  <a:pt x="195937" y="592726"/>
                </a:cubicBezTo>
                <a:lnTo>
                  <a:pt x="102533" y="592726"/>
                </a:lnTo>
                <a:lnTo>
                  <a:pt x="102533" y="422773"/>
                </a:lnTo>
                <a:lnTo>
                  <a:pt x="188914" y="422773"/>
                </a:lnTo>
                <a:cubicBezTo>
                  <a:pt x="320007" y="422773"/>
                  <a:pt x="385553" y="379232"/>
                  <a:pt x="385553" y="292149"/>
                </a:cubicBezTo>
                <a:cubicBezTo>
                  <a:pt x="385553" y="210216"/>
                  <a:pt x="335223" y="169249"/>
                  <a:pt x="234563" y="169249"/>
                </a:cubicBezTo>
                <a:cubicBezTo>
                  <a:pt x="167143" y="169249"/>
                  <a:pt x="101597" y="191020"/>
                  <a:pt x="37923" y="234561"/>
                </a:cubicBezTo>
                <a:lnTo>
                  <a:pt x="37923" y="53372"/>
                </a:lnTo>
                <a:cubicBezTo>
                  <a:pt x="73272" y="35581"/>
                  <a:pt x="111546" y="22238"/>
                  <a:pt x="152747" y="13342"/>
                </a:cubicBezTo>
                <a:lnTo>
                  <a:pt x="171617" y="11440"/>
                </a:lnTo>
                <a:lnTo>
                  <a:pt x="171626" y="11440"/>
                </a:lnTo>
                <a:close/>
              </a:path>
            </a:pathLst>
          </a:custGeom>
          <a:solidFill>
            <a:srgbClr val="73008E"/>
          </a:solidFill>
          <a:ln>
            <a:noFill/>
          </a:ln>
          <a:effectLst>
            <a:outerShdw blurRad="101600" dist="38100" sx="103000" sy="103000" algn="l" rotWithShape="0">
              <a:prstClr val="black"/>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9" name="Freeform: Shape 31">
            <a:extLst>
              <a:ext uri="{FF2B5EF4-FFF2-40B4-BE49-F238E27FC236}">
                <a16:creationId xmlns:a16="http://schemas.microsoft.com/office/drawing/2014/main" id="{C8D0C092-B011-411E-86AD-4DCA911B232E}"/>
              </a:ext>
            </a:extLst>
          </p:cNvPr>
          <p:cNvSpPr/>
          <p:nvPr/>
        </p:nvSpPr>
        <p:spPr>
          <a:xfrm>
            <a:off x="6410003" y="2151914"/>
            <a:ext cx="782160" cy="1033752"/>
          </a:xfrm>
          <a:custGeom>
            <a:avLst/>
            <a:gdLst>
              <a:gd name="connsiteX0" fmla="*/ 450552 w 782160"/>
              <a:gd name="connsiteY0" fmla="*/ 1024193 h 1033752"/>
              <a:gd name="connsiteX1" fmla="*/ 658168 w 782160"/>
              <a:gd name="connsiteY1" fmla="*/ 1024193 h 1033752"/>
              <a:gd name="connsiteX2" fmla="*/ 658168 w 782160"/>
              <a:gd name="connsiteY2" fmla="*/ 1033752 h 1033752"/>
              <a:gd name="connsiteX3" fmla="*/ 450552 w 782160"/>
              <a:gd name="connsiteY3" fmla="*/ 1033752 h 1033752"/>
              <a:gd name="connsiteX4" fmla="*/ 450552 w 782160"/>
              <a:gd name="connsiteY4" fmla="*/ 290518 h 1033752"/>
              <a:gd name="connsiteX5" fmla="*/ 395765 w 782160"/>
              <a:gd name="connsiteY5" fmla="*/ 385314 h 1033752"/>
              <a:gd name="connsiteX6" fmla="*/ 333769 w 782160"/>
              <a:gd name="connsiteY6" fmla="*/ 479750 h 1033752"/>
              <a:gd name="connsiteX7" fmla="*/ 268168 w 782160"/>
              <a:gd name="connsiteY7" fmla="*/ 569861 h 1033752"/>
              <a:gd name="connsiteX8" fmla="*/ 204009 w 782160"/>
              <a:gd name="connsiteY8" fmla="*/ 651682 h 1033752"/>
              <a:gd name="connsiteX9" fmla="*/ 450552 w 782160"/>
              <a:gd name="connsiteY9" fmla="*/ 651682 h 1033752"/>
              <a:gd name="connsiteX10" fmla="*/ 446949 w 782160"/>
              <a:gd name="connsiteY10" fmla="*/ 0 h 1033752"/>
              <a:gd name="connsiteX11" fmla="*/ 658169 w 782160"/>
              <a:gd name="connsiteY11" fmla="*/ 0 h 1033752"/>
              <a:gd name="connsiteX12" fmla="*/ 658169 w 782160"/>
              <a:gd name="connsiteY12" fmla="*/ 8192 h 1033752"/>
              <a:gd name="connsiteX13" fmla="*/ 658168 w 782160"/>
              <a:gd name="connsiteY13" fmla="*/ 8192 h 1033752"/>
              <a:gd name="connsiteX14" fmla="*/ 658168 w 782160"/>
              <a:gd name="connsiteY14" fmla="*/ 651682 h 1033752"/>
              <a:gd name="connsiteX15" fmla="*/ 782160 w 782160"/>
              <a:gd name="connsiteY15" fmla="*/ 651682 h 1033752"/>
              <a:gd name="connsiteX16" fmla="*/ 782160 w 782160"/>
              <a:gd name="connsiteY16" fmla="*/ 821811 h 1033752"/>
              <a:gd name="connsiteX17" fmla="*/ 658168 w 782160"/>
              <a:gd name="connsiteY17" fmla="*/ 821811 h 1033752"/>
              <a:gd name="connsiteX18" fmla="*/ 658168 w 782160"/>
              <a:gd name="connsiteY18" fmla="*/ 1024192 h 1033752"/>
              <a:gd name="connsiteX19" fmla="*/ 450552 w 782160"/>
              <a:gd name="connsiteY19" fmla="*/ 1024192 h 1033752"/>
              <a:gd name="connsiteX20" fmla="*/ 450552 w 782160"/>
              <a:gd name="connsiteY20" fmla="*/ 821811 h 1033752"/>
              <a:gd name="connsiteX21" fmla="*/ 1095 w 782160"/>
              <a:gd name="connsiteY21" fmla="*/ 821811 h 1033752"/>
              <a:gd name="connsiteX22" fmla="*/ 1094 w 782160"/>
              <a:gd name="connsiteY22" fmla="*/ 821811 h 1033752"/>
              <a:gd name="connsiteX23" fmla="*/ 0 w 782160"/>
              <a:gd name="connsiteY23" fmla="*/ 821811 h 1033752"/>
              <a:gd name="connsiteX24" fmla="*/ 0 w 782160"/>
              <a:gd name="connsiteY24" fmla="*/ 643752 h 1033752"/>
              <a:gd name="connsiteX25" fmla="*/ 1094 w 782160"/>
              <a:gd name="connsiteY25" fmla="*/ 642458 h 1033752"/>
              <a:gd name="connsiteX26" fmla="*/ 1094 w 782160"/>
              <a:gd name="connsiteY26" fmla="*/ 642457 h 1033752"/>
              <a:gd name="connsiteX27" fmla="*/ 123991 w 782160"/>
              <a:gd name="connsiteY27" fmla="*/ 497051 h 1033752"/>
              <a:gd name="connsiteX28" fmla="*/ 247983 w 782160"/>
              <a:gd name="connsiteY28" fmla="*/ 333050 h 1033752"/>
              <a:gd name="connsiteX29" fmla="*/ 359360 w 782160"/>
              <a:gd name="connsiteY29" fmla="*/ 163281 h 1033752"/>
              <a:gd name="connsiteX30" fmla="*/ 407029 w 782160"/>
              <a:gd name="connsiteY30" fmla="*/ 79748 h 1033752"/>
              <a:gd name="connsiteX31" fmla="*/ 442847 w 782160"/>
              <a:gd name="connsiteY31" fmla="*/ 8192 h 1033752"/>
              <a:gd name="connsiteX32" fmla="*/ 442848 w 782160"/>
              <a:gd name="connsiteY32" fmla="*/ 8192 h 1033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82160" h="1033752">
                <a:moveTo>
                  <a:pt x="450552" y="1024193"/>
                </a:moveTo>
                <a:lnTo>
                  <a:pt x="658168" y="1024193"/>
                </a:lnTo>
                <a:lnTo>
                  <a:pt x="658168" y="1033752"/>
                </a:lnTo>
                <a:lnTo>
                  <a:pt x="450552" y="1033752"/>
                </a:lnTo>
                <a:close/>
                <a:moveTo>
                  <a:pt x="450552" y="290518"/>
                </a:moveTo>
                <a:cubicBezTo>
                  <a:pt x="433732" y="321756"/>
                  <a:pt x="415469" y="353355"/>
                  <a:pt x="395765" y="385314"/>
                </a:cubicBezTo>
                <a:cubicBezTo>
                  <a:pt x="376061" y="417273"/>
                  <a:pt x="355396" y="448752"/>
                  <a:pt x="333769" y="479750"/>
                </a:cubicBezTo>
                <a:cubicBezTo>
                  <a:pt x="312142" y="510748"/>
                  <a:pt x="290275" y="540785"/>
                  <a:pt x="268168" y="569861"/>
                </a:cubicBezTo>
                <a:cubicBezTo>
                  <a:pt x="246061" y="598937"/>
                  <a:pt x="224675" y="626210"/>
                  <a:pt x="204009" y="651682"/>
                </a:cubicBezTo>
                <a:lnTo>
                  <a:pt x="450552" y="651682"/>
                </a:lnTo>
                <a:close/>
                <a:moveTo>
                  <a:pt x="446949" y="0"/>
                </a:moveTo>
                <a:lnTo>
                  <a:pt x="658169" y="0"/>
                </a:lnTo>
                <a:lnTo>
                  <a:pt x="658169" y="8192"/>
                </a:lnTo>
                <a:lnTo>
                  <a:pt x="658168" y="8192"/>
                </a:lnTo>
                <a:lnTo>
                  <a:pt x="658168" y="651682"/>
                </a:lnTo>
                <a:lnTo>
                  <a:pt x="782160" y="651682"/>
                </a:lnTo>
                <a:lnTo>
                  <a:pt x="782160" y="821811"/>
                </a:lnTo>
                <a:lnTo>
                  <a:pt x="658168" y="821811"/>
                </a:lnTo>
                <a:lnTo>
                  <a:pt x="658168" y="1024192"/>
                </a:lnTo>
                <a:lnTo>
                  <a:pt x="450552" y="1024192"/>
                </a:lnTo>
                <a:lnTo>
                  <a:pt x="450552" y="821811"/>
                </a:lnTo>
                <a:lnTo>
                  <a:pt x="1095" y="821811"/>
                </a:lnTo>
                <a:lnTo>
                  <a:pt x="1094" y="821811"/>
                </a:lnTo>
                <a:lnTo>
                  <a:pt x="0" y="821811"/>
                </a:lnTo>
                <a:lnTo>
                  <a:pt x="0" y="643752"/>
                </a:lnTo>
                <a:lnTo>
                  <a:pt x="1094" y="642458"/>
                </a:lnTo>
                <a:lnTo>
                  <a:pt x="1094" y="642457"/>
                </a:lnTo>
                <a:lnTo>
                  <a:pt x="123991" y="497051"/>
                </a:lnTo>
                <a:cubicBezTo>
                  <a:pt x="166764" y="443946"/>
                  <a:pt x="208094" y="389279"/>
                  <a:pt x="247983" y="333050"/>
                </a:cubicBezTo>
                <a:cubicBezTo>
                  <a:pt x="287873" y="276821"/>
                  <a:pt x="324998" y="220231"/>
                  <a:pt x="359360" y="163281"/>
                </a:cubicBezTo>
                <a:cubicBezTo>
                  <a:pt x="376542" y="134806"/>
                  <a:pt x="392431" y="106962"/>
                  <a:pt x="407029" y="79748"/>
                </a:cubicBezTo>
                <a:lnTo>
                  <a:pt x="442847" y="8192"/>
                </a:lnTo>
                <a:lnTo>
                  <a:pt x="442848" y="8192"/>
                </a:lnTo>
                <a:close/>
              </a:path>
            </a:pathLst>
          </a:custGeom>
          <a:solidFill>
            <a:srgbClr val="820035"/>
          </a:solidFill>
          <a:ln>
            <a:noFill/>
          </a:ln>
          <a:effectLst>
            <a:outerShdw blurRad="101600" dist="38100" sx="103000" sy="103000" algn="l" rotWithShape="0">
              <a:prstClr val="black"/>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 name="TextBox 34">
            <a:extLst>
              <a:ext uri="{FF2B5EF4-FFF2-40B4-BE49-F238E27FC236}">
                <a16:creationId xmlns:a16="http://schemas.microsoft.com/office/drawing/2014/main" id="{09923774-5DB7-41A7-8AF4-FF31376C182C}"/>
              </a:ext>
            </a:extLst>
          </p:cNvPr>
          <p:cNvSpPr txBox="1"/>
          <p:nvPr/>
        </p:nvSpPr>
        <p:spPr>
          <a:xfrm>
            <a:off x="1216212" y="2237018"/>
            <a:ext cx="4312130" cy="646331"/>
          </a:xfrm>
          <a:prstGeom prst="rect">
            <a:avLst/>
          </a:prstGeom>
          <a:noFill/>
        </p:spPr>
        <p:txBody>
          <a:bodyPr wrap="square" rtlCol="0">
            <a:spAutoFit/>
          </a:bodyPr>
          <a:lstStyle/>
          <a:p>
            <a:r>
              <a:rPr lang="es-ES" b="1" dirty="0">
                <a:solidFill>
                  <a:schemeClr val="bg1"/>
                </a:solidFill>
                <a:effectLst>
                  <a:outerShdw blurRad="38100" dist="38100" dir="2700000" algn="tl">
                    <a:srgbClr val="000000">
                      <a:alpha val="43137"/>
                    </a:srgbClr>
                  </a:outerShdw>
                </a:effectLst>
              </a:rPr>
              <a:t>Diseño, digitalización, comunicación entre máquinas y fabricación 3D</a:t>
            </a:r>
          </a:p>
        </p:txBody>
      </p:sp>
      <p:sp>
        <p:nvSpPr>
          <p:cNvPr id="24" name="TextBox 36">
            <a:extLst>
              <a:ext uri="{FF2B5EF4-FFF2-40B4-BE49-F238E27FC236}">
                <a16:creationId xmlns:a16="http://schemas.microsoft.com/office/drawing/2014/main" id="{349D89CC-4F20-4A91-A9EE-F58E15DA120E}"/>
              </a:ext>
            </a:extLst>
          </p:cNvPr>
          <p:cNvSpPr txBox="1"/>
          <p:nvPr/>
        </p:nvSpPr>
        <p:spPr>
          <a:xfrm>
            <a:off x="1444695" y="3793889"/>
            <a:ext cx="4083647" cy="646331"/>
          </a:xfrm>
          <a:prstGeom prst="rect">
            <a:avLst/>
          </a:prstGeom>
          <a:noFill/>
        </p:spPr>
        <p:txBody>
          <a:bodyPr wrap="square" rtlCol="0">
            <a:spAutoFit/>
          </a:bodyPr>
          <a:lstStyle/>
          <a:p>
            <a:r>
              <a:rPr lang="es-ES" b="1" dirty="0">
                <a:solidFill>
                  <a:schemeClr val="bg1"/>
                </a:solidFill>
                <a:effectLst>
                  <a:outerShdw blurRad="38100" dist="38100" dir="2700000" algn="tl">
                    <a:srgbClr val="000000">
                      <a:alpha val="43137"/>
                    </a:srgbClr>
                  </a:outerShdw>
                </a:effectLst>
              </a:rPr>
              <a:t>Creatividad, análisis de riesgos, aprendizaje en base a errores, PDCA</a:t>
            </a:r>
          </a:p>
        </p:txBody>
      </p:sp>
      <p:sp>
        <p:nvSpPr>
          <p:cNvPr id="26" name="TextBox 38">
            <a:extLst>
              <a:ext uri="{FF2B5EF4-FFF2-40B4-BE49-F238E27FC236}">
                <a16:creationId xmlns:a16="http://schemas.microsoft.com/office/drawing/2014/main" id="{D54DD154-31DA-4284-A9B2-4BDF58060918}"/>
              </a:ext>
            </a:extLst>
          </p:cNvPr>
          <p:cNvSpPr txBox="1"/>
          <p:nvPr/>
        </p:nvSpPr>
        <p:spPr>
          <a:xfrm>
            <a:off x="1399181" y="5371018"/>
            <a:ext cx="4084942" cy="646331"/>
          </a:xfrm>
          <a:prstGeom prst="rect">
            <a:avLst/>
          </a:prstGeom>
          <a:noFill/>
        </p:spPr>
        <p:txBody>
          <a:bodyPr wrap="square" rtlCol="0">
            <a:spAutoFit/>
          </a:bodyPr>
          <a:lstStyle/>
          <a:p>
            <a:r>
              <a:rPr lang="es-ES" b="1" dirty="0">
                <a:solidFill>
                  <a:schemeClr val="bg1"/>
                </a:solidFill>
                <a:effectLst>
                  <a:outerShdw blurRad="38100" dist="38100" dir="2700000" algn="tl">
                    <a:srgbClr val="000000">
                      <a:alpha val="43137"/>
                    </a:srgbClr>
                  </a:outerShdw>
                </a:effectLst>
              </a:rPr>
              <a:t>Fabricación distribuida (crear y consumir en el mismo lugar)</a:t>
            </a:r>
            <a:endParaRPr lang="en-IN" b="1" dirty="0">
              <a:latin typeface="TextFont1" panose="02000505000000020004" pitchFamily="2" charset="0"/>
            </a:endParaRPr>
          </a:p>
        </p:txBody>
      </p:sp>
      <p:sp>
        <p:nvSpPr>
          <p:cNvPr id="28" name="TextBox 40">
            <a:extLst>
              <a:ext uri="{FF2B5EF4-FFF2-40B4-BE49-F238E27FC236}">
                <a16:creationId xmlns:a16="http://schemas.microsoft.com/office/drawing/2014/main" id="{1CFAD142-0EA1-46BD-BD0C-5B2942AB31F8}"/>
              </a:ext>
            </a:extLst>
          </p:cNvPr>
          <p:cNvSpPr txBox="1"/>
          <p:nvPr/>
        </p:nvSpPr>
        <p:spPr>
          <a:xfrm>
            <a:off x="7396172" y="2375517"/>
            <a:ext cx="3909137" cy="369332"/>
          </a:xfrm>
          <a:prstGeom prst="rect">
            <a:avLst/>
          </a:prstGeom>
          <a:noFill/>
        </p:spPr>
        <p:txBody>
          <a:bodyPr wrap="square" rtlCol="0">
            <a:spAutoFit/>
          </a:bodyPr>
          <a:lstStyle/>
          <a:p>
            <a:r>
              <a:rPr lang="es-ES" b="1" dirty="0">
                <a:solidFill>
                  <a:schemeClr val="bg1"/>
                </a:solidFill>
                <a:effectLst>
                  <a:outerShdw blurRad="38100" dist="38100" dir="2700000" algn="tl">
                    <a:srgbClr val="000000">
                      <a:alpha val="43137"/>
                    </a:srgbClr>
                  </a:outerShdw>
                </a:effectLst>
                <a:sym typeface="Wingdings" panose="05000000000000000000" pitchFamily="2" charset="2"/>
              </a:rPr>
              <a:t>Ingeniería inversa (economía circular) </a:t>
            </a:r>
            <a:endParaRPr lang="en-IN" b="1" dirty="0">
              <a:latin typeface="TextFont1" panose="02000505000000020004" pitchFamily="2" charset="0"/>
            </a:endParaRPr>
          </a:p>
        </p:txBody>
      </p:sp>
      <p:sp>
        <p:nvSpPr>
          <p:cNvPr id="30" name="TextBox 42">
            <a:extLst>
              <a:ext uri="{FF2B5EF4-FFF2-40B4-BE49-F238E27FC236}">
                <a16:creationId xmlns:a16="http://schemas.microsoft.com/office/drawing/2014/main" id="{9DB76CDC-D21E-47BA-9E9F-DB349DDF9691}"/>
              </a:ext>
            </a:extLst>
          </p:cNvPr>
          <p:cNvSpPr txBox="1"/>
          <p:nvPr/>
        </p:nvSpPr>
        <p:spPr>
          <a:xfrm>
            <a:off x="7327048" y="3876972"/>
            <a:ext cx="4153751" cy="646331"/>
          </a:xfrm>
          <a:prstGeom prst="rect">
            <a:avLst/>
          </a:prstGeom>
          <a:noFill/>
        </p:spPr>
        <p:txBody>
          <a:bodyPr wrap="square" rtlCol="0">
            <a:spAutoFit/>
          </a:bodyPr>
          <a:lstStyle/>
          <a:p>
            <a:r>
              <a:rPr lang="es-ES" b="1" dirty="0">
                <a:solidFill>
                  <a:schemeClr val="bg1"/>
                </a:solidFill>
                <a:effectLst>
                  <a:outerShdw blurRad="38100" dist="38100" dir="2700000" algn="tl">
                    <a:srgbClr val="000000">
                      <a:alpha val="43137"/>
                    </a:srgbClr>
                  </a:outerShdw>
                </a:effectLst>
              </a:rPr>
              <a:t>PLM </a:t>
            </a:r>
            <a:r>
              <a:rPr lang="es-ES" b="1" dirty="0">
                <a:solidFill>
                  <a:schemeClr val="bg1"/>
                </a:solidFill>
                <a:effectLst>
                  <a:outerShdw blurRad="38100" dist="38100" dir="2700000" algn="tl">
                    <a:srgbClr val="000000">
                      <a:alpha val="43137"/>
                    </a:srgbClr>
                  </a:outerShdw>
                </a:effectLst>
                <a:sym typeface="Wingdings" panose="05000000000000000000" pitchFamily="2" charset="2"/>
              </a:rPr>
              <a:t>o </a:t>
            </a:r>
            <a:r>
              <a:rPr lang="es-ES" b="1" dirty="0">
                <a:solidFill>
                  <a:schemeClr val="bg1"/>
                </a:solidFill>
                <a:effectLst>
                  <a:outerShdw blurRad="38100" dist="38100" dir="2700000" algn="tl">
                    <a:srgbClr val="000000">
                      <a:alpha val="43137"/>
                    </a:srgbClr>
                  </a:outerShdw>
                </a:effectLst>
              </a:rPr>
              <a:t>análisis de ciclo de vida de un producto</a:t>
            </a:r>
            <a:endParaRPr lang="en-IN" b="1" dirty="0">
              <a:latin typeface="TextFont1" panose="02000505000000020004" pitchFamily="2" charset="0"/>
            </a:endParaRPr>
          </a:p>
        </p:txBody>
      </p:sp>
      <p:sp>
        <p:nvSpPr>
          <p:cNvPr id="32" name="TextBox 44">
            <a:extLst>
              <a:ext uri="{FF2B5EF4-FFF2-40B4-BE49-F238E27FC236}">
                <a16:creationId xmlns:a16="http://schemas.microsoft.com/office/drawing/2014/main" id="{A4FE149E-9308-4B80-9243-9C720ED93232}"/>
              </a:ext>
            </a:extLst>
          </p:cNvPr>
          <p:cNvSpPr txBox="1"/>
          <p:nvPr/>
        </p:nvSpPr>
        <p:spPr>
          <a:xfrm>
            <a:off x="7396172" y="5291312"/>
            <a:ext cx="4084627" cy="646331"/>
          </a:xfrm>
          <a:prstGeom prst="rect">
            <a:avLst/>
          </a:prstGeom>
          <a:noFill/>
        </p:spPr>
        <p:txBody>
          <a:bodyPr wrap="square" rtlCol="0">
            <a:spAutoFit/>
          </a:bodyPr>
          <a:lstStyle/>
          <a:p>
            <a:r>
              <a:rPr lang="es-ES" b="1" dirty="0">
                <a:solidFill>
                  <a:schemeClr val="bg1"/>
                </a:solidFill>
                <a:effectLst>
                  <a:outerShdw blurRad="38100" dist="38100" dir="2700000" algn="tl">
                    <a:srgbClr val="000000">
                      <a:alpha val="43137"/>
                    </a:srgbClr>
                  </a:outerShdw>
                </a:effectLst>
              </a:rPr>
              <a:t>Planteamiento de retos interdisciplinares e intercentros y con empresas</a:t>
            </a:r>
            <a:endParaRPr lang="en-IN" b="1" dirty="0">
              <a:latin typeface="TextFont1" panose="02000505000000020004" pitchFamily="2" charset="0"/>
            </a:endParaRPr>
          </a:p>
        </p:txBody>
      </p:sp>
      <p:sp>
        <p:nvSpPr>
          <p:cNvPr id="37" name="Rectángulo 36">
            <a:extLst>
              <a:ext uri="{FF2B5EF4-FFF2-40B4-BE49-F238E27FC236}">
                <a16:creationId xmlns:a16="http://schemas.microsoft.com/office/drawing/2014/main" id="{18C3F496-01E2-4ED3-BF3B-1C8B602CA656}"/>
              </a:ext>
            </a:extLst>
          </p:cNvPr>
          <p:cNvSpPr/>
          <p:nvPr/>
        </p:nvSpPr>
        <p:spPr>
          <a:xfrm>
            <a:off x="435084" y="1267439"/>
            <a:ext cx="6146554" cy="584775"/>
          </a:xfrm>
          <a:prstGeom prst="rect">
            <a:avLst/>
          </a:prstGeom>
          <a:noFill/>
        </p:spPr>
        <p:txBody>
          <a:bodyPr wrap="none" lIns="91440" tIns="45720" rIns="91440" bIns="45720">
            <a:spAutoFit/>
          </a:bodyPr>
          <a:lstStyle/>
          <a:p>
            <a:r>
              <a:rPr lang="es-ES" sz="3200" b="1" dirty="0">
                <a:ln w="9525">
                  <a:solidFill>
                    <a:schemeClr val="tx1"/>
                  </a:solidFill>
                  <a:prstDash val="solid"/>
                </a:ln>
                <a:solidFill>
                  <a:srgbClr val="FFFF00"/>
                </a:solidFill>
                <a:effectLst>
                  <a:outerShdw blurRad="63500" sx="102000" sy="102000" algn="ctr" rotWithShape="0">
                    <a:prstClr val="black">
                      <a:alpha val="40000"/>
                    </a:prstClr>
                  </a:outerShdw>
                </a:effectLst>
              </a:rPr>
              <a:t>Conceptos transversales a trabajar:</a:t>
            </a:r>
          </a:p>
        </p:txBody>
      </p:sp>
      <p:sp>
        <p:nvSpPr>
          <p:cNvPr id="23" name="Marcador de número de diapositiva 1"/>
          <p:cNvSpPr>
            <a:spLocks noGrp="1"/>
          </p:cNvSpPr>
          <p:nvPr>
            <p:ph type="sldNum" sz="quarter" idx="12"/>
          </p:nvPr>
        </p:nvSpPr>
        <p:spPr>
          <a:xfrm>
            <a:off x="11777051" y="6458134"/>
            <a:ext cx="487378" cy="481343"/>
          </a:xfrm>
        </p:spPr>
        <p:txBody>
          <a:bodyPr/>
          <a:lstStyle/>
          <a:p>
            <a:r>
              <a:rPr lang="en-US" sz="2000" dirty="0" smtClean="0"/>
              <a:t>11</a:t>
            </a:r>
            <a:endParaRPr lang="en-US" sz="2000" dirty="0"/>
          </a:p>
        </p:txBody>
      </p:sp>
    </p:spTree>
    <p:extLst>
      <p:ext uri="{BB962C8B-B14F-4D97-AF65-F5344CB8AC3E}">
        <p14:creationId xmlns:p14="http://schemas.microsoft.com/office/powerpoint/2010/main" val="151107331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23FEED7-63F6-4545-95DD-474E69B1B82D}"/>
              </a:ext>
            </a:extLst>
          </p:cNvPr>
          <p:cNvSpPr/>
          <p:nvPr/>
        </p:nvSpPr>
        <p:spPr>
          <a:xfrm>
            <a:off x="419022" y="193816"/>
            <a:ext cx="6805068" cy="707886"/>
          </a:xfrm>
          <a:prstGeom prst="rect">
            <a:avLst/>
          </a:prstGeom>
          <a:noFill/>
        </p:spPr>
        <p:txBody>
          <a:bodyPr wrap="none" lIns="91440" tIns="45720" rIns="91440" bIns="45720">
            <a:spAutoFit/>
          </a:bodyPr>
          <a:lstStyle/>
          <a:p>
            <a:r>
              <a:rPr lang="es-ES" sz="4000" b="1"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Impresión y Escaneado 3D</a:t>
            </a:r>
          </a:p>
        </p:txBody>
      </p:sp>
      <p:sp>
        <p:nvSpPr>
          <p:cNvPr id="5" name="Rectángulo 4">
            <a:extLst>
              <a:ext uri="{FF2B5EF4-FFF2-40B4-BE49-F238E27FC236}">
                <a16:creationId xmlns:a16="http://schemas.microsoft.com/office/drawing/2014/main" id="{3BF9D564-07CE-485A-A4CC-7252489513BA}"/>
              </a:ext>
            </a:extLst>
          </p:cNvPr>
          <p:cNvSpPr/>
          <p:nvPr/>
        </p:nvSpPr>
        <p:spPr>
          <a:xfrm>
            <a:off x="496676" y="1224281"/>
            <a:ext cx="2263761" cy="584775"/>
          </a:xfrm>
          <a:prstGeom prst="rect">
            <a:avLst/>
          </a:prstGeom>
          <a:noFill/>
        </p:spPr>
        <p:txBody>
          <a:bodyPr wrap="none" lIns="91440" tIns="45720" rIns="91440" bIns="45720">
            <a:spAutoFit/>
          </a:bodyPr>
          <a:lstStyle/>
          <a:p>
            <a:r>
              <a:rPr lang="es-ES" sz="3200" b="1" dirty="0">
                <a:ln w="9525">
                  <a:solidFill>
                    <a:schemeClr val="tx1"/>
                  </a:solidFill>
                  <a:prstDash val="solid"/>
                </a:ln>
                <a:solidFill>
                  <a:srgbClr val="FFFF00"/>
                </a:solidFill>
                <a:effectLst>
                  <a:outerShdw blurRad="63500" sx="102000" sy="102000" algn="ctr" rotWithShape="0">
                    <a:prstClr val="black">
                      <a:alpha val="40000"/>
                    </a:prstClr>
                  </a:outerShdw>
                </a:effectLst>
              </a:rPr>
              <a:t>Descripción</a:t>
            </a:r>
            <a:r>
              <a:rPr lang="es-ES" sz="2800" b="1" dirty="0">
                <a:ln w="9525">
                  <a:solidFill>
                    <a:schemeClr val="tx1"/>
                  </a:solidFill>
                  <a:prstDash val="solid"/>
                </a:ln>
                <a:solidFill>
                  <a:srgbClr val="FFFF00"/>
                </a:solidFill>
                <a:effectLst>
                  <a:outerShdw blurRad="63500" sx="102000" sy="102000" algn="ctr" rotWithShape="0">
                    <a:prstClr val="black">
                      <a:alpha val="40000"/>
                    </a:prstClr>
                  </a:outerShdw>
                </a:effectLst>
              </a:rPr>
              <a:t>:</a:t>
            </a:r>
          </a:p>
        </p:txBody>
      </p:sp>
      <p:grpSp>
        <p:nvGrpSpPr>
          <p:cNvPr id="6" name="Group 1">
            <a:extLst>
              <a:ext uri="{FF2B5EF4-FFF2-40B4-BE49-F238E27FC236}">
                <a16:creationId xmlns:a16="http://schemas.microsoft.com/office/drawing/2014/main" id="{F58371D4-6054-42A0-97A9-830359F21C51}"/>
              </a:ext>
            </a:extLst>
          </p:cNvPr>
          <p:cNvGrpSpPr/>
          <p:nvPr/>
        </p:nvGrpSpPr>
        <p:grpSpPr>
          <a:xfrm>
            <a:off x="1410612" y="2030277"/>
            <a:ext cx="3448260" cy="3889849"/>
            <a:chOff x="-434763" y="1617942"/>
            <a:chExt cx="3685447" cy="3889849"/>
          </a:xfrm>
        </p:grpSpPr>
        <p:sp>
          <p:nvSpPr>
            <p:cNvPr id="7" name="Rectangle: Rounded Corners 7">
              <a:extLst>
                <a:ext uri="{FF2B5EF4-FFF2-40B4-BE49-F238E27FC236}">
                  <a16:creationId xmlns:a16="http://schemas.microsoft.com/office/drawing/2014/main" id="{5D45EE4E-B67A-4891-9E7E-5B45F2D9F81E}"/>
                </a:ext>
              </a:extLst>
            </p:cNvPr>
            <p:cNvSpPr/>
            <p:nvPr/>
          </p:nvSpPr>
          <p:spPr>
            <a:xfrm>
              <a:off x="-434763" y="1617942"/>
              <a:ext cx="3493818" cy="3889849"/>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US">
                <a:solidFill>
                  <a:schemeClr val="tx1"/>
                </a:solidFill>
              </a:endParaRPr>
            </a:p>
          </p:txBody>
        </p:sp>
        <p:sp>
          <p:nvSpPr>
            <p:cNvPr id="8" name="Freeform: Shape 5">
              <a:extLst>
                <a:ext uri="{FF2B5EF4-FFF2-40B4-BE49-F238E27FC236}">
                  <a16:creationId xmlns:a16="http://schemas.microsoft.com/office/drawing/2014/main" id="{81CBB8D8-4908-4AAB-B1C0-641037BC3A8C}"/>
                </a:ext>
              </a:extLst>
            </p:cNvPr>
            <p:cNvSpPr/>
            <p:nvPr/>
          </p:nvSpPr>
          <p:spPr>
            <a:xfrm rot="10800000">
              <a:off x="-403143" y="2738180"/>
              <a:ext cx="3375965" cy="2702259"/>
            </a:xfrm>
            <a:custGeom>
              <a:avLst/>
              <a:gdLst>
                <a:gd name="connsiteX0" fmla="*/ 2 w 1835836"/>
                <a:gd name="connsiteY0" fmla="*/ 1737363 h 2440751"/>
                <a:gd name="connsiteX1" fmla="*/ 1835836 w 1835836"/>
                <a:gd name="connsiteY1" fmla="*/ 1737363 h 2440751"/>
                <a:gd name="connsiteX2" fmla="*/ 1605997 w 1835836"/>
                <a:gd name="connsiteY2" fmla="*/ 2089057 h 2440751"/>
                <a:gd name="connsiteX3" fmla="*/ 1147758 w 1835836"/>
                <a:gd name="connsiteY3" fmla="*/ 2089057 h 2440751"/>
                <a:gd name="connsiteX4" fmla="*/ 917919 w 1835836"/>
                <a:gd name="connsiteY4" fmla="*/ 2440751 h 2440751"/>
                <a:gd name="connsiteX5" fmla="*/ 688080 w 1835836"/>
                <a:gd name="connsiteY5" fmla="*/ 2089057 h 2440751"/>
                <a:gd name="connsiteX6" fmla="*/ 229841 w 1835836"/>
                <a:gd name="connsiteY6" fmla="*/ 2089057 h 2440751"/>
                <a:gd name="connsiteX7" fmla="*/ 2 w 1835836"/>
                <a:gd name="connsiteY7" fmla="*/ 1737363 h 2440751"/>
                <a:gd name="connsiteX8" fmla="*/ 289566 w 1835836"/>
                <a:gd name="connsiteY8" fmla="*/ 0 h 2440751"/>
                <a:gd name="connsiteX9" fmla="*/ 1546270 w 1835836"/>
                <a:gd name="connsiteY9" fmla="*/ 0 h 2440751"/>
                <a:gd name="connsiteX10" fmla="*/ 1835836 w 1835836"/>
                <a:gd name="connsiteY10" fmla="*/ 289566 h 2440751"/>
                <a:gd name="connsiteX11" fmla="*/ 1835836 w 1835836"/>
                <a:gd name="connsiteY11" fmla="*/ 1737362 h 2440751"/>
                <a:gd name="connsiteX12" fmla="*/ 0 w 1835836"/>
                <a:gd name="connsiteY12" fmla="*/ 1737362 h 2440751"/>
                <a:gd name="connsiteX13" fmla="*/ 0 w 1835836"/>
                <a:gd name="connsiteY13" fmla="*/ 289566 h 2440751"/>
                <a:gd name="connsiteX14" fmla="*/ 289566 w 1835836"/>
                <a:gd name="connsiteY14" fmla="*/ 0 h 244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35836" h="2440751">
                  <a:moveTo>
                    <a:pt x="2" y="1737363"/>
                  </a:moveTo>
                  <a:lnTo>
                    <a:pt x="1835836" y="1737363"/>
                  </a:lnTo>
                  <a:cubicBezTo>
                    <a:pt x="1835836" y="1931598"/>
                    <a:pt x="1732934" y="2089057"/>
                    <a:pt x="1605997" y="2089057"/>
                  </a:cubicBezTo>
                  <a:lnTo>
                    <a:pt x="1147758" y="2089057"/>
                  </a:lnTo>
                  <a:cubicBezTo>
                    <a:pt x="1020821" y="2089057"/>
                    <a:pt x="917919" y="2246516"/>
                    <a:pt x="917919" y="2440751"/>
                  </a:cubicBezTo>
                  <a:cubicBezTo>
                    <a:pt x="917919" y="2246516"/>
                    <a:pt x="815017" y="2089057"/>
                    <a:pt x="688080" y="2089057"/>
                  </a:cubicBezTo>
                  <a:lnTo>
                    <a:pt x="229841" y="2089057"/>
                  </a:lnTo>
                  <a:cubicBezTo>
                    <a:pt x="102904" y="2089057"/>
                    <a:pt x="2" y="1931598"/>
                    <a:pt x="2" y="1737363"/>
                  </a:cubicBezTo>
                  <a:close/>
                  <a:moveTo>
                    <a:pt x="289566" y="0"/>
                  </a:moveTo>
                  <a:lnTo>
                    <a:pt x="1546270" y="0"/>
                  </a:lnTo>
                  <a:cubicBezTo>
                    <a:pt x="1706193" y="0"/>
                    <a:pt x="1835836" y="129643"/>
                    <a:pt x="1835836" y="289566"/>
                  </a:cubicBezTo>
                  <a:lnTo>
                    <a:pt x="1835836" y="1737362"/>
                  </a:lnTo>
                  <a:lnTo>
                    <a:pt x="0" y="1737362"/>
                  </a:lnTo>
                  <a:lnTo>
                    <a:pt x="0" y="289566"/>
                  </a:lnTo>
                  <a:cubicBezTo>
                    <a:pt x="0" y="129643"/>
                    <a:pt x="129643" y="0"/>
                    <a:pt x="289566" y="0"/>
                  </a:cubicBezTo>
                  <a:close/>
                </a:path>
              </a:pathLst>
            </a:custGeom>
            <a:gradFill>
              <a:gsLst>
                <a:gs pos="16000">
                  <a:srgbClr val="FF9900"/>
                </a:gs>
                <a:gs pos="100000">
                  <a:srgbClr val="FFFF00"/>
                </a:gs>
              </a:gsLst>
              <a:lin ang="18900000" scaled="1"/>
            </a:gradFill>
            <a:ln>
              <a:noFill/>
            </a:ln>
            <a:effectLst>
              <a:innerShdw blurRad="63500" dist="254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9" name="TextBox 9">
              <a:extLst>
                <a:ext uri="{FF2B5EF4-FFF2-40B4-BE49-F238E27FC236}">
                  <a16:creationId xmlns:a16="http://schemas.microsoft.com/office/drawing/2014/main" id="{49F1A4A3-5D3D-477B-A7A4-92F2497CFA1F}"/>
                </a:ext>
              </a:extLst>
            </p:cNvPr>
            <p:cNvSpPr txBox="1"/>
            <p:nvPr/>
          </p:nvSpPr>
          <p:spPr>
            <a:xfrm>
              <a:off x="660387" y="1785249"/>
              <a:ext cx="2102617" cy="338554"/>
            </a:xfrm>
            <a:prstGeom prst="rect">
              <a:avLst/>
            </a:prstGeom>
            <a:noFill/>
          </p:spPr>
          <p:txBody>
            <a:bodyPr wrap="square" rtlCol="0">
              <a:spAutoFit/>
            </a:bodyPr>
            <a:lstStyle/>
            <a:p>
              <a:r>
                <a:rPr lang="en-US" sz="1600" b="1" dirty="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DOS TECNOLOGÍAS</a:t>
              </a:r>
            </a:p>
          </p:txBody>
        </p:sp>
        <p:sp>
          <p:nvSpPr>
            <p:cNvPr id="10" name="TextBox 10">
              <a:extLst>
                <a:ext uri="{FF2B5EF4-FFF2-40B4-BE49-F238E27FC236}">
                  <a16:creationId xmlns:a16="http://schemas.microsoft.com/office/drawing/2014/main" id="{BBFC7F9F-1ADE-4EE9-877F-323F66EFCA46}"/>
                </a:ext>
              </a:extLst>
            </p:cNvPr>
            <p:cNvSpPr txBox="1"/>
            <p:nvPr/>
          </p:nvSpPr>
          <p:spPr>
            <a:xfrm>
              <a:off x="728114" y="2054111"/>
              <a:ext cx="1850838" cy="738664"/>
            </a:xfrm>
            <a:prstGeom prst="rect">
              <a:avLst/>
            </a:prstGeom>
            <a:noFill/>
          </p:spPr>
          <p:txBody>
            <a:bodyPr wrap="square" rtlCol="0">
              <a:spAutoFit/>
            </a:bodyPr>
            <a:lstStyle/>
            <a:p>
              <a:pPr marL="92075" indent="-92075">
                <a:buFontTx/>
                <a:buChar char="-"/>
              </a:pPr>
              <a:r>
                <a:rPr lang="es-ES" sz="1400" dirty="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Impresoras 3D en tecnología FDM </a:t>
              </a:r>
            </a:p>
            <a:p>
              <a:pPr marL="92075" indent="-92075">
                <a:buFontTx/>
                <a:buChar char="-"/>
              </a:pPr>
              <a:r>
                <a:rPr lang="es-ES" sz="1400" dirty="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 SLA </a:t>
              </a:r>
              <a:endParaRPr lang="en-US" sz="1400" dirty="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TextBox 32">
              <a:extLst>
                <a:ext uri="{FF2B5EF4-FFF2-40B4-BE49-F238E27FC236}">
                  <a16:creationId xmlns:a16="http://schemas.microsoft.com/office/drawing/2014/main" id="{3DA2DA2A-5952-4E72-9964-9FDD68643B6A}"/>
                </a:ext>
              </a:extLst>
            </p:cNvPr>
            <p:cNvSpPr txBox="1"/>
            <p:nvPr/>
          </p:nvSpPr>
          <p:spPr>
            <a:xfrm>
              <a:off x="-403141" y="3488958"/>
              <a:ext cx="3653825" cy="1815882"/>
            </a:xfrm>
            <a:prstGeom prst="rect">
              <a:avLst/>
            </a:prstGeom>
            <a:noFill/>
          </p:spPr>
          <p:txBody>
            <a:bodyPr wrap="square" rtlCol="0">
              <a:spAutoFit/>
            </a:bodyPr>
            <a:lstStyle/>
            <a:p>
              <a:pPr marL="285750" indent="-285750">
                <a:buFont typeface="Arial" panose="020B0604020202020204" pitchFamily="34" charset="0"/>
                <a:buChar char="•"/>
              </a:pPr>
              <a:r>
                <a:rPr lang="es-ES" sz="1600" dirty="0">
                  <a:solidFill>
                    <a:schemeClr val="bg1"/>
                  </a:solidFill>
                  <a:ea typeface="Open Sans" panose="020B0606030504020204" pitchFamily="34" charset="0"/>
                  <a:cs typeface="Open Sans" panose="020B0606030504020204" pitchFamily="34" charset="0"/>
                </a:rPr>
                <a:t>Concepto de “Granja de impresoras”. </a:t>
              </a:r>
              <a:endParaRPr lang="es-ES" sz="1600" dirty="0" smtClean="0">
                <a:solidFill>
                  <a:schemeClr val="bg1"/>
                </a:solidFill>
                <a:ea typeface="Open Sans" panose="020B0606030504020204" pitchFamily="34" charset="0"/>
                <a:cs typeface="Open Sans" panose="020B0606030504020204" pitchFamily="34" charset="0"/>
              </a:endParaRPr>
            </a:p>
            <a:p>
              <a:endParaRPr lang="es-ES" sz="1600" dirty="0">
                <a:solidFill>
                  <a:schemeClr val="bg1"/>
                </a:solidFill>
                <a:ea typeface="Open Sans" panose="020B0606030504020204" pitchFamily="34" charset="0"/>
                <a:cs typeface="Open Sans" panose="020B0606030504020204" pitchFamily="34" charset="0"/>
              </a:endParaRPr>
            </a:p>
            <a:p>
              <a:pPr algn="ctr"/>
              <a:r>
                <a:rPr lang="es-ES" sz="1600" dirty="0">
                  <a:solidFill>
                    <a:schemeClr val="bg1"/>
                  </a:solidFill>
                  <a:ea typeface="Open Sans" panose="020B0606030504020204" pitchFamily="34" charset="0"/>
                  <a:cs typeface="Open Sans" panose="020B0606030504020204" pitchFamily="34" charset="0"/>
                </a:rPr>
                <a:t>Permite trabajar conceptos como conectividad </a:t>
              </a:r>
              <a:r>
                <a:rPr lang="es-ES" sz="1600" dirty="0" err="1">
                  <a:solidFill>
                    <a:schemeClr val="bg1"/>
                  </a:solidFill>
                  <a:ea typeface="Open Sans" panose="020B0606030504020204" pitchFamily="34" charset="0"/>
                  <a:cs typeface="Open Sans" panose="020B0606030504020204" pitchFamily="34" charset="0"/>
                </a:rPr>
                <a:t>IoM</a:t>
              </a:r>
              <a:r>
                <a:rPr lang="es-ES" sz="1600" dirty="0">
                  <a:solidFill>
                    <a:schemeClr val="bg1"/>
                  </a:solidFill>
                  <a:ea typeface="Open Sans" panose="020B0606030504020204" pitchFamily="34" charset="0"/>
                  <a:cs typeface="Open Sans" panose="020B0606030504020204" pitchFamily="34" charset="0"/>
                </a:rPr>
                <a:t> (comunicación entre máquinas).</a:t>
              </a:r>
              <a:endParaRPr lang="en-US" sz="1600" dirty="0">
                <a:solidFill>
                  <a:schemeClr val="bg1"/>
                </a:solidFill>
                <a:ea typeface="Open Sans" panose="020B0606030504020204" pitchFamily="34" charset="0"/>
                <a:cs typeface="Open Sans" panose="020B0606030504020204" pitchFamily="34" charset="0"/>
              </a:endParaRPr>
            </a:p>
          </p:txBody>
        </p:sp>
      </p:grpSp>
      <p:grpSp>
        <p:nvGrpSpPr>
          <p:cNvPr id="13" name="Group 2">
            <a:extLst>
              <a:ext uri="{FF2B5EF4-FFF2-40B4-BE49-F238E27FC236}">
                <a16:creationId xmlns:a16="http://schemas.microsoft.com/office/drawing/2014/main" id="{B8CE5FC6-3F18-4EE1-B9C4-EF64E239C6CA}"/>
              </a:ext>
            </a:extLst>
          </p:cNvPr>
          <p:cNvGrpSpPr/>
          <p:nvPr/>
        </p:nvGrpSpPr>
        <p:grpSpPr>
          <a:xfrm>
            <a:off x="5521244" y="2016138"/>
            <a:ext cx="2573885" cy="3889849"/>
            <a:chOff x="3549280" y="1603803"/>
            <a:chExt cx="2180492" cy="3889849"/>
          </a:xfrm>
        </p:grpSpPr>
        <p:sp>
          <p:nvSpPr>
            <p:cNvPr id="14" name="Rectangle: Rounded Corners 14">
              <a:extLst>
                <a:ext uri="{FF2B5EF4-FFF2-40B4-BE49-F238E27FC236}">
                  <a16:creationId xmlns:a16="http://schemas.microsoft.com/office/drawing/2014/main" id="{F48C03E0-BA27-4CBD-9C0F-C3AC5D3162D7}"/>
                </a:ext>
              </a:extLst>
            </p:cNvPr>
            <p:cNvSpPr/>
            <p:nvPr/>
          </p:nvSpPr>
          <p:spPr>
            <a:xfrm>
              <a:off x="3549280" y="1603803"/>
              <a:ext cx="2180492" cy="3889849"/>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p>
          </p:txBody>
        </p:sp>
        <p:sp>
          <p:nvSpPr>
            <p:cNvPr id="15" name="Freeform: Shape 15">
              <a:extLst>
                <a:ext uri="{FF2B5EF4-FFF2-40B4-BE49-F238E27FC236}">
                  <a16:creationId xmlns:a16="http://schemas.microsoft.com/office/drawing/2014/main" id="{CC1DD550-EE6D-431E-A2B4-BD52F8AB30DC}"/>
                </a:ext>
              </a:extLst>
            </p:cNvPr>
            <p:cNvSpPr/>
            <p:nvPr/>
          </p:nvSpPr>
          <p:spPr>
            <a:xfrm rot="10800000">
              <a:off x="3609152" y="2738181"/>
              <a:ext cx="2032532" cy="2702259"/>
            </a:xfrm>
            <a:custGeom>
              <a:avLst/>
              <a:gdLst>
                <a:gd name="connsiteX0" fmla="*/ 2 w 1835836"/>
                <a:gd name="connsiteY0" fmla="*/ 1737363 h 2440751"/>
                <a:gd name="connsiteX1" fmla="*/ 1835836 w 1835836"/>
                <a:gd name="connsiteY1" fmla="*/ 1737363 h 2440751"/>
                <a:gd name="connsiteX2" fmla="*/ 1605997 w 1835836"/>
                <a:gd name="connsiteY2" fmla="*/ 2089057 h 2440751"/>
                <a:gd name="connsiteX3" fmla="*/ 1147758 w 1835836"/>
                <a:gd name="connsiteY3" fmla="*/ 2089057 h 2440751"/>
                <a:gd name="connsiteX4" fmla="*/ 917919 w 1835836"/>
                <a:gd name="connsiteY4" fmla="*/ 2440751 h 2440751"/>
                <a:gd name="connsiteX5" fmla="*/ 688080 w 1835836"/>
                <a:gd name="connsiteY5" fmla="*/ 2089057 h 2440751"/>
                <a:gd name="connsiteX6" fmla="*/ 229841 w 1835836"/>
                <a:gd name="connsiteY6" fmla="*/ 2089057 h 2440751"/>
                <a:gd name="connsiteX7" fmla="*/ 2 w 1835836"/>
                <a:gd name="connsiteY7" fmla="*/ 1737363 h 2440751"/>
                <a:gd name="connsiteX8" fmla="*/ 289566 w 1835836"/>
                <a:gd name="connsiteY8" fmla="*/ 0 h 2440751"/>
                <a:gd name="connsiteX9" fmla="*/ 1546270 w 1835836"/>
                <a:gd name="connsiteY9" fmla="*/ 0 h 2440751"/>
                <a:gd name="connsiteX10" fmla="*/ 1835836 w 1835836"/>
                <a:gd name="connsiteY10" fmla="*/ 289566 h 2440751"/>
                <a:gd name="connsiteX11" fmla="*/ 1835836 w 1835836"/>
                <a:gd name="connsiteY11" fmla="*/ 1737362 h 2440751"/>
                <a:gd name="connsiteX12" fmla="*/ 0 w 1835836"/>
                <a:gd name="connsiteY12" fmla="*/ 1737362 h 2440751"/>
                <a:gd name="connsiteX13" fmla="*/ 0 w 1835836"/>
                <a:gd name="connsiteY13" fmla="*/ 289566 h 2440751"/>
                <a:gd name="connsiteX14" fmla="*/ 289566 w 1835836"/>
                <a:gd name="connsiteY14" fmla="*/ 0 h 244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35836" h="2440751">
                  <a:moveTo>
                    <a:pt x="2" y="1737363"/>
                  </a:moveTo>
                  <a:lnTo>
                    <a:pt x="1835836" y="1737363"/>
                  </a:lnTo>
                  <a:cubicBezTo>
                    <a:pt x="1835836" y="1931598"/>
                    <a:pt x="1732934" y="2089057"/>
                    <a:pt x="1605997" y="2089057"/>
                  </a:cubicBezTo>
                  <a:lnTo>
                    <a:pt x="1147758" y="2089057"/>
                  </a:lnTo>
                  <a:cubicBezTo>
                    <a:pt x="1020821" y="2089057"/>
                    <a:pt x="917919" y="2246516"/>
                    <a:pt x="917919" y="2440751"/>
                  </a:cubicBezTo>
                  <a:cubicBezTo>
                    <a:pt x="917919" y="2246516"/>
                    <a:pt x="815017" y="2089057"/>
                    <a:pt x="688080" y="2089057"/>
                  </a:cubicBezTo>
                  <a:lnTo>
                    <a:pt x="229841" y="2089057"/>
                  </a:lnTo>
                  <a:cubicBezTo>
                    <a:pt x="102904" y="2089057"/>
                    <a:pt x="2" y="1931598"/>
                    <a:pt x="2" y="1737363"/>
                  </a:cubicBezTo>
                  <a:close/>
                  <a:moveTo>
                    <a:pt x="289566" y="0"/>
                  </a:moveTo>
                  <a:lnTo>
                    <a:pt x="1546270" y="0"/>
                  </a:lnTo>
                  <a:cubicBezTo>
                    <a:pt x="1706193" y="0"/>
                    <a:pt x="1835836" y="129643"/>
                    <a:pt x="1835836" y="289566"/>
                  </a:cubicBezTo>
                  <a:lnTo>
                    <a:pt x="1835836" y="1737362"/>
                  </a:lnTo>
                  <a:lnTo>
                    <a:pt x="0" y="1737362"/>
                  </a:lnTo>
                  <a:lnTo>
                    <a:pt x="0" y="289566"/>
                  </a:lnTo>
                  <a:cubicBezTo>
                    <a:pt x="0" y="129643"/>
                    <a:pt x="129643" y="0"/>
                    <a:pt x="289566" y="0"/>
                  </a:cubicBezTo>
                  <a:close/>
                </a:path>
              </a:pathLst>
            </a:custGeom>
            <a:gradFill>
              <a:gsLst>
                <a:gs pos="16000">
                  <a:srgbClr val="009999"/>
                </a:gs>
                <a:gs pos="100000">
                  <a:srgbClr val="66FF33"/>
                </a:gs>
              </a:gsLst>
              <a:lin ang="18900000" scaled="1"/>
            </a:gradFill>
            <a:ln>
              <a:noFill/>
            </a:ln>
            <a:effectLst>
              <a:innerShdw blurRad="63500" dist="254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6">
              <a:extLst>
                <a:ext uri="{FF2B5EF4-FFF2-40B4-BE49-F238E27FC236}">
                  <a16:creationId xmlns:a16="http://schemas.microsoft.com/office/drawing/2014/main" id="{ABBFE40E-C1DB-4D52-A587-6605DAC1A66F}"/>
                </a:ext>
              </a:extLst>
            </p:cNvPr>
            <p:cNvSpPr txBox="1"/>
            <p:nvPr/>
          </p:nvSpPr>
          <p:spPr>
            <a:xfrm>
              <a:off x="3657624" y="1761723"/>
              <a:ext cx="2011769" cy="584775"/>
            </a:xfrm>
            <a:prstGeom prst="rect">
              <a:avLst/>
            </a:prstGeom>
            <a:noFill/>
          </p:spPr>
          <p:txBody>
            <a:bodyPr wrap="square" rtlCol="0">
              <a:spAutoFit/>
            </a:bodyPr>
            <a:lstStyle/>
            <a:p>
              <a:pPr algn="ctr"/>
              <a:r>
                <a:rPr lang="en-US" sz="1600" b="1" dirty="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TECNOLOGÍA PARA ESCANEADO</a:t>
              </a:r>
            </a:p>
          </p:txBody>
        </p:sp>
        <p:sp>
          <p:nvSpPr>
            <p:cNvPr id="17" name="TextBox 17">
              <a:extLst>
                <a:ext uri="{FF2B5EF4-FFF2-40B4-BE49-F238E27FC236}">
                  <a16:creationId xmlns:a16="http://schemas.microsoft.com/office/drawing/2014/main" id="{8CA59E80-48BD-4BA1-B5E8-31B77B19952E}"/>
                </a:ext>
              </a:extLst>
            </p:cNvPr>
            <p:cNvSpPr txBox="1"/>
            <p:nvPr/>
          </p:nvSpPr>
          <p:spPr>
            <a:xfrm>
              <a:off x="3549280" y="2346498"/>
              <a:ext cx="2092404" cy="307777"/>
            </a:xfrm>
            <a:prstGeom prst="rect">
              <a:avLst/>
            </a:prstGeom>
            <a:noFill/>
          </p:spPr>
          <p:txBody>
            <a:bodyPr wrap="square" rtlCol="0">
              <a:spAutoFit/>
            </a:bodyPr>
            <a:lstStyle/>
            <a:p>
              <a:pPr algn="ctr"/>
              <a:r>
                <a:rPr lang="en-US" sz="1400" dirty="0">
                  <a:solidFill>
                    <a:srgbClr val="009999"/>
                  </a:solidFill>
                  <a:latin typeface="Open Sans" panose="020B0606030504020204" pitchFamily="34" charset="0"/>
                  <a:ea typeface="Open Sans" panose="020B0606030504020204" pitchFamily="34" charset="0"/>
                  <a:cs typeface="Open Sans" panose="020B0606030504020204" pitchFamily="34" charset="0"/>
                </a:rPr>
                <a:t>SLS (luz </a:t>
              </a:r>
              <a:r>
                <a:rPr lang="en-US" sz="1400" dirty="0" err="1">
                  <a:solidFill>
                    <a:srgbClr val="009999"/>
                  </a:solidFill>
                  <a:latin typeface="Open Sans" panose="020B0606030504020204" pitchFamily="34" charset="0"/>
                  <a:ea typeface="Open Sans" panose="020B0606030504020204" pitchFamily="34" charset="0"/>
                  <a:cs typeface="Open Sans" panose="020B0606030504020204" pitchFamily="34" charset="0"/>
                </a:rPr>
                <a:t>estructurada</a:t>
              </a:r>
              <a:r>
                <a:rPr lang="en-US" sz="1400" dirty="0">
                  <a:solidFill>
                    <a:srgbClr val="009999"/>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19" name="TextBox 33">
              <a:extLst>
                <a:ext uri="{FF2B5EF4-FFF2-40B4-BE49-F238E27FC236}">
                  <a16:creationId xmlns:a16="http://schemas.microsoft.com/office/drawing/2014/main" id="{086B1B97-29C3-4246-9B51-A8D02A75D6A4}"/>
                </a:ext>
              </a:extLst>
            </p:cNvPr>
            <p:cNvSpPr txBox="1"/>
            <p:nvPr/>
          </p:nvSpPr>
          <p:spPr>
            <a:xfrm>
              <a:off x="3678192" y="3415342"/>
              <a:ext cx="1870571" cy="1938992"/>
            </a:xfrm>
            <a:prstGeom prst="rect">
              <a:avLst/>
            </a:prstGeom>
            <a:noFill/>
          </p:spPr>
          <p:txBody>
            <a:bodyPr wrap="square" rtlCol="0">
              <a:spAutoFit/>
            </a:bodyPr>
            <a:lstStyle/>
            <a:p>
              <a:pPr marL="285750" indent="-285750" algn="just">
                <a:buFont typeface="Arial" panose="020B0604020202020204" pitchFamily="34" charset="0"/>
                <a:buChar char="•"/>
              </a:pPr>
              <a:r>
                <a:rPr lang="es-ES" sz="1600" dirty="0">
                  <a:solidFill>
                    <a:schemeClr val="bg1"/>
                  </a:solidFill>
                  <a:ea typeface="Open Sans" panose="020B0606030504020204" pitchFamily="34" charset="0"/>
                  <a:cs typeface="Open Sans" panose="020B0606030504020204" pitchFamily="34" charset="0"/>
                </a:rPr>
                <a:t>Cámara</a:t>
              </a:r>
            </a:p>
            <a:p>
              <a:pPr marL="285750" indent="-285750" algn="just">
                <a:buFont typeface="Arial" panose="020B0604020202020204" pitchFamily="34" charset="0"/>
                <a:buChar char="•"/>
              </a:pPr>
              <a:r>
                <a:rPr lang="es-ES" sz="1600" dirty="0">
                  <a:solidFill>
                    <a:schemeClr val="bg1"/>
                  </a:solidFill>
                  <a:ea typeface="Open Sans" panose="020B0606030504020204" pitchFamily="34" charset="0"/>
                  <a:cs typeface="Open Sans" panose="020B0606030504020204" pitchFamily="34" charset="0"/>
                </a:rPr>
                <a:t>Nube de puntos</a:t>
              </a:r>
            </a:p>
            <a:p>
              <a:pPr marL="285750" indent="-285750" algn="just">
                <a:buFont typeface="Arial" panose="020B0604020202020204" pitchFamily="34" charset="0"/>
                <a:buChar char="•"/>
              </a:pPr>
              <a:r>
                <a:rPr lang="es-ES" sz="1600" dirty="0">
                  <a:solidFill>
                    <a:schemeClr val="bg1"/>
                  </a:solidFill>
                  <a:ea typeface="Open Sans" panose="020B0606030504020204" pitchFamily="34" charset="0"/>
                  <a:cs typeface="Open Sans" panose="020B0606030504020204" pitchFamily="34" charset="0"/>
                </a:rPr>
                <a:t>Objeto digital inicial.</a:t>
              </a:r>
            </a:p>
            <a:p>
              <a:pPr marL="285750" indent="-285750" algn="just">
                <a:buFont typeface="Arial" panose="020B0604020202020204" pitchFamily="34" charset="0"/>
                <a:buChar char="•"/>
              </a:pPr>
              <a:r>
                <a:rPr lang="es-ES" sz="1600" dirty="0">
                  <a:solidFill>
                    <a:schemeClr val="bg1"/>
                  </a:solidFill>
                  <a:ea typeface="Open Sans" panose="020B0606030504020204" pitchFamily="34" charset="0"/>
                  <a:cs typeface="Open Sans" panose="020B0606030504020204" pitchFamily="34" charset="0"/>
                </a:rPr>
                <a:t>Software específico </a:t>
              </a:r>
            </a:p>
            <a:p>
              <a:pPr marL="285750" indent="-285750" algn="just">
                <a:buFont typeface="Arial" panose="020B0604020202020204" pitchFamily="34" charset="0"/>
                <a:buChar char="•"/>
              </a:pPr>
              <a:r>
                <a:rPr lang="es-ES" sz="1600" dirty="0">
                  <a:solidFill>
                    <a:schemeClr val="bg1"/>
                  </a:solidFill>
                  <a:ea typeface="Open Sans" panose="020B0606030504020204" pitchFamily="34" charset="0"/>
                  <a:cs typeface="Open Sans" panose="020B0606030504020204" pitchFamily="34" charset="0"/>
                </a:rPr>
                <a:t>Impresión 3D</a:t>
              </a:r>
            </a:p>
            <a:p>
              <a:pPr algn="just"/>
              <a:endPar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0" name="Group 3">
            <a:extLst>
              <a:ext uri="{FF2B5EF4-FFF2-40B4-BE49-F238E27FC236}">
                <a16:creationId xmlns:a16="http://schemas.microsoft.com/office/drawing/2014/main" id="{5C4952AD-8B61-4A7A-86CA-C17D8DB1F40B}"/>
              </a:ext>
            </a:extLst>
          </p:cNvPr>
          <p:cNvGrpSpPr/>
          <p:nvPr/>
        </p:nvGrpSpPr>
        <p:grpSpPr>
          <a:xfrm>
            <a:off x="8476775" y="2001999"/>
            <a:ext cx="2180492" cy="3889849"/>
            <a:chOff x="6504810" y="1589664"/>
            <a:chExt cx="2180492" cy="3889849"/>
          </a:xfrm>
        </p:grpSpPr>
        <p:sp>
          <p:nvSpPr>
            <p:cNvPr id="21" name="Rectangle: Rounded Corners 20">
              <a:extLst>
                <a:ext uri="{FF2B5EF4-FFF2-40B4-BE49-F238E27FC236}">
                  <a16:creationId xmlns:a16="http://schemas.microsoft.com/office/drawing/2014/main" id="{7E837C17-D4C9-47B4-B1A9-C4327ADE4655}"/>
                </a:ext>
              </a:extLst>
            </p:cNvPr>
            <p:cNvSpPr/>
            <p:nvPr/>
          </p:nvSpPr>
          <p:spPr>
            <a:xfrm>
              <a:off x="6504810" y="1589664"/>
              <a:ext cx="2180492" cy="3889849"/>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2" name="Freeform: Shape 21">
              <a:extLst>
                <a:ext uri="{FF2B5EF4-FFF2-40B4-BE49-F238E27FC236}">
                  <a16:creationId xmlns:a16="http://schemas.microsoft.com/office/drawing/2014/main" id="{9379DA6E-CF7C-4B84-8E49-C321C5BA8956}"/>
                </a:ext>
              </a:extLst>
            </p:cNvPr>
            <p:cNvSpPr/>
            <p:nvPr/>
          </p:nvSpPr>
          <p:spPr>
            <a:xfrm rot="10800000">
              <a:off x="6575369" y="2738181"/>
              <a:ext cx="2032532" cy="2702259"/>
            </a:xfrm>
            <a:custGeom>
              <a:avLst/>
              <a:gdLst>
                <a:gd name="connsiteX0" fmla="*/ 2 w 1835836"/>
                <a:gd name="connsiteY0" fmla="*/ 1737363 h 2440751"/>
                <a:gd name="connsiteX1" fmla="*/ 1835836 w 1835836"/>
                <a:gd name="connsiteY1" fmla="*/ 1737363 h 2440751"/>
                <a:gd name="connsiteX2" fmla="*/ 1605997 w 1835836"/>
                <a:gd name="connsiteY2" fmla="*/ 2089057 h 2440751"/>
                <a:gd name="connsiteX3" fmla="*/ 1147758 w 1835836"/>
                <a:gd name="connsiteY3" fmla="*/ 2089057 h 2440751"/>
                <a:gd name="connsiteX4" fmla="*/ 917919 w 1835836"/>
                <a:gd name="connsiteY4" fmla="*/ 2440751 h 2440751"/>
                <a:gd name="connsiteX5" fmla="*/ 688080 w 1835836"/>
                <a:gd name="connsiteY5" fmla="*/ 2089057 h 2440751"/>
                <a:gd name="connsiteX6" fmla="*/ 229841 w 1835836"/>
                <a:gd name="connsiteY6" fmla="*/ 2089057 h 2440751"/>
                <a:gd name="connsiteX7" fmla="*/ 2 w 1835836"/>
                <a:gd name="connsiteY7" fmla="*/ 1737363 h 2440751"/>
                <a:gd name="connsiteX8" fmla="*/ 289566 w 1835836"/>
                <a:gd name="connsiteY8" fmla="*/ 0 h 2440751"/>
                <a:gd name="connsiteX9" fmla="*/ 1546270 w 1835836"/>
                <a:gd name="connsiteY9" fmla="*/ 0 h 2440751"/>
                <a:gd name="connsiteX10" fmla="*/ 1835836 w 1835836"/>
                <a:gd name="connsiteY10" fmla="*/ 289566 h 2440751"/>
                <a:gd name="connsiteX11" fmla="*/ 1835836 w 1835836"/>
                <a:gd name="connsiteY11" fmla="*/ 1737362 h 2440751"/>
                <a:gd name="connsiteX12" fmla="*/ 0 w 1835836"/>
                <a:gd name="connsiteY12" fmla="*/ 1737362 h 2440751"/>
                <a:gd name="connsiteX13" fmla="*/ 0 w 1835836"/>
                <a:gd name="connsiteY13" fmla="*/ 289566 h 2440751"/>
                <a:gd name="connsiteX14" fmla="*/ 289566 w 1835836"/>
                <a:gd name="connsiteY14" fmla="*/ 0 h 244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35836" h="2440751">
                  <a:moveTo>
                    <a:pt x="2" y="1737363"/>
                  </a:moveTo>
                  <a:lnTo>
                    <a:pt x="1835836" y="1737363"/>
                  </a:lnTo>
                  <a:cubicBezTo>
                    <a:pt x="1835836" y="1931598"/>
                    <a:pt x="1732934" y="2089057"/>
                    <a:pt x="1605997" y="2089057"/>
                  </a:cubicBezTo>
                  <a:lnTo>
                    <a:pt x="1147758" y="2089057"/>
                  </a:lnTo>
                  <a:cubicBezTo>
                    <a:pt x="1020821" y="2089057"/>
                    <a:pt x="917919" y="2246516"/>
                    <a:pt x="917919" y="2440751"/>
                  </a:cubicBezTo>
                  <a:cubicBezTo>
                    <a:pt x="917919" y="2246516"/>
                    <a:pt x="815017" y="2089057"/>
                    <a:pt x="688080" y="2089057"/>
                  </a:cubicBezTo>
                  <a:lnTo>
                    <a:pt x="229841" y="2089057"/>
                  </a:lnTo>
                  <a:cubicBezTo>
                    <a:pt x="102904" y="2089057"/>
                    <a:pt x="2" y="1931598"/>
                    <a:pt x="2" y="1737363"/>
                  </a:cubicBezTo>
                  <a:close/>
                  <a:moveTo>
                    <a:pt x="289566" y="0"/>
                  </a:moveTo>
                  <a:lnTo>
                    <a:pt x="1546270" y="0"/>
                  </a:lnTo>
                  <a:cubicBezTo>
                    <a:pt x="1706193" y="0"/>
                    <a:pt x="1835836" y="129643"/>
                    <a:pt x="1835836" y="289566"/>
                  </a:cubicBezTo>
                  <a:lnTo>
                    <a:pt x="1835836" y="1737362"/>
                  </a:lnTo>
                  <a:lnTo>
                    <a:pt x="0" y="1737362"/>
                  </a:lnTo>
                  <a:lnTo>
                    <a:pt x="0" y="289566"/>
                  </a:lnTo>
                  <a:cubicBezTo>
                    <a:pt x="0" y="129643"/>
                    <a:pt x="129643" y="0"/>
                    <a:pt x="289566" y="0"/>
                  </a:cubicBezTo>
                  <a:close/>
                </a:path>
              </a:pathLst>
            </a:custGeom>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23" name="TextBox 22">
              <a:extLst>
                <a:ext uri="{FF2B5EF4-FFF2-40B4-BE49-F238E27FC236}">
                  <a16:creationId xmlns:a16="http://schemas.microsoft.com/office/drawing/2014/main" id="{1FED39B5-0C91-412D-B11A-283757E12028}"/>
                </a:ext>
              </a:extLst>
            </p:cNvPr>
            <p:cNvSpPr txBox="1"/>
            <p:nvPr/>
          </p:nvSpPr>
          <p:spPr>
            <a:xfrm>
              <a:off x="6610688" y="2037120"/>
              <a:ext cx="1941210" cy="369332"/>
            </a:xfrm>
            <a:prstGeom prst="rect">
              <a:avLst/>
            </a:prstGeom>
            <a:noFill/>
          </p:spPr>
          <p:txBody>
            <a:bodyPr wrap="square" rtlCol="0">
              <a:spAutoFit/>
            </a:bodyPr>
            <a:lstStyle/>
            <a:p>
              <a:pPr algn="ctr"/>
              <a:r>
                <a:rPr lang="en-US" b="1" dirty="0">
                  <a:solidFill>
                    <a:schemeClr val="bg2">
                      <a:lumMod val="75000"/>
                    </a:schemeClr>
                  </a:solidFill>
                  <a:latin typeface="Open Sans" panose="020B0606030504020204" pitchFamily="34" charset="0"/>
                  <a:ea typeface="Open Sans" panose="020B0606030504020204" pitchFamily="34" charset="0"/>
                  <a:cs typeface="Open Sans" panose="020B0606030504020204" pitchFamily="34" charset="0"/>
                </a:rPr>
                <a:t>EQUIPAMIENTO</a:t>
              </a:r>
            </a:p>
          </p:txBody>
        </p:sp>
        <p:sp>
          <p:nvSpPr>
            <p:cNvPr id="26" name="TextBox 34">
              <a:extLst>
                <a:ext uri="{FF2B5EF4-FFF2-40B4-BE49-F238E27FC236}">
                  <a16:creationId xmlns:a16="http://schemas.microsoft.com/office/drawing/2014/main" id="{6B1D2C53-6456-4102-ABCE-87C6D9F0C8EE}"/>
                </a:ext>
              </a:extLst>
            </p:cNvPr>
            <p:cNvSpPr txBox="1"/>
            <p:nvPr/>
          </p:nvSpPr>
          <p:spPr>
            <a:xfrm>
              <a:off x="6610688" y="3216915"/>
              <a:ext cx="1941210" cy="2154436"/>
            </a:xfrm>
            <a:prstGeom prst="rect">
              <a:avLst/>
            </a:prstGeom>
            <a:noFill/>
          </p:spPr>
          <p:txBody>
            <a:bodyPr wrap="square" rtlCol="0">
              <a:spAutoFit/>
            </a:bodyPr>
            <a:lstStyle/>
            <a:p>
              <a:pPr marL="92075" indent="-92075">
                <a:buFont typeface="Arial" panose="020B0604020202020204" pitchFamily="34" charset="0"/>
                <a:buChar char="•"/>
              </a:pPr>
              <a:r>
                <a:rPr lang="en-US" sz="1400" dirty="0">
                  <a:solidFill>
                    <a:schemeClr val="bg1"/>
                  </a:solidFill>
                  <a:ea typeface="Open Sans" panose="020B0606030504020204" pitchFamily="34" charset="0"/>
                  <a:cs typeface="Open Sans" panose="020B0606030504020204" pitchFamily="34" charset="0"/>
                </a:rPr>
                <a:t>2 </a:t>
              </a:r>
              <a:r>
                <a:rPr lang="en-US" sz="1400" dirty="0" err="1">
                  <a:solidFill>
                    <a:schemeClr val="bg1"/>
                  </a:solidFill>
                  <a:ea typeface="Open Sans" panose="020B0606030504020204" pitchFamily="34" charset="0"/>
                  <a:cs typeface="Open Sans" panose="020B0606030504020204" pitchFamily="34" charset="0"/>
                </a:rPr>
                <a:t>escáneres</a:t>
              </a:r>
              <a:r>
                <a:rPr lang="en-US" sz="1400" dirty="0">
                  <a:solidFill>
                    <a:schemeClr val="bg1"/>
                  </a:solidFill>
                  <a:ea typeface="Open Sans" panose="020B0606030504020204" pitchFamily="34" charset="0"/>
                  <a:cs typeface="Open Sans" panose="020B0606030504020204" pitchFamily="34" charset="0"/>
                </a:rPr>
                <a:t> </a:t>
              </a:r>
            </a:p>
            <a:p>
              <a:pPr marL="92075" indent="-92075">
                <a:buFont typeface="Arial" panose="020B0604020202020204" pitchFamily="34" charset="0"/>
                <a:buChar char="•"/>
              </a:pPr>
              <a:r>
                <a:rPr lang="en-US" sz="1400" dirty="0">
                  <a:solidFill>
                    <a:schemeClr val="bg1"/>
                  </a:solidFill>
                  <a:ea typeface="Open Sans" panose="020B0606030504020204" pitchFamily="34" charset="0"/>
                  <a:cs typeface="Open Sans" panose="020B0606030504020204" pitchFamily="34" charset="0"/>
                </a:rPr>
                <a:t>Software de </a:t>
              </a:r>
              <a:r>
                <a:rPr lang="en-US" sz="1400" dirty="0" err="1">
                  <a:solidFill>
                    <a:schemeClr val="bg1"/>
                  </a:solidFill>
                  <a:ea typeface="Open Sans" panose="020B0606030504020204" pitchFamily="34" charset="0"/>
                  <a:cs typeface="Open Sans" panose="020B0606030504020204" pitchFamily="34" charset="0"/>
                </a:rPr>
                <a:t>Ingeniería</a:t>
              </a:r>
              <a:r>
                <a:rPr lang="en-US" sz="1400" dirty="0">
                  <a:solidFill>
                    <a:schemeClr val="bg1"/>
                  </a:solidFill>
                  <a:ea typeface="Open Sans" panose="020B0606030504020204" pitchFamily="34" charset="0"/>
                  <a:cs typeface="Open Sans" panose="020B0606030504020204" pitchFamily="34" charset="0"/>
                </a:rPr>
                <a:t> </a:t>
              </a:r>
              <a:r>
                <a:rPr lang="en-US" sz="1400" dirty="0" err="1">
                  <a:solidFill>
                    <a:schemeClr val="bg1"/>
                  </a:solidFill>
                  <a:ea typeface="Open Sans" panose="020B0606030504020204" pitchFamily="34" charset="0"/>
                  <a:cs typeface="Open Sans" panose="020B0606030504020204" pitchFamily="34" charset="0"/>
                </a:rPr>
                <a:t>Inversa</a:t>
              </a:r>
              <a:endParaRPr lang="en-US" sz="1400" dirty="0">
                <a:solidFill>
                  <a:schemeClr val="bg1"/>
                </a:solidFill>
                <a:ea typeface="Open Sans" panose="020B0606030504020204" pitchFamily="34" charset="0"/>
                <a:cs typeface="Open Sans" panose="020B0606030504020204" pitchFamily="34" charset="0"/>
              </a:endParaRPr>
            </a:p>
            <a:p>
              <a:pPr marL="92075" indent="-92075">
                <a:buFont typeface="Arial" panose="020B0604020202020204" pitchFamily="34" charset="0"/>
                <a:buChar char="•"/>
              </a:pPr>
              <a:r>
                <a:rPr lang="en-US" sz="1400" dirty="0">
                  <a:solidFill>
                    <a:schemeClr val="bg1"/>
                  </a:solidFill>
                  <a:ea typeface="Open Sans" panose="020B0606030504020204" pitchFamily="34" charset="0"/>
                  <a:cs typeface="Open Sans" panose="020B0606030504020204" pitchFamily="34" charset="0"/>
                </a:rPr>
                <a:t> 5 </a:t>
              </a:r>
              <a:r>
                <a:rPr lang="en-US" sz="1400" dirty="0" err="1">
                  <a:solidFill>
                    <a:schemeClr val="bg1"/>
                  </a:solidFill>
                  <a:ea typeface="Open Sans" panose="020B0606030504020204" pitchFamily="34" charset="0"/>
                  <a:cs typeface="Open Sans" panose="020B0606030504020204" pitchFamily="34" charset="0"/>
                </a:rPr>
                <a:t>impresoras</a:t>
              </a:r>
              <a:r>
                <a:rPr lang="en-US" sz="1400" dirty="0">
                  <a:solidFill>
                    <a:schemeClr val="bg1"/>
                  </a:solidFill>
                  <a:ea typeface="Open Sans" panose="020B0606030504020204" pitchFamily="34" charset="0"/>
                  <a:cs typeface="Open Sans" panose="020B0606030504020204" pitchFamily="34" charset="0"/>
                </a:rPr>
                <a:t> FDM  </a:t>
              </a:r>
            </a:p>
            <a:p>
              <a:pPr marL="92075" indent="-92075">
                <a:buFont typeface="Arial" panose="020B0604020202020204" pitchFamily="34" charset="0"/>
                <a:buChar char="•"/>
              </a:pPr>
              <a:r>
                <a:rPr lang="en-US" sz="1400" dirty="0">
                  <a:solidFill>
                    <a:schemeClr val="bg1"/>
                  </a:solidFill>
                  <a:ea typeface="Open Sans" panose="020B0606030504020204" pitchFamily="34" charset="0"/>
                  <a:cs typeface="Open Sans" panose="020B0606030504020204" pitchFamily="34" charset="0"/>
                </a:rPr>
                <a:t>2 </a:t>
              </a:r>
              <a:r>
                <a:rPr lang="en-US" sz="1400" dirty="0" err="1">
                  <a:solidFill>
                    <a:schemeClr val="bg1"/>
                  </a:solidFill>
                  <a:ea typeface="Open Sans" panose="020B0606030504020204" pitchFamily="34" charset="0"/>
                  <a:cs typeface="Open Sans" panose="020B0606030504020204" pitchFamily="34" charset="0"/>
                </a:rPr>
                <a:t>impresoras</a:t>
              </a:r>
              <a:r>
                <a:rPr lang="en-US" sz="1400" dirty="0">
                  <a:solidFill>
                    <a:schemeClr val="bg1"/>
                  </a:solidFill>
                  <a:ea typeface="Open Sans" panose="020B0606030504020204" pitchFamily="34" charset="0"/>
                  <a:cs typeface="Open Sans" panose="020B0606030504020204" pitchFamily="34" charset="0"/>
                </a:rPr>
                <a:t> SLA </a:t>
              </a:r>
            </a:p>
            <a:p>
              <a:pPr marL="92075" indent="-92075">
                <a:buFont typeface="Arial" panose="020B0604020202020204" pitchFamily="34" charset="0"/>
                <a:buChar char="•"/>
              </a:pPr>
              <a:r>
                <a:rPr lang="en-US" sz="1400" dirty="0" err="1">
                  <a:solidFill>
                    <a:schemeClr val="bg1"/>
                  </a:solidFill>
                  <a:ea typeface="Open Sans" panose="020B0606030504020204" pitchFamily="34" charset="0"/>
                  <a:cs typeface="Open Sans" panose="020B0606030504020204" pitchFamily="34" charset="0"/>
                </a:rPr>
                <a:t>Equipamiento</a:t>
              </a:r>
              <a:r>
                <a:rPr lang="en-US" sz="1400" dirty="0">
                  <a:solidFill>
                    <a:schemeClr val="bg1"/>
                  </a:solidFill>
                  <a:ea typeface="Open Sans" panose="020B0606030504020204" pitchFamily="34" charset="0"/>
                  <a:cs typeface="Open Sans" panose="020B0606030504020204" pitchFamily="34" charset="0"/>
                </a:rPr>
                <a:t> IoM: </a:t>
              </a:r>
              <a:r>
                <a:rPr lang="en-US" sz="1400" dirty="0" err="1">
                  <a:solidFill>
                    <a:schemeClr val="bg1"/>
                  </a:solidFill>
                  <a:ea typeface="Open Sans" panose="020B0606030504020204" pitchFamily="34" charset="0"/>
                  <a:cs typeface="Open Sans" panose="020B0606030504020204" pitchFamily="34" charset="0"/>
                </a:rPr>
                <a:t>microcontroladores</a:t>
              </a:r>
              <a:r>
                <a:rPr lang="en-US" sz="1400" dirty="0">
                  <a:solidFill>
                    <a:schemeClr val="bg1"/>
                  </a:solidFill>
                  <a:ea typeface="Open Sans" panose="020B0606030504020204" pitchFamily="34" charset="0"/>
                  <a:cs typeface="Open Sans" panose="020B0606030504020204" pitchFamily="34" charset="0"/>
                </a:rPr>
                <a:t>, </a:t>
              </a:r>
              <a:r>
                <a:rPr lang="en-US" sz="1400" dirty="0" err="1">
                  <a:solidFill>
                    <a:schemeClr val="bg1"/>
                  </a:solidFill>
                  <a:ea typeface="Open Sans" panose="020B0606030504020204" pitchFamily="34" charset="0"/>
                  <a:cs typeface="Open Sans" panose="020B0606030504020204" pitchFamily="34" charset="0"/>
                </a:rPr>
                <a:t>sensores</a:t>
              </a:r>
              <a:r>
                <a:rPr lang="en-US" sz="1400" dirty="0">
                  <a:solidFill>
                    <a:schemeClr val="bg1"/>
                  </a:solidFill>
                  <a:ea typeface="Open Sans" panose="020B0606030504020204" pitchFamily="34" charset="0"/>
                  <a:cs typeface="Open Sans" panose="020B0606030504020204" pitchFamily="34" charset="0"/>
                </a:rPr>
                <a:t> y 5 </a:t>
              </a:r>
              <a:r>
                <a:rPr lang="en-US" sz="1400" dirty="0" err="1">
                  <a:solidFill>
                    <a:schemeClr val="bg1"/>
                  </a:solidFill>
                  <a:ea typeface="Open Sans" panose="020B0606030504020204" pitchFamily="34" charset="0"/>
                  <a:cs typeface="Open Sans" panose="020B0606030504020204" pitchFamily="34" charset="0"/>
                </a:rPr>
                <a:t>cámaras</a:t>
              </a:r>
              <a:endParaRPr lang="en-US" sz="1400" dirty="0">
                <a:solidFill>
                  <a:schemeClr val="bg1"/>
                </a:solidFill>
                <a:ea typeface="Open Sans" panose="020B0606030504020204" pitchFamily="34" charset="0"/>
                <a:cs typeface="Open Sans" panose="020B0606030504020204" pitchFamily="34" charset="0"/>
              </a:endParaRPr>
            </a:p>
            <a:p>
              <a:pPr marL="92075" indent="-92075">
                <a:buFont typeface="Arial" panose="020B0604020202020204" pitchFamily="34" charset="0"/>
                <a:buChar char="•"/>
              </a:pPr>
              <a:r>
                <a:rPr lang="en-US" sz="1400" dirty="0">
                  <a:solidFill>
                    <a:schemeClr val="bg1"/>
                  </a:solidFill>
                  <a:ea typeface="Open Sans" panose="020B0606030504020204" pitchFamily="34" charset="0"/>
                  <a:cs typeface="Open Sans" panose="020B0606030504020204" pitchFamily="34" charset="0"/>
                </a:rPr>
                <a:t> Software </a:t>
              </a:r>
              <a:r>
                <a:rPr lang="en-US" sz="1400" dirty="0" smtClean="0">
                  <a:solidFill>
                    <a:schemeClr val="bg1"/>
                  </a:solidFill>
                  <a:ea typeface="Open Sans" panose="020B0606030504020204" pitchFamily="34" charset="0"/>
                  <a:cs typeface="Open Sans" panose="020B0606030504020204" pitchFamily="34" charset="0"/>
                </a:rPr>
                <a:t>PLM</a:t>
              </a:r>
              <a:endParaRPr lang="en-US" sz="1400" dirty="0">
                <a:solidFill>
                  <a:schemeClr val="bg1"/>
                </a:solidFill>
                <a:ea typeface="Open Sans" panose="020B0606030504020204" pitchFamily="34" charset="0"/>
                <a:cs typeface="Open Sans" panose="020B0606030504020204" pitchFamily="34" charset="0"/>
              </a:endParaRPr>
            </a:p>
            <a:p>
              <a:pPr algn="just"/>
              <a:endPar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4" name="Marcador de número de diapositiva 1"/>
          <p:cNvSpPr>
            <a:spLocks noGrp="1"/>
          </p:cNvSpPr>
          <p:nvPr>
            <p:ph type="sldNum" sz="quarter" idx="12"/>
          </p:nvPr>
        </p:nvSpPr>
        <p:spPr>
          <a:xfrm>
            <a:off x="11777051" y="6458134"/>
            <a:ext cx="487378" cy="481343"/>
          </a:xfrm>
        </p:spPr>
        <p:txBody>
          <a:bodyPr/>
          <a:lstStyle/>
          <a:p>
            <a:r>
              <a:rPr lang="en-US" sz="2000" dirty="0" smtClean="0"/>
              <a:t>12</a:t>
            </a:r>
            <a:endParaRPr lang="en-US" sz="2000" dirty="0"/>
          </a:p>
        </p:txBody>
      </p:sp>
    </p:spTree>
    <p:extLst>
      <p:ext uri="{BB962C8B-B14F-4D97-AF65-F5344CB8AC3E}">
        <p14:creationId xmlns:p14="http://schemas.microsoft.com/office/powerpoint/2010/main" val="402796605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23FEED7-63F6-4545-95DD-474E69B1B82D}"/>
              </a:ext>
            </a:extLst>
          </p:cNvPr>
          <p:cNvSpPr/>
          <p:nvPr/>
        </p:nvSpPr>
        <p:spPr>
          <a:xfrm>
            <a:off x="419022" y="193816"/>
            <a:ext cx="6805068" cy="707886"/>
          </a:xfrm>
          <a:prstGeom prst="rect">
            <a:avLst/>
          </a:prstGeom>
          <a:noFill/>
        </p:spPr>
        <p:txBody>
          <a:bodyPr wrap="none" lIns="91440" tIns="45720" rIns="91440" bIns="45720">
            <a:spAutoFit/>
          </a:bodyPr>
          <a:lstStyle/>
          <a:p>
            <a:r>
              <a:rPr lang="es-ES" sz="4000" b="1"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Impresión y Escaneado 3D</a:t>
            </a:r>
          </a:p>
        </p:txBody>
      </p:sp>
      <p:sp>
        <p:nvSpPr>
          <p:cNvPr id="4" name="Rectángulo 3">
            <a:extLst>
              <a:ext uri="{FF2B5EF4-FFF2-40B4-BE49-F238E27FC236}">
                <a16:creationId xmlns:a16="http://schemas.microsoft.com/office/drawing/2014/main" id="{904BBC5B-BB15-4054-9403-A3C1DF827D29}"/>
              </a:ext>
            </a:extLst>
          </p:cNvPr>
          <p:cNvSpPr/>
          <p:nvPr/>
        </p:nvSpPr>
        <p:spPr>
          <a:xfrm>
            <a:off x="446902" y="1270428"/>
            <a:ext cx="5595354" cy="584775"/>
          </a:xfrm>
          <a:prstGeom prst="rect">
            <a:avLst/>
          </a:prstGeom>
          <a:noFill/>
        </p:spPr>
        <p:txBody>
          <a:bodyPr wrap="square" lIns="91440" tIns="45720" rIns="91440" bIns="45720">
            <a:spAutoFit/>
          </a:bodyPr>
          <a:lstStyle/>
          <a:p>
            <a:r>
              <a:rPr lang="es-ES" sz="3200" b="1" dirty="0">
                <a:ln w="9525">
                  <a:solidFill>
                    <a:schemeClr val="tx1"/>
                  </a:solidFill>
                  <a:prstDash val="solid"/>
                </a:ln>
                <a:solidFill>
                  <a:srgbClr val="FFFF00"/>
                </a:solidFill>
                <a:effectLst>
                  <a:outerShdw blurRad="63500" sx="102000" sy="102000" algn="ctr" rotWithShape="0">
                    <a:prstClr val="black">
                      <a:alpha val="40000"/>
                    </a:prstClr>
                  </a:outerShdw>
                </a:effectLst>
              </a:rPr>
              <a:t>Implantación - Utilidad:</a:t>
            </a:r>
          </a:p>
        </p:txBody>
      </p:sp>
      <p:grpSp>
        <p:nvGrpSpPr>
          <p:cNvPr id="36" name="Group 10">
            <a:extLst>
              <a:ext uri="{FF2B5EF4-FFF2-40B4-BE49-F238E27FC236}">
                <a16:creationId xmlns:a16="http://schemas.microsoft.com/office/drawing/2014/main" id="{D4D4874D-08F3-4B53-AA31-A4DF3F9FCE66}"/>
              </a:ext>
            </a:extLst>
          </p:cNvPr>
          <p:cNvGrpSpPr/>
          <p:nvPr/>
        </p:nvGrpSpPr>
        <p:grpSpPr>
          <a:xfrm>
            <a:off x="558913" y="2648033"/>
            <a:ext cx="3323431" cy="3408502"/>
            <a:chOff x="582659" y="2124185"/>
            <a:chExt cx="3323431" cy="3408502"/>
          </a:xfrm>
        </p:grpSpPr>
        <p:sp>
          <p:nvSpPr>
            <p:cNvPr id="37" name="Oval 69">
              <a:extLst>
                <a:ext uri="{FF2B5EF4-FFF2-40B4-BE49-F238E27FC236}">
                  <a16:creationId xmlns:a16="http://schemas.microsoft.com/office/drawing/2014/main" id="{35D8F7F4-4D0A-4CA4-B841-B819CC848B6D}"/>
                </a:ext>
              </a:extLst>
            </p:cNvPr>
            <p:cNvSpPr/>
            <p:nvPr/>
          </p:nvSpPr>
          <p:spPr>
            <a:xfrm rot="5400000">
              <a:off x="2251807" y="3366256"/>
              <a:ext cx="2670801" cy="637764"/>
            </a:xfrm>
            <a:prstGeom prst="ellipse">
              <a:avLst/>
            </a:prstGeom>
            <a:solidFill>
              <a:schemeClr val="tx1">
                <a:alpha val="32000"/>
              </a:schemeClr>
            </a:solidFill>
            <a:ln>
              <a:noFill/>
            </a:ln>
            <a:effectLst>
              <a:softEdge rad="190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24">
              <a:extLst>
                <a:ext uri="{FF2B5EF4-FFF2-40B4-BE49-F238E27FC236}">
                  <a16:creationId xmlns:a16="http://schemas.microsoft.com/office/drawing/2014/main" id="{15F0DC30-E752-4D49-801B-44E53EC4978C}"/>
                </a:ext>
              </a:extLst>
            </p:cNvPr>
            <p:cNvSpPr/>
            <p:nvPr/>
          </p:nvSpPr>
          <p:spPr>
            <a:xfrm rot="577091">
              <a:off x="1823537" y="4751163"/>
              <a:ext cx="1903479" cy="637764"/>
            </a:xfrm>
            <a:prstGeom prst="rect">
              <a:avLst/>
            </a:prstGeom>
            <a:solidFill>
              <a:schemeClr val="tx1">
                <a:alpha val="32000"/>
              </a:schemeClr>
            </a:solidFill>
            <a:ln>
              <a:noFill/>
            </a:ln>
            <a:effectLst>
              <a:softEdge rad="190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23">
              <a:extLst>
                <a:ext uri="{FF2B5EF4-FFF2-40B4-BE49-F238E27FC236}">
                  <a16:creationId xmlns:a16="http://schemas.microsoft.com/office/drawing/2014/main" id="{4737A708-F160-4B6E-9844-020B6E8C863D}"/>
                </a:ext>
              </a:extLst>
            </p:cNvPr>
            <p:cNvSpPr/>
            <p:nvPr/>
          </p:nvSpPr>
          <p:spPr>
            <a:xfrm rot="20903281">
              <a:off x="582659" y="4751866"/>
              <a:ext cx="1903479" cy="637764"/>
            </a:xfrm>
            <a:prstGeom prst="rect">
              <a:avLst/>
            </a:prstGeom>
            <a:solidFill>
              <a:schemeClr val="tx1">
                <a:alpha val="32000"/>
              </a:schemeClr>
            </a:solidFill>
            <a:ln>
              <a:noFill/>
            </a:ln>
            <a:effectLst>
              <a:softEdge rad="190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Freeform: Shape 18">
              <a:extLst>
                <a:ext uri="{FF2B5EF4-FFF2-40B4-BE49-F238E27FC236}">
                  <a16:creationId xmlns:a16="http://schemas.microsoft.com/office/drawing/2014/main" id="{951F5F44-7B37-400B-8DA7-B06FE9F308AA}"/>
                </a:ext>
              </a:extLst>
            </p:cNvPr>
            <p:cNvSpPr/>
            <p:nvPr/>
          </p:nvSpPr>
          <p:spPr>
            <a:xfrm>
              <a:off x="681622" y="2124185"/>
              <a:ext cx="2976581" cy="3085568"/>
            </a:xfrm>
            <a:custGeom>
              <a:avLst/>
              <a:gdLst>
                <a:gd name="connsiteX0" fmla="*/ 0 w 4403187"/>
                <a:gd name="connsiteY0" fmla="*/ 0 h 4564408"/>
                <a:gd name="connsiteX1" fmla="*/ 301828 w 4403187"/>
                <a:gd name="connsiteY1" fmla="*/ 0 h 4564408"/>
                <a:gd name="connsiteX2" fmla="*/ 301828 w 4403187"/>
                <a:gd name="connsiteY2" fmla="*/ 135355 h 4564408"/>
                <a:gd name="connsiteX3" fmla="*/ 285308 w 4403187"/>
                <a:gd name="connsiteY3" fmla="*/ 138691 h 4564408"/>
                <a:gd name="connsiteX4" fmla="*/ 194445 w 4403187"/>
                <a:gd name="connsiteY4" fmla="*/ 275771 h 4564408"/>
                <a:gd name="connsiteX5" fmla="*/ 343217 w 4403187"/>
                <a:gd name="connsiteY5" fmla="*/ 424542 h 4564408"/>
                <a:gd name="connsiteX6" fmla="*/ 491988 w 4403187"/>
                <a:gd name="connsiteY6" fmla="*/ 275771 h 4564408"/>
                <a:gd name="connsiteX7" fmla="*/ 401125 w 4403187"/>
                <a:gd name="connsiteY7" fmla="*/ 138691 h 4564408"/>
                <a:gd name="connsiteX8" fmla="*/ 384605 w 4403187"/>
                <a:gd name="connsiteY8" fmla="*/ 135355 h 4564408"/>
                <a:gd name="connsiteX9" fmla="*/ 384605 w 4403187"/>
                <a:gd name="connsiteY9" fmla="*/ 0 h 4564408"/>
                <a:gd name="connsiteX10" fmla="*/ 793817 w 4403187"/>
                <a:gd name="connsiteY10" fmla="*/ 0 h 4564408"/>
                <a:gd name="connsiteX11" fmla="*/ 793817 w 4403187"/>
                <a:gd name="connsiteY11" fmla="*/ 135355 h 4564408"/>
                <a:gd name="connsiteX12" fmla="*/ 777297 w 4403187"/>
                <a:gd name="connsiteY12" fmla="*/ 138691 h 4564408"/>
                <a:gd name="connsiteX13" fmla="*/ 686434 w 4403187"/>
                <a:gd name="connsiteY13" fmla="*/ 275771 h 4564408"/>
                <a:gd name="connsiteX14" fmla="*/ 835206 w 4403187"/>
                <a:gd name="connsiteY14" fmla="*/ 424542 h 4564408"/>
                <a:gd name="connsiteX15" fmla="*/ 983977 w 4403187"/>
                <a:gd name="connsiteY15" fmla="*/ 275771 h 4564408"/>
                <a:gd name="connsiteX16" fmla="*/ 893114 w 4403187"/>
                <a:gd name="connsiteY16" fmla="*/ 138691 h 4564408"/>
                <a:gd name="connsiteX17" fmla="*/ 876594 w 4403187"/>
                <a:gd name="connsiteY17" fmla="*/ 135355 h 4564408"/>
                <a:gd name="connsiteX18" fmla="*/ 876594 w 4403187"/>
                <a:gd name="connsiteY18" fmla="*/ 0 h 4564408"/>
                <a:gd name="connsiteX19" fmla="*/ 1285806 w 4403187"/>
                <a:gd name="connsiteY19" fmla="*/ 0 h 4564408"/>
                <a:gd name="connsiteX20" fmla="*/ 1285806 w 4403187"/>
                <a:gd name="connsiteY20" fmla="*/ 135355 h 4564408"/>
                <a:gd name="connsiteX21" fmla="*/ 1269286 w 4403187"/>
                <a:gd name="connsiteY21" fmla="*/ 138691 h 4564408"/>
                <a:gd name="connsiteX22" fmla="*/ 1178423 w 4403187"/>
                <a:gd name="connsiteY22" fmla="*/ 275771 h 4564408"/>
                <a:gd name="connsiteX23" fmla="*/ 1327195 w 4403187"/>
                <a:gd name="connsiteY23" fmla="*/ 424542 h 4564408"/>
                <a:gd name="connsiteX24" fmla="*/ 1475966 w 4403187"/>
                <a:gd name="connsiteY24" fmla="*/ 275771 h 4564408"/>
                <a:gd name="connsiteX25" fmla="*/ 1385103 w 4403187"/>
                <a:gd name="connsiteY25" fmla="*/ 138691 h 4564408"/>
                <a:gd name="connsiteX26" fmla="*/ 1368583 w 4403187"/>
                <a:gd name="connsiteY26" fmla="*/ 135355 h 4564408"/>
                <a:gd name="connsiteX27" fmla="*/ 1368583 w 4403187"/>
                <a:gd name="connsiteY27" fmla="*/ 0 h 4564408"/>
                <a:gd name="connsiteX28" fmla="*/ 1777795 w 4403187"/>
                <a:gd name="connsiteY28" fmla="*/ 0 h 4564408"/>
                <a:gd name="connsiteX29" fmla="*/ 1777795 w 4403187"/>
                <a:gd name="connsiteY29" fmla="*/ 135355 h 4564408"/>
                <a:gd name="connsiteX30" fmla="*/ 1761275 w 4403187"/>
                <a:gd name="connsiteY30" fmla="*/ 138691 h 4564408"/>
                <a:gd name="connsiteX31" fmla="*/ 1670412 w 4403187"/>
                <a:gd name="connsiteY31" fmla="*/ 275771 h 4564408"/>
                <a:gd name="connsiteX32" fmla="*/ 1819184 w 4403187"/>
                <a:gd name="connsiteY32" fmla="*/ 424542 h 4564408"/>
                <a:gd name="connsiteX33" fmla="*/ 1967955 w 4403187"/>
                <a:gd name="connsiteY33" fmla="*/ 275771 h 4564408"/>
                <a:gd name="connsiteX34" fmla="*/ 1877092 w 4403187"/>
                <a:gd name="connsiteY34" fmla="*/ 138691 h 4564408"/>
                <a:gd name="connsiteX35" fmla="*/ 1860572 w 4403187"/>
                <a:gd name="connsiteY35" fmla="*/ 135355 h 4564408"/>
                <a:gd name="connsiteX36" fmla="*/ 1860572 w 4403187"/>
                <a:gd name="connsiteY36" fmla="*/ 0 h 4564408"/>
                <a:gd name="connsiteX37" fmla="*/ 2269784 w 4403187"/>
                <a:gd name="connsiteY37" fmla="*/ 0 h 4564408"/>
                <a:gd name="connsiteX38" fmla="*/ 2269784 w 4403187"/>
                <a:gd name="connsiteY38" fmla="*/ 135355 h 4564408"/>
                <a:gd name="connsiteX39" fmla="*/ 2253264 w 4403187"/>
                <a:gd name="connsiteY39" fmla="*/ 138691 h 4564408"/>
                <a:gd name="connsiteX40" fmla="*/ 2162401 w 4403187"/>
                <a:gd name="connsiteY40" fmla="*/ 275771 h 4564408"/>
                <a:gd name="connsiteX41" fmla="*/ 2311173 w 4403187"/>
                <a:gd name="connsiteY41" fmla="*/ 424542 h 4564408"/>
                <a:gd name="connsiteX42" fmla="*/ 2459944 w 4403187"/>
                <a:gd name="connsiteY42" fmla="*/ 275771 h 4564408"/>
                <a:gd name="connsiteX43" fmla="*/ 2369081 w 4403187"/>
                <a:gd name="connsiteY43" fmla="*/ 138691 h 4564408"/>
                <a:gd name="connsiteX44" fmla="*/ 2352561 w 4403187"/>
                <a:gd name="connsiteY44" fmla="*/ 135355 h 4564408"/>
                <a:gd name="connsiteX45" fmla="*/ 2352561 w 4403187"/>
                <a:gd name="connsiteY45" fmla="*/ 0 h 4564408"/>
                <a:gd name="connsiteX46" fmla="*/ 2761773 w 4403187"/>
                <a:gd name="connsiteY46" fmla="*/ 0 h 4564408"/>
                <a:gd name="connsiteX47" fmla="*/ 2761773 w 4403187"/>
                <a:gd name="connsiteY47" fmla="*/ 135355 h 4564408"/>
                <a:gd name="connsiteX48" fmla="*/ 2745253 w 4403187"/>
                <a:gd name="connsiteY48" fmla="*/ 138691 h 4564408"/>
                <a:gd name="connsiteX49" fmla="*/ 2654390 w 4403187"/>
                <a:gd name="connsiteY49" fmla="*/ 275771 h 4564408"/>
                <a:gd name="connsiteX50" fmla="*/ 2803162 w 4403187"/>
                <a:gd name="connsiteY50" fmla="*/ 424542 h 4564408"/>
                <a:gd name="connsiteX51" fmla="*/ 2951933 w 4403187"/>
                <a:gd name="connsiteY51" fmla="*/ 275771 h 4564408"/>
                <a:gd name="connsiteX52" fmla="*/ 2861070 w 4403187"/>
                <a:gd name="connsiteY52" fmla="*/ 138691 h 4564408"/>
                <a:gd name="connsiteX53" fmla="*/ 2844550 w 4403187"/>
                <a:gd name="connsiteY53" fmla="*/ 135355 h 4564408"/>
                <a:gd name="connsiteX54" fmla="*/ 2844550 w 4403187"/>
                <a:gd name="connsiteY54" fmla="*/ 0 h 4564408"/>
                <a:gd name="connsiteX55" fmla="*/ 3253762 w 4403187"/>
                <a:gd name="connsiteY55" fmla="*/ 0 h 4564408"/>
                <a:gd name="connsiteX56" fmla="*/ 3253762 w 4403187"/>
                <a:gd name="connsiteY56" fmla="*/ 135355 h 4564408"/>
                <a:gd name="connsiteX57" fmla="*/ 3237242 w 4403187"/>
                <a:gd name="connsiteY57" fmla="*/ 138691 h 4564408"/>
                <a:gd name="connsiteX58" fmla="*/ 3146379 w 4403187"/>
                <a:gd name="connsiteY58" fmla="*/ 275771 h 4564408"/>
                <a:gd name="connsiteX59" fmla="*/ 3295151 w 4403187"/>
                <a:gd name="connsiteY59" fmla="*/ 424542 h 4564408"/>
                <a:gd name="connsiteX60" fmla="*/ 3443922 w 4403187"/>
                <a:gd name="connsiteY60" fmla="*/ 275771 h 4564408"/>
                <a:gd name="connsiteX61" fmla="*/ 3353059 w 4403187"/>
                <a:gd name="connsiteY61" fmla="*/ 138691 h 4564408"/>
                <a:gd name="connsiteX62" fmla="*/ 3336539 w 4403187"/>
                <a:gd name="connsiteY62" fmla="*/ 135355 h 4564408"/>
                <a:gd name="connsiteX63" fmla="*/ 3336539 w 4403187"/>
                <a:gd name="connsiteY63" fmla="*/ 0 h 4564408"/>
                <a:gd name="connsiteX64" fmla="*/ 3745751 w 4403187"/>
                <a:gd name="connsiteY64" fmla="*/ 0 h 4564408"/>
                <a:gd name="connsiteX65" fmla="*/ 3745751 w 4403187"/>
                <a:gd name="connsiteY65" fmla="*/ 135355 h 4564408"/>
                <a:gd name="connsiteX66" fmla="*/ 3729231 w 4403187"/>
                <a:gd name="connsiteY66" fmla="*/ 138691 h 4564408"/>
                <a:gd name="connsiteX67" fmla="*/ 3638368 w 4403187"/>
                <a:gd name="connsiteY67" fmla="*/ 275771 h 4564408"/>
                <a:gd name="connsiteX68" fmla="*/ 3787140 w 4403187"/>
                <a:gd name="connsiteY68" fmla="*/ 424542 h 4564408"/>
                <a:gd name="connsiteX69" fmla="*/ 3935911 w 4403187"/>
                <a:gd name="connsiteY69" fmla="*/ 275771 h 4564408"/>
                <a:gd name="connsiteX70" fmla="*/ 3845048 w 4403187"/>
                <a:gd name="connsiteY70" fmla="*/ 138691 h 4564408"/>
                <a:gd name="connsiteX71" fmla="*/ 3828528 w 4403187"/>
                <a:gd name="connsiteY71" fmla="*/ 135355 h 4564408"/>
                <a:gd name="connsiteX72" fmla="*/ 3828528 w 4403187"/>
                <a:gd name="connsiteY72" fmla="*/ 0 h 4564408"/>
                <a:gd name="connsiteX73" fmla="*/ 4403187 w 4403187"/>
                <a:gd name="connsiteY73" fmla="*/ 0 h 4564408"/>
                <a:gd name="connsiteX74" fmla="*/ 4403187 w 4403187"/>
                <a:gd name="connsiteY74" fmla="*/ 4564408 h 4564408"/>
                <a:gd name="connsiteX75" fmla="*/ 0 w 4403187"/>
                <a:gd name="connsiteY75" fmla="*/ 4564408 h 456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4403187" h="4564408">
                  <a:moveTo>
                    <a:pt x="0" y="0"/>
                  </a:moveTo>
                  <a:lnTo>
                    <a:pt x="301828" y="0"/>
                  </a:lnTo>
                  <a:lnTo>
                    <a:pt x="301828" y="135355"/>
                  </a:lnTo>
                  <a:lnTo>
                    <a:pt x="285308" y="138691"/>
                  </a:lnTo>
                  <a:cubicBezTo>
                    <a:pt x="231912" y="161275"/>
                    <a:pt x="194445" y="214148"/>
                    <a:pt x="194445" y="275771"/>
                  </a:cubicBezTo>
                  <a:cubicBezTo>
                    <a:pt x="194445" y="357935"/>
                    <a:pt x="261053" y="424542"/>
                    <a:pt x="343217" y="424542"/>
                  </a:cubicBezTo>
                  <a:cubicBezTo>
                    <a:pt x="425381" y="424542"/>
                    <a:pt x="491988" y="357935"/>
                    <a:pt x="491988" y="275771"/>
                  </a:cubicBezTo>
                  <a:cubicBezTo>
                    <a:pt x="491988" y="214148"/>
                    <a:pt x="454522" y="161275"/>
                    <a:pt x="401125" y="138691"/>
                  </a:cubicBezTo>
                  <a:lnTo>
                    <a:pt x="384605" y="135355"/>
                  </a:lnTo>
                  <a:lnTo>
                    <a:pt x="384605" y="0"/>
                  </a:lnTo>
                  <a:lnTo>
                    <a:pt x="793817" y="0"/>
                  </a:lnTo>
                  <a:lnTo>
                    <a:pt x="793817" y="135355"/>
                  </a:lnTo>
                  <a:lnTo>
                    <a:pt x="777297" y="138691"/>
                  </a:lnTo>
                  <a:cubicBezTo>
                    <a:pt x="723901" y="161275"/>
                    <a:pt x="686434" y="214148"/>
                    <a:pt x="686434" y="275771"/>
                  </a:cubicBezTo>
                  <a:cubicBezTo>
                    <a:pt x="686434" y="357935"/>
                    <a:pt x="753042" y="424542"/>
                    <a:pt x="835206" y="424542"/>
                  </a:cubicBezTo>
                  <a:cubicBezTo>
                    <a:pt x="917370" y="424542"/>
                    <a:pt x="983977" y="357935"/>
                    <a:pt x="983977" y="275771"/>
                  </a:cubicBezTo>
                  <a:cubicBezTo>
                    <a:pt x="983977" y="214148"/>
                    <a:pt x="946511" y="161275"/>
                    <a:pt x="893114" y="138691"/>
                  </a:cubicBezTo>
                  <a:lnTo>
                    <a:pt x="876594" y="135355"/>
                  </a:lnTo>
                  <a:lnTo>
                    <a:pt x="876594" y="0"/>
                  </a:lnTo>
                  <a:lnTo>
                    <a:pt x="1285806" y="0"/>
                  </a:lnTo>
                  <a:lnTo>
                    <a:pt x="1285806" y="135355"/>
                  </a:lnTo>
                  <a:lnTo>
                    <a:pt x="1269286" y="138691"/>
                  </a:lnTo>
                  <a:cubicBezTo>
                    <a:pt x="1215890" y="161275"/>
                    <a:pt x="1178423" y="214148"/>
                    <a:pt x="1178423" y="275771"/>
                  </a:cubicBezTo>
                  <a:cubicBezTo>
                    <a:pt x="1178423" y="357935"/>
                    <a:pt x="1245031" y="424542"/>
                    <a:pt x="1327195" y="424542"/>
                  </a:cubicBezTo>
                  <a:cubicBezTo>
                    <a:pt x="1409359" y="424542"/>
                    <a:pt x="1475966" y="357935"/>
                    <a:pt x="1475966" y="275771"/>
                  </a:cubicBezTo>
                  <a:cubicBezTo>
                    <a:pt x="1475966" y="214148"/>
                    <a:pt x="1438500" y="161275"/>
                    <a:pt x="1385103" y="138691"/>
                  </a:cubicBezTo>
                  <a:lnTo>
                    <a:pt x="1368583" y="135355"/>
                  </a:lnTo>
                  <a:lnTo>
                    <a:pt x="1368583" y="0"/>
                  </a:lnTo>
                  <a:lnTo>
                    <a:pt x="1777795" y="0"/>
                  </a:lnTo>
                  <a:lnTo>
                    <a:pt x="1777795" y="135355"/>
                  </a:lnTo>
                  <a:lnTo>
                    <a:pt x="1761275" y="138691"/>
                  </a:lnTo>
                  <a:cubicBezTo>
                    <a:pt x="1707879" y="161275"/>
                    <a:pt x="1670412" y="214148"/>
                    <a:pt x="1670412" y="275771"/>
                  </a:cubicBezTo>
                  <a:cubicBezTo>
                    <a:pt x="1670412" y="357935"/>
                    <a:pt x="1737020" y="424542"/>
                    <a:pt x="1819184" y="424542"/>
                  </a:cubicBezTo>
                  <a:cubicBezTo>
                    <a:pt x="1901348" y="424542"/>
                    <a:pt x="1967955" y="357935"/>
                    <a:pt x="1967955" y="275771"/>
                  </a:cubicBezTo>
                  <a:cubicBezTo>
                    <a:pt x="1967955" y="214148"/>
                    <a:pt x="1930489" y="161275"/>
                    <a:pt x="1877092" y="138691"/>
                  </a:cubicBezTo>
                  <a:lnTo>
                    <a:pt x="1860572" y="135355"/>
                  </a:lnTo>
                  <a:lnTo>
                    <a:pt x="1860572" y="0"/>
                  </a:lnTo>
                  <a:lnTo>
                    <a:pt x="2269784" y="0"/>
                  </a:lnTo>
                  <a:lnTo>
                    <a:pt x="2269784" y="135355"/>
                  </a:lnTo>
                  <a:lnTo>
                    <a:pt x="2253264" y="138691"/>
                  </a:lnTo>
                  <a:cubicBezTo>
                    <a:pt x="2199868" y="161275"/>
                    <a:pt x="2162401" y="214148"/>
                    <a:pt x="2162401" y="275771"/>
                  </a:cubicBezTo>
                  <a:cubicBezTo>
                    <a:pt x="2162401" y="357935"/>
                    <a:pt x="2229009" y="424542"/>
                    <a:pt x="2311173" y="424542"/>
                  </a:cubicBezTo>
                  <a:cubicBezTo>
                    <a:pt x="2393337" y="424542"/>
                    <a:pt x="2459944" y="357935"/>
                    <a:pt x="2459944" y="275771"/>
                  </a:cubicBezTo>
                  <a:cubicBezTo>
                    <a:pt x="2459944" y="214148"/>
                    <a:pt x="2422478" y="161275"/>
                    <a:pt x="2369081" y="138691"/>
                  </a:cubicBezTo>
                  <a:lnTo>
                    <a:pt x="2352561" y="135355"/>
                  </a:lnTo>
                  <a:lnTo>
                    <a:pt x="2352561" y="0"/>
                  </a:lnTo>
                  <a:lnTo>
                    <a:pt x="2761773" y="0"/>
                  </a:lnTo>
                  <a:lnTo>
                    <a:pt x="2761773" y="135355"/>
                  </a:lnTo>
                  <a:lnTo>
                    <a:pt x="2745253" y="138691"/>
                  </a:lnTo>
                  <a:cubicBezTo>
                    <a:pt x="2691857" y="161275"/>
                    <a:pt x="2654390" y="214148"/>
                    <a:pt x="2654390" y="275771"/>
                  </a:cubicBezTo>
                  <a:cubicBezTo>
                    <a:pt x="2654390" y="357935"/>
                    <a:pt x="2720998" y="424542"/>
                    <a:pt x="2803162" y="424542"/>
                  </a:cubicBezTo>
                  <a:cubicBezTo>
                    <a:pt x="2885326" y="424542"/>
                    <a:pt x="2951933" y="357935"/>
                    <a:pt x="2951933" y="275771"/>
                  </a:cubicBezTo>
                  <a:cubicBezTo>
                    <a:pt x="2951933" y="214148"/>
                    <a:pt x="2914467" y="161275"/>
                    <a:pt x="2861070" y="138691"/>
                  </a:cubicBezTo>
                  <a:lnTo>
                    <a:pt x="2844550" y="135355"/>
                  </a:lnTo>
                  <a:lnTo>
                    <a:pt x="2844550" y="0"/>
                  </a:lnTo>
                  <a:lnTo>
                    <a:pt x="3253762" y="0"/>
                  </a:lnTo>
                  <a:lnTo>
                    <a:pt x="3253762" y="135355"/>
                  </a:lnTo>
                  <a:lnTo>
                    <a:pt x="3237242" y="138691"/>
                  </a:lnTo>
                  <a:cubicBezTo>
                    <a:pt x="3183846" y="161275"/>
                    <a:pt x="3146379" y="214148"/>
                    <a:pt x="3146379" y="275771"/>
                  </a:cubicBezTo>
                  <a:cubicBezTo>
                    <a:pt x="3146379" y="357935"/>
                    <a:pt x="3212987" y="424542"/>
                    <a:pt x="3295151" y="424542"/>
                  </a:cubicBezTo>
                  <a:cubicBezTo>
                    <a:pt x="3377315" y="424542"/>
                    <a:pt x="3443922" y="357935"/>
                    <a:pt x="3443922" y="275771"/>
                  </a:cubicBezTo>
                  <a:cubicBezTo>
                    <a:pt x="3443922" y="214148"/>
                    <a:pt x="3406456" y="161275"/>
                    <a:pt x="3353059" y="138691"/>
                  </a:cubicBezTo>
                  <a:lnTo>
                    <a:pt x="3336539" y="135355"/>
                  </a:lnTo>
                  <a:lnTo>
                    <a:pt x="3336539" y="0"/>
                  </a:lnTo>
                  <a:lnTo>
                    <a:pt x="3745751" y="0"/>
                  </a:lnTo>
                  <a:lnTo>
                    <a:pt x="3745751" y="135355"/>
                  </a:lnTo>
                  <a:lnTo>
                    <a:pt x="3729231" y="138691"/>
                  </a:lnTo>
                  <a:cubicBezTo>
                    <a:pt x="3675835" y="161275"/>
                    <a:pt x="3638368" y="214148"/>
                    <a:pt x="3638368" y="275771"/>
                  </a:cubicBezTo>
                  <a:cubicBezTo>
                    <a:pt x="3638368" y="357935"/>
                    <a:pt x="3704976" y="424542"/>
                    <a:pt x="3787140" y="424542"/>
                  </a:cubicBezTo>
                  <a:cubicBezTo>
                    <a:pt x="3869304" y="424542"/>
                    <a:pt x="3935911" y="357935"/>
                    <a:pt x="3935911" y="275771"/>
                  </a:cubicBezTo>
                  <a:cubicBezTo>
                    <a:pt x="3935911" y="214148"/>
                    <a:pt x="3898445" y="161275"/>
                    <a:pt x="3845048" y="138691"/>
                  </a:cubicBezTo>
                  <a:lnTo>
                    <a:pt x="3828528" y="135355"/>
                  </a:lnTo>
                  <a:lnTo>
                    <a:pt x="3828528" y="0"/>
                  </a:lnTo>
                  <a:lnTo>
                    <a:pt x="4403187" y="0"/>
                  </a:lnTo>
                  <a:lnTo>
                    <a:pt x="4403187" y="4564408"/>
                  </a:lnTo>
                  <a:lnTo>
                    <a:pt x="0" y="4564408"/>
                  </a:lnTo>
                  <a:close/>
                </a:path>
              </a:pathLst>
            </a:custGeom>
            <a:solidFill>
              <a:srgbClr val="F7F0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5">
              <a:extLst>
                <a:ext uri="{FF2B5EF4-FFF2-40B4-BE49-F238E27FC236}">
                  <a16:creationId xmlns:a16="http://schemas.microsoft.com/office/drawing/2014/main" id="{7FD0E336-9E65-4D3E-8872-0D49993C0570}"/>
                </a:ext>
              </a:extLst>
            </p:cNvPr>
            <p:cNvSpPr/>
            <p:nvPr/>
          </p:nvSpPr>
          <p:spPr>
            <a:xfrm>
              <a:off x="681620" y="2521334"/>
              <a:ext cx="2976582" cy="667199"/>
            </a:xfrm>
            <a:prstGeom prst="rect">
              <a:avLst/>
            </a:prstGeom>
            <a:solidFill>
              <a:srgbClr val="00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extBox 1">
              <a:extLst>
                <a:ext uri="{FF2B5EF4-FFF2-40B4-BE49-F238E27FC236}">
                  <a16:creationId xmlns:a16="http://schemas.microsoft.com/office/drawing/2014/main" id="{4A3AD3B5-5B87-4826-9148-6BE18F5AF2E6}"/>
                </a:ext>
              </a:extLst>
            </p:cNvPr>
            <p:cNvSpPr txBox="1"/>
            <p:nvPr/>
          </p:nvSpPr>
          <p:spPr>
            <a:xfrm>
              <a:off x="2778190" y="2564356"/>
              <a:ext cx="703402" cy="646331"/>
            </a:xfrm>
            <a:prstGeom prst="rect">
              <a:avLst/>
            </a:prstGeom>
            <a:noFill/>
          </p:spPr>
          <p:txBody>
            <a:bodyPr wrap="square" rtlCol="0">
              <a:spAutoFit/>
            </a:bodyPr>
            <a:lstStyle/>
            <a:p>
              <a:pPr algn="r"/>
              <a:r>
                <a:rPr lang="en-US" sz="3600" spc="300" dirty="0">
                  <a:solidFill>
                    <a:schemeClr val="bg1"/>
                  </a:solidFill>
                  <a:latin typeface="Oswald" panose="02000503000000000000" pitchFamily="2" charset="0"/>
                </a:rPr>
                <a:t>01</a:t>
              </a:r>
            </a:p>
          </p:txBody>
        </p:sp>
        <p:grpSp>
          <p:nvGrpSpPr>
            <p:cNvPr id="43" name="Group 7">
              <a:extLst>
                <a:ext uri="{FF2B5EF4-FFF2-40B4-BE49-F238E27FC236}">
                  <a16:creationId xmlns:a16="http://schemas.microsoft.com/office/drawing/2014/main" id="{501ABF5B-EE78-445E-9346-1AC7A8D2C329}"/>
                </a:ext>
              </a:extLst>
            </p:cNvPr>
            <p:cNvGrpSpPr/>
            <p:nvPr/>
          </p:nvGrpSpPr>
          <p:grpSpPr>
            <a:xfrm>
              <a:off x="943443" y="3666969"/>
              <a:ext cx="2452936" cy="1118539"/>
              <a:chOff x="1016001" y="3614225"/>
              <a:chExt cx="3628571" cy="1654628"/>
            </a:xfrm>
          </p:grpSpPr>
          <p:cxnSp>
            <p:nvCxnSpPr>
              <p:cNvPr id="46" name="Straight Connector 6">
                <a:extLst>
                  <a:ext uri="{FF2B5EF4-FFF2-40B4-BE49-F238E27FC236}">
                    <a16:creationId xmlns:a16="http://schemas.microsoft.com/office/drawing/2014/main" id="{731F3AA4-F510-4371-B5F0-2FF115DAE49E}"/>
                  </a:ext>
                </a:extLst>
              </p:cNvPr>
              <p:cNvCxnSpPr/>
              <p:nvPr/>
            </p:nvCxnSpPr>
            <p:spPr>
              <a:xfrm>
                <a:off x="1016001" y="3614225"/>
                <a:ext cx="3628571" cy="0"/>
              </a:xfrm>
              <a:prstGeom prst="line">
                <a:avLst/>
              </a:prstGeom>
              <a:ln>
                <a:solidFill>
                  <a:schemeClr val="bg1">
                    <a:lumMod val="65000"/>
                    <a:alpha val="44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19">
                <a:extLst>
                  <a:ext uri="{FF2B5EF4-FFF2-40B4-BE49-F238E27FC236}">
                    <a16:creationId xmlns:a16="http://schemas.microsoft.com/office/drawing/2014/main" id="{DEA3497B-20CB-4F70-9AFA-AE6A59CD70D1}"/>
                  </a:ext>
                </a:extLst>
              </p:cNvPr>
              <p:cNvCxnSpPr/>
              <p:nvPr/>
            </p:nvCxnSpPr>
            <p:spPr>
              <a:xfrm>
                <a:off x="1016001" y="4027882"/>
                <a:ext cx="3628571" cy="0"/>
              </a:xfrm>
              <a:prstGeom prst="line">
                <a:avLst/>
              </a:prstGeom>
              <a:ln>
                <a:solidFill>
                  <a:schemeClr val="bg1">
                    <a:lumMod val="65000"/>
                    <a:alpha val="44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20">
                <a:extLst>
                  <a:ext uri="{FF2B5EF4-FFF2-40B4-BE49-F238E27FC236}">
                    <a16:creationId xmlns:a16="http://schemas.microsoft.com/office/drawing/2014/main" id="{966AD47E-565B-4B74-B62B-FCEB8DBC0348}"/>
                  </a:ext>
                </a:extLst>
              </p:cNvPr>
              <p:cNvCxnSpPr/>
              <p:nvPr/>
            </p:nvCxnSpPr>
            <p:spPr>
              <a:xfrm>
                <a:off x="1016001" y="4441539"/>
                <a:ext cx="3628571" cy="0"/>
              </a:xfrm>
              <a:prstGeom prst="line">
                <a:avLst/>
              </a:prstGeom>
              <a:ln>
                <a:solidFill>
                  <a:schemeClr val="bg1">
                    <a:lumMod val="65000"/>
                    <a:alpha val="44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21">
                <a:extLst>
                  <a:ext uri="{FF2B5EF4-FFF2-40B4-BE49-F238E27FC236}">
                    <a16:creationId xmlns:a16="http://schemas.microsoft.com/office/drawing/2014/main" id="{74D2871F-F1A3-48D5-A9DD-F503BE373AB7}"/>
                  </a:ext>
                </a:extLst>
              </p:cNvPr>
              <p:cNvCxnSpPr/>
              <p:nvPr/>
            </p:nvCxnSpPr>
            <p:spPr>
              <a:xfrm>
                <a:off x="1016001" y="4855196"/>
                <a:ext cx="3628571" cy="0"/>
              </a:xfrm>
              <a:prstGeom prst="line">
                <a:avLst/>
              </a:prstGeom>
              <a:ln>
                <a:solidFill>
                  <a:schemeClr val="bg1">
                    <a:lumMod val="65000"/>
                    <a:alpha val="44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22">
                <a:extLst>
                  <a:ext uri="{FF2B5EF4-FFF2-40B4-BE49-F238E27FC236}">
                    <a16:creationId xmlns:a16="http://schemas.microsoft.com/office/drawing/2014/main" id="{AFE17F77-0141-4C6F-A1F5-8719793720BA}"/>
                  </a:ext>
                </a:extLst>
              </p:cNvPr>
              <p:cNvCxnSpPr/>
              <p:nvPr/>
            </p:nvCxnSpPr>
            <p:spPr>
              <a:xfrm>
                <a:off x="1016001" y="5268853"/>
                <a:ext cx="3628571" cy="0"/>
              </a:xfrm>
              <a:prstGeom prst="line">
                <a:avLst/>
              </a:prstGeom>
              <a:ln>
                <a:solidFill>
                  <a:schemeClr val="bg1">
                    <a:lumMod val="65000"/>
                    <a:alpha val="44000"/>
                  </a:schemeClr>
                </a:solidFill>
              </a:ln>
            </p:spPr>
            <p:style>
              <a:lnRef idx="1">
                <a:schemeClr val="accent1"/>
              </a:lnRef>
              <a:fillRef idx="0">
                <a:schemeClr val="accent1"/>
              </a:fillRef>
              <a:effectRef idx="0">
                <a:schemeClr val="accent1"/>
              </a:effectRef>
              <a:fontRef idx="minor">
                <a:schemeClr val="tx1"/>
              </a:fontRef>
            </p:style>
          </p:cxnSp>
        </p:grpSp>
        <p:sp>
          <p:nvSpPr>
            <p:cNvPr id="44" name="TextBox 8">
              <a:extLst>
                <a:ext uri="{FF2B5EF4-FFF2-40B4-BE49-F238E27FC236}">
                  <a16:creationId xmlns:a16="http://schemas.microsoft.com/office/drawing/2014/main" id="{272A688D-1B70-4581-B941-0CFEDC9859E1}"/>
                </a:ext>
              </a:extLst>
            </p:cNvPr>
            <p:cNvSpPr txBox="1"/>
            <p:nvPr/>
          </p:nvSpPr>
          <p:spPr>
            <a:xfrm>
              <a:off x="663148" y="3174000"/>
              <a:ext cx="2976581" cy="584775"/>
            </a:xfrm>
            <a:prstGeom prst="rect">
              <a:avLst/>
            </a:prstGeom>
            <a:noFill/>
          </p:spPr>
          <p:txBody>
            <a:bodyPr wrap="square" rtlCol="0">
              <a:spAutoFit/>
            </a:bodyPr>
            <a:lstStyle/>
            <a:p>
              <a:pPr algn="ctr"/>
              <a:r>
                <a:rPr lang="en-US" sz="1600" b="1" dirty="0">
                  <a:solidFill>
                    <a:srgbClr val="00CC99"/>
                  </a:solidFill>
                  <a:latin typeface="Century Gothic" panose="020B0502020202020204" pitchFamily="34" charset="0"/>
                </a:rPr>
                <a:t>DESARROLLO DE PROYECTOS INTERDISCIPLINARES </a:t>
              </a:r>
            </a:p>
          </p:txBody>
        </p:sp>
        <p:sp>
          <p:nvSpPr>
            <p:cNvPr id="45" name="TextBox 9">
              <a:extLst>
                <a:ext uri="{FF2B5EF4-FFF2-40B4-BE49-F238E27FC236}">
                  <a16:creationId xmlns:a16="http://schemas.microsoft.com/office/drawing/2014/main" id="{8E16C602-7F85-4611-870A-C4FABF9DD679}"/>
                </a:ext>
              </a:extLst>
            </p:cNvPr>
            <p:cNvSpPr txBox="1"/>
            <p:nvPr/>
          </p:nvSpPr>
          <p:spPr>
            <a:xfrm>
              <a:off x="681618" y="3824527"/>
              <a:ext cx="3174819" cy="1708160"/>
            </a:xfrm>
            <a:prstGeom prst="rect">
              <a:avLst/>
            </a:prstGeom>
            <a:noFill/>
          </p:spPr>
          <p:txBody>
            <a:bodyPr wrap="square" rtlCol="0">
              <a:spAutoFit/>
            </a:bodyPr>
            <a:lstStyle/>
            <a:p>
              <a:pPr marL="92075" indent="-92075" algn="just">
                <a:lnSpc>
                  <a:spcPct val="200000"/>
                </a:lnSpc>
                <a:buFont typeface="Arial" panose="020B0604020202020204" pitchFamily="34" charset="0"/>
                <a:buChar char="•"/>
              </a:pPr>
              <a:r>
                <a:rPr lang="en-US" sz="1400" dirty="0" err="1">
                  <a:solidFill>
                    <a:schemeClr val="bg1">
                      <a:lumMod val="50000"/>
                    </a:schemeClr>
                  </a:solidFill>
                  <a:latin typeface="Hand Of Sean" panose="02000500000000000000" pitchFamily="2" charset="-128"/>
                  <a:ea typeface="Hand Of Sean" panose="02000500000000000000" pitchFamily="2" charset="-128"/>
                </a:rPr>
                <a:t>Diseño</a:t>
              </a:r>
              <a:r>
                <a:rPr lang="en-US" sz="1400" dirty="0">
                  <a:solidFill>
                    <a:schemeClr val="bg1">
                      <a:lumMod val="50000"/>
                    </a:schemeClr>
                  </a:solidFill>
                  <a:latin typeface="Hand Of Sean" panose="02000500000000000000" pitchFamily="2" charset="-128"/>
                  <a:ea typeface="Hand Of Sean" panose="02000500000000000000" pitchFamily="2" charset="-128"/>
                </a:rPr>
                <a:t> y </a:t>
              </a:r>
              <a:r>
                <a:rPr lang="en-US" sz="1400" dirty="0" err="1">
                  <a:solidFill>
                    <a:schemeClr val="bg1">
                      <a:lumMod val="50000"/>
                    </a:schemeClr>
                  </a:solidFill>
                  <a:latin typeface="Hand Of Sean" panose="02000500000000000000" pitchFamily="2" charset="-128"/>
                  <a:ea typeface="Hand Of Sean" panose="02000500000000000000" pitchFamily="2" charset="-128"/>
                </a:rPr>
                <a:t>prototipado</a:t>
              </a:r>
              <a:r>
                <a:rPr lang="en-US" sz="1400" dirty="0">
                  <a:solidFill>
                    <a:schemeClr val="bg1">
                      <a:lumMod val="50000"/>
                    </a:schemeClr>
                  </a:solidFill>
                  <a:latin typeface="Hand Of Sean" panose="02000500000000000000" pitchFamily="2" charset="-128"/>
                  <a:ea typeface="Hand Of Sean" panose="02000500000000000000" pitchFamily="2" charset="-128"/>
                </a:rPr>
                <a:t> </a:t>
              </a:r>
            </a:p>
            <a:p>
              <a:pPr marL="92075" indent="-92075" algn="just">
                <a:lnSpc>
                  <a:spcPct val="200000"/>
                </a:lnSpc>
                <a:buFont typeface="Arial" panose="020B0604020202020204" pitchFamily="34" charset="0"/>
                <a:buChar char="•"/>
              </a:pPr>
              <a:r>
                <a:rPr lang="es-ES" sz="1400" dirty="0">
                  <a:solidFill>
                    <a:schemeClr val="bg1">
                      <a:lumMod val="50000"/>
                    </a:schemeClr>
                  </a:solidFill>
                  <a:latin typeface="Hand Of Sean" panose="02000500000000000000" pitchFamily="2" charset="-128"/>
                  <a:ea typeface="Hand Of Sean" panose="02000500000000000000" pitchFamily="2" charset="-128"/>
                </a:rPr>
                <a:t>Aprendizaje basado en la mejora continua </a:t>
              </a:r>
            </a:p>
            <a:p>
              <a:pPr marL="92075" indent="-92075" algn="just">
                <a:lnSpc>
                  <a:spcPct val="200000"/>
                </a:lnSpc>
                <a:buFont typeface="Arial" panose="020B0604020202020204" pitchFamily="34" charset="0"/>
                <a:buChar char="•"/>
              </a:pPr>
              <a:r>
                <a:rPr lang="en-US" sz="1400" dirty="0" err="1">
                  <a:solidFill>
                    <a:schemeClr val="bg1">
                      <a:lumMod val="50000"/>
                    </a:schemeClr>
                  </a:solidFill>
                  <a:latin typeface="Hand Of Sean" panose="02000500000000000000" pitchFamily="2" charset="-128"/>
                  <a:ea typeface="Hand Of Sean" panose="02000500000000000000" pitchFamily="2" charset="-128"/>
                </a:rPr>
                <a:t>Personalización</a:t>
              </a:r>
              <a:r>
                <a:rPr lang="en-US" sz="1400" dirty="0">
                  <a:solidFill>
                    <a:schemeClr val="bg1">
                      <a:lumMod val="50000"/>
                    </a:schemeClr>
                  </a:solidFill>
                  <a:latin typeface="Hand Of Sean" panose="02000500000000000000" pitchFamily="2" charset="-128"/>
                  <a:ea typeface="Hand Of Sean" panose="02000500000000000000" pitchFamily="2" charset="-128"/>
                </a:rPr>
                <a:t> de </a:t>
              </a:r>
              <a:r>
                <a:rPr lang="en-US" sz="1400" dirty="0" err="1">
                  <a:solidFill>
                    <a:schemeClr val="bg1">
                      <a:lumMod val="50000"/>
                    </a:schemeClr>
                  </a:solidFill>
                  <a:latin typeface="Hand Of Sean" panose="02000500000000000000" pitchFamily="2" charset="-128"/>
                  <a:ea typeface="Hand Of Sean" panose="02000500000000000000" pitchFamily="2" charset="-128"/>
                </a:rPr>
                <a:t>productos</a:t>
              </a:r>
              <a:r>
                <a:rPr lang="en-US" sz="1400" dirty="0">
                  <a:solidFill>
                    <a:schemeClr val="bg1">
                      <a:lumMod val="50000"/>
                    </a:schemeClr>
                  </a:solidFill>
                  <a:latin typeface="Hand Of Sean" panose="02000500000000000000" pitchFamily="2" charset="-128"/>
                  <a:ea typeface="Hand Of Sean" panose="02000500000000000000" pitchFamily="2" charset="-128"/>
                </a:rPr>
                <a:t> </a:t>
              </a:r>
            </a:p>
            <a:p>
              <a:pPr algn="just">
                <a:lnSpc>
                  <a:spcPct val="200000"/>
                </a:lnSpc>
              </a:pPr>
              <a:endParaRPr lang="en-US" sz="1100" dirty="0">
                <a:solidFill>
                  <a:schemeClr val="bg1">
                    <a:lumMod val="50000"/>
                  </a:schemeClr>
                </a:solidFill>
                <a:latin typeface="Hand Of Sean" panose="02000500000000000000" pitchFamily="2" charset="-128"/>
                <a:ea typeface="Hand Of Sean" panose="02000500000000000000" pitchFamily="2" charset="-128"/>
              </a:endParaRPr>
            </a:p>
          </p:txBody>
        </p:sp>
      </p:grpSp>
      <p:sp>
        <p:nvSpPr>
          <p:cNvPr id="51" name="Freeform: Shape 26">
            <a:extLst>
              <a:ext uri="{FF2B5EF4-FFF2-40B4-BE49-F238E27FC236}">
                <a16:creationId xmlns:a16="http://schemas.microsoft.com/office/drawing/2014/main" id="{0E4E3E15-3A3F-4EF6-B0E0-D2EE032474C2}"/>
              </a:ext>
            </a:extLst>
          </p:cNvPr>
          <p:cNvSpPr/>
          <p:nvPr/>
        </p:nvSpPr>
        <p:spPr>
          <a:xfrm>
            <a:off x="208481" y="2225142"/>
            <a:ext cx="1195295" cy="972660"/>
          </a:xfrm>
          <a:custGeom>
            <a:avLst/>
            <a:gdLst>
              <a:gd name="connsiteX0" fmla="*/ 87086 w 1553029"/>
              <a:gd name="connsiteY0" fmla="*/ 856343 h 1219200"/>
              <a:gd name="connsiteX1" fmla="*/ 1132115 w 1553029"/>
              <a:gd name="connsiteY1" fmla="*/ 0 h 1219200"/>
              <a:gd name="connsiteX2" fmla="*/ 1146629 w 1553029"/>
              <a:gd name="connsiteY2" fmla="*/ 159657 h 1219200"/>
              <a:gd name="connsiteX3" fmla="*/ 1248229 w 1553029"/>
              <a:gd name="connsiteY3" fmla="*/ 116114 h 1219200"/>
              <a:gd name="connsiteX4" fmla="*/ 1233715 w 1553029"/>
              <a:gd name="connsiteY4" fmla="*/ 275771 h 1219200"/>
              <a:gd name="connsiteX5" fmla="*/ 1378858 w 1553029"/>
              <a:gd name="connsiteY5" fmla="*/ 217714 h 1219200"/>
              <a:gd name="connsiteX6" fmla="*/ 1349829 w 1553029"/>
              <a:gd name="connsiteY6" fmla="*/ 348343 h 1219200"/>
              <a:gd name="connsiteX7" fmla="*/ 1451429 w 1553029"/>
              <a:gd name="connsiteY7" fmla="*/ 333828 h 1219200"/>
              <a:gd name="connsiteX8" fmla="*/ 1436915 w 1553029"/>
              <a:gd name="connsiteY8" fmla="*/ 406400 h 1219200"/>
              <a:gd name="connsiteX9" fmla="*/ 1553029 w 1553029"/>
              <a:gd name="connsiteY9" fmla="*/ 377371 h 1219200"/>
              <a:gd name="connsiteX10" fmla="*/ 435429 w 1553029"/>
              <a:gd name="connsiteY10" fmla="*/ 1219200 h 1219200"/>
              <a:gd name="connsiteX11" fmla="*/ 435429 w 1553029"/>
              <a:gd name="connsiteY11" fmla="*/ 1132114 h 1219200"/>
              <a:gd name="connsiteX12" fmla="*/ 319315 w 1553029"/>
              <a:gd name="connsiteY12" fmla="*/ 1161143 h 1219200"/>
              <a:gd name="connsiteX13" fmla="*/ 319315 w 1553029"/>
              <a:gd name="connsiteY13" fmla="*/ 1045028 h 1219200"/>
              <a:gd name="connsiteX14" fmla="*/ 174172 w 1553029"/>
              <a:gd name="connsiteY14" fmla="*/ 1088571 h 1219200"/>
              <a:gd name="connsiteX15" fmla="*/ 188686 w 1553029"/>
              <a:gd name="connsiteY15" fmla="*/ 957943 h 1219200"/>
              <a:gd name="connsiteX16" fmla="*/ 29029 w 1553029"/>
              <a:gd name="connsiteY16" fmla="*/ 972457 h 1219200"/>
              <a:gd name="connsiteX17" fmla="*/ 101600 w 1553029"/>
              <a:gd name="connsiteY17" fmla="*/ 928914 h 1219200"/>
              <a:gd name="connsiteX18" fmla="*/ 0 w 1553029"/>
              <a:gd name="connsiteY18" fmla="*/ 928914 h 1219200"/>
              <a:gd name="connsiteX19" fmla="*/ 87086 w 1553029"/>
              <a:gd name="connsiteY19" fmla="*/ 856343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53029" h="1219200">
                <a:moveTo>
                  <a:pt x="87086" y="856343"/>
                </a:moveTo>
                <a:lnTo>
                  <a:pt x="1132115" y="0"/>
                </a:lnTo>
                <a:lnTo>
                  <a:pt x="1146629" y="159657"/>
                </a:lnTo>
                <a:lnTo>
                  <a:pt x="1248229" y="116114"/>
                </a:lnTo>
                <a:lnTo>
                  <a:pt x="1233715" y="275771"/>
                </a:lnTo>
                <a:lnTo>
                  <a:pt x="1378858" y="217714"/>
                </a:lnTo>
                <a:lnTo>
                  <a:pt x="1349829" y="348343"/>
                </a:lnTo>
                <a:lnTo>
                  <a:pt x="1451429" y="333828"/>
                </a:lnTo>
                <a:lnTo>
                  <a:pt x="1436915" y="406400"/>
                </a:lnTo>
                <a:lnTo>
                  <a:pt x="1553029" y="377371"/>
                </a:lnTo>
                <a:lnTo>
                  <a:pt x="435429" y="1219200"/>
                </a:lnTo>
                <a:lnTo>
                  <a:pt x="435429" y="1132114"/>
                </a:lnTo>
                <a:lnTo>
                  <a:pt x="319315" y="1161143"/>
                </a:lnTo>
                <a:lnTo>
                  <a:pt x="319315" y="1045028"/>
                </a:lnTo>
                <a:lnTo>
                  <a:pt x="174172" y="1088571"/>
                </a:lnTo>
                <a:lnTo>
                  <a:pt x="188686" y="957943"/>
                </a:lnTo>
                <a:lnTo>
                  <a:pt x="29029" y="972457"/>
                </a:lnTo>
                <a:lnTo>
                  <a:pt x="101600" y="928914"/>
                </a:lnTo>
                <a:lnTo>
                  <a:pt x="0" y="928914"/>
                </a:lnTo>
                <a:lnTo>
                  <a:pt x="87086" y="856343"/>
                </a:lnTo>
                <a:close/>
              </a:path>
            </a:pathLst>
          </a:cu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2" name="Group 11">
            <a:extLst>
              <a:ext uri="{FF2B5EF4-FFF2-40B4-BE49-F238E27FC236}">
                <a16:creationId xmlns:a16="http://schemas.microsoft.com/office/drawing/2014/main" id="{6BC5E522-553C-4315-98B7-8F0A783F982B}"/>
              </a:ext>
            </a:extLst>
          </p:cNvPr>
          <p:cNvGrpSpPr/>
          <p:nvPr/>
        </p:nvGrpSpPr>
        <p:grpSpPr>
          <a:xfrm>
            <a:off x="4514736" y="2648033"/>
            <a:ext cx="3323156" cy="3265445"/>
            <a:chOff x="4538482" y="2124185"/>
            <a:chExt cx="3323156" cy="3265445"/>
          </a:xfrm>
        </p:grpSpPr>
        <p:sp>
          <p:nvSpPr>
            <p:cNvPr id="53" name="Oval 70">
              <a:extLst>
                <a:ext uri="{FF2B5EF4-FFF2-40B4-BE49-F238E27FC236}">
                  <a16:creationId xmlns:a16="http://schemas.microsoft.com/office/drawing/2014/main" id="{F48C3659-BE61-4F50-907B-E66BFFD48272}"/>
                </a:ext>
              </a:extLst>
            </p:cNvPr>
            <p:cNvSpPr/>
            <p:nvPr/>
          </p:nvSpPr>
          <p:spPr>
            <a:xfrm rot="5400000">
              <a:off x="6207355" y="3348087"/>
              <a:ext cx="2670801" cy="637764"/>
            </a:xfrm>
            <a:prstGeom prst="ellipse">
              <a:avLst/>
            </a:prstGeom>
            <a:solidFill>
              <a:schemeClr val="tx1">
                <a:alpha val="32000"/>
              </a:schemeClr>
            </a:solidFill>
            <a:ln>
              <a:noFill/>
            </a:ln>
            <a:effectLst>
              <a:softEdge rad="190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17">
              <a:extLst>
                <a:ext uri="{FF2B5EF4-FFF2-40B4-BE49-F238E27FC236}">
                  <a16:creationId xmlns:a16="http://schemas.microsoft.com/office/drawing/2014/main" id="{FCF2823A-5DA8-4887-BAF0-8458ABDF0B6D}"/>
                </a:ext>
              </a:extLst>
            </p:cNvPr>
            <p:cNvSpPr/>
            <p:nvPr/>
          </p:nvSpPr>
          <p:spPr>
            <a:xfrm rot="577091">
              <a:off x="5779360" y="4751163"/>
              <a:ext cx="1903479" cy="637764"/>
            </a:xfrm>
            <a:prstGeom prst="rect">
              <a:avLst/>
            </a:prstGeom>
            <a:solidFill>
              <a:schemeClr val="tx1">
                <a:alpha val="32000"/>
              </a:schemeClr>
            </a:solidFill>
            <a:ln>
              <a:noFill/>
            </a:ln>
            <a:effectLst>
              <a:softEdge rad="190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25">
              <a:extLst>
                <a:ext uri="{FF2B5EF4-FFF2-40B4-BE49-F238E27FC236}">
                  <a16:creationId xmlns:a16="http://schemas.microsoft.com/office/drawing/2014/main" id="{5D71C9E2-FB0F-49EB-8522-6987F6086C15}"/>
                </a:ext>
              </a:extLst>
            </p:cNvPr>
            <p:cNvSpPr/>
            <p:nvPr/>
          </p:nvSpPr>
          <p:spPr>
            <a:xfrm rot="20903281">
              <a:off x="4538482" y="4751866"/>
              <a:ext cx="1903479" cy="637764"/>
            </a:xfrm>
            <a:prstGeom prst="rect">
              <a:avLst/>
            </a:prstGeom>
            <a:solidFill>
              <a:schemeClr val="tx1">
                <a:alpha val="32000"/>
              </a:schemeClr>
            </a:solidFill>
            <a:ln>
              <a:noFill/>
            </a:ln>
            <a:effectLst>
              <a:softEdge rad="190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Freeform: Shape 27">
              <a:extLst>
                <a:ext uri="{FF2B5EF4-FFF2-40B4-BE49-F238E27FC236}">
                  <a16:creationId xmlns:a16="http://schemas.microsoft.com/office/drawing/2014/main" id="{DD520347-9894-4665-9EAD-D69060FCA65E}"/>
                </a:ext>
              </a:extLst>
            </p:cNvPr>
            <p:cNvSpPr/>
            <p:nvPr/>
          </p:nvSpPr>
          <p:spPr>
            <a:xfrm>
              <a:off x="4637445" y="2124185"/>
              <a:ext cx="3125491" cy="3085568"/>
            </a:xfrm>
            <a:custGeom>
              <a:avLst/>
              <a:gdLst>
                <a:gd name="connsiteX0" fmla="*/ 0 w 4403187"/>
                <a:gd name="connsiteY0" fmla="*/ 0 h 4564408"/>
                <a:gd name="connsiteX1" fmla="*/ 301828 w 4403187"/>
                <a:gd name="connsiteY1" fmla="*/ 0 h 4564408"/>
                <a:gd name="connsiteX2" fmla="*/ 301828 w 4403187"/>
                <a:gd name="connsiteY2" fmla="*/ 135355 h 4564408"/>
                <a:gd name="connsiteX3" fmla="*/ 285308 w 4403187"/>
                <a:gd name="connsiteY3" fmla="*/ 138691 h 4564408"/>
                <a:gd name="connsiteX4" fmla="*/ 194445 w 4403187"/>
                <a:gd name="connsiteY4" fmla="*/ 275771 h 4564408"/>
                <a:gd name="connsiteX5" fmla="*/ 343217 w 4403187"/>
                <a:gd name="connsiteY5" fmla="*/ 424542 h 4564408"/>
                <a:gd name="connsiteX6" fmla="*/ 491988 w 4403187"/>
                <a:gd name="connsiteY6" fmla="*/ 275771 h 4564408"/>
                <a:gd name="connsiteX7" fmla="*/ 401125 w 4403187"/>
                <a:gd name="connsiteY7" fmla="*/ 138691 h 4564408"/>
                <a:gd name="connsiteX8" fmla="*/ 384605 w 4403187"/>
                <a:gd name="connsiteY8" fmla="*/ 135355 h 4564408"/>
                <a:gd name="connsiteX9" fmla="*/ 384605 w 4403187"/>
                <a:gd name="connsiteY9" fmla="*/ 0 h 4564408"/>
                <a:gd name="connsiteX10" fmla="*/ 793817 w 4403187"/>
                <a:gd name="connsiteY10" fmla="*/ 0 h 4564408"/>
                <a:gd name="connsiteX11" fmla="*/ 793817 w 4403187"/>
                <a:gd name="connsiteY11" fmla="*/ 135355 h 4564408"/>
                <a:gd name="connsiteX12" fmla="*/ 777297 w 4403187"/>
                <a:gd name="connsiteY12" fmla="*/ 138691 h 4564408"/>
                <a:gd name="connsiteX13" fmla="*/ 686434 w 4403187"/>
                <a:gd name="connsiteY13" fmla="*/ 275771 h 4564408"/>
                <a:gd name="connsiteX14" fmla="*/ 835206 w 4403187"/>
                <a:gd name="connsiteY14" fmla="*/ 424542 h 4564408"/>
                <a:gd name="connsiteX15" fmla="*/ 983977 w 4403187"/>
                <a:gd name="connsiteY15" fmla="*/ 275771 h 4564408"/>
                <a:gd name="connsiteX16" fmla="*/ 893114 w 4403187"/>
                <a:gd name="connsiteY16" fmla="*/ 138691 h 4564408"/>
                <a:gd name="connsiteX17" fmla="*/ 876594 w 4403187"/>
                <a:gd name="connsiteY17" fmla="*/ 135355 h 4564408"/>
                <a:gd name="connsiteX18" fmla="*/ 876594 w 4403187"/>
                <a:gd name="connsiteY18" fmla="*/ 0 h 4564408"/>
                <a:gd name="connsiteX19" fmla="*/ 1285806 w 4403187"/>
                <a:gd name="connsiteY19" fmla="*/ 0 h 4564408"/>
                <a:gd name="connsiteX20" fmla="*/ 1285806 w 4403187"/>
                <a:gd name="connsiteY20" fmla="*/ 135355 h 4564408"/>
                <a:gd name="connsiteX21" fmla="*/ 1269286 w 4403187"/>
                <a:gd name="connsiteY21" fmla="*/ 138691 h 4564408"/>
                <a:gd name="connsiteX22" fmla="*/ 1178423 w 4403187"/>
                <a:gd name="connsiteY22" fmla="*/ 275771 h 4564408"/>
                <a:gd name="connsiteX23" fmla="*/ 1327195 w 4403187"/>
                <a:gd name="connsiteY23" fmla="*/ 424542 h 4564408"/>
                <a:gd name="connsiteX24" fmla="*/ 1475966 w 4403187"/>
                <a:gd name="connsiteY24" fmla="*/ 275771 h 4564408"/>
                <a:gd name="connsiteX25" fmla="*/ 1385103 w 4403187"/>
                <a:gd name="connsiteY25" fmla="*/ 138691 h 4564408"/>
                <a:gd name="connsiteX26" fmla="*/ 1368583 w 4403187"/>
                <a:gd name="connsiteY26" fmla="*/ 135355 h 4564408"/>
                <a:gd name="connsiteX27" fmla="*/ 1368583 w 4403187"/>
                <a:gd name="connsiteY27" fmla="*/ 0 h 4564408"/>
                <a:gd name="connsiteX28" fmla="*/ 1777795 w 4403187"/>
                <a:gd name="connsiteY28" fmla="*/ 0 h 4564408"/>
                <a:gd name="connsiteX29" fmla="*/ 1777795 w 4403187"/>
                <a:gd name="connsiteY29" fmla="*/ 135355 h 4564408"/>
                <a:gd name="connsiteX30" fmla="*/ 1761275 w 4403187"/>
                <a:gd name="connsiteY30" fmla="*/ 138691 h 4564408"/>
                <a:gd name="connsiteX31" fmla="*/ 1670412 w 4403187"/>
                <a:gd name="connsiteY31" fmla="*/ 275771 h 4564408"/>
                <a:gd name="connsiteX32" fmla="*/ 1819184 w 4403187"/>
                <a:gd name="connsiteY32" fmla="*/ 424542 h 4564408"/>
                <a:gd name="connsiteX33" fmla="*/ 1967955 w 4403187"/>
                <a:gd name="connsiteY33" fmla="*/ 275771 h 4564408"/>
                <a:gd name="connsiteX34" fmla="*/ 1877092 w 4403187"/>
                <a:gd name="connsiteY34" fmla="*/ 138691 h 4564408"/>
                <a:gd name="connsiteX35" fmla="*/ 1860572 w 4403187"/>
                <a:gd name="connsiteY35" fmla="*/ 135355 h 4564408"/>
                <a:gd name="connsiteX36" fmla="*/ 1860572 w 4403187"/>
                <a:gd name="connsiteY36" fmla="*/ 0 h 4564408"/>
                <a:gd name="connsiteX37" fmla="*/ 2269784 w 4403187"/>
                <a:gd name="connsiteY37" fmla="*/ 0 h 4564408"/>
                <a:gd name="connsiteX38" fmla="*/ 2269784 w 4403187"/>
                <a:gd name="connsiteY38" fmla="*/ 135355 h 4564408"/>
                <a:gd name="connsiteX39" fmla="*/ 2253264 w 4403187"/>
                <a:gd name="connsiteY39" fmla="*/ 138691 h 4564408"/>
                <a:gd name="connsiteX40" fmla="*/ 2162401 w 4403187"/>
                <a:gd name="connsiteY40" fmla="*/ 275771 h 4564408"/>
                <a:gd name="connsiteX41" fmla="*/ 2311173 w 4403187"/>
                <a:gd name="connsiteY41" fmla="*/ 424542 h 4564408"/>
                <a:gd name="connsiteX42" fmla="*/ 2459944 w 4403187"/>
                <a:gd name="connsiteY42" fmla="*/ 275771 h 4564408"/>
                <a:gd name="connsiteX43" fmla="*/ 2369081 w 4403187"/>
                <a:gd name="connsiteY43" fmla="*/ 138691 h 4564408"/>
                <a:gd name="connsiteX44" fmla="*/ 2352561 w 4403187"/>
                <a:gd name="connsiteY44" fmla="*/ 135355 h 4564408"/>
                <a:gd name="connsiteX45" fmla="*/ 2352561 w 4403187"/>
                <a:gd name="connsiteY45" fmla="*/ 0 h 4564408"/>
                <a:gd name="connsiteX46" fmla="*/ 2761773 w 4403187"/>
                <a:gd name="connsiteY46" fmla="*/ 0 h 4564408"/>
                <a:gd name="connsiteX47" fmla="*/ 2761773 w 4403187"/>
                <a:gd name="connsiteY47" fmla="*/ 135355 h 4564408"/>
                <a:gd name="connsiteX48" fmla="*/ 2745253 w 4403187"/>
                <a:gd name="connsiteY48" fmla="*/ 138691 h 4564408"/>
                <a:gd name="connsiteX49" fmla="*/ 2654390 w 4403187"/>
                <a:gd name="connsiteY49" fmla="*/ 275771 h 4564408"/>
                <a:gd name="connsiteX50" fmla="*/ 2803162 w 4403187"/>
                <a:gd name="connsiteY50" fmla="*/ 424542 h 4564408"/>
                <a:gd name="connsiteX51" fmla="*/ 2951933 w 4403187"/>
                <a:gd name="connsiteY51" fmla="*/ 275771 h 4564408"/>
                <a:gd name="connsiteX52" fmla="*/ 2861070 w 4403187"/>
                <a:gd name="connsiteY52" fmla="*/ 138691 h 4564408"/>
                <a:gd name="connsiteX53" fmla="*/ 2844550 w 4403187"/>
                <a:gd name="connsiteY53" fmla="*/ 135355 h 4564408"/>
                <a:gd name="connsiteX54" fmla="*/ 2844550 w 4403187"/>
                <a:gd name="connsiteY54" fmla="*/ 0 h 4564408"/>
                <a:gd name="connsiteX55" fmla="*/ 3253762 w 4403187"/>
                <a:gd name="connsiteY55" fmla="*/ 0 h 4564408"/>
                <a:gd name="connsiteX56" fmla="*/ 3253762 w 4403187"/>
                <a:gd name="connsiteY56" fmla="*/ 135355 h 4564408"/>
                <a:gd name="connsiteX57" fmla="*/ 3237242 w 4403187"/>
                <a:gd name="connsiteY57" fmla="*/ 138691 h 4564408"/>
                <a:gd name="connsiteX58" fmla="*/ 3146379 w 4403187"/>
                <a:gd name="connsiteY58" fmla="*/ 275771 h 4564408"/>
                <a:gd name="connsiteX59" fmla="*/ 3295151 w 4403187"/>
                <a:gd name="connsiteY59" fmla="*/ 424542 h 4564408"/>
                <a:gd name="connsiteX60" fmla="*/ 3443922 w 4403187"/>
                <a:gd name="connsiteY60" fmla="*/ 275771 h 4564408"/>
                <a:gd name="connsiteX61" fmla="*/ 3353059 w 4403187"/>
                <a:gd name="connsiteY61" fmla="*/ 138691 h 4564408"/>
                <a:gd name="connsiteX62" fmla="*/ 3336539 w 4403187"/>
                <a:gd name="connsiteY62" fmla="*/ 135355 h 4564408"/>
                <a:gd name="connsiteX63" fmla="*/ 3336539 w 4403187"/>
                <a:gd name="connsiteY63" fmla="*/ 0 h 4564408"/>
                <a:gd name="connsiteX64" fmla="*/ 3745751 w 4403187"/>
                <a:gd name="connsiteY64" fmla="*/ 0 h 4564408"/>
                <a:gd name="connsiteX65" fmla="*/ 3745751 w 4403187"/>
                <a:gd name="connsiteY65" fmla="*/ 135355 h 4564408"/>
                <a:gd name="connsiteX66" fmla="*/ 3729231 w 4403187"/>
                <a:gd name="connsiteY66" fmla="*/ 138691 h 4564408"/>
                <a:gd name="connsiteX67" fmla="*/ 3638368 w 4403187"/>
                <a:gd name="connsiteY67" fmla="*/ 275771 h 4564408"/>
                <a:gd name="connsiteX68" fmla="*/ 3787140 w 4403187"/>
                <a:gd name="connsiteY68" fmla="*/ 424542 h 4564408"/>
                <a:gd name="connsiteX69" fmla="*/ 3935911 w 4403187"/>
                <a:gd name="connsiteY69" fmla="*/ 275771 h 4564408"/>
                <a:gd name="connsiteX70" fmla="*/ 3845048 w 4403187"/>
                <a:gd name="connsiteY70" fmla="*/ 138691 h 4564408"/>
                <a:gd name="connsiteX71" fmla="*/ 3828528 w 4403187"/>
                <a:gd name="connsiteY71" fmla="*/ 135355 h 4564408"/>
                <a:gd name="connsiteX72" fmla="*/ 3828528 w 4403187"/>
                <a:gd name="connsiteY72" fmla="*/ 0 h 4564408"/>
                <a:gd name="connsiteX73" fmla="*/ 4403187 w 4403187"/>
                <a:gd name="connsiteY73" fmla="*/ 0 h 4564408"/>
                <a:gd name="connsiteX74" fmla="*/ 4403187 w 4403187"/>
                <a:gd name="connsiteY74" fmla="*/ 4564408 h 4564408"/>
                <a:gd name="connsiteX75" fmla="*/ 0 w 4403187"/>
                <a:gd name="connsiteY75" fmla="*/ 4564408 h 456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4403187" h="4564408">
                  <a:moveTo>
                    <a:pt x="0" y="0"/>
                  </a:moveTo>
                  <a:lnTo>
                    <a:pt x="301828" y="0"/>
                  </a:lnTo>
                  <a:lnTo>
                    <a:pt x="301828" y="135355"/>
                  </a:lnTo>
                  <a:lnTo>
                    <a:pt x="285308" y="138691"/>
                  </a:lnTo>
                  <a:cubicBezTo>
                    <a:pt x="231912" y="161275"/>
                    <a:pt x="194445" y="214148"/>
                    <a:pt x="194445" y="275771"/>
                  </a:cubicBezTo>
                  <a:cubicBezTo>
                    <a:pt x="194445" y="357935"/>
                    <a:pt x="261053" y="424542"/>
                    <a:pt x="343217" y="424542"/>
                  </a:cubicBezTo>
                  <a:cubicBezTo>
                    <a:pt x="425381" y="424542"/>
                    <a:pt x="491988" y="357935"/>
                    <a:pt x="491988" y="275771"/>
                  </a:cubicBezTo>
                  <a:cubicBezTo>
                    <a:pt x="491988" y="214148"/>
                    <a:pt x="454522" y="161275"/>
                    <a:pt x="401125" y="138691"/>
                  </a:cubicBezTo>
                  <a:lnTo>
                    <a:pt x="384605" y="135355"/>
                  </a:lnTo>
                  <a:lnTo>
                    <a:pt x="384605" y="0"/>
                  </a:lnTo>
                  <a:lnTo>
                    <a:pt x="793817" y="0"/>
                  </a:lnTo>
                  <a:lnTo>
                    <a:pt x="793817" y="135355"/>
                  </a:lnTo>
                  <a:lnTo>
                    <a:pt x="777297" y="138691"/>
                  </a:lnTo>
                  <a:cubicBezTo>
                    <a:pt x="723901" y="161275"/>
                    <a:pt x="686434" y="214148"/>
                    <a:pt x="686434" y="275771"/>
                  </a:cubicBezTo>
                  <a:cubicBezTo>
                    <a:pt x="686434" y="357935"/>
                    <a:pt x="753042" y="424542"/>
                    <a:pt x="835206" y="424542"/>
                  </a:cubicBezTo>
                  <a:cubicBezTo>
                    <a:pt x="917370" y="424542"/>
                    <a:pt x="983977" y="357935"/>
                    <a:pt x="983977" y="275771"/>
                  </a:cubicBezTo>
                  <a:cubicBezTo>
                    <a:pt x="983977" y="214148"/>
                    <a:pt x="946511" y="161275"/>
                    <a:pt x="893114" y="138691"/>
                  </a:cubicBezTo>
                  <a:lnTo>
                    <a:pt x="876594" y="135355"/>
                  </a:lnTo>
                  <a:lnTo>
                    <a:pt x="876594" y="0"/>
                  </a:lnTo>
                  <a:lnTo>
                    <a:pt x="1285806" y="0"/>
                  </a:lnTo>
                  <a:lnTo>
                    <a:pt x="1285806" y="135355"/>
                  </a:lnTo>
                  <a:lnTo>
                    <a:pt x="1269286" y="138691"/>
                  </a:lnTo>
                  <a:cubicBezTo>
                    <a:pt x="1215890" y="161275"/>
                    <a:pt x="1178423" y="214148"/>
                    <a:pt x="1178423" y="275771"/>
                  </a:cubicBezTo>
                  <a:cubicBezTo>
                    <a:pt x="1178423" y="357935"/>
                    <a:pt x="1245031" y="424542"/>
                    <a:pt x="1327195" y="424542"/>
                  </a:cubicBezTo>
                  <a:cubicBezTo>
                    <a:pt x="1409359" y="424542"/>
                    <a:pt x="1475966" y="357935"/>
                    <a:pt x="1475966" y="275771"/>
                  </a:cubicBezTo>
                  <a:cubicBezTo>
                    <a:pt x="1475966" y="214148"/>
                    <a:pt x="1438500" y="161275"/>
                    <a:pt x="1385103" y="138691"/>
                  </a:cubicBezTo>
                  <a:lnTo>
                    <a:pt x="1368583" y="135355"/>
                  </a:lnTo>
                  <a:lnTo>
                    <a:pt x="1368583" y="0"/>
                  </a:lnTo>
                  <a:lnTo>
                    <a:pt x="1777795" y="0"/>
                  </a:lnTo>
                  <a:lnTo>
                    <a:pt x="1777795" y="135355"/>
                  </a:lnTo>
                  <a:lnTo>
                    <a:pt x="1761275" y="138691"/>
                  </a:lnTo>
                  <a:cubicBezTo>
                    <a:pt x="1707879" y="161275"/>
                    <a:pt x="1670412" y="214148"/>
                    <a:pt x="1670412" y="275771"/>
                  </a:cubicBezTo>
                  <a:cubicBezTo>
                    <a:pt x="1670412" y="357935"/>
                    <a:pt x="1737020" y="424542"/>
                    <a:pt x="1819184" y="424542"/>
                  </a:cubicBezTo>
                  <a:cubicBezTo>
                    <a:pt x="1901348" y="424542"/>
                    <a:pt x="1967955" y="357935"/>
                    <a:pt x="1967955" y="275771"/>
                  </a:cubicBezTo>
                  <a:cubicBezTo>
                    <a:pt x="1967955" y="214148"/>
                    <a:pt x="1930489" y="161275"/>
                    <a:pt x="1877092" y="138691"/>
                  </a:cubicBezTo>
                  <a:lnTo>
                    <a:pt x="1860572" y="135355"/>
                  </a:lnTo>
                  <a:lnTo>
                    <a:pt x="1860572" y="0"/>
                  </a:lnTo>
                  <a:lnTo>
                    <a:pt x="2269784" y="0"/>
                  </a:lnTo>
                  <a:lnTo>
                    <a:pt x="2269784" y="135355"/>
                  </a:lnTo>
                  <a:lnTo>
                    <a:pt x="2253264" y="138691"/>
                  </a:lnTo>
                  <a:cubicBezTo>
                    <a:pt x="2199868" y="161275"/>
                    <a:pt x="2162401" y="214148"/>
                    <a:pt x="2162401" y="275771"/>
                  </a:cubicBezTo>
                  <a:cubicBezTo>
                    <a:pt x="2162401" y="357935"/>
                    <a:pt x="2229009" y="424542"/>
                    <a:pt x="2311173" y="424542"/>
                  </a:cubicBezTo>
                  <a:cubicBezTo>
                    <a:pt x="2393337" y="424542"/>
                    <a:pt x="2459944" y="357935"/>
                    <a:pt x="2459944" y="275771"/>
                  </a:cubicBezTo>
                  <a:cubicBezTo>
                    <a:pt x="2459944" y="214148"/>
                    <a:pt x="2422478" y="161275"/>
                    <a:pt x="2369081" y="138691"/>
                  </a:cubicBezTo>
                  <a:lnTo>
                    <a:pt x="2352561" y="135355"/>
                  </a:lnTo>
                  <a:lnTo>
                    <a:pt x="2352561" y="0"/>
                  </a:lnTo>
                  <a:lnTo>
                    <a:pt x="2761773" y="0"/>
                  </a:lnTo>
                  <a:lnTo>
                    <a:pt x="2761773" y="135355"/>
                  </a:lnTo>
                  <a:lnTo>
                    <a:pt x="2745253" y="138691"/>
                  </a:lnTo>
                  <a:cubicBezTo>
                    <a:pt x="2691857" y="161275"/>
                    <a:pt x="2654390" y="214148"/>
                    <a:pt x="2654390" y="275771"/>
                  </a:cubicBezTo>
                  <a:cubicBezTo>
                    <a:pt x="2654390" y="357935"/>
                    <a:pt x="2720998" y="424542"/>
                    <a:pt x="2803162" y="424542"/>
                  </a:cubicBezTo>
                  <a:cubicBezTo>
                    <a:pt x="2885326" y="424542"/>
                    <a:pt x="2951933" y="357935"/>
                    <a:pt x="2951933" y="275771"/>
                  </a:cubicBezTo>
                  <a:cubicBezTo>
                    <a:pt x="2951933" y="214148"/>
                    <a:pt x="2914467" y="161275"/>
                    <a:pt x="2861070" y="138691"/>
                  </a:cubicBezTo>
                  <a:lnTo>
                    <a:pt x="2844550" y="135355"/>
                  </a:lnTo>
                  <a:lnTo>
                    <a:pt x="2844550" y="0"/>
                  </a:lnTo>
                  <a:lnTo>
                    <a:pt x="3253762" y="0"/>
                  </a:lnTo>
                  <a:lnTo>
                    <a:pt x="3253762" y="135355"/>
                  </a:lnTo>
                  <a:lnTo>
                    <a:pt x="3237242" y="138691"/>
                  </a:lnTo>
                  <a:cubicBezTo>
                    <a:pt x="3183846" y="161275"/>
                    <a:pt x="3146379" y="214148"/>
                    <a:pt x="3146379" y="275771"/>
                  </a:cubicBezTo>
                  <a:cubicBezTo>
                    <a:pt x="3146379" y="357935"/>
                    <a:pt x="3212987" y="424542"/>
                    <a:pt x="3295151" y="424542"/>
                  </a:cubicBezTo>
                  <a:cubicBezTo>
                    <a:pt x="3377315" y="424542"/>
                    <a:pt x="3443922" y="357935"/>
                    <a:pt x="3443922" y="275771"/>
                  </a:cubicBezTo>
                  <a:cubicBezTo>
                    <a:pt x="3443922" y="214148"/>
                    <a:pt x="3406456" y="161275"/>
                    <a:pt x="3353059" y="138691"/>
                  </a:cubicBezTo>
                  <a:lnTo>
                    <a:pt x="3336539" y="135355"/>
                  </a:lnTo>
                  <a:lnTo>
                    <a:pt x="3336539" y="0"/>
                  </a:lnTo>
                  <a:lnTo>
                    <a:pt x="3745751" y="0"/>
                  </a:lnTo>
                  <a:lnTo>
                    <a:pt x="3745751" y="135355"/>
                  </a:lnTo>
                  <a:lnTo>
                    <a:pt x="3729231" y="138691"/>
                  </a:lnTo>
                  <a:cubicBezTo>
                    <a:pt x="3675835" y="161275"/>
                    <a:pt x="3638368" y="214148"/>
                    <a:pt x="3638368" y="275771"/>
                  </a:cubicBezTo>
                  <a:cubicBezTo>
                    <a:pt x="3638368" y="357935"/>
                    <a:pt x="3704976" y="424542"/>
                    <a:pt x="3787140" y="424542"/>
                  </a:cubicBezTo>
                  <a:cubicBezTo>
                    <a:pt x="3869304" y="424542"/>
                    <a:pt x="3935911" y="357935"/>
                    <a:pt x="3935911" y="275771"/>
                  </a:cubicBezTo>
                  <a:cubicBezTo>
                    <a:pt x="3935911" y="214148"/>
                    <a:pt x="3898445" y="161275"/>
                    <a:pt x="3845048" y="138691"/>
                  </a:cubicBezTo>
                  <a:lnTo>
                    <a:pt x="3828528" y="135355"/>
                  </a:lnTo>
                  <a:lnTo>
                    <a:pt x="3828528" y="0"/>
                  </a:lnTo>
                  <a:lnTo>
                    <a:pt x="4403187" y="0"/>
                  </a:lnTo>
                  <a:lnTo>
                    <a:pt x="4403187" y="4564408"/>
                  </a:lnTo>
                  <a:lnTo>
                    <a:pt x="0" y="4564408"/>
                  </a:lnTo>
                  <a:close/>
                </a:path>
              </a:pathLst>
            </a:custGeom>
            <a:solidFill>
              <a:srgbClr val="F7F0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28">
              <a:extLst>
                <a:ext uri="{FF2B5EF4-FFF2-40B4-BE49-F238E27FC236}">
                  <a16:creationId xmlns:a16="http://schemas.microsoft.com/office/drawing/2014/main" id="{A0141742-7048-4F0C-A2C6-CCD3F60D4746}"/>
                </a:ext>
              </a:extLst>
            </p:cNvPr>
            <p:cNvSpPr/>
            <p:nvPr/>
          </p:nvSpPr>
          <p:spPr>
            <a:xfrm>
              <a:off x="4637443" y="2521334"/>
              <a:ext cx="3125490" cy="667199"/>
            </a:xfrm>
            <a:prstGeom prst="rect">
              <a:avLst/>
            </a:prstGeom>
            <a:solidFill>
              <a:srgbClr val="993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extBox 29">
              <a:extLst>
                <a:ext uri="{FF2B5EF4-FFF2-40B4-BE49-F238E27FC236}">
                  <a16:creationId xmlns:a16="http://schemas.microsoft.com/office/drawing/2014/main" id="{85B4B0E8-87FF-4B1F-AAE0-661595446832}"/>
                </a:ext>
              </a:extLst>
            </p:cNvPr>
            <p:cNvSpPr txBox="1"/>
            <p:nvPr/>
          </p:nvSpPr>
          <p:spPr>
            <a:xfrm>
              <a:off x="6486669" y="2564356"/>
              <a:ext cx="950746" cy="646331"/>
            </a:xfrm>
            <a:prstGeom prst="rect">
              <a:avLst/>
            </a:prstGeom>
            <a:noFill/>
          </p:spPr>
          <p:txBody>
            <a:bodyPr wrap="square" rtlCol="0">
              <a:spAutoFit/>
            </a:bodyPr>
            <a:lstStyle/>
            <a:p>
              <a:pPr algn="r"/>
              <a:r>
                <a:rPr lang="en-US" sz="3600" spc="300" dirty="0">
                  <a:solidFill>
                    <a:schemeClr val="bg1"/>
                  </a:solidFill>
                  <a:latin typeface="Oswald" panose="02000503000000000000" pitchFamily="2" charset="0"/>
                </a:rPr>
                <a:t>02</a:t>
              </a:r>
            </a:p>
          </p:txBody>
        </p:sp>
        <p:grpSp>
          <p:nvGrpSpPr>
            <p:cNvPr id="59" name="Group 30">
              <a:extLst>
                <a:ext uri="{FF2B5EF4-FFF2-40B4-BE49-F238E27FC236}">
                  <a16:creationId xmlns:a16="http://schemas.microsoft.com/office/drawing/2014/main" id="{5FF3E7AB-8738-434E-B3C4-966A62ECF4E4}"/>
                </a:ext>
              </a:extLst>
            </p:cNvPr>
            <p:cNvGrpSpPr/>
            <p:nvPr/>
          </p:nvGrpSpPr>
          <p:grpSpPr>
            <a:xfrm>
              <a:off x="4899266" y="3666969"/>
              <a:ext cx="2452936" cy="1118539"/>
              <a:chOff x="1016001" y="3614225"/>
              <a:chExt cx="3628571" cy="1654628"/>
            </a:xfrm>
          </p:grpSpPr>
          <p:cxnSp>
            <p:nvCxnSpPr>
              <p:cNvPr id="62" name="Straight Connector 34">
                <a:extLst>
                  <a:ext uri="{FF2B5EF4-FFF2-40B4-BE49-F238E27FC236}">
                    <a16:creationId xmlns:a16="http://schemas.microsoft.com/office/drawing/2014/main" id="{6029D980-3C97-4B08-92FA-4EDE70167A6C}"/>
                  </a:ext>
                </a:extLst>
              </p:cNvPr>
              <p:cNvCxnSpPr/>
              <p:nvPr/>
            </p:nvCxnSpPr>
            <p:spPr>
              <a:xfrm>
                <a:off x="1016001" y="3614225"/>
                <a:ext cx="3628571" cy="0"/>
              </a:xfrm>
              <a:prstGeom prst="line">
                <a:avLst/>
              </a:prstGeom>
              <a:ln>
                <a:solidFill>
                  <a:schemeClr val="bg1">
                    <a:lumMod val="65000"/>
                    <a:alpha val="44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35">
                <a:extLst>
                  <a:ext uri="{FF2B5EF4-FFF2-40B4-BE49-F238E27FC236}">
                    <a16:creationId xmlns:a16="http://schemas.microsoft.com/office/drawing/2014/main" id="{9534E17E-BC5B-4A06-9A3B-5126E7B9AE0D}"/>
                  </a:ext>
                </a:extLst>
              </p:cNvPr>
              <p:cNvCxnSpPr/>
              <p:nvPr/>
            </p:nvCxnSpPr>
            <p:spPr>
              <a:xfrm>
                <a:off x="1016001" y="4027882"/>
                <a:ext cx="3628571" cy="0"/>
              </a:xfrm>
              <a:prstGeom prst="line">
                <a:avLst/>
              </a:prstGeom>
              <a:ln>
                <a:solidFill>
                  <a:schemeClr val="bg1">
                    <a:lumMod val="65000"/>
                    <a:alpha val="44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36">
                <a:extLst>
                  <a:ext uri="{FF2B5EF4-FFF2-40B4-BE49-F238E27FC236}">
                    <a16:creationId xmlns:a16="http://schemas.microsoft.com/office/drawing/2014/main" id="{E2C114D2-CA06-412C-B1CA-53BDE67A1343}"/>
                  </a:ext>
                </a:extLst>
              </p:cNvPr>
              <p:cNvCxnSpPr/>
              <p:nvPr/>
            </p:nvCxnSpPr>
            <p:spPr>
              <a:xfrm>
                <a:off x="1016001" y="4441539"/>
                <a:ext cx="3628571" cy="0"/>
              </a:xfrm>
              <a:prstGeom prst="line">
                <a:avLst/>
              </a:prstGeom>
              <a:ln>
                <a:solidFill>
                  <a:schemeClr val="bg1">
                    <a:lumMod val="65000"/>
                    <a:alpha val="44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37">
                <a:extLst>
                  <a:ext uri="{FF2B5EF4-FFF2-40B4-BE49-F238E27FC236}">
                    <a16:creationId xmlns:a16="http://schemas.microsoft.com/office/drawing/2014/main" id="{31BC67E3-643F-43FE-8E84-A147E3ED40E6}"/>
                  </a:ext>
                </a:extLst>
              </p:cNvPr>
              <p:cNvCxnSpPr/>
              <p:nvPr/>
            </p:nvCxnSpPr>
            <p:spPr>
              <a:xfrm>
                <a:off x="1016001" y="4855196"/>
                <a:ext cx="3628571" cy="0"/>
              </a:xfrm>
              <a:prstGeom prst="line">
                <a:avLst/>
              </a:prstGeom>
              <a:ln>
                <a:solidFill>
                  <a:schemeClr val="bg1">
                    <a:lumMod val="65000"/>
                    <a:alpha val="44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38">
                <a:extLst>
                  <a:ext uri="{FF2B5EF4-FFF2-40B4-BE49-F238E27FC236}">
                    <a16:creationId xmlns:a16="http://schemas.microsoft.com/office/drawing/2014/main" id="{BE8A143E-1D21-4021-9C25-F0347E2BC202}"/>
                  </a:ext>
                </a:extLst>
              </p:cNvPr>
              <p:cNvCxnSpPr/>
              <p:nvPr/>
            </p:nvCxnSpPr>
            <p:spPr>
              <a:xfrm>
                <a:off x="1016001" y="5268853"/>
                <a:ext cx="3628571" cy="0"/>
              </a:xfrm>
              <a:prstGeom prst="line">
                <a:avLst/>
              </a:prstGeom>
              <a:ln>
                <a:solidFill>
                  <a:schemeClr val="bg1">
                    <a:lumMod val="65000"/>
                    <a:alpha val="44000"/>
                  </a:schemeClr>
                </a:solidFill>
              </a:ln>
            </p:spPr>
            <p:style>
              <a:lnRef idx="1">
                <a:schemeClr val="accent1"/>
              </a:lnRef>
              <a:fillRef idx="0">
                <a:schemeClr val="accent1"/>
              </a:fillRef>
              <a:effectRef idx="0">
                <a:schemeClr val="accent1"/>
              </a:effectRef>
              <a:fontRef idx="minor">
                <a:schemeClr val="tx1"/>
              </a:fontRef>
            </p:style>
          </p:cxnSp>
        </p:grpSp>
        <p:sp>
          <p:nvSpPr>
            <p:cNvPr id="60" name="TextBox 31">
              <a:extLst>
                <a:ext uri="{FF2B5EF4-FFF2-40B4-BE49-F238E27FC236}">
                  <a16:creationId xmlns:a16="http://schemas.microsoft.com/office/drawing/2014/main" id="{3FF55EEF-A4CC-4B30-8C3D-6004505CFA6B}"/>
                </a:ext>
              </a:extLst>
            </p:cNvPr>
            <p:cNvSpPr txBox="1"/>
            <p:nvPr/>
          </p:nvSpPr>
          <p:spPr>
            <a:xfrm>
              <a:off x="4612367" y="3164960"/>
              <a:ext cx="3157057" cy="830997"/>
            </a:xfrm>
            <a:prstGeom prst="rect">
              <a:avLst/>
            </a:prstGeom>
            <a:noFill/>
          </p:spPr>
          <p:txBody>
            <a:bodyPr wrap="square" rtlCol="0">
              <a:spAutoFit/>
            </a:bodyPr>
            <a:lstStyle/>
            <a:p>
              <a:pPr algn="ctr"/>
              <a:r>
                <a:rPr lang="es-ES" sz="1600" b="1" dirty="0">
                  <a:solidFill>
                    <a:srgbClr val="9933FF"/>
                  </a:solidFill>
                  <a:latin typeface="Century Gothic" panose="020B0502020202020204" pitchFamily="34" charset="0"/>
                </a:rPr>
                <a:t>COLABORACIÓN CON DIFERENTES SECTORES SOCIO-ECONÓMICOS </a:t>
              </a:r>
              <a:endParaRPr lang="en-US" sz="1600" b="1" dirty="0">
                <a:solidFill>
                  <a:srgbClr val="9933FF"/>
                </a:solidFill>
                <a:latin typeface="Century Gothic" panose="020B0502020202020204" pitchFamily="34" charset="0"/>
              </a:endParaRPr>
            </a:p>
          </p:txBody>
        </p:sp>
        <p:sp>
          <p:nvSpPr>
            <p:cNvPr id="61" name="TextBox 32">
              <a:extLst>
                <a:ext uri="{FF2B5EF4-FFF2-40B4-BE49-F238E27FC236}">
                  <a16:creationId xmlns:a16="http://schemas.microsoft.com/office/drawing/2014/main" id="{F6260B8B-D76C-4892-A829-38A7CBF67589}"/>
                </a:ext>
              </a:extLst>
            </p:cNvPr>
            <p:cNvSpPr txBox="1"/>
            <p:nvPr/>
          </p:nvSpPr>
          <p:spPr>
            <a:xfrm>
              <a:off x="4642063" y="3832340"/>
              <a:ext cx="3090289" cy="1384995"/>
            </a:xfrm>
            <a:prstGeom prst="rect">
              <a:avLst/>
            </a:prstGeom>
            <a:noFill/>
          </p:spPr>
          <p:txBody>
            <a:bodyPr wrap="square" rtlCol="0">
              <a:spAutoFit/>
            </a:bodyPr>
            <a:lstStyle/>
            <a:p>
              <a:pPr algn="just">
                <a:lnSpc>
                  <a:spcPct val="200000"/>
                </a:lnSpc>
              </a:pPr>
              <a:r>
                <a:rPr lang="es-ES" sz="1400" dirty="0">
                  <a:solidFill>
                    <a:schemeClr val="bg1">
                      <a:lumMod val="50000"/>
                    </a:schemeClr>
                  </a:solidFill>
                  <a:latin typeface="Hand Of Sean" panose="02000500000000000000" pitchFamily="2" charset="-128"/>
                  <a:ea typeface="Hand Of Sean" panose="02000500000000000000" pitchFamily="2" charset="-128"/>
                </a:rPr>
                <a:t>Colaboración con sectores socio-económicos de diversas índoles (sanitarios, agrarios, industriales, servicios avanzados…) </a:t>
              </a:r>
            </a:p>
          </p:txBody>
        </p:sp>
      </p:grpSp>
      <p:sp>
        <p:nvSpPr>
          <p:cNvPr id="67" name="Freeform: Shape 33">
            <a:extLst>
              <a:ext uri="{FF2B5EF4-FFF2-40B4-BE49-F238E27FC236}">
                <a16:creationId xmlns:a16="http://schemas.microsoft.com/office/drawing/2014/main" id="{2EABCFC8-4B5B-4B5B-8CBA-9844421970FD}"/>
              </a:ext>
            </a:extLst>
          </p:cNvPr>
          <p:cNvSpPr/>
          <p:nvPr/>
        </p:nvSpPr>
        <p:spPr>
          <a:xfrm>
            <a:off x="4164304" y="2225142"/>
            <a:ext cx="1195295" cy="972660"/>
          </a:xfrm>
          <a:custGeom>
            <a:avLst/>
            <a:gdLst>
              <a:gd name="connsiteX0" fmla="*/ 87086 w 1553029"/>
              <a:gd name="connsiteY0" fmla="*/ 856343 h 1219200"/>
              <a:gd name="connsiteX1" fmla="*/ 1132115 w 1553029"/>
              <a:gd name="connsiteY1" fmla="*/ 0 h 1219200"/>
              <a:gd name="connsiteX2" fmla="*/ 1146629 w 1553029"/>
              <a:gd name="connsiteY2" fmla="*/ 159657 h 1219200"/>
              <a:gd name="connsiteX3" fmla="*/ 1248229 w 1553029"/>
              <a:gd name="connsiteY3" fmla="*/ 116114 h 1219200"/>
              <a:gd name="connsiteX4" fmla="*/ 1233715 w 1553029"/>
              <a:gd name="connsiteY4" fmla="*/ 275771 h 1219200"/>
              <a:gd name="connsiteX5" fmla="*/ 1378858 w 1553029"/>
              <a:gd name="connsiteY5" fmla="*/ 217714 h 1219200"/>
              <a:gd name="connsiteX6" fmla="*/ 1349829 w 1553029"/>
              <a:gd name="connsiteY6" fmla="*/ 348343 h 1219200"/>
              <a:gd name="connsiteX7" fmla="*/ 1451429 w 1553029"/>
              <a:gd name="connsiteY7" fmla="*/ 333828 h 1219200"/>
              <a:gd name="connsiteX8" fmla="*/ 1436915 w 1553029"/>
              <a:gd name="connsiteY8" fmla="*/ 406400 h 1219200"/>
              <a:gd name="connsiteX9" fmla="*/ 1553029 w 1553029"/>
              <a:gd name="connsiteY9" fmla="*/ 377371 h 1219200"/>
              <a:gd name="connsiteX10" fmla="*/ 435429 w 1553029"/>
              <a:gd name="connsiteY10" fmla="*/ 1219200 h 1219200"/>
              <a:gd name="connsiteX11" fmla="*/ 435429 w 1553029"/>
              <a:gd name="connsiteY11" fmla="*/ 1132114 h 1219200"/>
              <a:gd name="connsiteX12" fmla="*/ 319315 w 1553029"/>
              <a:gd name="connsiteY12" fmla="*/ 1161143 h 1219200"/>
              <a:gd name="connsiteX13" fmla="*/ 319315 w 1553029"/>
              <a:gd name="connsiteY13" fmla="*/ 1045028 h 1219200"/>
              <a:gd name="connsiteX14" fmla="*/ 174172 w 1553029"/>
              <a:gd name="connsiteY14" fmla="*/ 1088571 h 1219200"/>
              <a:gd name="connsiteX15" fmla="*/ 188686 w 1553029"/>
              <a:gd name="connsiteY15" fmla="*/ 957943 h 1219200"/>
              <a:gd name="connsiteX16" fmla="*/ 29029 w 1553029"/>
              <a:gd name="connsiteY16" fmla="*/ 972457 h 1219200"/>
              <a:gd name="connsiteX17" fmla="*/ 101600 w 1553029"/>
              <a:gd name="connsiteY17" fmla="*/ 928914 h 1219200"/>
              <a:gd name="connsiteX18" fmla="*/ 0 w 1553029"/>
              <a:gd name="connsiteY18" fmla="*/ 928914 h 1219200"/>
              <a:gd name="connsiteX19" fmla="*/ 87086 w 1553029"/>
              <a:gd name="connsiteY19" fmla="*/ 856343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53029" h="1219200">
                <a:moveTo>
                  <a:pt x="87086" y="856343"/>
                </a:moveTo>
                <a:lnTo>
                  <a:pt x="1132115" y="0"/>
                </a:lnTo>
                <a:lnTo>
                  <a:pt x="1146629" y="159657"/>
                </a:lnTo>
                <a:lnTo>
                  <a:pt x="1248229" y="116114"/>
                </a:lnTo>
                <a:lnTo>
                  <a:pt x="1233715" y="275771"/>
                </a:lnTo>
                <a:lnTo>
                  <a:pt x="1378858" y="217714"/>
                </a:lnTo>
                <a:lnTo>
                  <a:pt x="1349829" y="348343"/>
                </a:lnTo>
                <a:lnTo>
                  <a:pt x="1451429" y="333828"/>
                </a:lnTo>
                <a:lnTo>
                  <a:pt x="1436915" y="406400"/>
                </a:lnTo>
                <a:lnTo>
                  <a:pt x="1553029" y="377371"/>
                </a:lnTo>
                <a:lnTo>
                  <a:pt x="435429" y="1219200"/>
                </a:lnTo>
                <a:lnTo>
                  <a:pt x="435429" y="1132114"/>
                </a:lnTo>
                <a:lnTo>
                  <a:pt x="319315" y="1161143"/>
                </a:lnTo>
                <a:lnTo>
                  <a:pt x="319315" y="1045028"/>
                </a:lnTo>
                <a:lnTo>
                  <a:pt x="174172" y="1088571"/>
                </a:lnTo>
                <a:lnTo>
                  <a:pt x="188686" y="957943"/>
                </a:lnTo>
                <a:lnTo>
                  <a:pt x="29029" y="972457"/>
                </a:lnTo>
                <a:lnTo>
                  <a:pt x="101600" y="928914"/>
                </a:lnTo>
                <a:lnTo>
                  <a:pt x="0" y="928914"/>
                </a:lnTo>
                <a:lnTo>
                  <a:pt x="87086" y="856343"/>
                </a:lnTo>
                <a:close/>
              </a:path>
            </a:pathLst>
          </a:cu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8" name="Group 12">
            <a:extLst>
              <a:ext uri="{FF2B5EF4-FFF2-40B4-BE49-F238E27FC236}">
                <a16:creationId xmlns:a16="http://schemas.microsoft.com/office/drawing/2014/main" id="{C2A7CB97-43CE-4B38-A4D6-B6F1D897B68C}"/>
              </a:ext>
            </a:extLst>
          </p:cNvPr>
          <p:cNvGrpSpPr/>
          <p:nvPr/>
        </p:nvGrpSpPr>
        <p:grpSpPr>
          <a:xfrm>
            <a:off x="8349472" y="2648033"/>
            <a:ext cx="3341882" cy="3265445"/>
            <a:chOff x="8373218" y="2124185"/>
            <a:chExt cx="3341882" cy="3265445"/>
          </a:xfrm>
        </p:grpSpPr>
        <p:sp>
          <p:nvSpPr>
            <p:cNvPr id="69" name="Oval 71">
              <a:extLst>
                <a:ext uri="{FF2B5EF4-FFF2-40B4-BE49-F238E27FC236}">
                  <a16:creationId xmlns:a16="http://schemas.microsoft.com/office/drawing/2014/main" id="{DE863D1F-323C-4300-A396-36EB30EA279D}"/>
                </a:ext>
              </a:extLst>
            </p:cNvPr>
            <p:cNvSpPr/>
            <p:nvPr/>
          </p:nvSpPr>
          <p:spPr>
            <a:xfrm rot="5400000">
              <a:off x="10060817" y="3317568"/>
              <a:ext cx="2670801" cy="637764"/>
            </a:xfrm>
            <a:prstGeom prst="ellipse">
              <a:avLst/>
            </a:prstGeom>
            <a:solidFill>
              <a:schemeClr val="tx1">
                <a:alpha val="32000"/>
              </a:schemeClr>
            </a:solidFill>
            <a:ln>
              <a:noFill/>
            </a:ln>
            <a:effectLst>
              <a:softEdge rad="190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40">
              <a:extLst>
                <a:ext uri="{FF2B5EF4-FFF2-40B4-BE49-F238E27FC236}">
                  <a16:creationId xmlns:a16="http://schemas.microsoft.com/office/drawing/2014/main" id="{98329B55-243E-4EBA-BDDA-946EE398F433}"/>
                </a:ext>
              </a:extLst>
            </p:cNvPr>
            <p:cNvSpPr/>
            <p:nvPr/>
          </p:nvSpPr>
          <p:spPr>
            <a:xfrm rot="577091">
              <a:off x="9614096" y="4751163"/>
              <a:ext cx="1903479" cy="637764"/>
            </a:xfrm>
            <a:prstGeom prst="rect">
              <a:avLst/>
            </a:prstGeom>
            <a:solidFill>
              <a:schemeClr val="tx1">
                <a:alpha val="32000"/>
              </a:schemeClr>
            </a:solidFill>
            <a:ln>
              <a:noFill/>
            </a:ln>
            <a:effectLst>
              <a:softEdge rad="190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41">
              <a:extLst>
                <a:ext uri="{FF2B5EF4-FFF2-40B4-BE49-F238E27FC236}">
                  <a16:creationId xmlns:a16="http://schemas.microsoft.com/office/drawing/2014/main" id="{C8B701FA-ABE3-49EB-8A30-443E1D0C262C}"/>
                </a:ext>
              </a:extLst>
            </p:cNvPr>
            <p:cNvSpPr/>
            <p:nvPr/>
          </p:nvSpPr>
          <p:spPr>
            <a:xfrm rot="20903281">
              <a:off x="8373218" y="4751866"/>
              <a:ext cx="1903479" cy="637764"/>
            </a:xfrm>
            <a:prstGeom prst="rect">
              <a:avLst/>
            </a:prstGeom>
            <a:solidFill>
              <a:schemeClr val="tx1">
                <a:alpha val="32000"/>
              </a:schemeClr>
            </a:solidFill>
            <a:ln>
              <a:noFill/>
            </a:ln>
            <a:effectLst>
              <a:softEdge rad="190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Freeform: Shape 42">
              <a:extLst>
                <a:ext uri="{FF2B5EF4-FFF2-40B4-BE49-F238E27FC236}">
                  <a16:creationId xmlns:a16="http://schemas.microsoft.com/office/drawing/2014/main" id="{D87AFF20-ECCB-45D9-A590-442E046FFFF8}"/>
                </a:ext>
              </a:extLst>
            </p:cNvPr>
            <p:cNvSpPr/>
            <p:nvPr/>
          </p:nvSpPr>
          <p:spPr>
            <a:xfrm>
              <a:off x="8472181" y="2124185"/>
              <a:ext cx="2976581" cy="3085568"/>
            </a:xfrm>
            <a:custGeom>
              <a:avLst/>
              <a:gdLst>
                <a:gd name="connsiteX0" fmla="*/ 0 w 4403187"/>
                <a:gd name="connsiteY0" fmla="*/ 0 h 4564408"/>
                <a:gd name="connsiteX1" fmla="*/ 301828 w 4403187"/>
                <a:gd name="connsiteY1" fmla="*/ 0 h 4564408"/>
                <a:gd name="connsiteX2" fmla="*/ 301828 w 4403187"/>
                <a:gd name="connsiteY2" fmla="*/ 135355 h 4564408"/>
                <a:gd name="connsiteX3" fmla="*/ 285308 w 4403187"/>
                <a:gd name="connsiteY3" fmla="*/ 138691 h 4564408"/>
                <a:gd name="connsiteX4" fmla="*/ 194445 w 4403187"/>
                <a:gd name="connsiteY4" fmla="*/ 275771 h 4564408"/>
                <a:gd name="connsiteX5" fmla="*/ 343217 w 4403187"/>
                <a:gd name="connsiteY5" fmla="*/ 424542 h 4564408"/>
                <a:gd name="connsiteX6" fmla="*/ 491988 w 4403187"/>
                <a:gd name="connsiteY6" fmla="*/ 275771 h 4564408"/>
                <a:gd name="connsiteX7" fmla="*/ 401125 w 4403187"/>
                <a:gd name="connsiteY7" fmla="*/ 138691 h 4564408"/>
                <a:gd name="connsiteX8" fmla="*/ 384605 w 4403187"/>
                <a:gd name="connsiteY8" fmla="*/ 135355 h 4564408"/>
                <a:gd name="connsiteX9" fmla="*/ 384605 w 4403187"/>
                <a:gd name="connsiteY9" fmla="*/ 0 h 4564408"/>
                <a:gd name="connsiteX10" fmla="*/ 793817 w 4403187"/>
                <a:gd name="connsiteY10" fmla="*/ 0 h 4564408"/>
                <a:gd name="connsiteX11" fmla="*/ 793817 w 4403187"/>
                <a:gd name="connsiteY11" fmla="*/ 135355 h 4564408"/>
                <a:gd name="connsiteX12" fmla="*/ 777297 w 4403187"/>
                <a:gd name="connsiteY12" fmla="*/ 138691 h 4564408"/>
                <a:gd name="connsiteX13" fmla="*/ 686434 w 4403187"/>
                <a:gd name="connsiteY13" fmla="*/ 275771 h 4564408"/>
                <a:gd name="connsiteX14" fmla="*/ 835206 w 4403187"/>
                <a:gd name="connsiteY14" fmla="*/ 424542 h 4564408"/>
                <a:gd name="connsiteX15" fmla="*/ 983977 w 4403187"/>
                <a:gd name="connsiteY15" fmla="*/ 275771 h 4564408"/>
                <a:gd name="connsiteX16" fmla="*/ 893114 w 4403187"/>
                <a:gd name="connsiteY16" fmla="*/ 138691 h 4564408"/>
                <a:gd name="connsiteX17" fmla="*/ 876594 w 4403187"/>
                <a:gd name="connsiteY17" fmla="*/ 135355 h 4564408"/>
                <a:gd name="connsiteX18" fmla="*/ 876594 w 4403187"/>
                <a:gd name="connsiteY18" fmla="*/ 0 h 4564408"/>
                <a:gd name="connsiteX19" fmla="*/ 1285806 w 4403187"/>
                <a:gd name="connsiteY19" fmla="*/ 0 h 4564408"/>
                <a:gd name="connsiteX20" fmla="*/ 1285806 w 4403187"/>
                <a:gd name="connsiteY20" fmla="*/ 135355 h 4564408"/>
                <a:gd name="connsiteX21" fmla="*/ 1269286 w 4403187"/>
                <a:gd name="connsiteY21" fmla="*/ 138691 h 4564408"/>
                <a:gd name="connsiteX22" fmla="*/ 1178423 w 4403187"/>
                <a:gd name="connsiteY22" fmla="*/ 275771 h 4564408"/>
                <a:gd name="connsiteX23" fmla="*/ 1327195 w 4403187"/>
                <a:gd name="connsiteY23" fmla="*/ 424542 h 4564408"/>
                <a:gd name="connsiteX24" fmla="*/ 1475966 w 4403187"/>
                <a:gd name="connsiteY24" fmla="*/ 275771 h 4564408"/>
                <a:gd name="connsiteX25" fmla="*/ 1385103 w 4403187"/>
                <a:gd name="connsiteY25" fmla="*/ 138691 h 4564408"/>
                <a:gd name="connsiteX26" fmla="*/ 1368583 w 4403187"/>
                <a:gd name="connsiteY26" fmla="*/ 135355 h 4564408"/>
                <a:gd name="connsiteX27" fmla="*/ 1368583 w 4403187"/>
                <a:gd name="connsiteY27" fmla="*/ 0 h 4564408"/>
                <a:gd name="connsiteX28" fmla="*/ 1777795 w 4403187"/>
                <a:gd name="connsiteY28" fmla="*/ 0 h 4564408"/>
                <a:gd name="connsiteX29" fmla="*/ 1777795 w 4403187"/>
                <a:gd name="connsiteY29" fmla="*/ 135355 h 4564408"/>
                <a:gd name="connsiteX30" fmla="*/ 1761275 w 4403187"/>
                <a:gd name="connsiteY30" fmla="*/ 138691 h 4564408"/>
                <a:gd name="connsiteX31" fmla="*/ 1670412 w 4403187"/>
                <a:gd name="connsiteY31" fmla="*/ 275771 h 4564408"/>
                <a:gd name="connsiteX32" fmla="*/ 1819184 w 4403187"/>
                <a:gd name="connsiteY32" fmla="*/ 424542 h 4564408"/>
                <a:gd name="connsiteX33" fmla="*/ 1967955 w 4403187"/>
                <a:gd name="connsiteY33" fmla="*/ 275771 h 4564408"/>
                <a:gd name="connsiteX34" fmla="*/ 1877092 w 4403187"/>
                <a:gd name="connsiteY34" fmla="*/ 138691 h 4564408"/>
                <a:gd name="connsiteX35" fmla="*/ 1860572 w 4403187"/>
                <a:gd name="connsiteY35" fmla="*/ 135355 h 4564408"/>
                <a:gd name="connsiteX36" fmla="*/ 1860572 w 4403187"/>
                <a:gd name="connsiteY36" fmla="*/ 0 h 4564408"/>
                <a:gd name="connsiteX37" fmla="*/ 2269784 w 4403187"/>
                <a:gd name="connsiteY37" fmla="*/ 0 h 4564408"/>
                <a:gd name="connsiteX38" fmla="*/ 2269784 w 4403187"/>
                <a:gd name="connsiteY38" fmla="*/ 135355 h 4564408"/>
                <a:gd name="connsiteX39" fmla="*/ 2253264 w 4403187"/>
                <a:gd name="connsiteY39" fmla="*/ 138691 h 4564408"/>
                <a:gd name="connsiteX40" fmla="*/ 2162401 w 4403187"/>
                <a:gd name="connsiteY40" fmla="*/ 275771 h 4564408"/>
                <a:gd name="connsiteX41" fmla="*/ 2311173 w 4403187"/>
                <a:gd name="connsiteY41" fmla="*/ 424542 h 4564408"/>
                <a:gd name="connsiteX42" fmla="*/ 2459944 w 4403187"/>
                <a:gd name="connsiteY42" fmla="*/ 275771 h 4564408"/>
                <a:gd name="connsiteX43" fmla="*/ 2369081 w 4403187"/>
                <a:gd name="connsiteY43" fmla="*/ 138691 h 4564408"/>
                <a:gd name="connsiteX44" fmla="*/ 2352561 w 4403187"/>
                <a:gd name="connsiteY44" fmla="*/ 135355 h 4564408"/>
                <a:gd name="connsiteX45" fmla="*/ 2352561 w 4403187"/>
                <a:gd name="connsiteY45" fmla="*/ 0 h 4564408"/>
                <a:gd name="connsiteX46" fmla="*/ 2761773 w 4403187"/>
                <a:gd name="connsiteY46" fmla="*/ 0 h 4564408"/>
                <a:gd name="connsiteX47" fmla="*/ 2761773 w 4403187"/>
                <a:gd name="connsiteY47" fmla="*/ 135355 h 4564408"/>
                <a:gd name="connsiteX48" fmla="*/ 2745253 w 4403187"/>
                <a:gd name="connsiteY48" fmla="*/ 138691 h 4564408"/>
                <a:gd name="connsiteX49" fmla="*/ 2654390 w 4403187"/>
                <a:gd name="connsiteY49" fmla="*/ 275771 h 4564408"/>
                <a:gd name="connsiteX50" fmla="*/ 2803162 w 4403187"/>
                <a:gd name="connsiteY50" fmla="*/ 424542 h 4564408"/>
                <a:gd name="connsiteX51" fmla="*/ 2951933 w 4403187"/>
                <a:gd name="connsiteY51" fmla="*/ 275771 h 4564408"/>
                <a:gd name="connsiteX52" fmla="*/ 2861070 w 4403187"/>
                <a:gd name="connsiteY52" fmla="*/ 138691 h 4564408"/>
                <a:gd name="connsiteX53" fmla="*/ 2844550 w 4403187"/>
                <a:gd name="connsiteY53" fmla="*/ 135355 h 4564408"/>
                <a:gd name="connsiteX54" fmla="*/ 2844550 w 4403187"/>
                <a:gd name="connsiteY54" fmla="*/ 0 h 4564408"/>
                <a:gd name="connsiteX55" fmla="*/ 3253762 w 4403187"/>
                <a:gd name="connsiteY55" fmla="*/ 0 h 4564408"/>
                <a:gd name="connsiteX56" fmla="*/ 3253762 w 4403187"/>
                <a:gd name="connsiteY56" fmla="*/ 135355 h 4564408"/>
                <a:gd name="connsiteX57" fmla="*/ 3237242 w 4403187"/>
                <a:gd name="connsiteY57" fmla="*/ 138691 h 4564408"/>
                <a:gd name="connsiteX58" fmla="*/ 3146379 w 4403187"/>
                <a:gd name="connsiteY58" fmla="*/ 275771 h 4564408"/>
                <a:gd name="connsiteX59" fmla="*/ 3295151 w 4403187"/>
                <a:gd name="connsiteY59" fmla="*/ 424542 h 4564408"/>
                <a:gd name="connsiteX60" fmla="*/ 3443922 w 4403187"/>
                <a:gd name="connsiteY60" fmla="*/ 275771 h 4564408"/>
                <a:gd name="connsiteX61" fmla="*/ 3353059 w 4403187"/>
                <a:gd name="connsiteY61" fmla="*/ 138691 h 4564408"/>
                <a:gd name="connsiteX62" fmla="*/ 3336539 w 4403187"/>
                <a:gd name="connsiteY62" fmla="*/ 135355 h 4564408"/>
                <a:gd name="connsiteX63" fmla="*/ 3336539 w 4403187"/>
                <a:gd name="connsiteY63" fmla="*/ 0 h 4564408"/>
                <a:gd name="connsiteX64" fmla="*/ 3745751 w 4403187"/>
                <a:gd name="connsiteY64" fmla="*/ 0 h 4564408"/>
                <a:gd name="connsiteX65" fmla="*/ 3745751 w 4403187"/>
                <a:gd name="connsiteY65" fmla="*/ 135355 h 4564408"/>
                <a:gd name="connsiteX66" fmla="*/ 3729231 w 4403187"/>
                <a:gd name="connsiteY66" fmla="*/ 138691 h 4564408"/>
                <a:gd name="connsiteX67" fmla="*/ 3638368 w 4403187"/>
                <a:gd name="connsiteY67" fmla="*/ 275771 h 4564408"/>
                <a:gd name="connsiteX68" fmla="*/ 3787140 w 4403187"/>
                <a:gd name="connsiteY68" fmla="*/ 424542 h 4564408"/>
                <a:gd name="connsiteX69" fmla="*/ 3935911 w 4403187"/>
                <a:gd name="connsiteY69" fmla="*/ 275771 h 4564408"/>
                <a:gd name="connsiteX70" fmla="*/ 3845048 w 4403187"/>
                <a:gd name="connsiteY70" fmla="*/ 138691 h 4564408"/>
                <a:gd name="connsiteX71" fmla="*/ 3828528 w 4403187"/>
                <a:gd name="connsiteY71" fmla="*/ 135355 h 4564408"/>
                <a:gd name="connsiteX72" fmla="*/ 3828528 w 4403187"/>
                <a:gd name="connsiteY72" fmla="*/ 0 h 4564408"/>
                <a:gd name="connsiteX73" fmla="*/ 4403187 w 4403187"/>
                <a:gd name="connsiteY73" fmla="*/ 0 h 4564408"/>
                <a:gd name="connsiteX74" fmla="*/ 4403187 w 4403187"/>
                <a:gd name="connsiteY74" fmla="*/ 4564408 h 4564408"/>
                <a:gd name="connsiteX75" fmla="*/ 0 w 4403187"/>
                <a:gd name="connsiteY75" fmla="*/ 4564408 h 456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4403187" h="4564408">
                  <a:moveTo>
                    <a:pt x="0" y="0"/>
                  </a:moveTo>
                  <a:lnTo>
                    <a:pt x="301828" y="0"/>
                  </a:lnTo>
                  <a:lnTo>
                    <a:pt x="301828" y="135355"/>
                  </a:lnTo>
                  <a:lnTo>
                    <a:pt x="285308" y="138691"/>
                  </a:lnTo>
                  <a:cubicBezTo>
                    <a:pt x="231912" y="161275"/>
                    <a:pt x="194445" y="214148"/>
                    <a:pt x="194445" y="275771"/>
                  </a:cubicBezTo>
                  <a:cubicBezTo>
                    <a:pt x="194445" y="357935"/>
                    <a:pt x="261053" y="424542"/>
                    <a:pt x="343217" y="424542"/>
                  </a:cubicBezTo>
                  <a:cubicBezTo>
                    <a:pt x="425381" y="424542"/>
                    <a:pt x="491988" y="357935"/>
                    <a:pt x="491988" y="275771"/>
                  </a:cubicBezTo>
                  <a:cubicBezTo>
                    <a:pt x="491988" y="214148"/>
                    <a:pt x="454522" y="161275"/>
                    <a:pt x="401125" y="138691"/>
                  </a:cubicBezTo>
                  <a:lnTo>
                    <a:pt x="384605" y="135355"/>
                  </a:lnTo>
                  <a:lnTo>
                    <a:pt x="384605" y="0"/>
                  </a:lnTo>
                  <a:lnTo>
                    <a:pt x="793817" y="0"/>
                  </a:lnTo>
                  <a:lnTo>
                    <a:pt x="793817" y="135355"/>
                  </a:lnTo>
                  <a:lnTo>
                    <a:pt x="777297" y="138691"/>
                  </a:lnTo>
                  <a:cubicBezTo>
                    <a:pt x="723901" y="161275"/>
                    <a:pt x="686434" y="214148"/>
                    <a:pt x="686434" y="275771"/>
                  </a:cubicBezTo>
                  <a:cubicBezTo>
                    <a:pt x="686434" y="357935"/>
                    <a:pt x="753042" y="424542"/>
                    <a:pt x="835206" y="424542"/>
                  </a:cubicBezTo>
                  <a:cubicBezTo>
                    <a:pt x="917370" y="424542"/>
                    <a:pt x="983977" y="357935"/>
                    <a:pt x="983977" y="275771"/>
                  </a:cubicBezTo>
                  <a:cubicBezTo>
                    <a:pt x="983977" y="214148"/>
                    <a:pt x="946511" y="161275"/>
                    <a:pt x="893114" y="138691"/>
                  </a:cubicBezTo>
                  <a:lnTo>
                    <a:pt x="876594" y="135355"/>
                  </a:lnTo>
                  <a:lnTo>
                    <a:pt x="876594" y="0"/>
                  </a:lnTo>
                  <a:lnTo>
                    <a:pt x="1285806" y="0"/>
                  </a:lnTo>
                  <a:lnTo>
                    <a:pt x="1285806" y="135355"/>
                  </a:lnTo>
                  <a:lnTo>
                    <a:pt x="1269286" y="138691"/>
                  </a:lnTo>
                  <a:cubicBezTo>
                    <a:pt x="1215890" y="161275"/>
                    <a:pt x="1178423" y="214148"/>
                    <a:pt x="1178423" y="275771"/>
                  </a:cubicBezTo>
                  <a:cubicBezTo>
                    <a:pt x="1178423" y="357935"/>
                    <a:pt x="1245031" y="424542"/>
                    <a:pt x="1327195" y="424542"/>
                  </a:cubicBezTo>
                  <a:cubicBezTo>
                    <a:pt x="1409359" y="424542"/>
                    <a:pt x="1475966" y="357935"/>
                    <a:pt x="1475966" y="275771"/>
                  </a:cubicBezTo>
                  <a:cubicBezTo>
                    <a:pt x="1475966" y="214148"/>
                    <a:pt x="1438500" y="161275"/>
                    <a:pt x="1385103" y="138691"/>
                  </a:cubicBezTo>
                  <a:lnTo>
                    <a:pt x="1368583" y="135355"/>
                  </a:lnTo>
                  <a:lnTo>
                    <a:pt x="1368583" y="0"/>
                  </a:lnTo>
                  <a:lnTo>
                    <a:pt x="1777795" y="0"/>
                  </a:lnTo>
                  <a:lnTo>
                    <a:pt x="1777795" y="135355"/>
                  </a:lnTo>
                  <a:lnTo>
                    <a:pt x="1761275" y="138691"/>
                  </a:lnTo>
                  <a:cubicBezTo>
                    <a:pt x="1707879" y="161275"/>
                    <a:pt x="1670412" y="214148"/>
                    <a:pt x="1670412" y="275771"/>
                  </a:cubicBezTo>
                  <a:cubicBezTo>
                    <a:pt x="1670412" y="357935"/>
                    <a:pt x="1737020" y="424542"/>
                    <a:pt x="1819184" y="424542"/>
                  </a:cubicBezTo>
                  <a:cubicBezTo>
                    <a:pt x="1901348" y="424542"/>
                    <a:pt x="1967955" y="357935"/>
                    <a:pt x="1967955" y="275771"/>
                  </a:cubicBezTo>
                  <a:cubicBezTo>
                    <a:pt x="1967955" y="214148"/>
                    <a:pt x="1930489" y="161275"/>
                    <a:pt x="1877092" y="138691"/>
                  </a:cubicBezTo>
                  <a:lnTo>
                    <a:pt x="1860572" y="135355"/>
                  </a:lnTo>
                  <a:lnTo>
                    <a:pt x="1860572" y="0"/>
                  </a:lnTo>
                  <a:lnTo>
                    <a:pt x="2269784" y="0"/>
                  </a:lnTo>
                  <a:lnTo>
                    <a:pt x="2269784" y="135355"/>
                  </a:lnTo>
                  <a:lnTo>
                    <a:pt x="2253264" y="138691"/>
                  </a:lnTo>
                  <a:cubicBezTo>
                    <a:pt x="2199868" y="161275"/>
                    <a:pt x="2162401" y="214148"/>
                    <a:pt x="2162401" y="275771"/>
                  </a:cubicBezTo>
                  <a:cubicBezTo>
                    <a:pt x="2162401" y="357935"/>
                    <a:pt x="2229009" y="424542"/>
                    <a:pt x="2311173" y="424542"/>
                  </a:cubicBezTo>
                  <a:cubicBezTo>
                    <a:pt x="2393337" y="424542"/>
                    <a:pt x="2459944" y="357935"/>
                    <a:pt x="2459944" y="275771"/>
                  </a:cubicBezTo>
                  <a:cubicBezTo>
                    <a:pt x="2459944" y="214148"/>
                    <a:pt x="2422478" y="161275"/>
                    <a:pt x="2369081" y="138691"/>
                  </a:cubicBezTo>
                  <a:lnTo>
                    <a:pt x="2352561" y="135355"/>
                  </a:lnTo>
                  <a:lnTo>
                    <a:pt x="2352561" y="0"/>
                  </a:lnTo>
                  <a:lnTo>
                    <a:pt x="2761773" y="0"/>
                  </a:lnTo>
                  <a:lnTo>
                    <a:pt x="2761773" y="135355"/>
                  </a:lnTo>
                  <a:lnTo>
                    <a:pt x="2745253" y="138691"/>
                  </a:lnTo>
                  <a:cubicBezTo>
                    <a:pt x="2691857" y="161275"/>
                    <a:pt x="2654390" y="214148"/>
                    <a:pt x="2654390" y="275771"/>
                  </a:cubicBezTo>
                  <a:cubicBezTo>
                    <a:pt x="2654390" y="357935"/>
                    <a:pt x="2720998" y="424542"/>
                    <a:pt x="2803162" y="424542"/>
                  </a:cubicBezTo>
                  <a:cubicBezTo>
                    <a:pt x="2885326" y="424542"/>
                    <a:pt x="2951933" y="357935"/>
                    <a:pt x="2951933" y="275771"/>
                  </a:cubicBezTo>
                  <a:cubicBezTo>
                    <a:pt x="2951933" y="214148"/>
                    <a:pt x="2914467" y="161275"/>
                    <a:pt x="2861070" y="138691"/>
                  </a:cubicBezTo>
                  <a:lnTo>
                    <a:pt x="2844550" y="135355"/>
                  </a:lnTo>
                  <a:lnTo>
                    <a:pt x="2844550" y="0"/>
                  </a:lnTo>
                  <a:lnTo>
                    <a:pt x="3253762" y="0"/>
                  </a:lnTo>
                  <a:lnTo>
                    <a:pt x="3253762" y="135355"/>
                  </a:lnTo>
                  <a:lnTo>
                    <a:pt x="3237242" y="138691"/>
                  </a:lnTo>
                  <a:cubicBezTo>
                    <a:pt x="3183846" y="161275"/>
                    <a:pt x="3146379" y="214148"/>
                    <a:pt x="3146379" y="275771"/>
                  </a:cubicBezTo>
                  <a:cubicBezTo>
                    <a:pt x="3146379" y="357935"/>
                    <a:pt x="3212987" y="424542"/>
                    <a:pt x="3295151" y="424542"/>
                  </a:cubicBezTo>
                  <a:cubicBezTo>
                    <a:pt x="3377315" y="424542"/>
                    <a:pt x="3443922" y="357935"/>
                    <a:pt x="3443922" y="275771"/>
                  </a:cubicBezTo>
                  <a:cubicBezTo>
                    <a:pt x="3443922" y="214148"/>
                    <a:pt x="3406456" y="161275"/>
                    <a:pt x="3353059" y="138691"/>
                  </a:cubicBezTo>
                  <a:lnTo>
                    <a:pt x="3336539" y="135355"/>
                  </a:lnTo>
                  <a:lnTo>
                    <a:pt x="3336539" y="0"/>
                  </a:lnTo>
                  <a:lnTo>
                    <a:pt x="3745751" y="0"/>
                  </a:lnTo>
                  <a:lnTo>
                    <a:pt x="3745751" y="135355"/>
                  </a:lnTo>
                  <a:lnTo>
                    <a:pt x="3729231" y="138691"/>
                  </a:lnTo>
                  <a:cubicBezTo>
                    <a:pt x="3675835" y="161275"/>
                    <a:pt x="3638368" y="214148"/>
                    <a:pt x="3638368" y="275771"/>
                  </a:cubicBezTo>
                  <a:cubicBezTo>
                    <a:pt x="3638368" y="357935"/>
                    <a:pt x="3704976" y="424542"/>
                    <a:pt x="3787140" y="424542"/>
                  </a:cubicBezTo>
                  <a:cubicBezTo>
                    <a:pt x="3869304" y="424542"/>
                    <a:pt x="3935911" y="357935"/>
                    <a:pt x="3935911" y="275771"/>
                  </a:cubicBezTo>
                  <a:cubicBezTo>
                    <a:pt x="3935911" y="214148"/>
                    <a:pt x="3898445" y="161275"/>
                    <a:pt x="3845048" y="138691"/>
                  </a:cubicBezTo>
                  <a:lnTo>
                    <a:pt x="3828528" y="135355"/>
                  </a:lnTo>
                  <a:lnTo>
                    <a:pt x="3828528" y="0"/>
                  </a:lnTo>
                  <a:lnTo>
                    <a:pt x="4403187" y="0"/>
                  </a:lnTo>
                  <a:lnTo>
                    <a:pt x="4403187" y="4564408"/>
                  </a:lnTo>
                  <a:lnTo>
                    <a:pt x="0" y="4564408"/>
                  </a:lnTo>
                  <a:close/>
                </a:path>
              </a:pathLst>
            </a:custGeom>
            <a:solidFill>
              <a:srgbClr val="F7F0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43">
              <a:extLst>
                <a:ext uri="{FF2B5EF4-FFF2-40B4-BE49-F238E27FC236}">
                  <a16:creationId xmlns:a16="http://schemas.microsoft.com/office/drawing/2014/main" id="{3FC6BE08-772D-4F57-B12B-91F5385EF62F}"/>
                </a:ext>
              </a:extLst>
            </p:cNvPr>
            <p:cNvSpPr/>
            <p:nvPr/>
          </p:nvSpPr>
          <p:spPr>
            <a:xfrm>
              <a:off x="8472179" y="2521334"/>
              <a:ext cx="2976582" cy="667199"/>
            </a:xfrm>
            <a:prstGeom prst="rect">
              <a:avLst/>
            </a:prstGeom>
            <a:solidFill>
              <a:srgbClr val="D60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TextBox 44">
              <a:extLst>
                <a:ext uri="{FF2B5EF4-FFF2-40B4-BE49-F238E27FC236}">
                  <a16:creationId xmlns:a16="http://schemas.microsoft.com/office/drawing/2014/main" id="{881836C5-244A-4E29-BE3C-0C68056D15BD}"/>
                </a:ext>
              </a:extLst>
            </p:cNvPr>
            <p:cNvSpPr txBox="1"/>
            <p:nvPr/>
          </p:nvSpPr>
          <p:spPr>
            <a:xfrm>
              <a:off x="10321405" y="2564356"/>
              <a:ext cx="950746" cy="646331"/>
            </a:xfrm>
            <a:prstGeom prst="rect">
              <a:avLst/>
            </a:prstGeom>
            <a:noFill/>
          </p:spPr>
          <p:txBody>
            <a:bodyPr wrap="square" rtlCol="0">
              <a:spAutoFit/>
            </a:bodyPr>
            <a:lstStyle/>
            <a:p>
              <a:pPr algn="r"/>
              <a:r>
                <a:rPr lang="en-US" sz="3600" spc="300" dirty="0">
                  <a:solidFill>
                    <a:schemeClr val="bg1"/>
                  </a:solidFill>
                  <a:latin typeface="Oswald" panose="02000503000000000000" pitchFamily="2" charset="0"/>
                </a:rPr>
                <a:t>03</a:t>
              </a:r>
            </a:p>
          </p:txBody>
        </p:sp>
        <p:grpSp>
          <p:nvGrpSpPr>
            <p:cNvPr id="75" name="Group 45">
              <a:extLst>
                <a:ext uri="{FF2B5EF4-FFF2-40B4-BE49-F238E27FC236}">
                  <a16:creationId xmlns:a16="http://schemas.microsoft.com/office/drawing/2014/main" id="{B6E0D720-D90E-4D29-9A31-6CC5F86B2F7D}"/>
                </a:ext>
              </a:extLst>
            </p:cNvPr>
            <p:cNvGrpSpPr/>
            <p:nvPr/>
          </p:nvGrpSpPr>
          <p:grpSpPr>
            <a:xfrm>
              <a:off x="8734002" y="3666969"/>
              <a:ext cx="2452936" cy="1118539"/>
              <a:chOff x="1016001" y="3614225"/>
              <a:chExt cx="3628571" cy="1654628"/>
            </a:xfrm>
          </p:grpSpPr>
          <p:cxnSp>
            <p:nvCxnSpPr>
              <p:cNvPr id="78" name="Straight Connector 49">
                <a:extLst>
                  <a:ext uri="{FF2B5EF4-FFF2-40B4-BE49-F238E27FC236}">
                    <a16:creationId xmlns:a16="http://schemas.microsoft.com/office/drawing/2014/main" id="{1D9036FA-0D98-4718-A032-9872E0A112E2}"/>
                  </a:ext>
                </a:extLst>
              </p:cNvPr>
              <p:cNvCxnSpPr/>
              <p:nvPr/>
            </p:nvCxnSpPr>
            <p:spPr>
              <a:xfrm>
                <a:off x="1016001" y="3614225"/>
                <a:ext cx="3628571" cy="0"/>
              </a:xfrm>
              <a:prstGeom prst="line">
                <a:avLst/>
              </a:prstGeom>
              <a:ln>
                <a:solidFill>
                  <a:schemeClr val="bg1">
                    <a:lumMod val="65000"/>
                    <a:alpha val="44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50">
                <a:extLst>
                  <a:ext uri="{FF2B5EF4-FFF2-40B4-BE49-F238E27FC236}">
                    <a16:creationId xmlns:a16="http://schemas.microsoft.com/office/drawing/2014/main" id="{EBA0527D-9CD1-4C56-9F8B-19C96500DB77}"/>
                  </a:ext>
                </a:extLst>
              </p:cNvPr>
              <p:cNvCxnSpPr/>
              <p:nvPr/>
            </p:nvCxnSpPr>
            <p:spPr>
              <a:xfrm>
                <a:off x="1016001" y="4027882"/>
                <a:ext cx="3628571" cy="0"/>
              </a:xfrm>
              <a:prstGeom prst="line">
                <a:avLst/>
              </a:prstGeom>
              <a:ln>
                <a:solidFill>
                  <a:schemeClr val="bg1">
                    <a:lumMod val="65000"/>
                    <a:alpha val="44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51">
                <a:extLst>
                  <a:ext uri="{FF2B5EF4-FFF2-40B4-BE49-F238E27FC236}">
                    <a16:creationId xmlns:a16="http://schemas.microsoft.com/office/drawing/2014/main" id="{CED2936D-0B67-4B61-8CAD-8DDF9B3AD4FE}"/>
                  </a:ext>
                </a:extLst>
              </p:cNvPr>
              <p:cNvCxnSpPr/>
              <p:nvPr/>
            </p:nvCxnSpPr>
            <p:spPr>
              <a:xfrm>
                <a:off x="1016001" y="4441539"/>
                <a:ext cx="3628571" cy="0"/>
              </a:xfrm>
              <a:prstGeom prst="line">
                <a:avLst/>
              </a:prstGeom>
              <a:ln>
                <a:solidFill>
                  <a:schemeClr val="bg1">
                    <a:lumMod val="65000"/>
                    <a:alpha val="44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52">
                <a:extLst>
                  <a:ext uri="{FF2B5EF4-FFF2-40B4-BE49-F238E27FC236}">
                    <a16:creationId xmlns:a16="http://schemas.microsoft.com/office/drawing/2014/main" id="{76B2827B-038F-4319-8FD2-B4652C345C66}"/>
                  </a:ext>
                </a:extLst>
              </p:cNvPr>
              <p:cNvCxnSpPr/>
              <p:nvPr/>
            </p:nvCxnSpPr>
            <p:spPr>
              <a:xfrm>
                <a:off x="1016001" y="4855196"/>
                <a:ext cx="3628571" cy="0"/>
              </a:xfrm>
              <a:prstGeom prst="line">
                <a:avLst/>
              </a:prstGeom>
              <a:ln>
                <a:solidFill>
                  <a:schemeClr val="bg1">
                    <a:lumMod val="65000"/>
                    <a:alpha val="44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53">
                <a:extLst>
                  <a:ext uri="{FF2B5EF4-FFF2-40B4-BE49-F238E27FC236}">
                    <a16:creationId xmlns:a16="http://schemas.microsoft.com/office/drawing/2014/main" id="{87282065-247A-48C3-862E-0BF3E88F4137}"/>
                  </a:ext>
                </a:extLst>
              </p:cNvPr>
              <p:cNvCxnSpPr/>
              <p:nvPr/>
            </p:nvCxnSpPr>
            <p:spPr>
              <a:xfrm>
                <a:off x="1016001" y="5268853"/>
                <a:ext cx="3628571" cy="0"/>
              </a:xfrm>
              <a:prstGeom prst="line">
                <a:avLst/>
              </a:prstGeom>
              <a:ln>
                <a:solidFill>
                  <a:schemeClr val="bg1">
                    <a:lumMod val="65000"/>
                    <a:alpha val="44000"/>
                  </a:schemeClr>
                </a:solidFill>
              </a:ln>
            </p:spPr>
            <p:style>
              <a:lnRef idx="1">
                <a:schemeClr val="accent1"/>
              </a:lnRef>
              <a:fillRef idx="0">
                <a:schemeClr val="accent1"/>
              </a:fillRef>
              <a:effectRef idx="0">
                <a:schemeClr val="accent1"/>
              </a:effectRef>
              <a:fontRef idx="minor">
                <a:schemeClr val="tx1"/>
              </a:fontRef>
            </p:style>
          </p:cxnSp>
        </p:grpSp>
        <p:sp>
          <p:nvSpPr>
            <p:cNvPr id="76" name="TextBox 46">
              <a:extLst>
                <a:ext uri="{FF2B5EF4-FFF2-40B4-BE49-F238E27FC236}">
                  <a16:creationId xmlns:a16="http://schemas.microsoft.com/office/drawing/2014/main" id="{F3637A46-930B-45C2-BEC9-83367DBAFC18}"/>
                </a:ext>
              </a:extLst>
            </p:cNvPr>
            <p:cNvSpPr txBox="1"/>
            <p:nvPr/>
          </p:nvSpPr>
          <p:spPr>
            <a:xfrm>
              <a:off x="8450961" y="3164960"/>
              <a:ext cx="2976581" cy="584775"/>
            </a:xfrm>
            <a:prstGeom prst="rect">
              <a:avLst/>
            </a:prstGeom>
            <a:noFill/>
          </p:spPr>
          <p:txBody>
            <a:bodyPr wrap="square" rtlCol="0">
              <a:spAutoFit/>
            </a:bodyPr>
            <a:lstStyle/>
            <a:p>
              <a:pPr algn="ctr"/>
              <a:r>
                <a:rPr lang="en-US" sz="1600" b="1" dirty="0">
                  <a:solidFill>
                    <a:srgbClr val="D60093"/>
                  </a:solidFill>
                  <a:latin typeface="Century Gothic" panose="020B0502020202020204" pitchFamily="34" charset="0"/>
                </a:rPr>
                <a:t>COLABORACIÓN CON PYMES </a:t>
              </a:r>
            </a:p>
          </p:txBody>
        </p:sp>
        <p:sp>
          <p:nvSpPr>
            <p:cNvPr id="77" name="TextBox 47">
              <a:extLst>
                <a:ext uri="{FF2B5EF4-FFF2-40B4-BE49-F238E27FC236}">
                  <a16:creationId xmlns:a16="http://schemas.microsoft.com/office/drawing/2014/main" id="{624F4967-163F-4AD5-9FFA-9B1BD597252C}"/>
                </a:ext>
              </a:extLst>
            </p:cNvPr>
            <p:cNvSpPr txBox="1"/>
            <p:nvPr/>
          </p:nvSpPr>
          <p:spPr>
            <a:xfrm>
              <a:off x="8475702" y="3841914"/>
              <a:ext cx="2947716" cy="1384995"/>
            </a:xfrm>
            <a:prstGeom prst="rect">
              <a:avLst/>
            </a:prstGeom>
            <a:noFill/>
          </p:spPr>
          <p:txBody>
            <a:bodyPr wrap="square" rtlCol="0">
              <a:spAutoFit/>
            </a:bodyPr>
            <a:lstStyle/>
            <a:p>
              <a:pPr algn="just">
                <a:lnSpc>
                  <a:spcPct val="200000"/>
                </a:lnSpc>
              </a:pPr>
              <a:r>
                <a:rPr lang="es-ES" sz="1400" dirty="0">
                  <a:solidFill>
                    <a:schemeClr val="bg1">
                      <a:lumMod val="50000"/>
                    </a:schemeClr>
                  </a:solidFill>
                  <a:latin typeface="Hand Of Sean" panose="02000500000000000000" pitchFamily="2" charset="-128"/>
                  <a:ea typeface="Hand Of Sean" panose="02000500000000000000" pitchFamily="2" charset="-128"/>
                </a:rPr>
                <a:t>Colaboración con </a:t>
              </a:r>
              <a:r>
                <a:rPr lang="es-ES" sz="1400" dirty="0" err="1">
                  <a:solidFill>
                    <a:schemeClr val="bg1">
                      <a:lumMod val="50000"/>
                    </a:schemeClr>
                  </a:solidFill>
                  <a:latin typeface="Hand Of Sean" panose="02000500000000000000" pitchFamily="2" charset="-128"/>
                  <a:ea typeface="Hand Of Sean" panose="02000500000000000000" pitchFamily="2" charset="-128"/>
                </a:rPr>
                <a:t>PYMEs</a:t>
              </a:r>
              <a:r>
                <a:rPr lang="es-ES" sz="1400" dirty="0">
                  <a:solidFill>
                    <a:schemeClr val="bg1">
                      <a:lumMod val="50000"/>
                    </a:schemeClr>
                  </a:solidFill>
                  <a:latin typeface="Hand Of Sean" panose="02000500000000000000" pitchFamily="2" charset="-128"/>
                  <a:ea typeface="Hand Of Sean" panose="02000500000000000000" pitchFamily="2" charset="-128"/>
                </a:rPr>
                <a:t> y especialmente </a:t>
              </a:r>
              <a:r>
                <a:rPr lang="es-ES" sz="1400" dirty="0" err="1">
                  <a:solidFill>
                    <a:schemeClr val="bg1">
                      <a:lumMod val="50000"/>
                    </a:schemeClr>
                  </a:solidFill>
                  <a:latin typeface="Hand Of Sean" panose="02000500000000000000" pitchFamily="2" charset="-128"/>
                  <a:ea typeface="Hand Of Sean" panose="02000500000000000000" pitchFamily="2" charset="-128"/>
                </a:rPr>
                <a:t>micropymes</a:t>
              </a:r>
              <a:r>
                <a:rPr lang="es-ES" sz="1400" dirty="0">
                  <a:solidFill>
                    <a:schemeClr val="bg1">
                      <a:lumMod val="50000"/>
                    </a:schemeClr>
                  </a:solidFill>
                  <a:latin typeface="Hand Of Sean" panose="02000500000000000000" pitchFamily="2" charset="-128"/>
                  <a:ea typeface="Hand Of Sean" panose="02000500000000000000" pitchFamily="2" charset="-128"/>
                </a:rPr>
                <a:t>, para mejora de competitividad: ensayos, testeos,...</a:t>
              </a:r>
            </a:p>
          </p:txBody>
        </p:sp>
      </p:grpSp>
      <p:sp>
        <p:nvSpPr>
          <p:cNvPr id="83" name="Freeform: Shape 48">
            <a:extLst>
              <a:ext uri="{FF2B5EF4-FFF2-40B4-BE49-F238E27FC236}">
                <a16:creationId xmlns:a16="http://schemas.microsoft.com/office/drawing/2014/main" id="{6324583B-A47C-4502-A6BB-A5EB98D165A6}"/>
              </a:ext>
            </a:extLst>
          </p:cNvPr>
          <p:cNvSpPr/>
          <p:nvPr/>
        </p:nvSpPr>
        <p:spPr>
          <a:xfrm>
            <a:off x="7999040" y="2225142"/>
            <a:ext cx="1195295" cy="972660"/>
          </a:xfrm>
          <a:custGeom>
            <a:avLst/>
            <a:gdLst>
              <a:gd name="connsiteX0" fmla="*/ 87086 w 1553029"/>
              <a:gd name="connsiteY0" fmla="*/ 856343 h 1219200"/>
              <a:gd name="connsiteX1" fmla="*/ 1132115 w 1553029"/>
              <a:gd name="connsiteY1" fmla="*/ 0 h 1219200"/>
              <a:gd name="connsiteX2" fmla="*/ 1146629 w 1553029"/>
              <a:gd name="connsiteY2" fmla="*/ 159657 h 1219200"/>
              <a:gd name="connsiteX3" fmla="*/ 1248229 w 1553029"/>
              <a:gd name="connsiteY3" fmla="*/ 116114 h 1219200"/>
              <a:gd name="connsiteX4" fmla="*/ 1233715 w 1553029"/>
              <a:gd name="connsiteY4" fmla="*/ 275771 h 1219200"/>
              <a:gd name="connsiteX5" fmla="*/ 1378858 w 1553029"/>
              <a:gd name="connsiteY5" fmla="*/ 217714 h 1219200"/>
              <a:gd name="connsiteX6" fmla="*/ 1349829 w 1553029"/>
              <a:gd name="connsiteY6" fmla="*/ 348343 h 1219200"/>
              <a:gd name="connsiteX7" fmla="*/ 1451429 w 1553029"/>
              <a:gd name="connsiteY7" fmla="*/ 333828 h 1219200"/>
              <a:gd name="connsiteX8" fmla="*/ 1436915 w 1553029"/>
              <a:gd name="connsiteY8" fmla="*/ 406400 h 1219200"/>
              <a:gd name="connsiteX9" fmla="*/ 1553029 w 1553029"/>
              <a:gd name="connsiteY9" fmla="*/ 377371 h 1219200"/>
              <a:gd name="connsiteX10" fmla="*/ 435429 w 1553029"/>
              <a:gd name="connsiteY10" fmla="*/ 1219200 h 1219200"/>
              <a:gd name="connsiteX11" fmla="*/ 435429 w 1553029"/>
              <a:gd name="connsiteY11" fmla="*/ 1132114 h 1219200"/>
              <a:gd name="connsiteX12" fmla="*/ 319315 w 1553029"/>
              <a:gd name="connsiteY12" fmla="*/ 1161143 h 1219200"/>
              <a:gd name="connsiteX13" fmla="*/ 319315 w 1553029"/>
              <a:gd name="connsiteY13" fmla="*/ 1045028 h 1219200"/>
              <a:gd name="connsiteX14" fmla="*/ 174172 w 1553029"/>
              <a:gd name="connsiteY14" fmla="*/ 1088571 h 1219200"/>
              <a:gd name="connsiteX15" fmla="*/ 188686 w 1553029"/>
              <a:gd name="connsiteY15" fmla="*/ 957943 h 1219200"/>
              <a:gd name="connsiteX16" fmla="*/ 29029 w 1553029"/>
              <a:gd name="connsiteY16" fmla="*/ 972457 h 1219200"/>
              <a:gd name="connsiteX17" fmla="*/ 101600 w 1553029"/>
              <a:gd name="connsiteY17" fmla="*/ 928914 h 1219200"/>
              <a:gd name="connsiteX18" fmla="*/ 0 w 1553029"/>
              <a:gd name="connsiteY18" fmla="*/ 928914 h 1219200"/>
              <a:gd name="connsiteX19" fmla="*/ 87086 w 1553029"/>
              <a:gd name="connsiteY19" fmla="*/ 856343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53029" h="1219200">
                <a:moveTo>
                  <a:pt x="87086" y="856343"/>
                </a:moveTo>
                <a:lnTo>
                  <a:pt x="1132115" y="0"/>
                </a:lnTo>
                <a:lnTo>
                  <a:pt x="1146629" y="159657"/>
                </a:lnTo>
                <a:lnTo>
                  <a:pt x="1248229" y="116114"/>
                </a:lnTo>
                <a:lnTo>
                  <a:pt x="1233715" y="275771"/>
                </a:lnTo>
                <a:lnTo>
                  <a:pt x="1378858" y="217714"/>
                </a:lnTo>
                <a:lnTo>
                  <a:pt x="1349829" y="348343"/>
                </a:lnTo>
                <a:lnTo>
                  <a:pt x="1451429" y="333828"/>
                </a:lnTo>
                <a:lnTo>
                  <a:pt x="1436915" y="406400"/>
                </a:lnTo>
                <a:lnTo>
                  <a:pt x="1553029" y="377371"/>
                </a:lnTo>
                <a:lnTo>
                  <a:pt x="435429" y="1219200"/>
                </a:lnTo>
                <a:lnTo>
                  <a:pt x="435429" y="1132114"/>
                </a:lnTo>
                <a:lnTo>
                  <a:pt x="319315" y="1161143"/>
                </a:lnTo>
                <a:lnTo>
                  <a:pt x="319315" y="1045028"/>
                </a:lnTo>
                <a:lnTo>
                  <a:pt x="174172" y="1088571"/>
                </a:lnTo>
                <a:lnTo>
                  <a:pt x="188686" y="957943"/>
                </a:lnTo>
                <a:lnTo>
                  <a:pt x="29029" y="972457"/>
                </a:lnTo>
                <a:lnTo>
                  <a:pt x="101600" y="928914"/>
                </a:lnTo>
                <a:lnTo>
                  <a:pt x="0" y="928914"/>
                </a:lnTo>
                <a:lnTo>
                  <a:pt x="87086" y="856343"/>
                </a:lnTo>
                <a:close/>
              </a:path>
            </a:pathLst>
          </a:cu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Marcador de número de diapositiva 1"/>
          <p:cNvSpPr>
            <a:spLocks noGrp="1"/>
          </p:cNvSpPr>
          <p:nvPr>
            <p:ph type="sldNum" sz="quarter" idx="12"/>
          </p:nvPr>
        </p:nvSpPr>
        <p:spPr>
          <a:xfrm>
            <a:off x="11777051" y="6458134"/>
            <a:ext cx="487378" cy="481343"/>
          </a:xfrm>
        </p:spPr>
        <p:txBody>
          <a:bodyPr/>
          <a:lstStyle/>
          <a:p>
            <a:r>
              <a:rPr lang="en-US" sz="2000" dirty="0" smtClean="0"/>
              <a:t>13</a:t>
            </a:r>
            <a:endParaRPr lang="en-US" sz="2000" dirty="0"/>
          </a:p>
        </p:txBody>
      </p:sp>
    </p:spTree>
    <p:extLst>
      <p:ext uri="{BB962C8B-B14F-4D97-AF65-F5344CB8AC3E}">
        <p14:creationId xmlns:p14="http://schemas.microsoft.com/office/powerpoint/2010/main" val="302557876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23FEED7-63F6-4545-95DD-474E69B1B82D}"/>
              </a:ext>
            </a:extLst>
          </p:cNvPr>
          <p:cNvSpPr/>
          <p:nvPr/>
        </p:nvSpPr>
        <p:spPr>
          <a:xfrm>
            <a:off x="419022" y="193816"/>
            <a:ext cx="7338869" cy="707886"/>
          </a:xfrm>
          <a:prstGeom prst="rect">
            <a:avLst/>
          </a:prstGeom>
          <a:noFill/>
        </p:spPr>
        <p:txBody>
          <a:bodyPr wrap="none" lIns="91440" tIns="45720" rIns="91440" bIns="45720">
            <a:spAutoFit/>
          </a:bodyPr>
          <a:lstStyle/>
          <a:p>
            <a:r>
              <a:rPr lang="es-ES" sz="4000" b="1"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Red Inteligente Colaborativa</a:t>
            </a:r>
          </a:p>
        </p:txBody>
      </p:sp>
      <p:sp>
        <p:nvSpPr>
          <p:cNvPr id="3" name="Rectángulo 2">
            <a:extLst>
              <a:ext uri="{FF2B5EF4-FFF2-40B4-BE49-F238E27FC236}">
                <a16:creationId xmlns:a16="http://schemas.microsoft.com/office/drawing/2014/main" id="{87764694-FBD5-4C20-8418-35AF9FE9E35F}"/>
              </a:ext>
            </a:extLst>
          </p:cNvPr>
          <p:cNvSpPr/>
          <p:nvPr/>
        </p:nvSpPr>
        <p:spPr>
          <a:xfrm>
            <a:off x="500645" y="879885"/>
            <a:ext cx="11504542" cy="1785104"/>
          </a:xfrm>
          <a:prstGeom prst="rect">
            <a:avLst/>
          </a:prstGeom>
          <a:noFill/>
        </p:spPr>
        <p:txBody>
          <a:bodyPr wrap="square" lIns="91440" tIns="45720" rIns="91440" bIns="45720">
            <a:spAutoFit/>
          </a:bodyPr>
          <a:lstStyle/>
          <a:p>
            <a:pPr algn="ctr"/>
            <a:r>
              <a:rPr lang="es-ES" sz="2800" b="1" dirty="0">
                <a:ln w="9525">
                  <a:solidFill>
                    <a:schemeClr val="tx1"/>
                  </a:solidFill>
                  <a:prstDash val="solid"/>
                </a:ln>
                <a:effectLst>
                  <a:outerShdw blurRad="63500" sx="102000" sy="102000" algn="ctr" rotWithShape="0">
                    <a:prstClr val="black">
                      <a:alpha val="40000"/>
                    </a:prstClr>
                  </a:outerShdw>
                </a:effectLst>
              </a:rPr>
              <a:t>Necesidades de una Red </a:t>
            </a:r>
            <a:r>
              <a:rPr lang="es-ES" sz="2800" b="1" dirty="0" smtClean="0">
                <a:ln w="9525">
                  <a:solidFill>
                    <a:schemeClr val="tx1"/>
                  </a:solidFill>
                  <a:prstDash val="solid"/>
                </a:ln>
                <a:effectLst>
                  <a:outerShdw blurRad="63500" sx="102000" sy="102000" algn="ctr" rotWithShape="0">
                    <a:prstClr val="black">
                      <a:alpha val="40000"/>
                    </a:prstClr>
                  </a:outerShdw>
                </a:effectLst>
              </a:rPr>
              <a:t>Inteligente</a:t>
            </a:r>
          </a:p>
          <a:p>
            <a:pPr algn="ctr"/>
            <a:r>
              <a:rPr lang="es-ES" sz="2800" b="1" dirty="0" smtClean="0">
                <a:ln w="9525">
                  <a:solidFill>
                    <a:schemeClr val="tx1"/>
                  </a:solidFill>
                  <a:prstDash val="solid"/>
                </a:ln>
                <a:effectLst>
                  <a:outerShdw blurRad="63500" sx="102000" sy="102000" algn="ctr" rotWithShape="0">
                    <a:prstClr val="black">
                      <a:alpha val="40000"/>
                    </a:prstClr>
                  </a:outerShdw>
                </a:effectLst>
              </a:rPr>
              <a:t> </a:t>
            </a:r>
          </a:p>
          <a:p>
            <a:pPr algn="ctr"/>
            <a:r>
              <a:rPr lang="es-ES" b="1" dirty="0" smtClean="0">
                <a:latin typeface="Roboto Condensed Light"/>
                <a:ea typeface="Roboto Condensed Light"/>
                <a:cs typeface="Roboto Condensed Light"/>
                <a:sym typeface="Roboto Condensed Light"/>
              </a:rPr>
              <a:t>(</a:t>
            </a:r>
            <a:r>
              <a:rPr lang="es-ES" b="1" dirty="0" smtClean="0">
                <a:effectLst>
                  <a:outerShdw blurRad="38100" dist="38100" dir="2700000" algn="tl">
                    <a:srgbClr val="000000">
                      <a:alpha val="43137"/>
                    </a:srgbClr>
                  </a:outerShdw>
                </a:effectLst>
                <a:latin typeface="Roboto Condensed Light"/>
                <a:ea typeface="Roboto Condensed Light"/>
                <a:cs typeface="Roboto Condensed Light"/>
                <a:sym typeface="Roboto Condensed Light"/>
              </a:rPr>
              <a:t>Ecosistema </a:t>
            </a:r>
            <a:r>
              <a:rPr lang="es-ES" b="1" dirty="0">
                <a:effectLst>
                  <a:outerShdw blurRad="38100" dist="38100" dir="2700000" algn="tl">
                    <a:srgbClr val="000000">
                      <a:alpha val="43137"/>
                    </a:srgbClr>
                  </a:outerShdw>
                </a:effectLst>
                <a:latin typeface="Roboto Condensed Light"/>
                <a:ea typeface="Roboto Condensed Light"/>
                <a:cs typeface="Roboto Condensed Light"/>
                <a:sym typeface="Roboto Condensed Light"/>
              </a:rPr>
              <a:t>que conecta múltiples comunidades y </a:t>
            </a:r>
            <a:r>
              <a:rPr lang="es-ES" b="1" dirty="0" err="1">
                <a:effectLst>
                  <a:outerShdw blurRad="38100" dist="38100" dir="2700000" algn="tl">
                    <a:srgbClr val="000000">
                      <a:alpha val="43137"/>
                    </a:srgbClr>
                  </a:outerShdw>
                </a:effectLst>
                <a:latin typeface="Roboto Condensed Light"/>
                <a:ea typeface="Roboto Condensed Light"/>
                <a:cs typeface="Roboto Condensed Light"/>
                <a:sym typeface="Roboto Condensed Light"/>
              </a:rPr>
              <a:t>subcomunidades</a:t>
            </a:r>
            <a:r>
              <a:rPr lang="es-ES" b="1" dirty="0">
                <a:effectLst>
                  <a:outerShdw blurRad="38100" dist="38100" dir="2700000" algn="tl">
                    <a:srgbClr val="000000">
                      <a:alpha val="43137"/>
                    </a:srgbClr>
                  </a:outerShdw>
                </a:effectLst>
                <a:latin typeface="Roboto Condensed Light"/>
                <a:ea typeface="Roboto Condensed Light"/>
                <a:cs typeface="Roboto Condensed Light"/>
                <a:sym typeface="Roboto Condensed Light"/>
              </a:rPr>
              <a:t>, como por ejemplo una Red inteligente de Centros de Formación profesional que disponen de Aula ATECA y de Polos especializados de </a:t>
            </a:r>
            <a:r>
              <a:rPr lang="es-ES" b="1" dirty="0" smtClean="0">
                <a:effectLst>
                  <a:outerShdw blurRad="38100" dist="38100" dir="2700000" algn="tl">
                    <a:srgbClr val="000000">
                      <a:alpha val="43137"/>
                    </a:srgbClr>
                  </a:outerShdw>
                </a:effectLst>
                <a:latin typeface="Roboto Condensed Light"/>
                <a:ea typeface="Roboto Condensed Light"/>
                <a:cs typeface="Roboto Condensed Light"/>
                <a:sym typeface="Roboto Condensed Light"/>
              </a:rPr>
              <a:t>conocimiento)</a:t>
            </a:r>
            <a:endParaRPr lang="es-ES" b="1" dirty="0">
              <a:ln w="9525">
                <a:solidFill>
                  <a:schemeClr val="tx1"/>
                </a:solidFill>
                <a:prstDash val="solid"/>
              </a:ln>
              <a:effectLst>
                <a:outerShdw blurRad="38100" dist="38100" dir="2700000" algn="tl">
                  <a:srgbClr val="000000">
                    <a:alpha val="43137"/>
                  </a:srgbClr>
                </a:outerShdw>
              </a:effectLst>
            </a:endParaRPr>
          </a:p>
        </p:txBody>
      </p:sp>
      <p:grpSp>
        <p:nvGrpSpPr>
          <p:cNvPr id="7" name="Grupo 6">
            <a:extLst>
              <a:ext uri="{FF2B5EF4-FFF2-40B4-BE49-F238E27FC236}">
                <a16:creationId xmlns:a16="http://schemas.microsoft.com/office/drawing/2014/main" id="{0240E4C6-4904-471A-AF2B-0AADB2160C5C}"/>
              </a:ext>
            </a:extLst>
          </p:cNvPr>
          <p:cNvGrpSpPr/>
          <p:nvPr/>
        </p:nvGrpSpPr>
        <p:grpSpPr>
          <a:xfrm>
            <a:off x="921172" y="2664989"/>
            <a:ext cx="10385978" cy="2515378"/>
            <a:chOff x="635422" y="2256647"/>
            <a:chExt cx="10385978" cy="2515378"/>
          </a:xfrm>
        </p:grpSpPr>
        <p:sp>
          <p:nvSpPr>
            <p:cNvPr id="4" name="Google Shape;353;p72">
              <a:extLst>
                <a:ext uri="{FF2B5EF4-FFF2-40B4-BE49-F238E27FC236}">
                  <a16:creationId xmlns:a16="http://schemas.microsoft.com/office/drawing/2014/main" id="{8F27C67E-51F4-4682-9EC7-F27792984415}"/>
                </a:ext>
              </a:extLst>
            </p:cNvPr>
            <p:cNvSpPr/>
            <p:nvPr/>
          </p:nvSpPr>
          <p:spPr>
            <a:xfrm>
              <a:off x="635422" y="2256647"/>
              <a:ext cx="10385978" cy="2515378"/>
            </a:xfrm>
            <a:prstGeom prst="rect">
              <a:avLst/>
            </a:prstGeom>
            <a:ln>
              <a:headEnd type="none" w="sm" len="sm"/>
              <a:tailEnd type="none" w="sm" len="sm"/>
            </a:ln>
          </p:spPr>
          <p:style>
            <a:lnRef idx="1">
              <a:schemeClr val="accent5"/>
            </a:lnRef>
            <a:fillRef idx="1002">
              <a:schemeClr val="lt2"/>
            </a:fillRef>
            <a:effectRef idx="1">
              <a:schemeClr val="accent5"/>
            </a:effectRef>
            <a:fontRef idx="minor">
              <a:schemeClr val="dk1"/>
            </a:fontRef>
          </p:style>
          <p:txBody>
            <a:bodyPr spcFirstLastPara="1" wrap="square" lIns="121750" tIns="121750" rIns="121750" bIns="121750" anchor="ctr" anchorCtr="0">
              <a:noAutofit/>
            </a:bodyPr>
            <a:lstStyle/>
            <a:p>
              <a:pPr defTabSz="1217706">
                <a:buClr>
                  <a:srgbClr val="000000"/>
                </a:buClr>
              </a:pPr>
              <a:endParaRPr b="1" kern="0">
                <a:solidFill>
                  <a:schemeClr val="accent1">
                    <a:lumMod val="50000"/>
                  </a:schemeClr>
                </a:solidFill>
                <a:latin typeface="Arial"/>
                <a:cs typeface="Arial"/>
                <a:sym typeface="Arial"/>
              </a:endParaRPr>
            </a:p>
          </p:txBody>
        </p:sp>
        <p:sp>
          <p:nvSpPr>
            <p:cNvPr id="5" name="Google Shape;354;p72">
              <a:extLst>
                <a:ext uri="{FF2B5EF4-FFF2-40B4-BE49-F238E27FC236}">
                  <a16:creationId xmlns:a16="http://schemas.microsoft.com/office/drawing/2014/main" id="{F529CD45-8D7E-43BC-A0F4-D879FAE37C89}"/>
                </a:ext>
              </a:extLst>
            </p:cNvPr>
            <p:cNvSpPr txBox="1"/>
            <p:nvPr/>
          </p:nvSpPr>
          <p:spPr>
            <a:xfrm>
              <a:off x="683962" y="2350114"/>
              <a:ext cx="5023398" cy="2117118"/>
            </a:xfrm>
            <a:prstGeom prst="rect">
              <a:avLst/>
            </a:prstGeom>
            <a:ln/>
          </p:spPr>
          <p:style>
            <a:lnRef idx="1">
              <a:schemeClr val="accent5"/>
            </a:lnRef>
            <a:fillRef idx="1002">
              <a:schemeClr val="lt2"/>
            </a:fillRef>
            <a:effectRef idx="1">
              <a:schemeClr val="accent5"/>
            </a:effectRef>
            <a:fontRef idx="minor">
              <a:schemeClr val="dk1"/>
            </a:fontRef>
          </p:style>
          <p:txBody>
            <a:bodyPr spcFirstLastPara="1" wrap="square" lIns="121750" tIns="121750" rIns="121750" bIns="121750" anchor="t" anchorCtr="0">
              <a:noAutofit/>
            </a:bodyPr>
            <a:lstStyle/>
            <a:p>
              <a:pPr marL="608853" marR="6765" indent="-380533" defTabSz="1217706">
                <a:buClr>
                  <a:srgbClr val="0081C2"/>
                </a:buClr>
                <a:buSzPts val="900"/>
                <a:buFont typeface="Roboto Slab"/>
                <a:buChar char="❏"/>
              </a:pPr>
              <a:r>
                <a:rPr lang="es-ES" sz="1400" b="1" kern="0" dirty="0">
                  <a:solidFill>
                    <a:schemeClr val="accent1">
                      <a:lumMod val="50000"/>
                    </a:schemeClr>
                  </a:solidFill>
                  <a:ea typeface="Roboto Slab"/>
                  <a:cs typeface="Roboto Slab"/>
                  <a:sym typeface="Roboto Slab"/>
                </a:rPr>
                <a:t>Necesidad de que las distintas comunidades que la conforman avancen hacia un  desarrollo socio-digital en sus procesos. </a:t>
              </a:r>
              <a:endParaRPr sz="1400" b="1" kern="0" dirty="0">
                <a:solidFill>
                  <a:schemeClr val="accent1">
                    <a:lumMod val="50000"/>
                  </a:schemeClr>
                </a:solidFill>
                <a:ea typeface="Roboto Slab"/>
                <a:cs typeface="Roboto Slab"/>
                <a:sym typeface="Roboto Slab"/>
              </a:endParaRPr>
            </a:p>
            <a:p>
              <a:pPr marL="608853" marR="6765" indent="-380533" defTabSz="1217706">
                <a:buClr>
                  <a:srgbClr val="0081C2"/>
                </a:buClr>
                <a:buSzPts val="900"/>
                <a:buFont typeface="Roboto Slab"/>
                <a:buChar char="❏"/>
              </a:pPr>
              <a:r>
                <a:rPr lang="es-ES" sz="1400" b="1" kern="0" dirty="0">
                  <a:solidFill>
                    <a:schemeClr val="accent1">
                      <a:lumMod val="50000"/>
                    </a:schemeClr>
                  </a:solidFill>
                  <a:ea typeface="Roboto Slab"/>
                  <a:cs typeface="Roboto Slab"/>
                  <a:sym typeface="Roboto Slab"/>
                </a:rPr>
                <a:t>Necesidad de fomentar la colaboración y el intercambio entre los distintos participantes, de forma ágil</a:t>
              </a:r>
              <a:endParaRPr sz="1400" b="1" kern="0" dirty="0">
                <a:solidFill>
                  <a:schemeClr val="accent1">
                    <a:lumMod val="50000"/>
                  </a:schemeClr>
                </a:solidFill>
                <a:ea typeface="Roboto Slab"/>
                <a:cs typeface="Roboto Slab"/>
                <a:sym typeface="Roboto Slab"/>
              </a:endParaRPr>
            </a:p>
            <a:p>
              <a:pPr marL="608853" marR="6765" indent="-380533" defTabSz="1217706">
                <a:buClr>
                  <a:srgbClr val="0081C2"/>
                </a:buClr>
                <a:buSzPts val="900"/>
                <a:buFont typeface="Roboto Slab"/>
                <a:buChar char="❏"/>
              </a:pPr>
              <a:r>
                <a:rPr lang="es-ES" sz="1400" b="1" kern="0" dirty="0">
                  <a:solidFill>
                    <a:schemeClr val="accent1">
                      <a:lumMod val="50000"/>
                    </a:schemeClr>
                  </a:solidFill>
                  <a:ea typeface="Roboto Slab"/>
                  <a:cs typeface="Roboto Slab"/>
                  <a:sym typeface="Roboto Slab"/>
                </a:rPr>
                <a:t>Necesidad de conexión entre distintas entidades, y a su vez, mantener la individualidad de cada una</a:t>
              </a:r>
              <a:endParaRPr sz="1400" b="1" kern="0" dirty="0">
                <a:solidFill>
                  <a:schemeClr val="accent1">
                    <a:lumMod val="50000"/>
                  </a:schemeClr>
                </a:solidFill>
                <a:ea typeface="Roboto Slab"/>
                <a:cs typeface="Roboto Slab"/>
                <a:sym typeface="Roboto Slab"/>
              </a:endParaRPr>
            </a:p>
            <a:p>
              <a:pPr marL="608853" marR="6765" defTabSz="1217706">
                <a:buClr>
                  <a:srgbClr val="000000"/>
                </a:buClr>
              </a:pPr>
              <a:endParaRPr sz="1100" b="1" kern="0" dirty="0">
                <a:solidFill>
                  <a:schemeClr val="accent1">
                    <a:lumMod val="50000"/>
                  </a:schemeClr>
                </a:solidFill>
                <a:latin typeface="Roboto Slab"/>
                <a:ea typeface="Roboto Slab"/>
                <a:cs typeface="Roboto Slab"/>
                <a:sym typeface="Roboto Slab"/>
              </a:endParaRPr>
            </a:p>
          </p:txBody>
        </p:sp>
        <p:sp>
          <p:nvSpPr>
            <p:cNvPr id="6" name="Google Shape;356;p72">
              <a:extLst>
                <a:ext uri="{FF2B5EF4-FFF2-40B4-BE49-F238E27FC236}">
                  <a16:creationId xmlns:a16="http://schemas.microsoft.com/office/drawing/2014/main" id="{7DA9BB26-D886-4ECE-8025-63C50A9DF911}"/>
                </a:ext>
              </a:extLst>
            </p:cNvPr>
            <p:cNvSpPr txBox="1"/>
            <p:nvPr/>
          </p:nvSpPr>
          <p:spPr>
            <a:xfrm>
              <a:off x="5707360" y="2350114"/>
              <a:ext cx="5168419" cy="2344705"/>
            </a:xfrm>
            <a:prstGeom prst="rect">
              <a:avLst/>
            </a:prstGeom>
            <a:ln/>
          </p:spPr>
          <p:style>
            <a:lnRef idx="1">
              <a:schemeClr val="accent5"/>
            </a:lnRef>
            <a:fillRef idx="1002">
              <a:schemeClr val="lt2"/>
            </a:fillRef>
            <a:effectRef idx="1">
              <a:schemeClr val="accent5"/>
            </a:effectRef>
            <a:fontRef idx="minor">
              <a:schemeClr val="dk1"/>
            </a:fontRef>
          </p:style>
          <p:txBody>
            <a:bodyPr spcFirstLastPara="1" wrap="square" lIns="121750" tIns="121750" rIns="121750" bIns="121750" anchor="t" anchorCtr="0">
              <a:noAutofit/>
            </a:bodyPr>
            <a:lstStyle/>
            <a:p>
              <a:pPr marL="608853" marR="6765" indent="-380533" defTabSz="1217706">
                <a:buClr>
                  <a:srgbClr val="0081C2"/>
                </a:buClr>
                <a:buSzPts val="900"/>
                <a:buFont typeface="Roboto Slab"/>
                <a:buChar char="❏"/>
              </a:pPr>
              <a:r>
                <a:rPr lang="es-ES" sz="1400" b="1" kern="0" dirty="0">
                  <a:solidFill>
                    <a:schemeClr val="accent1">
                      <a:lumMod val="50000"/>
                    </a:schemeClr>
                  </a:solidFill>
                  <a:ea typeface="Roboto Slab"/>
                  <a:cs typeface="Roboto Slab"/>
                  <a:sym typeface="Roboto Slab"/>
                </a:rPr>
                <a:t>Necesidad de que se desarrollen e impulsen iniciativas y oportunidades de aprendizaje dentro del ecosistema.</a:t>
              </a:r>
              <a:endParaRPr sz="1400" b="1" kern="0" dirty="0">
                <a:solidFill>
                  <a:schemeClr val="accent1">
                    <a:lumMod val="50000"/>
                  </a:schemeClr>
                </a:solidFill>
                <a:ea typeface="Roboto Slab"/>
                <a:cs typeface="Roboto Slab"/>
                <a:sym typeface="Roboto Slab"/>
              </a:endParaRPr>
            </a:p>
            <a:p>
              <a:pPr marL="608853" marR="6765" indent="-380533" defTabSz="1217706">
                <a:buClr>
                  <a:srgbClr val="0081C2"/>
                </a:buClr>
                <a:buSzPts val="900"/>
                <a:buFont typeface="Roboto Slab"/>
                <a:buChar char="❏"/>
              </a:pPr>
              <a:r>
                <a:rPr lang="es-ES" sz="1400" b="1" kern="0" dirty="0">
                  <a:solidFill>
                    <a:schemeClr val="accent1">
                      <a:lumMod val="50000"/>
                    </a:schemeClr>
                  </a:solidFill>
                  <a:ea typeface="Roboto Slab"/>
                  <a:cs typeface="Roboto Slab"/>
                  <a:sym typeface="Roboto Slab"/>
                </a:rPr>
                <a:t>Necesidad de poder ordenar, compartir y  acceder a la información de cada Comunidad de forma independiente, pero también con acceso al conjunto de la comunidad</a:t>
              </a:r>
              <a:endParaRPr sz="1400" b="1" kern="0" dirty="0">
                <a:solidFill>
                  <a:schemeClr val="accent1">
                    <a:lumMod val="50000"/>
                  </a:schemeClr>
                </a:solidFill>
                <a:ea typeface="Roboto Slab"/>
                <a:cs typeface="Roboto Slab"/>
                <a:sym typeface="Roboto Slab"/>
              </a:endParaRPr>
            </a:p>
            <a:p>
              <a:pPr marL="608853" marR="6765" indent="-380533" defTabSz="1217706">
                <a:buClr>
                  <a:srgbClr val="0081C2"/>
                </a:buClr>
                <a:buSzPts val="900"/>
                <a:buFont typeface="Roboto Slab"/>
                <a:buChar char="❏"/>
              </a:pPr>
              <a:r>
                <a:rPr lang="es-ES" sz="1400" b="1" kern="0" dirty="0">
                  <a:solidFill>
                    <a:schemeClr val="accent1">
                      <a:lumMod val="50000"/>
                    </a:schemeClr>
                  </a:solidFill>
                  <a:ea typeface="Roboto Slab"/>
                  <a:cs typeface="Roboto Slab"/>
                  <a:sym typeface="Roboto Slab"/>
                </a:rPr>
                <a:t>Necesidad de conocer con datos y gráficos la situación de actividad del ecosistema</a:t>
              </a:r>
              <a:endParaRPr sz="1400" b="1" kern="0" dirty="0">
                <a:solidFill>
                  <a:schemeClr val="accent1">
                    <a:lumMod val="50000"/>
                  </a:schemeClr>
                </a:solidFill>
                <a:ea typeface="Roboto Slab"/>
                <a:cs typeface="Roboto Slab"/>
                <a:sym typeface="Roboto Slab"/>
              </a:endParaRPr>
            </a:p>
          </p:txBody>
        </p:sp>
      </p:grpSp>
      <p:sp>
        <p:nvSpPr>
          <p:cNvPr id="8" name="TextBox 38">
            <a:extLst>
              <a:ext uri="{FF2B5EF4-FFF2-40B4-BE49-F238E27FC236}">
                <a16:creationId xmlns:a16="http://schemas.microsoft.com/office/drawing/2014/main" id="{68F04038-012E-4DEF-9C59-C5A5610F9EC4}"/>
              </a:ext>
            </a:extLst>
          </p:cNvPr>
          <p:cNvSpPr txBox="1"/>
          <p:nvPr/>
        </p:nvSpPr>
        <p:spPr>
          <a:xfrm>
            <a:off x="1102659" y="5475922"/>
            <a:ext cx="3175581" cy="923330"/>
          </a:xfrm>
          <a:prstGeom prst="rect">
            <a:avLst/>
          </a:prstGeom>
          <a:ln/>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s-ES" b="1" dirty="0">
                <a:solidFill>
                  <a:schemeClr val="bg1"/>
                </a:solidFill>
                <a:ea typeface="Hand Of Sean" panose="02000500000000000000" pitchFamily="2" charset="-128"/>
              </a:rPr>
              <a:t>1. Necesidad de fomentar la colaboración ágil y el intercambio</a:t>
            </a:r>
          </a:p>
        </p:txBody>
      </p:sp>
      <p:sp>
        <p:nvSpPr>
          <p:cNvPr id="9" name="TextBox 38">
            <a:extLst>
              <a:ext uri="{FF2B5EF4-FFF2-40B4-BE49-F238E27FC236}">
                <a16:creationId xmlns:a16="http://schemas.microsoft.com/office/drawing/2014/main" id="{61E228A6-6DCB-4F0A-946F-379FA9D35128}"/>
              </a:ext>
            </a:extLst>
          </p:cNvPr>
          <p:cNvSpPr txBox="1"/>
          <p:nvPr/>
        </p:nvSpPr>
        <p:spPr>
          <a:xfrm>
            <a:off x="4527176" y="5475922"/>
            <a:ext cx="3130321" cy="646331"/>
          </a:xfrm>
          <a:prstGeom prst="rect">
            <a:avLst/>
          </a:prstGeom>
          <a:solidFill>
            <a:srgbClr val="92D050"/>
          </a:solidFill>
          <a:ln w="38100">
            <a:solidFill>
              <a:srgbClr val="92D050"/>
            </a:solidFill>
          </a:ln>
        </p:spPr>
        <p:txBody>
          <a:bodyPr wrap="square" rtlCol="0">
            <a:spAutoFit/>
          </a:bodyPr>
          <a:lstStyle/>
          <a:p>
            <a:pPr algn="ctr"/>
            <a:r>
              <a:rPr lang="es-ES" b="1" dirty="0">
                <a:solidFill>
                  <a:schemeClr val="bg1"/>
                </a:solidFill>
                <a:ea typeface="Hand Of Sean" panose="02000500000000000000" pitchFamily="2" charset="-128"/>
              </a:rPr>
              <a:t>2.     Que surjan iniciativas y oportunidades </a:t>
            </a:r>
          </a:p>
        </p:txBody>
      </p:sp>
      <p:sp>
        <p:nvSpPr>
          <p:cNvPr id="10" name="TextBox 38">
            <a:extLst>
              <a:ext uri="{FF2B5EF4-FFF2-40B4-BE49-F238E27FC236}">
                <a16:creationId xmlns:a16="http://schemas.microsoft.com/office/drawing/2014/main" id="{A31A2405-4834-47BE-AF0F-FE04347B3FA2}"/>
              </a:ext>
            </a:extLst>
          </p:cNvPr>
          <p:cNvSpPr txBox="1"/>
          <p:nvPr/>
        </p:nvSpPr>
        <p:spPr>
          <a:xfrm>
            <a:off x="8184230" y="5475922"/>
            <a:ext cx="3048546" cy="646331"/>
          </a:xfrm>
          <a:prstGeom prst="rect">
            <a:avLst/>
          </a:prstGeom>
          <a:ln/>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a:r>
              <a:rPr lang="en-US" b="1" dirty="0">
                <a:solidFill>
                  <a:schemeClr val="bg1"/>
                </a:solidFill>
                <a:ea typeface="Hand Of Sean" panose="02000500000000000000" pitchFamily="2" charset="-128"/>
              </a:rPr>
              <a:t>3.   </a:t>
            </a:r>
            <a:r>
              <a:rPr lang="en-US" b="1" dirty="0" err="1">
                <a:solidFill>
                  <a:schemeClr val="bg1"/>
                </a:solidFill>
                <a:ea typeface="Hand Of Sean" panose="02000500000000000000" pitchFamily="2" charset="-128"/>
              </a:rPr>
              <a:t>Generar</a:t>
            </a:r>
            <a:r>
              <a:rPr lang="en-US" b="1" dirty="0">
                <a:solidFill>
                  <a:schemeClr val="bg1"/>
                </a:solidFill>
                <a:ea typeface="Hand Of Sean" panose="02000500000000000000" pitchFamily="2" charset="-128"/>
              </a:rPr>
              <a:t> </a:t>
            </a:r>
            <a:r>
              <a:rPr lang="en-US" b="1" dirty="0" err="1">
                <a:solidFill>
                  <a:schemeClr val="bg1"/>
                </a:solidFill>
                <a:ea typeface="Hand Of Sean" panose="02000500000000000000" pitchFamily="2" charset="-128"/>
              </a:rPr>
              <a:t>conexiones</a:t>
            </a:r>
            <a:r>
              <a:rPr lang="en-US" b="1" dirty="0">
                <a:solidFill>
                  <a:schemeClr val="bg1"/>
                </a:solidFill>
                <a:ea typeface="Hand Of Sean" panose="02000500000000000000" pitchFamily="2" charset="-128"/>
              </a:rPr>
              <a:t> entre </a:t>
            </a:r>
            <a:r>
              <a:rPr lang="en-US" b="1" dirty="0" err="1">
                <a:solidFill>
                  <a:schemeClr val="bg1"/>
                </a:solidFill>
                <a:ea typeface="Hand Of Sean" panose="02000500000000000000" pitchFamily="2" charset="-128"/>
              </a:rPr>
              <a:t>distintas</a:t>
            </a:r>
            <a:r>
              <a:rPr lang="en-US" b="1" dirty="0">
                <a:solidFill>
                  <a:schemeClr val="bg1"/>
                </a:solidFill>
                <a:ea typeface="Hand Of Sean" panose="02000500000000000000" pitchFamily="2" charset="-128"/>
              </a:rPr>
              <a:t> </a:t>
            </a:r>
            <a:r>
              <a:rPr lang="en-US" b="1" dirty="0" err="1">
                <a:solidFill>
                  <a:schemeClr val="bg1"/>
                </a:solidFill>
                <a:ea typeface="Hand Of Sean" panose="02000500000000000000" pitchFamily="2" charset="-128"/>
              </a:rPr>
              <a:t>entidades</a:t>
            </a:r>
            <a:r>
              <a:rPr lang="en-US" b="1" dirty="0">
                <a:solidFill>
                  <a:schemeClr val="bg1"/>
                </a:solidFill>
                <a:ea typeface="Hand Of Sean" panose="02000500000000000000" pitchFamily="2" charset="-128"/>
              </a:rPr>
              <a:t> </a:t>
            </a:r>
          </a:p>
        </p:txBody>
      </p:sp>
      <p:sp>
        <p:nvSpPr>
          <p:cNvPr id="11" name="Marcador de número de diapositiva 1"/>
          <p:cNvSpPr>
            <a:spLocks noGrp="1"/>
          </p:cNvSpPr>
          <p:nvPr>
            <p:ph type="sldNum" sz="quarter" idx="12"/>
          </p:nvPr>
        </p:nvSpPr>
        <p:spPr>
          <a:xfrm>
            <a:off x="11777051" y="6458134"/>
            <a:ext cx="487378" cy="481343"/>
          </a:xfrm>
        </p:spPr>
        <p:txBody>
          <a:bodyPr/>
          <a:lstStyle/>
          <a:p>
            <a:r>
              <a:rPr lang="en-US" sz="2000" dirty="0" smtClean="0"/>
              <a:t>14</a:t>
            </a:r>
            <a:endParaRPr lang="en-US" sz="2000" dirty="0"/>
          </a:p>
        </p:txBody>
      </p:sp>
    </p:spTree>
    <p:extLst>
      <p:ext uri="{BB962C8B-B14F-4D97-AF65-F5344CB8AC3E}">
        <p14:creationId xmlns:p14="http://schemas.microsoft.com/office/powerpoint/2010/main" val="175062001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23FEED7-63F6-4545-95DD-474E69B1B82D}"/>
              </a:ext>
            </a:extLst>
          </p:cNvPr>
          <p:cNvSpPr/>
          <p:nvPr/>
        </p:nvSpPr>
        <p:spPr>
          <a:xfrm>
            <a:off x="419022" y="193816"/>
            <a:ext cx="7338869" cy="707886"/>
          </a:xfrm>
          <a:prstGeom prst="rect">
            <a:avLst/>
          </a:prstGeom>
          <a:noFill/>
        </p:spPr>
        <p:txBody>
          <a:bodyPr wrap="none" lIns="91440" tIns="45720" rIns="91440" bIns="45720">
            <a:spAutoFit/>
          </a:bodyPr>
          <a:lstStyle/>
          <a:p>
            <a:r>
              <a:rPr lang="es-ES" sz="4000" b="1"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Red Inteligente Colaborativa</a:t>
            </a:r>
          </a:p>
        </p:txBody>
      </p:sp>
      <p:sp>
        <p:nvSpPr>
          <p:cNvPr id="3" name="Rectángulo 2">
            <a:extLst>
              <a:ext uri="{FF2B5EF4-FFF2-40B4-BE49-F238E27FC236}">
                <a16:creationId xmlns:a16="http://schemas.microsoft.com/office/drawing/2014/main" id="{87764694-FBD5-4C20-8418-35AF9FE9E35F}"/>
              </a:ext>
            </a:extLst>
          </p:cNvPr>
          <p:cNvSpPr/>
          <p:nvPr/>
        </p:nvSpPr>
        <p:spPr>
          <a:xfrm>
            <a:off x="500646" y="1209479"/>
            <a:ext cx="5595354" cy="584775"/>
          </a:xfrm>
          <a:prstGeom prst="rect">
            <a:avLst/>
          </a:prstGeom>
          <a:noFill/>
        </p:spPr>
        <p:txBody>
          <a:bodyPr wrap="square" lIns="91440" tIns="45720" rIns="91440" bIns="45720">
            <a:spAutoFit/>
          </a:bodyPr>
          <a:lstStyle/>
          <a:p>
            <a:r>
              <a:rPr lang="es-ES" sz="3200" b="1" dirty="0">
                <a:ln w="9525">
                  <a:solidFill>
                    <a:schemeClr val="tx1"/>
                  </a:solidFill>
                  <a:prstDash val="solid"/>
                </a:ln>
                <a:solidFill>
                  <a:srgbClr val="FFFF00"/>
                </a:solidFill>
                <a:effectLst>
                  <a:outerShdw blurRad="63500" sx="102000" sy="102000" algn="ctr" rotWithShape="0">
                    <a:prstClr val="black">
                      <a:alpha val="40000"/>
                    </a:prstClr>
                  </a:outerShdw>
                </a:effectLst>
              </a:rPr>
              <a:t>Algunas vistas del sistema:</a:t>
            </a:r>
          </a:p>
        </p:txBody>
      </p:sp>
      <p:pic>
        <p:nvPicPr>
          <p:cNvPr id="4" name="Google Shape;241;p51">
            <a:extLst>
              <a:ext uri="{FF2B5EF4-FFF2-40B4-BE49-F238E27FC236}">
                <a16:creationId xmlns:a16="http://schemas.microsoft.com/office/drawing/2014/main" id="{4AB8F34D-11AE-45BB-B656-671B14E94DB8}"/>
              </a:ext>
            </a:extLst>
          </p:cNvPr>
          <p:cNvPicPr preferRelativeResize="0"/>
          <p:nvPr/>
        </p:nvPicPr>
        <p:blipFill rotWithShape="1">
          <a:blip r:embed="rId2">
            <a:alphaModFix/>
          </a:blip>
          <a:srcRect/>
          <a:stretch/>
        </p:blipFill>
        <p:spPr>
          <a:xfrm>
            <a:off x="9469302" y="1970311"/>
            <a:ext cx="1905900" cy="1407885"/>
          </a:xfrm>
          <a:prstGeom prst="rect">
            <a:avLst/>
          </a:prstGeom>
          <a:noFill/>
          <a:ln w="9525" cap="flat" cmpd="sng">
            <a:solidFill>
              <a:srgbClr val="0277BD"/>
            </a:solidFill>
            <a:prstDash val="solid"/>
            <a:round/>
            <a:headEnd type="none" w="sm" len="sm"/>
            <a:tailEnd type="none" w="sm" len="sm"/>
          </a:ln>
          <a:effectLst>
            <a:outerShdw blurRad="50800" dist="38100" dir="2700000" algn="tl" rotWithShape="0">
              <a:srgbClr val="000000">
                <a:alpha val="40000"/>
              </a:srgbClr>
            </a:outerShdw>
          </a:effectLst>
        </p:spPr>
      </p:pic>
      <p:pic>
        <p:nvPicPr>
          <p:cNvPr id="5" name="Google Shape;242;p51">
            <a:extLst>
              <a:ext uri="{FF2B5EF4-FFF2-40B4-BE49-F238E27FC236}">
                <a16:creationId xmlns:a16="http://schemas.microsoft.com/office/drawing/2014/main" id="{AD708355-150E-4A36-9739-E3F80B2D835C}"/>
              </a:ext>
            </a:extLst>
          </p:cNvPr>
          <p:cNvPicPr preferRelativeResize="0"/>
          <p:nvPr/>
        </p:nvPicPr>
        <p:blipFill rotWithShape="1">
          <a:blip r:embed="rId3">
            <a:alphaModFix/>
          </a:blip>
          <a:srcRect/>
          <a:stretch/>
        </p:blipFill>
        <p:spPr>
          <a:xfrm>
            <a:off x="6686473" y="1970311"/>
            <a:ext cx="1968119" cy="1407885"/>
          </a:xfrm>
          <a:prstGeom prst="rect">
            <a:avLst/>
          </a:prstGeom>
          <a:noFill/>
          <a:ln w="9525" cap="flat" cmpd="sng">
            <a:solidFill>
              <a:srgbClr val="0277BD"/>
            </a:solidFill>
            <a:prstDash val="solid"/>
            <a:round/>
            <a:headEnd type="none" w="sm" len="sm"/>
            <a:tailEnd type="none" w="sm" len="sm"/>
          </a:ln>
          <a:effectLst>
            <a:outerShdw blurRad="50800" dist="38100" dir="2700000" algn="tl" rotWithShape="0">
              <a:srgbClr val="000000">
                <a:alpha val="40000"/>
              </a:srgbClr>
            </a:outerShdw>
          </a:effectLst>
        </p:spPr>
      </p:pic>
      <p:pic>
        <p:nvPicPr>
          <p:cNvPr id="6" name="Google Shape;243;p51">
            <a:extLst>
              <a:ext uri="{FF2B5EF4-FFF2-40B4-BE49-F238E27FC236}">
                <a16:creationId xmlns:a16="http://schemas.microsoft.com/office/drawing/2014/main" id="{6F1F5FC0-0DA4-4D02-9DF2-8AB3E6AE17DF}"/>
              </a:ext>
            </a:extLst>
          </p:cNvPr>
          <p:cNvPicPr preferRelativeResize="0"/>
          <p:nvPr/>
        </p:nvPicPr>
        <p:blipFill rotWithShape="1">
          <a:blip r:embed="rId4">
            <a:alphaModFix/>
          </a:blip>
          <a:srcRect/>
          <a:stretch/>
        </p:blipFill>
        <p:spPr>
          <a:xfrm>
            <a:off x="9469302" y="3646196"/>
            <a:ext cx="1968110" cy="1321752"/>
          </a:xfrm>
          <a:prstGeom prst="rect">
            <a:avLst/>
          </a:prstGeom>
          <a:noFill/>
          <a:ln w="9525" cap="flat" cmpd="sng">
            <a:solidFill>
              <a:srgbClr val="0277BD"/>
            </a:solidFill>
            <a:prstDash val="solid"/>
            <a:round/>
            <a:headEnd type="none" w="sm" len="sm"/>
            <a:tailEnd type="none" w="sm" len="sm"/>
          </a:ln>
          <a:effectLst>
            <a:outerShdw blurRad="50800" dist="38100" dir="2700000" algn="tl" rotWithShape="0">
              <a:srgbClr val="000000">
                <a:alpha val="40000"/>
              </a:srgbClr>
            </a:outerShdw>
          </a:effectLst>
        </p:spPr>
      </p:pic>
      <p:pic>
        <p:nvPicPr>
          <p:cNvPr id="7" name="Google Shape;244;p51">
            <a:extLst>
              <a:ext uri="{FF2B5EF4-FFF2-40B4-BE49-F238E27FC236}">
                <a16:creationId xmlns:a16="http://schemas.microsoft.com/office/drawing/2014/main" id="{9C1D9132-B041-475C-B086-E7FFECC5B857}"/>
              </a:ext>
            </a:extLst>
          </p:cNvPr>
          <p:cNvPicPr preferRelativeResize="0"/>
          <p:nvPr/>
        </p:nvPicPr>
        <p:blipFill rotWithShape="1">
          <a:blip r:embed="rId5">
            <a:alphaModFix/>
          </a:blip>
          <a:srcRect/>
          <a:stretch/>
        </p:blipFill>
        <p:spPr>
          <a:xfrm>
            <a:off x="6686484" y="3652415"/>
            <a:ext cx="1968108" cy="1321726"/>
          </a:xfrm>
          <a:prstGeom prst="rect">
            <a:avLst/>
          </a:prstGeom>
          <a:noFill/>
          <a:ln w="9525" cap="flat" cmpd="sng">
            <a:solidFill>
              <a:srgbClr val="0277BD"/>
            </a:solidFill>
            <a:prstDash val="solid"/>
            <a:round/>
            <a:headEnd type="none" w="sm" len="sm"/>
            <a:tailEnd type="none" w="sm" len="sm"/>
          </a:ln>
          <a:effectLst>
            <a:outerShdw blurRad="50800" dist="38100" dir="2700000" algn="tl" rotWithShape="0">
              <a:srgbClr val="000000">
                <a:alpha val="40000"/>
              </a:srgbClr>
            </a:outerShdw>
          </a:effectLst>
        </p:spPr>
      </p:pic>
      <p:pic>
        <p:nvPicPr>
          <p:cNvPr id="8" name="Google Shape;245;p51">
            <a:extLst>
              <a:ext uri="{FF2B5EF4-FFF2-40B4-BE49-F238E27FC236}">
                <a16:creationId xmlns:a16="http://schemas.microsoft.com/office/drawing/2014/main" id="{06B2033B-F72E-45E2-AA8C-502121D0B712}"/>
              </a:ext>
            </a:extLst>
          </p:cNvPr>
          <p:cNvPicPr preferRelativeResize="0"/>
          <p:nvPr/>
        </p:nvPicPr>
        <p:blipFill rotWithShape="1">
          <a:blip r:embed="rId6">
            <a:alphaModFix/>
          </a:blip>
          <a:srcRect l="4263" r="4245"/>
          <a:stretch/>
        </p:blipFill>
        <p:spPr>
          <a:xfrm>
            <a:off x="7470590" y="5235948"/>
            <a:ext cx="2982767" cy="980482"/>
          </a:xfrm>
          <a:prstGeom prst="rect">
            <a:avLst/>
          </a:prstGeom>
          <a:noFill/>
          <a:ln w="9525" cap="flat" cmpd="sng">
            <a:solidFill>
              <a:srgbClr val="0277BD"/>
            </a:solidFill>
            <a:prstDash val="solid"/>
            <a:round/>
            <a:headEnd type="none" w="sm" len="sm"/>
            <a:tailEnd type="none" w="sm" len="sm"/>
          </a:ln>
          <a:effectLst>
            <a:outerShdw blurRad="50800" dist="38100" dir="2700000" algn="tl" rotWithShape="0">
              <a:srgbClr val="000000">
                <a:alpha val="40000"/>
              </a:srgbClr>
            </a:outerShdw>
          </a:effectLst>
        </p:spPr>
      </p:pic>
      <p:pic>
        <p:nvPicPr>
          <p:cNvPr id="9" name="Google Shape;246;p51">
            <a:extLst>
              <a:ext uri="{FF2B5EF4-FFF2-40B4-BE49-F238E27FC236}">
                <a16:creationId xmlns:a16="http://schemas.microsoft.com/office/drawing/2014/main" id="{2DA190ED-7ADF-451E-8E72-6AF0804E6481}"/>
              </a:ext>
            </a:extLst>
          </p:cNvPr>
          <p:cNvPicPr preferRelativeResize="0"/>
          <p:nvPr/>
        </p:nvPicPr>
        <p:blipFill rotWithShape="1">
          <a:blip r:embed="rId7">
            <a:alphaModFix/>
          </a:blip>
          <a:srcRect/>
          <a:stretch/>
        </p:blipFill>
        <p:spPr>
          <a:xfrm>
            <a:off x="8278409" y="6368706"/>
            <a:ext cx="702338" cy="187750"/>
          </a:xfrm>
          <a:prstGeom prst="rect">
            <a:avLst/>
          </a:prstGeom>
          <a:noFill/>
          <a:ln>
            <a:noFill/>
          </a:ln>
        </p:spPr>
      </p:pic>
      <p:pic>
        <p:nvPicPr>
          <p:cNvPr id="10" name="Google Shape;247;p51">
            <a:extLst>
              <a:ext uri="{FF2B5EF4-FFF2-40B4-BE49-F238E27FC236}">
                <a16:creationId xmlns:a16="http://schemas.microsoft.com/office/drawing/2014/main" id="{D88F054E-489E-417F-A22C-C6C0413C2AAC}"/>
              </a:ext>
            </a:extLst>
          </p:cNvPr>
          <p:cNvPicPr preferRelativeResize="0"/>
          <p:nvPr/>
        </p:nvPicPr>
        <p:blipFill rotWithShape="1">
          <a:blip r:embed="rId8">
            <a:alphaModFix/>
          </a:blip>
          <a:srcRect/>
          <a:stretch/>
        </p:blipFill>
        <p:spPr>
          <a:xfrm>
            <a:off x="9266384" y="6365888"/>
            <a:ext cx="702338" cy="187750"/>
          </a:xfrm>
          <a:prstGeom prst="rect">
            <a:avLst/>
          </a:prstGeom>
          <a:noFill/>
          <a:ln>
            <a:noFill/>
          </a:ln>
        </p:spPr>
      </p:pic>
      <p:grpSp>
        <p:nvGrpSpPr>
          <p:cNvPr id="39" name="Grupo 38">
            <a:extLst>
              <a:ext uri="{FF2B5EF4-FFF2-40B4-BE49-F238E27FC236}">
                <a16:creationId xmlns:a16="http://schemas.microsoft.com/office/drawing/2014/main" id="{00758A0F-EC62-46E5-B517-8F2254364078}"/>
              </a:ext>
            </a:extLst>
          </p:cNvPr>
          <p:cNvGrpSpPr/>
          <p:nvPr/>
        </p:nvGrpSpPr>
        <p:grpSpPr>
          <a:xfrm>
            <a:off x="208658" y="1861757"/>
            <a:ext cx="5663105" cy="4434267"/>
            <a:chOff x="208658" y="1861757"/>
            <a:chExt cx="5663105" cy="4434267"/>
          </a:xfrm>
        </p:grpSpPr>
        <p:sp>
          <p:nvSpPr>
            <p:cNvPr id="18" name="Oval 59">
              <a:extLst>
                <a:ext uri="{FF2B5EF4-FFF2-40B4-BE49-F238E27FC236}">
                  <a16:creationId xmlns:a16="http://schemas.microsoft.com/office/drawing/2014/main" id="{D630D01A-9C39-4F22-B7C2-E64098214D9B}"/>
                </a:ext>
              </a:extLst>
            </p:cNvPr>
            <p:cNvSpPr/>
            <p:nvPr/>
          </p:nvSpPr>
          <p:spPr>
            <a:xfrm>
              <a:off x="208658" y="1861757"/>
              <a:ext cx="643888" cy="643888"/>
            </a:xfrm>
            <a:prstGeom prst="ellipse">
              <a:avLst/>
            </a:prstGeom>
            <a:gradFill flip="none" rotWithShape="1">
              <a:gsLst>
                <a:gs pos="0">
                  <a:srgbClr val="DDE1E2"/>
                </a:gs>
                <a:gs pos="100000">
                  <a:srgbClr val="FFFFFF"/>
                </a:gs>
              </a:gsLst>
              <a:lin ang="16200000" scaled="1"/>
              <a:tileRect/>
            </a:gradFill>
            <a:ln w="558800">
              <a:noFill/>
            </a:ln>
            <a:effectLst>
              <a:outerShdw blurRad="330200" dist="63500" dir="2700000" sx="106000" sy="106000" algn="tl" rotWithShape="0">
                <a:schemeClr val="tx1">
                  <a:lumMod val="75000"/>
                  <a:lumOff val="25000"/>
                  <a:alpha val="40000"/>
                </a:schemeClr>
              </a:outerShdw>
            </a:effectLst>
            <a:scene3d>
              <a:camera prst="orthographicFront"/>
              <a:lightRig rig="threePt" dir="t"/>
            </a:scene3d>
            <a:sp3d extrusionH="152400" prstMaterial="matte">
              <a:bevelT w="101600" h="12700" prst="softRound"/>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b="1"/>
            </a:p>
          </p:txBody>
        </p:sp>
        <p:sp>
          <p:nvSpPr>
            <p:cNvPr id="38" name="Rectángulo: esquinas redondeadas 37">
              <a:extLst>
                <a:ext uri="{FF2B5EF4-FFF2-40B4-BE49-F238E27FC236}">
                  <a16:creationId xmlns:a16="http://schemas.microsoft.com/office/drawing/2014/main" id="{57C21C27-3CB3-4178-9BE7-807422AE9C38}"/>
                </a:ext>
              </a:extLst>
            </p:cNvPr>
            <p:cNvSpPr/>
            <p:nvPr/>
          </p:nvSpPr>
          <p:spPr>
            <a:xfrm>
              <a:off x="359637" y="1987545"/>
              <a:ext cx="5512126" cy="4308479"/>
            </a:xfrm>
            <a:prstGeom prst="roundRect">
              <a:avLst/>
            </a:prstGeom>
            <a:gradFill flip="none" rotWithShape="1">
              <a:gsLst>
                <a:gs pos="0">
                  <a:srgbClr val="F05222"/>
                </a:gs>
                <a:gs pos="100000">
                  <a:srgbClr val="FBA31A"/>
                </a:gs>
              </a:gsLst>
              <a:lin ang="13500000" scaled="1"/>
              <a:tileRect/>
            </a:gradFill>
            <a:ln>
              <a:noFill/>
            </a:ln>
            <a:effectLst>
              <a:innerShdw blurRad="254000" dist="381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600" b="1" dirty="0"/>
            </a:p>
          </p:txBody>
        </p:sp>
        <p:pic>
          <p:nvPicPr>
            <p:cNvPr id="25" name="Graphic 76" descr="Tablet">
              <a:extLst>
                <a:ext uri="{FF2B5EF4-FFF2-40B4-BE49-F238E27FC236}">
                  <a16:creationId xmlns:a16="http://schemas.microsoft.com/office/drawing/2014/main" id="{A9884E03-BA8C-44BE-9A78-3EE0C1571907}"/>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 xmlns:asvg="http://schemas.microsoft.com/office/drawing/2016/SVG/main" r:embed="rId10"/>
                </a:ext>
              </a:extLst>
            </a:blip>
            <a:stretch>
              <a:fillRect/>
            </a:stretch>
          </p:blipFill>
          <p:spPr>
            <a:xfrm>
              <a:off x="331296" y="1985701"/>
              <a:ext cx="396000" cy="396000"/>
            </a:xfrm>
            <a:prstGeom prst="rect">
              <a:avLst/>
            </a:prstGeom>
          </p:spPr>
        </p:pic>
        <p:sp>
          <p:nvSpPr>
            <p:cNvPr id="28" name="TextBox 95">
              <a:extLst>
                <a:ext uri="{FF2B5EF4-FFF2-40B4-BE49-F238E27FC236}">
                  <a16:creationId xmlns:a16="http://schemas.microsoft.com/office/drawing/2014/main" id="{61CB27CB-2B4F-4CD6-8CFC-1B3D094A8261}"/>
                </a:ext>
              </a:extLst>
            </p:cNvPr>
            <p:cNvSpPr txBox="1"/>
            <p:nvPr/>
          </p:nvSpPr>
          <p:spPr>
            <a:xfrm>
              <a:off x="760739" y="2171965"/>
              <a:ext cx="5078085" cy="3847207"/>
            </a:xfrm>
            <a:prstGeom prst="rect">
              <a:avLst/>
            </a:prstGeom>
            <a:noFill/>
          </p:spPr>
          <p:txBody>
            <a:bodyPr wrap="square" rtlCol="0">
              <a:spAutoFit/>
            </a:bodyPr>
            <a:lstStyle/>
            <a:p>
              <a:pPr marL="85725" indent="-85725">
                <a:buFont typeface="Arial" panose="020B0604020202020204" pitchFamily="34" charset="0"/>
                <a:buChar char="•"/>
              </a:pPr>
              <a:r>
                <a:rPr lang="es-ES" sz="1600" b="1" dirty="0" err="1">
                  <a:solidFill>
                    <a:schemeClr val="bg1"/>
                  </a:solidFill>
                  <a:ea typeface="Open Sans Condensed" panose="020B0806030504020204" pitchFamily="34" charset="0"/>
                  <a:cs typeface="Open Sans Condensed" panose="020B0806030504020204" pitchFamily="34" charset="0"/>
                </a:rPr>
                <a:t>Visibilización</a:t>
              </a:r>
              <a:r>
                <a:rPr lang="es-ES" sz="1600" b="1" dirty="0">
                  <a:solidFill>
                    <a:schemeClr val="bg1"/>
                  </a:solidFill>
                  <a:ea typeface="Open Sans Condensed" panose="020B0806030504020204" pitchFamily="34" charset="0"/>
                  <a:cs typeface="Open Sans Condensed" panose="020B0806030504020204" pitchFamily="34" charset="0"/>
                </a:rPr>
                <a:t> y comunicación entre personas  y entidades</a:t>
              </a:r>
            </a:p>
            <a:p>
              <a:pPr marL="85725" indent="-85725">
                <a:buFont typeface="Arial" panose="020B0604020202020204" pitchFamily="34" charset="0"/>
                <a:buChar char="•"/>
              </a:pPr>
              <a:r>
                <a:rPr lang="es-ES" sz="1600" b="1" dirty="0">
                  <a:solidFill>
                    <a:schemeClr val="bg1"/>
                  </a:solidFill>
                  <a:ea typeface="Open Sans Condensed" panose="020B0806030504020204" pitchFamily="34" charset="0"/>
                  <a:cs typeface="Open Sans Condensed" panose="020B0806030504020204" pitchFamily="34" charset="0"/>
                </a:rPr>
                <a:t>Espacios para crear actividades desde el entorno digital</a:t>
              </a:r>
            </a:p>
            <a:p>
              <a:pPr marL="85725" indent="-85725">
                <a:buFont typeface="Arial" panose="020B0604020202020204" pitchFamily="34" charset="0"/>
                <a:buChar char="•"/>
              </a:pPr>
              <a:r>
                <a:rPr lang="es-ES" sz="1600" b="1" dirty="0">
                  <a:solidFill>
                    <a:schemeClr val="bg1"/>
                  </a:solidFill>
                  <a:ea typeface="Open Sans Condensed" panose="020B0806030504020204" pitchFamily="34" charset="0"/>
                  <a:cs typeface="Open Sans Condensed" panose="020B0806030504020204" pitchFamily="34" charset="0"/>
                </a:rPr>
                <a:t>Espacios para colaboración específica (polos de conocimiento)</a:t>
              </a:r>
            </a:p>
            <a:p>
              <a:pPr marL="85725" indent="-85725">
                <a:buFont typeface="Arial" panose="020B0604020202020204" pitchFamily="34" charset="0"/>
                <a:buChar char="•"/>
              </a:pPr>
              <a:r>
                <a:rPr lang="es-ES" sz="1600" b="1" dirty="0">
                  <a:solidFill>
                    <a:schemeClr val="bg1"/>
                  </a:solidFill>
                  <a:ea typeface="Open Sans Condensed" panose="020B0806030504020204" pitchFamily="34" charset="0"/>
                  <a:cs typeface="Open Sans Condensed" panose="020B0806030504020204" pitchFamily="34" charset="0"/>
                </a:rPr>
                <a:t>Espacios para abrir debates, reuniones alrededor de  temáticas</a:t>
              </a:r>
            </a:p>
            <a:p>
              <a:pPr marL="85725" indent="-85725">
                <a:buFont typeface="Arial" panose="020B0604020202020204" pitchFamily="34" charset="0"/>
                <a:buChar char="•"/>
              </a:pPr>
              <a:r>
                <a:rPr lang="es-ES" sz="1600" b="1" dirty="0">
                  <a:solidFill>
                    <a:schemeClr val="bg1"/>
                  </a:solidFill>
                  <a:ea typeface="Open Sans Condensed" panose="020B0806030504020204" pitchFamily="34" charset="0"/>
                  <a:cs typeface="Open Sans Condensed" panose="020B0806030504020204" pitchFamily="34" charset="0"/>
                </a:rPr>
                <a:t>Posibilidad de crear itinerarios de capacitación online</a:t>
              </a:r>
            </a:p>
            <a:p>
              <a:pPr marL="85725" indent="-85725">
                <a:buFont typeface="Arial" panose="020B0604020202020204" pitchFamily="34" charset="0"/>
                <a:buChar char="•"/>
              </a:pPr>
              <a:r>
                <a:rPr lang="es-ES" sz="1600" b="1" dirty="0">
                  <a:solidFill>
                    <a:schemeClr val="bg1"/>
                  </a:solidFill>
                  <a:ea typeface="Open Sans Condensed" panose="020B0806030504020204" pitchFamily="34" charset="0"/>
                  <a:cs typeface="Open Sans Condensed" panose="020B0806030504020204" pitchFamily="34" charset="0"/>
                </a:rPr>
                <a:t>Gestión de proyectos </a:t>
              </a:r>
            </a:p>
            <a:p>
              <a:pPr marL="85725" indent="-85725">
                <a:buFont typeface="Arial" panose="020B0604020202020204" pitchFamily="34" charset="0"/>
                <a:buChar char="•"/>
              </a:pPr>
              <a:r>
                <a:rPr lang="es-ES" sz="1600" b="1" dirty="0">
                  <a:solidFill>
                    <a:schemeClr val="bg1"/>
                  </a:solidFill>
                  <a:ea typeface="Open Sans Condensed" panose="020B0806030504020204" pitchFamily="34" charset="0"/>
                  <a:cs typeface="Open Sans Condensed" panose="020B0806030504020204" pitchFamily="34" charset="0"/>
                </a:rPr>
                <a:t>Creación de todo tipo de contenidos (informes, artículos, ..)</a:t>
              </a:r>
            </a:p>
            <a:p>
              <a:pPr marL="85725" indent="-85725">
                <a:buFont typeface="Arial" panose="020B0604020202020204" pitchFamily="34" charset="0"/>
                <a:buChar char="•"/>
              </a:pPr>
              <a:r>
                <a:rPr lang="es-ES" sz="1600" b="1" dirty="0">
                  <a:solidFill>
                    <a:schemeClr val="bg1"/>
                  </a:solidFill>
                  <a:ea typeface="Open Sans Condensed" panose="020B0806030504020204" pitchFamily="34" charset="0"/>
                  <a:cs typeface="Open Sans Condensed" panose="020B0806030504020204" pitchFamily="34" charset="0"/>
                </a:rPr>
                <a:t>Gestión y visualización de datos de la comunidad</a:t>
              </a:r>
            </a:p>
          </p:txBody>
        </p:sp>
      </p:grpSp>
      <p:sp>
        <p:nvSpPr>
          <p:cNvPr id="16" name="Marcador de número de diapositiva 1"/>
          <p:cNvSpPr>
            <a:spLocks noGrp="1"/>
          </p:cNvSpPr>
          <p:nvPr>
            <p:ph type="sldNum" sz="quarter" idx="12"/>
          </p:nvPr>
        </p:nvSpPr>
        <p:spPr>
          <a:xfrm>
            <a:off x="11777051" y="6458134"/>
            <a:ext cx="487378" cy="481343"/>
          </a:xfrm>
        </p:spPr>
        <p:txBody>
          <a:bodyPr/>
          <a:lstStyle/>
          <a:p>
            <a:r>
              <a:rPr lang="en-US" sz="2000" dirty="0" smtClean="0"/>
              <a:t>15</a:t>
            </a:r>
            <a:endParaRPr lang="en-US" sz="2000" dirty="0"/>
          </a:p>
        </p:txBody>
      </p:sp>
    </p:spTree>
    <p:extLst>
      <p:ext uri="{BB962C8B-B14F-4D97-AF65-F5344CB8AC3E}">
        <p14:creationId xmlns:p14="http://schemas.microsoft.com/office/powerpoint/2010/main" val="53242636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23FEED7-63F6-4545-95DD-474E69B1B82D}"/>
              </a:ext>
            </a:extLst>
          </p:cNvPr>
          <p:cNvSpPr/>
          <p:nvPr/>
        </p:nvSpPr>
        <p:spPr>
          <a:xfrm>
            <a:off x="419022" y="193816"/>
            <a:ext cx="7338869" cy="707886"/>
          </a:xfrm>
          <a:prstGeom prst="rect">
            <a:avLst/>
          </a:prstGeom>
          <a:noFill/>
        </p:spPr>
        <p:txBody>
          <a:bodyPr wrap="none" lIns="91440" tIns="45720" rIns="91440" bIns="45720">
            <a:spAutoFit/>
          </a:bodyPr>
          <a:lstStyle/>
          <a:p>
            <a:r>
              <a:rPr lang="es-ES" sz="4000" b="1"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Red Inteligente Colaborativa</a:t>
            </a:r>
          </a:p>
        </p:txBody>
      </p:sp>
      <p:sp>
        <p:nvSpPr>
          <p:cNvPr id="3" name="Rectángulo 2">
            <a:extLst>
              <a:ext uri="{FF2B5EF4-FFF2-40B4-BE49-F238E27FC236}">
                <a16:creationId xmlns:a16="http://schemas.microsoft.com/office/drawing/2014/main" id="{87764694-FBD5-4C20-8418-35AF9FE9E35F}"/>
              </a:ext>
            </a:extLst>
          </p:cNvPr>
          <p:cNvSpPr/>
          <p:nvPr/>
        </p:nvSpPr>
        <p:spPr>
          <a:xfrm>
            <a:off x="500646" y="1209479"/>
            <a:ext cx="5595354" cy="584775"/>
          </a:xfrm>
          <a:prstGeom prst="rect">
            <a:avLst/>
          </a:prstGeom>
          <a:noFill/>
        </p:spPr>
        <p:txBody>
          <a:bodyPr wrap="square" lIns="91440" tIns="45720" rIns="91440" bIns="45720">
            <a:spAutoFit/>
          </a:bodyPr>
          <a:lstStyle/>
          <a:p>
            <a:r>
              <a:rPr lang="es-ES" sz="3200" b="1" dirty="0">
                <a:ln w="9525">
                  <a:solidFill>
                    <a:schemeClr val="tx1"/>
                  </a:solidFill>
                  <a:prstDash val="solid"/>
                </a:ln>
                <a:solidFill>
                  <a:srgbClr val="FFFF00"/>
                </a:solidFill>
                <a:effectLst>
                  <a:outerShdw blurRad="63500" sx="102000" sy="102000" algn="ctr" rotWithShape="0">
                    <a:prstClr val="black">
                      <a:alpha val="40000"/>
                    </a:prstClr>
                  </a:outerShdw>
                </a:effectLst>
              </a:rPr>
              <a:t>Conexión entre centros:</a:t>
            </a:r>
          </a:p>
        </p:txBody>
      </p:sp>
      <p:sp>
        <p:nvSpPr>
          <p:cNvPr id="14" name="Rectángulo 13">
            <a:extLst>
              <a:ext uri="{FF2B5EF4-FFF2-40B4-BE49-F238E27FC236}">
                <a16:creationId xmlns:a16="http://schemas.microsoft.com/office/drawing/2014/main" id="{5E0A484A-78E8-464B-97D6-785532F248C8}"/>
              </a:ext>
            </a:extLst>
          </p:cNvPr>
          <p:cNvSpPr/>
          <p:nvPr/>
        </p:nvSpPr>
        <p:spPr>
          <a:xfrm>
            <a:off x="6200672" y="1552575"/>
            <a:ext cx="5721078" cy="4616309"/>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endParaRPr lang="es-ES"/>
          </a:p>
        </p:txBody>
      </p:sp>
      <p:grpSp>
        <p:nvGrpSpPr>
          <p:cNvPr id="13" name="Grupo 12">
            <a:extLst>
              <a:ext uri="{FF2B5EF4-FFF2-40B4-BE49-F238E27FC236}">
                <a16:creationId xmlns:a16="http://schemas.microsoft.com/office/drawing/2014/main" id="{D0A3449F-BAAA-44DB-88B5-DE85E7B86361}"/>
              </a:ext>
            </a:extLst>
          </p:cNvPr>
          <p:cNvGrpSpPr/>
          <p:nvPr/>
        </p:nvGrpSpPr>
        <p:grpSpPr>
          <a:xfrm>
            <a:off x="6164398" y="1472043"/>
            <a:ext cx="5884495" cy="4631748"/>
            <a:chOff x="6299988" y="2179942"/>
            <a:chExt cx="5884495" cy="4631748"/>
          </a:xfrm>
        </p:grpSpPr>
        <p:pic>
          <p:nvPicPr>
            <p:cNvPr id="17" name="Google Shape;253;p52">
              <a:extLst>
                <a:ext uri="{FF2B5EF4-FFF2-40B4-BE49-F238E27FC236}">
                  <a16:creationId xmlns:a16="http://schemas.microsoft.com/office/drawing/2014/main" id="{C6CD7140-9CE7-432A-8469-567C935C0F66}"/>
                </a:ext>
              </a:extLst>
            </p:cNvPr>
            <p:cNvPicPr preferRelativeResize="0"/>
            <p:nvPr/>
          </p:nvPicPr>
          <p:blipFill>
            <a:blip r:embed="rId3">
              <a:alphaModFix/>
            </a:blip>
            <a:stretch>
              <a:fillRect/>
            </a:stretch>
          </p:blipFill>
          <p:spPr>
            <a:xfrm>
              <a:off x="7118585" y="2474579"/>
              <a:ext cx="4046173" cy="4326326"/>
            </a:xfrm>
            <a:prstGeom prst="rect">
              <a:avLst/>
            </a:prstGeom>
            <a:ln/>
          </p:spPr>
          <p:style>
            <a:lnRef idx="1">
              <a:schemeClr val="accent4"/>
            </a:lnRef>
            <a:fillRef idx="2">
              <a:schemeClr val="accent4"/>
            </a:fillRef>
            <a:effectRef idx="1">
              <a:schemeClr val="accent4"/>
            </a:effectRef>
            <a:fontRef idx="minor">
              <a:schemeClr val="dk1"/>
            </a:fontRef>
          </p:style>
        </p:pic>
        <p:pic>
          <p:nvPicPr>
            <p:cNvPr id="31" name="Google Shape;267;p52">
              <a:extLst>
                <a:ext uri="{FF2B5EF4-FFF2-40B4-BE49-F238E27FC236}">
                  <a16:creationId xmlns:a16="http://schemas.microsoft.com/office/drawing/2014/main" id="{D2733CC6-F21B-4CA6-B555-2D9584034436}"/>
                </a:ext>
              </a:extLst>
            </p:cNvPr>
            <p:cNvPicPr preferRelativeResize="0"/>
            <p:nvPr/>
          </p:nvPicPr>
          <p:blipFill>
            <a:blip r:embed="rId4">
              <a:alphaModFix/>
            </a:blip>
            <a:stretch>
              <a:fillRect/>
            </a:stretch>
          </p:blipFill>
          <p:spPr>
            <a:xfrm>
              <a:off x="7736223" y="5974427"/>
              <a:ext cx="107025" cy="66566"/>
            </a:xfrm>
            <a:prstGeom prst="rect">
              <a:avLst/>
            </a:prstGeom>
            <a:ln/>
          </p:spPr>
          <p:style>
            <a:lnRef idx="1">
              <a:schemeClr val="accent4"/>
            </a:lnRef>
            <a:fillRef idx="2">
              <a:schemeClr val="accent4"/>
            </a:fillRef>
            <a:effectRef idx="1">
              <a:schemeClr val="accent4"/>
            </a:effectRef>
            <a:fontRef idx="minor">
              <a:schemeClr val="dk1"/>
            </a:fontRef>
          </p:style>
        </p:pic>
        <p:pic>
          <p:nvPicPr>
            <p:cNvPr id="42" name="Google Shape;277;p52">
              <a:extLst>
                <a:ext uri="{FF2B5EF4-FFF2-40B4-BE49-F238E27FC236}">
                  <a16:creationId xmlns:a16="http://schemas.microsoft.com/office/drawing/2014/main" id="{3A59EB85-1808-492F-9A65-E5AB7E630B25}"/>
                </a:ext>
              </a:extLst>
            </p:cNvPr>
            <p:cNvPicPr preferRelativeResize="0"/>
            <p:nvPr/>
          </p:nvPicPr>
          <p:blipFill>
            <a:blip r:embed="rId5">
              <a:alphaModFix/>
            </a:blip>
            <a:stretch>
              <a:fillRect/>
            </a:stretch>
          </p:blipFill>
          <p:spPr>
            <a:xfrm>
              <a:off x="8695224" y="4391367"/>
              <a:ext cx="1121416" cy="746223"/>
            </a:xfrm>
            <a:prstGeom prst="rect">
              <a:avLst/>
            </a:prstGeom>
            <a:ln/>
          </p:spPr>
          <p:style>
            <a:lnRef idx="1">
              <a:schemeClr val="accent4"/>
            </a:lnRef>
            <a:fillRef idx="2">
              <a:schemeClr val="accent4"/>
            </a:fillRef>
            <a:effectRef idx="1">
              <a:schemeClr val="accent4"/>
            </a:effectRef>
            <a:fontRef idx="minor">
              <a:schemeClr val="dk1"/>
            </a:fontRef>
          </p:style>
        </p:pic>
        <p:cxnSp>
          <p:nvCxnSpPr>
            <p:cNvPr id="43" name="Google Shape;279;p52">
              <a:extLst>
                <a:ext uri="{FF2B5EF4-FFF2-40B4-BE49-F238E27FC236}">
                  <a16:creationId xmlns:a16="http://schemas.microsoft.com/office/drawing/2014/main" id="{3BF3130F-0389-4CFC-8B5D-17D2007707F1}"/>
                </a:ext>
              </a:extLst>
            </p:cNvPr>
            <p:cNvCxnSpPr/>
            <p:nvPr/>
          </p:nvCxnSpPr>
          <p:spPr>
            <a:xfrm rot="10800000">
              <a:off x="7652778" y="3252784"/>
              <a:ext cx="720710" cy="458634"/>
            </a:xfrm>
            <a:prstGeom prst="straightConnector1">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cxnSp>
        <p:cxnSp>
          <p:nvCxnSpPr>
            <p:cNvPr id="44" name="Google Shape;281;p52">
              <a:extLst>
                <a:ext uri="{FF2B5EF4-FFF2-40B4-BE49-F238E27FC236}">
                  <a16:creationId xmlns:a16="http://schemas.microsoft.com/office/drawing/2014/main" id="{1D6A74F4-C49F-4719-BE3A-09AA2A284600}"/>
                </a:ext>
              </a:extLst>
            </p:cNvPr>
            <p:cNvCxnSpPr/>
            <p:nvPr/>
          </p:nvCxnSpPr>
          <p:spPr>
            <a:xfrm rot="10800000" flipH="1">
              <a:off x="10168872" y="3233508"/>
              <a:ext cx="417884" cy="617637"/>
            </a:xfrm>
            <a:prstGeom prst="straightConnector1">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cxnSp>
        <p:cxnSp>
          <p:nvCxnSpPr>
            <p:cNvPr id="45" name="Google Shape;282;p52">
              <a:extLst>
                <a:ext uri="{FF2B5EF4-FFF2-40B4-BE49-F238E27FC236}">
                  <a16:creationId xmlns:a16="http://schemas.microsoft.com/office/drawing/2014/main" id="{586A1815-D4BB-4BD1-B256-2F05AC206F9C}"/>
                </a:ext>
              </a:extLst>
            </p:cNvPr>
            <p:cNvCxnSpPr/>
            <p:nvPr/>
          </p:nvCxnSpPr>
          <p:spPr>
            <a:xfrm>
              <a:off x="10137910" y="4825176"/>
              <a:ext cx="523753" cy="312414"/>
            </a:xfrm>
            <a:prstGeom prst="straightConnector1">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cxnSp>
        <p:sp>
          <p:nvSpPr>
            <p:cNvPr id="46" name="Google Shape;283;p52">
              <a:extLst>
                <a:ext uri="{FF2B5EF4-FFF2-40B4-BE49-F238E27FC236}">
                  <a16:creationId xmlns:a16="http://schemas.microsoft.com/office/drawing/2014/main" id="{F50D6072-1A74-441B-A22A-3F6D2387679D}"/>
                </a:ext>
              </a:extLst>
            </p:cNvPr>
            <p:cNvSpPr txBox="1"/>
            <p:nvPr/>
          </p:nvSpPr>
          <p:spPr>
            <a:xfrm>
              <a:off x="6438761" y="3023351"/>
              <a:ext cx="1501346" cy="469820"/>
            </a:xfrm>
            <a:prstGeom prst="rect">
              <a:avLst/>
            </a:prstGeom>
            <a:ln/>
          </p:spPr>
          <p:style>
            <a:lnRef idx="1">
              <a:schemeClr val="accent4"/>
            </a:lnRef>
            <a:fillRef idx="2">
              <a:schemeClr val="accent4"/>
            </a:fillRef>
            <a:effectRef idx="1">
              <a:schemeClr val="accent4"/>
            </a:effectRef>
            <a:fontRef idx="minor">
              <a:schemeClr val="dk1"/>
            </a:fontRef>
          </p:style>
          <p:txBody>
            <a:bodyPr spcFirstLastPara="1" wrap="square" lIns="121750" tIns="121750" rIns="121750" bIns="121750" anchor="t" anchorCtr="0">
              <a:noAutofit/>
            </a:bodyPr>
            <a:lstStyle/>
            <a:p>
              <a:pPr defTabSz="1217706">
                <a:buClr>
                  <a:srgbClr val="000000"/>
                </a:buClr>
              </a:pPr>
              <a:r>
                <a:rPr lang="es-ES" sz="1065" kern="0" dirty="0">
                  <a:solidFill>
                    <a:srgbClr val="000000"/>
                  </a:solidFill>
                  <a:latin typeface="Roboto Slab"/>
                  <a:ea typeface="Roboto Slab"/>
                  <a:cs typeface="Roboto Slab"/>
                  <a:sym typeface="Roboto Slab"/>
                </a:rPr>
                <a:t>AUTOMOCIÓN</a:t>
              </a:r>
              <a:endParaRPr sz="1065" kern="0" dirty="0">
                <a:solidFill>
                  <a:srgbClr val="000000"/>
                </a:solidFill>
                <a:latin typeface="Roboto Slab"/>
                <a:ea typeface="Roboto Slab"/>
                <a:cs typeface="Roboto Slab"/>
                <a:sym typeface="Roboto Slab"/>
              </a:endParaRPr>
            </a:p>
          </p:txBody>
        </p:sp>
        <p:sp>
          <p:nvSpPr>
            <p:cNvPr id="47" name="Google Shape;284;p52">
              <a:extLst>
                <a:ext uri="{FF2B5EF4-FFF2-40B4-BE49-F238E27FC236}">
                  <a16:creationId xmlns:a16="http://schemas.microsoft.com/office/drawing/2014/main" id="{3A235337-35AB-4D64-AADC-25C02CF92418}"/>
                </a:ext>
              </a:extLst>
            </p:cNvPr>
            <p:cNvSpPr txBox="1"/>
            <p:nvPr/>
          </p:nvSpPr>
          <p:spPr>
            <a:xfrm>
              <a:off x="7882328" y="2179942"/>
              <a:ext cx="1318372" cy="469820"/>
            </a:xfrm>
            <a:prstGeom prst="rect">
              <a:avLst/>
            </a:prstGeom>
            <a:ln/>
          </p:spPr>
          <p:style>
            <a:lnRef idx="1">
              <a:schemeClr val="accent4"/>
            </a:lnRef>
            <a:fillRef idx="2">
              <a:schemeClr val="accent4"/>
            </a:fillRef>
            <a:effectRef idx="1">
              <a:schemeClr val="accent4"/>
            </a:effectRef>
            <a:fontRef idx="minor">
              <a:schemeClr val="dk1"/>
            </a:fontRef>
          </p:style>
          <p:txBody>
            <a:bodyPr spcFirstLastPara="1" wrap="square" lIns="121750" tIns="121750" rIns="121750" bIns="121750" anchor="t" anchorCtr="0">
              <a:noAutofit/>
            </a:bodyPr>
            <a:lstStyle/>
            <a:p>
              <a:pPr defTabSz="1217706">
                <a:buClr>
                  <a:srgbClr val="000000"/>
                </a:buClr>
              </a:pPr>
              <a:r>
                <a:rPr lang="es-ES" sz="1065" kern="0">
                  <a:solidFill>
                    <a:srgbClr val="000000"/>
                  </a:solidFill>
                  <a:latin typeface="Roboto Slab"/>
                  <a:ea typeface="Roboto Slab"/>
                  <a:cs typeface="Roboto Slab"/>
                  <a:sym typeface="Roboto Slab"/>
                </a:rPr>
                <a:t>INDUSTRIA 4.0</a:t>
              </a:r>
              <a:endParaRPr sz="1065" kern="0">
                <a:solidFill>
                  <a:srgbClr val="000000"/>
                </a:solidFill>
                <a:latin typeface="Roboto Slab"/>
                <a:ea typeface="Roboto Slab"/>
                <a:cs typeface="Roboto Slab"/>
                <a:sym typeface="Roboto Slab"/>
              </a:endParaRPr>
            </a:p>
          </p:txBody>
        </p:sp>
        <p:sp>
          <p:nvSpPr>
            <p:cNvPr id="48" name="Google Shape;285;p52">
              <a:extLst>
                <a:ext uri="{FF2B5EF4-FFF2-40B4-BE49-F238E27FC236}">
                  <a16:creationId xmlns:a16="http://schemas.microsoft.com/office/drawing/2014/main" id="{68CDCBDB-82F6-4C44-8E82-4C5312C442BF}"/>
                </a:ext>
              </a:extLst>
            </p:cNvPr>
            <p:cNvSpPr txBox="1"/>
            <p:nvPr/>
          </p:nvSpPr>
          <p:spPr>
            <a:xfrm>
              <a:off x="10713899" y="2866628"/>
              <a:ext cx="1470584" cy="469820"/>
            </a:xfrm>
            <a:prstGeom prst="rect">
              <a:avLst/>
            </a:prstGeom>
            <a:ln/>
          </p:spPr>
          <p:style>
            <a:lnRef idx="1">
              <a:schemeClr val="accent4"/>
            </a:lnRef>
            <a:fillRef idx="2">
              <a:schemeClr val="accent4"/>
            </a:fillRef>
            <a:effectRef idx="1">
              <a:schemeClr val="accent4"/>
            </a:effectRef>
            <a:fontRef idx="minor">
              <a:schemeClr val="dk1"/>
            </a:fontRef>
          </p:style>
          <p:txBody>
            <a:bodyPr spcFirstLastPara="1" wrap="square" lIns="121750" tIns="121750" rIns="121750" bIns="121750" anchor="t" anchorCtr="0">
              <a:noAutofit/>
            </a:bodyPr>
            <a:lstStyle/>
            <a:p>
              <a:pPr defTabSz="1217706">
                <a:buClr>
                  <a:srgbClr val="000000"/>
                </a:buClr>
              </a:pPr>
              <a:r>
                <a:rPr lang="es-ES" sz="1065" kern="0">
                  <a:solidFill>
                    <a:srgbClr val="000000"/>
                  </a:solidFill>
                  <a:latin typeface="Roboto Slab"/>
                  <a:ea typeface="Roboto Slab"/>
                  <a:cs typeface="Roboto Slab"/>
                  <a:sym typeface="Roboto Slab"/>
                </a:rPr>
                <a:t>ELECTRÓNICA</a:t>
              </a:r>
              <a:endParaRPr sz="1065" kern="0">
                <a:solidFill>
                  <a:srgbClr val="000000"/>
                </a:solidFill>
                <a:latin typeface="Roboto Slab"/>
                <a:ea typeface="Roboto Slab"/>
                <a:cs typeface="Roboto Slab"/>
                <a:sym typeface="Roboto Slab"/>
              </a:endParaRPr>
            </a:p>
          </p:txBody>
        </p:sp>
        <p:sp>
          <p:nvSpPr>
            <p:cNvPr id="50" name="Google Shape;287;p52">
              <a:extLst>
                <a:ext uri="{FF2B5EF4-FFF2-40B4-BE49-F238E27FC236}">
                  <a16:creationId xmlns:a16="http://schemas.microsoft.com/office/drawing/2014/main" id="{639F64EE-0241-458F-9FB1-F7195D4B3262}"/>
                </a:ext>
              </a:extLst>
            </p:cNvPr>
            <p:cNvSpPr txBox="1"/>
            <p:nvPr/>
          </p:nvSpPr>
          <p:spPr>
            <a:xfrm>
              <a:off x="11129040" y="4278513"/>
              <a:ext cx="1026952" cy="469820"/>
            </a:xfrm>
            <a:prstGeom prst="rect">
              <a:avLst/>
            </a:prstGeom>
            <a:ln/>
          </p:spPr>
          <p:style>
            <a:lnRef idx="1">
              <a:schemeClr val="accent4"/>
            </a:lnRef>
            <a:fillRef idx="2">
              <a:schemeClr val="accent4"/>
            </a:fillRef>
            <a:effectRef idx="1">
              <a:schemeClr val="accent4"/>
            </a:effectRef>
            <a:fontRef idx="minor">
              <a:schemeClr val="dk1"/>
            </a:fontRef>
          </p:style>
          <p:txBody>
            <a:bodyPr spcFirstLastPara="1" wrap="square" lIns="121750" tIns="121750" rIns="121750" bIns="121750" anchor="t" anchorCtr="0">
              <a:noAutofit/>
            </a:bodyPr>
            <a:lstStyle/>
            <a:p>
              <a:pPr defTabSz="1217706">
                <a:buClr>
                  <a:srgbClr val="000000"/>
                </a:buClr>
              </a:pPr>
              <a:r>
                <a:rPr lang="es-ES" sz="1065" kern="0" dirty="0">
                  <a:solidFill>
                    <a:srgbClr val="000000"/>
                  </a:solidFill>
                  <a:latin typeface="Roboto Slab"/>
                  <a:ea typeface="Roboto Slab"/>
                  <a:cs typeface="Roboto Slab"/>
                  <a:sym typeface="Roboto Slab"/>
                </a:rPr>
                <a:t>MECÁNICA</a:t>
              </a:r>
              <a:endParaRPr sz="1065" kern="0" dirty="0">
                <a:solidFill>
                  <a:srgbClr val="000000"/>
                </a:solidFill>
                <a:latin typeface="Roboto Slab"/>
                <a:ea typeface="Roboto Slab"/>
                <a:cs typeface="Roboto Slab"/>
                <a:sym typeface="Roboto Slab"/>
              </a:endParaRPr>
            </a:p>
          </p:txBody>
        </p:sp>
        <p:cxnSp>
          <p:nvCxnSpPr>
            <p:cNvPr id="51" name="Google Shape;288;p52">
              <a:extLst>
                <a:ext uri="{FF2B5EF4-FFF2-40B4-BE49-F238E27FC236}">
                  <a16:creationId xmlns:a16="http://schemas.microsoft.com/office/drawing/2014/main" id="{2916597F-65EB-4010-ADC2-7CC2CB107EF5}"/>
                </a:ext>
              </a:extLst>
            </p:cNvPr>
            <p:cNvCxnSpPr/>
            <p:nvPr/>
          </p:nvCxnSpPr>
          <p:spPr>
            <a:xfrm rot="10800000" flipH="1">
              <a:off x="7724257" y="4877312"/>
              <a:ext cx="515763" cy="303625"/>
            </a:xfrm>
            <a:prstGeom prst="straightConnector1">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cxnSp>
        <p:sp>
          <p:nvSpPr>
            <p:cNvPr id="53" name="Google Shape;290;p52">
              <a:extLst>
                <a:ext uri="{FF2B5EF4-FFF2-40B4-BE49-F238E27FC236}">
                  <a16:creationId xmlns:a16="http://schemas.microsoft.com/office/drawing/2014/main" id="{947E597A-2B53-4531-89BE-6719A33F1667}"/>
                </a:ext>
              </a:extLst>
            </p:cNvPr>
            <p:cNvSpPr txBox="1"/>
            <p:nvPr/>
          </p:nvSpPr>
          <p:spPr>
            <a:xfrm>
              <a:off x="8695224" y="3843222"/>
              <a:ext cx="1121416" cy="438259"/>
            </a:xfrm>
            <a:prstGeom prst="rect">
              <a:avLst/>
            </a:prstGeom>
            <a:ln/>
          </p:spPr>
          <p:style>
            <a:lnRef idx="1">
              <a:schemeClr val="accent4"/>
            </a:lnRef>
            <a:fillRef idx="2">
              <a:schemeClr val="accent4"/>
            </a:fillRef>
            <a:effectRef idx="1">
              <a:schemeClr val="accent4"/>
            </a:effectRef>
            <a:fontRef idx="minor">
              <a:schemeClr val="dk1"/>
            </a:fontRef>
          </p:style>
          <p:txBody>
            <a:bodyPr spcFirstLastPara="1" wrap="square" lIns="121750" tIns="121750" rIns="121750" bIns="121750" anchor="t" anchorCtr="0">
              <a:noAutofit/>
            </a:bodyPr>
            <a:lstStyle/>
            <a:p>
              <a:pPr defTabSz="1217706">
                <a:buClr>
                  <a:srgbClr val="000000"/>
                </a:buClr>
              </a:pPr>
              <a:r>
                <a:rPr lang="es-ES" sz="1332" b="1" kern="0">
                  <a:solidFill>
                    <a:srgbClr val="000000"/>
                  </a:solidFill>
                  <a:latin typeface="Arial"/>
                  <a:cs typeface="Arial"/>
                  <a:sym typeface="Arial"/>
                </a:rPr>
                <a:t>   Aula</a:t>
              </a:r>
              <a:endParaRPr sz="1332" b="1" kern="0">
                <a:solidFill>
                  <a:srgbClr val="000000"/>
                </a:solidFill>
                <a:latin typeface="Arial"/>
                <a:cs typeface="Arial"/>
                <a:sym typeface="Arial"/>
              </a:endParaRPr>
            </a:p>
            <a:p>
              <a:pPr defTabSz="1217706">
                <a:buClr>
                  <a:srgbClr val="000000"/>
                </a:buClr>
              </a:pPr>
              <a:r>
                <a:rPr lang="es-ES" sz="1332" b="1" kern="0">
                  <a:solidFill>
                    <a:srgbClr val="000000"/>
                  </a:solidFill>
                  <a:latin typeface="Arial"/>
                  <a:cs typeface="Arial"/>
                  <a:sym typeface="Arial"/>
                </a:rPr>
                <a:t> ATECA</a:t>
              </a:r>
              <a:endParaRPr sz="1332" b="1" kern="0">
                <a:solidFill>
                  <a:srgbClr val="000000"/>
                </a:solidFill>
                <a:latin typeface="Arial"/>
                <a:cs typeface="Arial"/>
                <a:sym typeface="Arial"/>
              </a:endParaRPr>
            </a:p>
          </p:txBody>
        </p:sp>
        <p:sp>
          <p:nvSpPr>
            <p:cNvPr id="54" name="Google Shape;291;p52">
              <a:extLst>
                <a:ext uri="{FF2B5EF4-FFF2-40B4-BE49-F238E27FC236}">
                  <a16:creationId xmlns:a16="http://schemas.microsoft.com/office/drawing/2014/main" id="{52900380-DF60-408A-9A3B-FB244C2341FF}"/>
                </a:ext>
              </a:extLst>
            </p:cNvPr>
            <p:cNvSpPr txBox="1"/>
            <p:nvPr/>
          </p:nvSpPr>
          <p:spPr>
            <a:xfrm>
              <a:off x="10586756" y="5886217"/>
              <a:ext cx="1470584" cy="469820"/>
            </a:xfrm>
            <a:prstGeom prst="rect">
              <a:avLst/>
            </a:prstGeom>
            <a:ln/>
          </p:spPr>
          <p:style>
            <a:lnRef idx="1">
              <a:schemeClr val="accent4"/>
            </a:lnRef>
            <a:fillRef idx="2">
              <a:schemeClr val="accent4"/>
            </a:fillRef>
            <a:effectRef idx="1">
              <a:schemeClr val="accent4"/>
            </a:effectRef>
            <a:fontRef idx="minor">
              <a:schemeClr val="dk1"/>
            </a:fontRef>
          </p:style>
          <p:txBody>
            <a:bodyPr spcFirstLastPara="1" wrap="square" lIns="121750" tIns="121750" rIns="121750" bIns="121750" anchor="t" anchorCtr="0">
              <a:noAutofit/>
            </a:bodyPr>
            <a:lstStyle/>
            <a:p>
              <a:pPr defTabSz="1217706">
                <a:buClr>
                  <a:srgbClr val="000000"/>
                </a:buClr>
              </a:pPr>
              <a:r>
                <a:rPr lang="es-ES" sz="1065" kern="0" dirty="0">
                  <a:solidFill>
                    <a:srgbClr val="000000"/>
                  </a:solidFill>
                  <a:latin typeface="Roboto Slab"/>
                  <a:ea typeface="Roboto Slab"/>
                  <a:cs typeface="Roboto Slab"/>
                  <a:sym typeface="Roboto Slab"/>
                </a:rPr>
                <a:t>ENERGÍA</a:t>
              </a:r>
              <a:endParaRPr sz="1065" kern="0" dirty="0">
                <a:solidFill>
                  <a:srgbClr val="000000"/>
                </a:solidFill>
                <a:latin typeface="Roboto Slab"/>
                <a:ea typeface="Roboto Slab"/>
                <a:cs typeface="Roboto Slab"/>
                <a:sym typeface="Roboto Slab"/>
              </a:endParaRPr>
            </a:p>
          </p:txBody>
        </p:sp>
        <p:sp>
          <p:nvSpPr>
            <p:cNvPr id="55" name="Google Shape;292;p52">
              <a:extLst>
                <a:ext uri="{FF2B5EF4-FFF2-40B4-BE49-F238E27FC236}">
                  <a16:creationId xmlns:a16="http://schemas.microsoft.com/office/drawing/2014/main" id="{50DE84FC-32C4-46DF-8CFB-8482B87487C3}"/>
                </a:ext>
              </a:extLst>
            </p:cNvPr>
            <p:cNvSpPr txBox="1"/>
            <p:nvPr/>
          </p:nvSpPr>
          <p:spPr>
            <a:xfrm>
              <a:off x="6438877" y="5977704"/>
              <a:ext cx="1470584" cy="469820"/>
            </a:xfrm>
            <a:prstGeom prst="rect">
              <a:avLst/>
            </a:prstGeom>
            <a:ln/>
          </p:spPr>
          <p:style>
            <a:lnRef idx="1">
              <a:schemeClr val="accent4"/>
            </a:lnRef>
            <a:fillRef idx="2">
              <a:schemeClr val="accent4"/>
            </a:fillRef>
            <a:effectRef idx="1">
              <a:schemeClr val="accent4"/>
            </a:effectRef>
            <a:fontRef idx="minor">
              <a:schemeClr val="dk1"/>
            </a:fontRef>
          </p:style>
          <p:txBody>
            <a:bodyPr spcFirstLastPara="1" wrap="square" lIns="121750" tIns="121750" rIns="121750" bIns="121750" anchor="t" anchorCtr="0">
              <a:noAutofit/>
            </a:bodyPr>
            <a:lstStyle/>
            <a:p>
              <a:pPr defTabSz="1217706">
                <a:buClr>
                  <a:srgbClr val="000000"/>
                </a:buClr>
              </a:pPr>
              <a:r>
                <a:rPr lang="es-ES" sz="1065" kern="0" dirty="0">
                  <a:solidFill>
                    <a:srgbClr val="000000"/>
                  </a:solidFill>
                  <a:latin typeface="Roboto Slab"/>
                  <a:ea typeface="Roboto Slab"/>
                  <a:cs typeface="Roboto Slab"/>
                  <a:sym typeface="Roboto Slab"/>
                </a:rPr>
                <a:t>ARTES GRÁFICAS</a:t>
              </a:r>
              <a:endParaRPr sz="1065" kern="0" dirty="0">
                <a:solidFill>
                  <a:srgbClr val="000000"/>
                </a:solidFill>
                <a:latin typeface="Roboto Slab"/>
                <a:ea typeface="Roboto Slab"/>
                <a:cs typeface="Roboto Slab"/>
                <a:sym typeface="Roboto Slab"/>
              </a:endParaRPr>
            </a:p>
          </p:txBody>
        </p:sp>
        <p:sp>
          <p:nvSpPr>
            <p:cNvPr id="56" name="Google Shape;293;p52">
              <a:extLst>
                <a:ext uri="{FF2B5EF4-FFF2-40B4-BE49-F238E27FC236}">
                  <a16:creationId xmlns:a16="http://schemas.microsoft.com/office/drawing/2014/main" id="{D716E87C-A3C7-418D-8ECC-1DE7CAB7AF23}"/>
                </a:ext>
              </a:extLst>
            </p:cNvPr>
            <p:cNvSpPr/>
            <p:nvPr/>
          </p:nvSpPr>
          <p:spPr>
            <a:xfrm>
              <a:off x="6726455" y="6425367"/>
              <a:ext cx="4830436" cy="386323"/>
            </a:xfrm>
            <a:prstGeom prst="roundRect">
              <a:avLst>
                <a:gd name="adj" fmla="val 16667"/>
              </a:avLst>
            </a:prstGeom>
            <a:ln/>
          </p:spPr>
          <p:style>
            <a:lnRef idx="1">
              <a:schemeClr val="accent4"/>
            </a:lnRef>
            <a:fillRef idx="2">
              <a:schemeClr val="accent4"/>
            </a:fillRef>
            <a:effectRef idx="1">
              <a:schemeClr val="accent4"/>
            </a:effectRef>
            <a:fontRef idx="minor">
              <a:schemeClr val="dk1"/>
            </a:fontRef>
          </p:style>
          <p:txBody>
            <a:bodyPr spcFirstLastPara="1" wrap="square" lIns="121750" tIns="121750" rIns="121750" bIns="121750" anchor="ctr" anchorCtr="0">
              <a:noAutofit/>
            </a:bodyPr>
            <a:lstStyle/>
            <a:p>
              <a:pPr defTabSz="1217706">
                <a:buClr>
                  <a:srgbClr val="000000"/>
                </a:buClr>
              </a:pPr>
              <a:endParaRPr sz="1864" kern="0">
                <a:solidFill>
                  <a:srgbClr val="000000"/>
                </a:solidFill>
                <a:latin typeface="Arial"/>
                <a:cs typeface="Arial"/>
                <a:sym typeface="Arial"/>
              </a:endParaRPr>
            </a:p>
          </p:txBody>
        </p:sp>
        <p:sp>
          <p:nvSpPr>
            <p:cNvPr id="57" name="Google Shape;283;p52">
              <a:extLst>
                <a:ext uri="{FF2B5EF4-FFF2-40B4-BE49-F238E27FC236}">
                  <a16:creationId xmlns:a16="http://schemas.microsoft.com/office/drawing/2014/main" id="{49875CC0-CC3E-4F2B-A373-2BE8C71741A7}"/>
                </a:ext>
              </a:extLst>
            </p:cNvPr>
            <p:cNvSpPr txBox="1"/>
            <p:nvPr/>
          </p:nvSpPr>
          <p:spPr>
            <a:xfrm>
              <a:off x="6299988" y="4256894"/>
              <a:ext cx="985692" cy="469820"/>
            </a:xfrm>
            <a:prstGeom prst="rect">
              <a:avLst/>
            </a:prstGeom>
            <a:ln/>
          </p:spPr>
          <p:style>
            <a:lnRef idx="1">
              <a:schemeClr val="accent4"/>
            </a:lnRef>
            <a:fillRef idx="2">
              <a:schemeClr val="accent4"/>
            </a:fillRef>
            <a:effectRef idx="1">
              <a:schemeClr val="accent4"/>
            </a:effectRef>
            <a:fontRef idx="minor">
              <a:schemeClr val="dk1"/>
            </a:fontRef>
          </p:style>
          <p:txBody>
            <a:bodyPr spcFirstLastPara="1" wrap="square" lIns="121750" tIns="121750" rIns="121750" bIns="121750" anchor="t" anchorCtr="0">
              <a:noAutofit/>
            </a:bodyPr>
            <a:lstStyle/>
            <a:p>
              <a:pPr defTabSz="1217706">
                <a:buClr>
                  <a:srgbClr val="000000"/>
                </a:buClr>
              </a:pPr>
              <a:r>
                <a:rPr lang="es-ES" sz="1065" kern="0" dirty="0">
                  <a:solidFill>
                    <a:srgbClr val="000000"/>
                  </a:solidFill>
                  <a:latin typeface="Roboto Slab"/>
                  <a:ea typeface="Roboto Slab"/>
                  <a:cs typeface="Roboto Slab"/>
                  <a:sym typeface="Roboto Slab"/>
                </a:rPr>
                <a:t>AGRARIA</a:t>
              </a:r>
              <a:endParaRPr sz="1065" kern="0" dirty="0">
                <a:solidFill>
                  <a:srgbClr val="000000"/>
                </a:solidFill>
                <a:latin typeface="Roboto Slab"/>
                <a:ea typeface="Roboto Slab"/>
                <a:cs typeface="Roboto Slab"/>
                <a:sym typeface="Roboto Slab"/>
              </a:endParaRPr>
            </a:p>
          </p:txBody>
        </p:sp>
        <p:sp>
          <p:nvSpPr>
            <p:cNvPr id="58" name="Google Shape;283;p52">
              <a:extLst>
                <a:ext uri="{FF2B5EF4-FFF2-40B4-BE49-F238E27FC236}">
                  <a16:creationId xmlns:a16="http://schemas.microsoft.com/office/drawing/2014/main" id="{04EEA3B5-AD77-41EB-99E1-89B21519A6A3}"/>
                </a:ext>
              </a:extLst>
            </p:cNvPr>
            <p:cNvSpPr txBox="1"/>
            <p:nvPr/>
          </p:nvSpPr>
          <p:spPr>
            <a:xfrm>
              <a:off x="9786721" y="2187814"/>
              <a:ext cx="1495511" cy="469820"/>
            </a:xfrm>
            <a:prstGeom prst="rect">
              <a:avLst/>
            </a:prstGeom>
            <a:ln/>
          </p:spPr>
          <p:style>
            <a:lnRef idx="1">
              <a:schemeClr val="accent4"/>
            </a:lnRef>
            <a:fillRef idx="2">
              <a:schemeClr val="accent4"/>
            </a:fillRef>
            <a:effectRef idx="1">
              <a:schemeClr val="accent4"/>
            </a:effectRef>
            <a:fontRef idx="minor">
              <a:schemeClr val="dk1"/>
            </a:fontRef>
          </p:style>
          <p:txBody>
            <a:bodyPr spcFirstLastPara="1" wrap="square" lIns="121750" tIns="121750" rIns="121750" bIns="121750" anchor="t" anchorCtr="0">
              <a:noAutofit/>
            </a:bodyPr>
            <a:lstStyle/>
            <a:p>
              <a:pPr defTabSz="1217706">
                <a:buClr>
                  <a:srgbClr val="000000"/>
                </a:buClr>
              </a:pPr>
              <a:r>
                <a:rPr lang="es-ES" sz="1065" kern="0" dirty="0">
                  <a:solidFill>
                    <a:srgbClr val="000000"/>
                  </a:solidFill>
                  <a:latin typeface="Roboto Slab"/>
                  <a:ea typeface="Roboto Slab"/>
                  <a:cs typeface="Roboto Slab"/>
                  <a:sym typeface="Roboto Slab"/>
                </a:rPr>
                <a:t>ADMINISTRACIÓN</a:t>
              </a:r>
            </a:p>
            <a:p>
              <a:pPr defTabSz="1217706">
                <a:buClr>
                  <a:srgbClr val="000000"/>
                </a:buClr>
              </a:pPr>
              <a:endParaRPr sz="1065" kern="0" dirty="0">
                <a:solidFill>
                  <a:srgbClr val="000000"/>
                </a:solidFill>
                <a:latin typeface="Roboto Slab"/>
                <a:ea typeface="Roboto Slab"/>
                <a:cs typeface="Roboto Slab"/>
                <a:sym typeface="Roboto Slab"/>
              </a:endParaRPr>
            </a:p>
          </p:txBody>
        </p:sp>
      </p:grpSp>
      <p:sp>
        <p:nvSpPr>
          <p:cNvPr id="49" name="Google Shape;286;p52">
            <a:extLst>
              <a:ext uri="{FF2B5EF4-FFF2-40B4-BE49-F238E27FC236}">
                <a16:creationId xmlns:a16="http://schemas.microsoft.com/office/drawing/2014/main" id="{C62DF907-42E4-4C52-93A1-C7B20132377A}"/>
              </a:ext>
            </a:extLst>
          </p:cNvPr>
          <p:cNvSpPr txBox="1"/>
          <p:nvPr/>
        </p:nvSpPr>
        <p:spPr>
          <a:xfrm>
            <a:off x="6088198" y="5750150"/>
            <a:ext cx="5932204" cy="469820"/>
          </a:xfrm>
          <a:prstGeom prst="rect">
            <a:avLst/>
          </a:prstGeom>
          <a:ln/>
        </p:spPr>
        <p:style>
          <a:lnRef idx="1">
            <a:schemeClr val="accent4"/>
          </a:lnRef>
          <a:fillRef idx="2">
            <a:schemeClr val="accent4"/>
          </a:fillRef>
          <a:effectRef idx="1">
            <a:schemeClr val="accent4"/>
          </a:effectRef>
          <a:fontRef idx="minor">
            <a:schemeClr val="dk1"/>
          </a:fontRef>
        </p:style>
        <p:txBody>
          <a:bodyPr spcFirstLastPara="1" wrap="square" lIns="121750" tIns="121750" rIns="121750" bIns="121750" anchor="t" anchorCtr="0">
            <a:noAutofit/>
          </a:bodyPr>
          <a:lstStyle/>
          <a:p>
            <a:pPr defTabSz="1217706">
              <a:buClr>
                <a:srgbClr val="000000"/>
              </a:buClr>
            </a:pPr>
            <a:r>
              <a:rPr lang="es-ES" sz="1400" b="1" kern="0" dirty="0">
                <a:solidFill>
                  <a:schemeClr val="accent3">
                    <a:lumMod val="50000"/>
                  </a:schemeClr>
                </a:solidFill>
                <a:latin typeface="Roboto Slab"/>
                <a:ea typeface="Roboto Slab"/>
                <a:cs typeface="Roboto Slab"/>
                <a:sym typeface="Roboto Slab"/>
              </a:rPr>
              <a:t>Cada Centro con AULA ATECA puede gestionar distintas temáticas</a:t>
            </a:r>
            <a:endParaRPr sz="1400" b="1" kern="0" dirty="0">
              <a:solidFill>
                <a:schemeClr val="accent3">
                  <a:lumMod val="50000"/>
                </a:schemeClr>
              </a:solidFill>
              <a:latin typeface="Roboto Slab"/>
              <a:ea typeface="Roboto Slab"/>
              <a:cs typeface="Roboto Slab"/>
              <a:sym typeface="Roboto Slab"/>
            </a:endParaRPr>
          </a:p>
        </p:txBody>
      </p:sp>
      <p:grpSp>
        <p:nvGrpSpPr>
          <p:cNvPr id="11" name="Grupo 10">
            <a:extLst>
              <a:ext uri="{FF2B5EF4-FFF2-40B4-BE49-F238E27FC236}">
                <a16:creationId xmlns:a16="http://schemas.microsoft.com/office/drawing/2014/main" id="{C8D43DCD-712B-4B91-83BC-467B0B64435B}"/>
              </a:ext>
            </a:extLst>
          </p:cNvPr>
          <p:cNvGrpSpPr/>
          <p:nvPr/>
        </p:nvGrpSpPr>
        <p:grpSpPr>
          <a:xfrm>
            <a:off x="691936" y="1922442"/>
            <a:ext cx="4622453" cy="3483256"/>
            <a:chOff x="691936" y="1922442"/>
            <a:chExt cx="4622453" cy="3483256"/>
          </a:xfrm>
        </p:grpSpPr>
        <p:grpSp>
          <p:nvGrpSpPr>
            <p:cNvPr id="19" name="Google Shape;255;p52">
              <a:extLst>
                <a:ext uri="{FF2B5EF4-FFF2-40B4-BE49-F238E27FC236}">
                  <a16:creationId xmlns:a16="http://schemas.microsoft.com/office/drawing/2014/main" id="{56055497-B9AD-4594-B97B-AACFA585BD72}"/>
                </a:ext>
              </a:extLst>
            </p:cNvPr>
            <p:cNvGrpSpPr/>
            <p:nvPr/>
          </p:nvGrpSpPr>
          <p:grpSpPr>
            <a:xfrm>
              <a:off x="691943" y="1922442"/>
              <a:ext cx="4622446" cy="3447254"/>
              <a:chOff x="5379736" y="1897877"/>
              <a:chExt cx="3784051" cy="2784075"/>
            </a:xfrm>
          </p:grpSpPr>
          <p:pic>
            <p:nvPicPr>
              <p:cNvPr id="61" name="Google Shape;256;p52">
                <a:extLst>
                  <a:ext uri="{FF2B5EF4-FFF2-40B4-BE49-F238E27FC236}">
                    <a16:creationId xmlns:a16="http://schemas.microsoft.com/office/drawing/2014/main" id="{485DDDAE-79E2-49F5-B4C0-B3290F127120}"/>
                  </a:ext>
                </a:extLst>
              </p:cNvPr>
              <p:cNvPicPr preferRelativeResize="0"/>
              <p:nvPr/>
            </p:nvPicPr>
            <p:blipFill>
              <a:blip r:embed="rId6">
                <a:alphaModFix/>
              </a:blip>
              <a:stretch>
                <a:fillRect/>
              </a:stretch>
            </p:blipFill>
            <p:spPr>
              <a:xfrm>
                <a:off x="5474525" y="2615960"/>
                <a:ext cx="251927" cy="208850"/>
              </a:xfrm>
              <a:prstGeom prst="rect">
                <a:avLst/>
              </a:prstGeom>
              <a:noFill/>
              <a:ln>
                <a:noFill/>
              </a:ln>
              <a:effectLst>
                <a:outerShdw blurRad="57150" dist="19050" dir="5400000" algn="bl" rotWithShape="0">
                  <a:srgbClr val="000000">
                    <a:alpha val="50000"/>
                  </a:srgbClr>
                </a:outerShdw>
                <a:reflection endPos="30000" dist="38100" dir="5400000" fadeDir="5400012" sy="-100000" algn="bl" rotWithShape="0"/>
              </a:effectLst>
            </p:spPr>
          </p:pic>
          <p:pic>
            <p:nvPicPr>
              <p:cNvPr id="62" name="Google Shape;257;p52">
                <a:extLst>
                  <a:ext uri="{FF2B5EF4-FFF2-40B4-BE49-F238E27FC236}">
                    <a16:creationId xmlns:a16="http://schemas.microsoft.com/office/drawing/2014/main" id="{5BAC296A-6360-4E77-A900-9ADD8037C805}"/>
                  </a:ext>
                </a:extLst>
              </p:cNvPr>
              <p:cNvPicPr preferRelativeResize="0"/>
              <p:nvPr/>
            </p:nvPicPr>
            <p:blipFill rotWithShape="1">
              <a:blip r:embed="rId7">
                <a:alphaModFix/>
              </a:blip>
              <a:srcRect l="32298" t="37372" r="24331" b="5899"/>
              <a:stretch/>
            </p:blipFill>
            <p:spPr>
              <a:xfrm>
                <a:off x="5379736" y="1897877"/>
                <a:ext cx="3784051" cy="2784075"/>
              </a:xfrm>
              <a:prstGeom prst="rect">
                <a:avLst/>
              </a:prstGeom>
              <a:noFill/>
              <a:ln>
                <a:noFill/>
              </a:ln>
              <a:effectLst>
                <a:outerShdw blurRad="57150" dist="19050" dir="5400000" algn="bl" rotWithShape="0">
                  <a:srgbClr val="000000">
                    <a:alpha val="50000"/>
                  </a:srgbClr>
                </a:outerShdw>
                <a:reflection endPos="30000" dist="38100" dir="5400000" fadeDir="5400012" sy="-100000" algn="bl" rotWithShape="0"/>
              </a:effectLst>
            </p:spPr>
          </p:pic>
        </p:grpSp>
        <p:sp>
          <p:nvSpPr>
            <p:cNvPr id="20" name="Google Shape;258;p52">
              <a:extLst>
                <a:ext uri="{FF2B5EF4-FFF2-40B4-BE49-F238E27FC236}">
                  <a16:creationId xmlns:a16="http://schemas.microsoft.com/office/drawing/2014/main" id="{48AC84EA-C0AA-4CC5-A583-68EA29120E05}"/>
                </a:ext>
              </a:extLst>
            </p:cNvPr>
            <p:cNvSpPr/>
            <p:nvPr/>
          </p:nvSpPr>
          <p:spPr>
            <a:xfrm>
              <a:off x="1812968" y="2776045"/>
              <a:ext cx="560508" cy="552118"/>
            </a:xfrm>
            <a:prstGeom prst="ellipse">
              <a:avLst/>
            </a:prstGeom>
            <a:solidFill>
              <a:srgbClr val="FFFFFF"/>
            </a:solidFill>
            <a:ln w="9525" cap="flat" cmpd="sng">
              <a:solidFill>
                <a:srgbClr val="1155CC"/>
              </a:solidFill>
              <a:prstDash val="solid"/>
              <a:round/>
              <a:headEnd type="none" w="sm" len="sm"/>
              <a:tailEnd type="none" w="sm" len="sm"/>
            </a:ln>
          </p:spPr>
          <p:txBody>
            <a:bodyPr spcFirstLastPara="1" wrap="square" lIns="121750" tIns="121750" rIns="121750" bIns="121750" anchor="ctr" anchorCtr="0">
              <a:noAutofit/>
            </a:bodyPr>
            <a:lstStyle/>
            <a:p>
              <a:pPr defTabSz="1217706">
                <a:buClr>
                  <a:srgbClr val="000000"/>
                </a:buClr>
              </a:pPr>
              <a:endParaRPr sz="1864" kern="0">
                <a:solidFill>
                  <a:srgbClr val="000000"/>
                </a:solidFill>
                <a:latin typeface="Arial"/>
                <a:cs typeface="Arial"/>
                <a:sym typeface="Arial"/>
              </a:endParaRPr>
            </a:p>
          </p:txBody>
        </p:sp>
        <p:sp>
          <p:nvSpPr>
            <p:cNvPr id="21" name="Google Shape;259;p52">
              <a:extLst>
                <a:ext uri="{FF2B5EF4-FFF2-40B4-BE49-F238E27FC236}">
                  <a16:creationId xmlns:a16="http://schemas.microsoft.com/office/drawing/2014/main" id="{B19F4FDE-708A-4827-9B19-E7939D11A3AE}"/>
                </a:ext>
              </a:extLst>
            </p:cNvPr>
            <p:cNvSpPr/>
            <p:nvPr/>
          </p:nvSpPr>
          <p:spPr>
            <a:xfrm>
              <a:off x="1812968" y="2776061"/>
              <a:ext cx="560508" cy="552118"/>
            </a:xfrm>
            <a:prstGeom prst="ellipse">
              <a:avLst/>
            </a:prstGeom>
            <a:solidFill>
              <a:srgbClr val="FFFFFF"/>
            </a:solidFill>
            <a:ln w="9525" cap="flat" cmpd="sng">
              <a:solidFill>
                <a:srgbClr val="1155CC"/>
              </a:solidFill>
              <a:prstDash val="solid"/>
              <a:round/>
              <a:headEnd type="none" w="sm" len="sm"/>
              <a:tailEnd type="none" w="sm" len="sm"/>
            </a:ln>
          </p:spPr>
          <p:txBody>
            <a:bodyPr spcFirstLastPara="1" wrap="square" lIns="121750" tIns="121750" rIns="121750" bIns="121750" anchor="ctr" anchorCtr="0">
              <a:noAutofit/>
            </a:bodyPr>
            <a:lstStyle/>
            <a:p>
              <a:pPr defTabSz="1217706">
                <a:buClr>
                  <a:srgbClr val="000000"/>
                </a:buClr>
              </a:pPr>
              <a:endParaRPr sz="1864" kern="0">
                <a:solidFill>
                  <a:srgbClr val="000000"/>
                </a:solidFill>
                <a:latin typeface="Arial"/>
                <a:cs typeface="Arial"/>
                <a:sym typeface="Arial"/>
              </a:endParaRPr>
            </a:p>
          </p:txBody>
        </p:sp>
        <p:pic>
          <p:nvPicPr>
            <p:cNvPr id="23" name="Google Shape;261;p52">
              <a:extLst>
                <a:ext uri="{FF2B5EF4-FFF2-40B4-BE49-F238E27FC236}">
                  <a16:creationId xmlns:a16="http://schemas.microsoft.com/office/drawing/2014/main" id="{683556A6-F096-4A3A-B22F-81EFF4F4CF38}"/>
                </a:ext>
              </a:extLst>
            </p:cNvPr>
            <p:cNvPicPr preferRelativeResize="0"/>
            <p:nvPr/>
          </p:nvPicPr>
          <p:blipFill>
            <a:blip r:embed="rId8">
              <a:alphaModFix/>
            </a:blip>
            <a:stretch>
              <a:fillRect/>
            </a:stretch>
          </p:blipFill>
          <p:spPr>
            <a:xfrm>
              <a:off x="2006796" y="3845756"/>
              <a:ext cx="322801" cy="322801"/>
            </a:xfrm>
            <a:prstGeom prst="rect">
              <a:avLst/>
            </a:prstGeom>
            <a:noFill/>
            <a:ln>
              <a:noFill/>
            </a:ln>
          </p:spPr>
        </p:pic>
        <p:pic>
          <p:nvPicPr>
            <p:cNvPr id="24" name="Google Shape;262;p52">
              <a:extLst>
                <a:ext uri="{FF2B5EF4-FFF2-40B4-BE49-F238E27FC236}">
                  <a16:creationId xmlns:a16="http://schemas.microsoft.com/office/drawing/2014/main" id="{F2019417-EEA5-49ED-A269-68B7879358F4}"/>
                </a:ext>
              </a:extLst>
            </p:cNvPr>
            <p:cNvPicPr preferRelativeResize="0"/>
            <p:nvPr/>
          </p:nvPicPr>
          <p:blipFill>
            <a:blip r:embed="rId5">
              <a:alphaModFix/>
            </a:blip>
            <a:stretch>
              <a:fillRect/>
            </a:stretch>
          </p:blipFill>
          <p:spPr>
            <a:xfrm>
              <a:off x="1850674" y="2890735"/>
              <a:ext cx="485081" cy="322801"/>
            </a:xfrm>
            <a:prstGeom prst="rect">
              <a:avLst/>
            </a:prstGeom>
            <a:noFill/>
            <a:ln>
              <a:noFill/>
            </a:ln>
          </p:spPr>
        </p:pic>
        <p:sp>
          <p:nvSpPr>
            <p:cNvPr id="26" name="Google Shape;263;p52">
              <a:extLst>
                <a:ext uri="{FF2B5EF4-FFF2-40B4-BE49-F238E27FC236}">
                  <a16:creationId xmlns:a16="http://schemas.microsoft.com/office/drawing/2014/main" id="{579FA135-A694-4832-AAE2-6BEAB3EF4E65}"/>
                </a:ext>
              </a:extLst>
            </p:cNvPr>
            <p:cNvSpPr/>
            <p:nvPr/>
          </p:nvSpPr>
          <p:spPr>
            <a:xfrm>
              <a:off x="1922699" y="3731099"/>
              <a:ext cx="560508" cy="552118"/>
            </a:xfrm>
            <a:prstGeom prst="ellipse">
              <a:avLst/>
            </a:prstGeom>
            <a:solidFill>
              <a:srgbClr val="FFFFFF"/>
            </a:solidFill>
            <a:ln w="9525" cap="flat" cmpd="sng">
              <a:solidFill>
                <a:srgbClr val="1155CC"/>
              </a:solidFill>
              <a:prstDash val="solid"/>
              <a:round/>
              <a:headEnd type="none" w="sm" len="sm"/>
              <a:tailEnd type="none" w="sm" len="sm"/>
            </a:ln>
          </p:spPr>
          <p:txBody>
            <a:bodyPr spcFirstLastPara="1" wrap="square" lIns="121750" tIns="121750" rIns="121750" bIns="121750" anchor="ctr" anchorCtr="0">
              <a:noAutofit/>
            </a:bodyPr>
            <a:lstStyle/>
            <a:p>
              <a:pPr defTabSz="1217706">
                <a:buClr>
                  <a:srgbClr val="000000"/>
                </a:buClr>
              </a:pPr>
              <a:endParaRPr sz="1864" kern="0">
                <a:solidFill>
                  <a:srgbClr val="000000"/>
                </a:solidFill>
                <a:latin typeface="Arial"/>
                <a:cs typeface="Arial"/>
                <a:sym typeface="Arial"/>
              </a:endParaRPr>
            </a:p>
          </p:txBody>
        </p:sp>
        <p:sp>
          <p:nvSpPr>
            <p:cNvPr id="27" name="Google Shape;264;p52">
              <a:extLst>
                <a:ext uri="{FF2B5EF4-FFF2-40B4-BE49-F238E27FC236}">
                  <a16:creationId xmlns:a16="http://schemas.microsoft.com/office/drawing/2014/main" id="{4AAAF9D2-8DCC-4603-8703-1719F38D4F4F}"/>
                </a:ext>
              </a:extLst>
            </p:cNvPr>
            <p:cNvSpPr/>
            <p:nvPr/>
          </p:nvSpPr>
          <p:spPr>
            <a:xfrm>
              <a:off x="691936" y="2776045"/>
              <a:ext cx="560508" cy="552118"/>
            </a:xfrm>
            <a:prstGeom prst="ellipse">
              <a:avLst/>
            </a:prstGeom>
            <a:solidFill>
              <a:srgbClr val="FFFFFF"/>
            </a:solidFill>
            <a:ln w="9525" cap="flat" cmpd="sng">
              <a:solidFill>
                <a:srgbClr val="1155CC"/>
              </a:solidFill>
              <a:prstDash val="solid"/>
              <a:round/>
              <a:headEnd type="none" w="sm" len="sm"/>
              <a:tailEnd type="none" w="sm" len="sm"/>
            </a:ln>
          </p:spPr>
          <p:txBody>
            <a:bodyPr spcFirstLastPara="1" wrap="square" lIns="121750" tIns="121750" rIns="121750" bIns="121750" anchor="ctr" anchorCtr="0">
              <a:noAutofit/>
            </a:bodyPr>
            <a:lstStyle/>
            <a:p>
              <a:pPr defTabSz="1217706">
                <a:buClr>
                  <a:srgbClr val="000000"/>
                </a:buClr>
              </a:pPr>
              <a:endParaRPr sz="1864" kern="0">
                <a:solidFill>
                  <a:srgbClr val="000000"/>
                </a:solidFill>
                <a:latin typeface="Arial"/>
                <a:cs typeface="Arial"/>
                <a:sym typeface="Arial"/>
              </a:endParaRPr>
            </a:p>
          </p:txBody>
        </p:sp>
        <p:sp>
          <p:nvSpPr>
            <p:cNvPr id="29" name="Google Shape;265;p52">
              <a:extLst>
                <a:ext uri="{FF2B5EF4-FFF2-40B4-BE49-F238E27FC236}">
                  <a16:creationId xmlns:a16="http://schemas.microsoft.com/office/drawing/2014/main" id="{D598DBBB-5E20-4F6A-95DC-710414FFB59C}"/>
                </a:ext>
              </a:extLst>
            </p:cNvPr>
            <p:cNvSpPr/>
            <p:nvPr/>
          </p:nvSpPr>
          <p:spPr>
            <a:xfrm>
              <a:off x="2076294" y="4853580"/>
              <a:ext cx="560508" cy="552118"/>
            </a:xfrm>
            <a:prstGeom prst="ellipse">
              <a:avLst/>
            </a:prstGeom>
            <a:solidFill>
              <a:srgbClr val="FFFFFF"/>
            </a:solidFill>
            <a:ln w="9525" cap="flat" cmpd="sng">
              <a:solidFill>
                <a:srgbClr val="1155CC"/>
              </a:solidFill>
              <a:prstDash val="solid"/>
              <a:round/>
              <a:headEnd type="none" w="sm" len="sm"/>
              <a:tailEnd type="none" w="sm" len="sm"/>
            </a:ln>
          </p:spPr>
          <p:txBody>
            <a:bodyPr spcFirstLastPara="1" wrap="square" lIns="121750" tIns="121750" rIns="121750" bIns="121750" anchor="ctr" anchorCtr="0">
              <a:noAutofit/>
            </a:bodyPr>
            <a:lstStyle/>
            <a:p>
              <a:pPr defTabSz="1217706">
                <a:buClr>
                  <a:srgbClr val="000000"/>
                </a:buClr>
              </a:pPr>
              <a:endParaRPr sz="1864" kern="0">
                <a:solidFill>
                  <a:srgbClr val="000000"/>
                </a:solidFill>
                <a:latin typeface="Arial"/>
                <a:cs typeface="Arial"/>
                <a:sym typeface="Arial"/>
              </a:endParaRPr>
            </a:p>
          </p:txBody>
        </p:sp>
        <p:sp>
          <p:nvSpPr>
            <p:cNvPr id="30" name="Google Shape;266;p52">
              <a:extLst>
                <a:ext uri="{FF2B5EF4-FFF2-40B4-BE49-F238E27FC236}">
                  <a16:creationId xmlns:a16="http://schemas.microsoft.com/office/drawing/2014/main" id="{99E76A47-76A9-4903-95B6-D041C5B792C0}"/>
                </a:ext>
              </a:extLst>
            </p:cNvPr>
            <p:cNvSpPr/>
            <p:nvPr/>
          </p:nvSpPr>
          <p:spPr>
            <a:xfrm>
              <a:off x="1252460" y="4756467"/>
              <a:ext cx="560508" cy="552118"/>
            </a:xfrm>
            <a:prstGeom prst="ellipse">
              <a:avLst/>
            </a:prstGeom>
            <a:solidFill>
              <a:srgbClr val="FFFFFF"/>
            </a:solidFill>
            <a:ln w="9525" cap="flat" cmpd="sng">
              <a:solidFill>
                <a:srgbClr val="1155CC"/>
              </a:solidFill>
              <a:prstDash val="solid"/>
              <a:round/>
              <a:headEnd type="none" w="sm" len="sm"/>
              <a:tailEnd type="none" w="sm" len="sm"/>
            </a:ln>
          </p:spPr>
          <p:txBody>
            <a:bodyPr spcFirstLastPara="1" wrap="square" lIns="121750" tIns="121750" rIns="121750" bIns="121750" anchor="ctr" anchorCtr="0">
              <a:noAutofit/>
            </a:bodyPr>
            <a:lstStyle/>
            <a:p>
              <a:pPr defTabSz="1217706">
                <a:buClr>
                  <a:srgbClr val="000000"/>
                </a:buClr>
              </a:pPr>
              <a:endParaRPr sz="1864" kern="0">
                <a:solidFill>
                  <a:srgbClr val="000000"/>
                </a:solidFill>
                <a:latin typeface="Arial"/>
                <a:cs typeface="Arial"/>
                <a:sym typeface="Arial"/>
              </a:endParaRPr>
            </a:p>
          </p:txBody>
        </p:sp>
        <p:pic>
          <p:nvPicPr>
            <p:cNvPr id="32" name="Google Shape;268;p52">
              <a:extLst>
                <a:ext uri="{FF2B5EF4-FFF2-40B4-BE49-F238E27FC236}">
                  <a16:creationId xmlns:a16="http://schemas.microsoft.com/office/drawing/2014/main" id="{9889668F-F7B5-48A4-83B5-7E886338013F}"/>
                </a:ext>
              </a:extLst>
            </p:cNvPr>
            <p:cNvPicPr preferRelativeResize="0"/>
            <p:nvPr/>
          </p:nvPicPr>
          <p:blipFill>
            <a:blip r:embed="rId9">
              <a:alphaModFix/>
            </a:blip>
            <a:stretch>
              <a:fillRect/>
            </a:stretch>
          </p:blipFill>
          <p:spPr>
            <a:xfrm>
              <a:off x="2109037" y="5007358"/>
              <a:ext cx="485068" cy="231746"/>
            </a:xfrm>
            <a:prstGeom prst="rect">
              <a:avLst/>
            </a:prstGeom>
            <a:noFill/>
            <a:ln>
              <a:noFill/>
            </a:ln>
          </p:spPr>
        </p:pic>
        <p:pic>
          <p:nvPicPr>
            <p:cNvPr id="33" name="Google Shape;269;p52">
              <a:extLst>
                <a:ext uri="{FF2B5EF4-FFF2-40B4-BE49-F238E27FC236}">
                  <a16:creationId xmlns:a16="http://schemas.microsoft.com/office/drawing/2014/main" id="{45581C37-540C-45D4-9586-0D70FA11413C}"/>
                </a:ext>
              </a:extLst>
            </p:cNvPr>
            <p:cNvPicPr preferRelativeResize="0"/>
            <p:nvPr/>
          </p:nvPicPr>
          <p:blipFill>
            <a:blip r:embed="rId10">
              <a:alphaModFix/>
            </a:blip>
            <a:stretch>
              <a:fillRect/>
            </a:stretch>
          </p:blipFill>
          <p:spPr>
            <a:xfrm>
              <a:off x="2064358" y="3834275"/>
              <a:ext cx="277191" cy="386468"/>
            </a:xfrm>
            <a:prstGeom prst="rect">
              <a:avLst/>
            </a:prstGeom>
            <a:noFill/>
            <a:ln>
              <a:noFill/>
            </a:ln>
          </p:spPr>
        </p:pic>
        <p:pic>
          <p:nvPicPr>
            <p:cNvPr id="34" name="Google Shape;270;p52">
              <a:extLst>
                <a:ext uri="{FF2B5EF4-FFF2-40B4-BE49-F238E27FC236}">
                  <a16:creationId xmlns:a16="http://schemas.microsoft.com/office/drawing/2014/main" id="{15DD412F-D525-4A6B-AAE9-B50C719C028F}"/>
                </a:ext>
              </a:extLst>
            </p:cNvPr>
            <p:cNvPicPr preferRelativeResize="0"/>
            <p:nvPr/>
          </p:nvPicPr>
          <p:blipFill>
            <a:blip r:embed="rId11">
              <a:alphaModFix/>
            </a:blip>
            <a:stretch>
              <a:fillRect/>
            </a:stretch>
          </p:blipFill>
          <p:spPr>
            <a:xfrm>
              <a:off x="735298" y="2943638"/>
              <a:ext cx="473826" cy="216932"/>
            </a:xfrm>
            <a:prstGeom prst="rect">
              <a:avLst/>
            </a:prstGeom>
            <a:noFill/>
            <a:ln>
              <a:noFill/>
            </a:ln>
          </p:spPr>
        </p:pic>
        <p:sp>
          <p:nvSpPr>
            <p:cNvPr id="35" name="Google Shape;271;p52">
              <a:extLst>
                <a:ext uri="{FF2B5EF4-FFF2-40B4-BE49-F238E27FC236}">
                  <a16:creationId xmlns:a16="http://schemas.microsoft.com/office/drawing/2014/main" id="{288C2DE4-6ACA-4BB1-BA13-6F2F5385F395}"/>
                </a:ext>
              </a:extLst>
            </p:cNvPr>
            <p:cNvSpPr/>
            <p:nvPr/>
          </p:nvSpPr>
          <p:spPr>
            <a:xfrm>
              <a:off x="2594088" y="3370012"/>
              <a:ext cx="560508" cy="552118"/>
            </a:xfrm>
            <a:prstGeom prst="ellipse">
              <a:avLst/>
            </a:prstGeom>
            <a:solidFill>
              <a:srgbClr val="FFFFFF"/>
            </a:solidFill>
            <a:ln w="9525" cap="flat" cmpd="sng">
              <a:solidFill>
                <a:srgbClr val="1155CC"/>
              </a:solidFill>
              <a:prstDash val="solid"/>
              <a:round/>
              <a:headEnd type="none" w="sm" len="sm"/>
              <a:tailEnd type="none" w="sm" len="sm"/>
            </a:ln>
          </p:spPr>
          <p:txBody>
            <a:bodyPr spcFirstLastPara="1" wrap="square" lIns="121750" tIns="121750" rIns="121750" bIns="121750" anchor="ctr" anchorCtr="0">
              <a:noAutofit/>
            </a:bodyPr>
            <a:lstStyle/>
            <a:p>
              <a:pPr defTabSz="1217706">
                <a:buClr>
                  <a:srgbClr val="000000"/>
                </a:buClr>
              </a:pPr>
              <a:endParaRPr sz="1864" kern="0">
                <a:solidFill>
                  <a:srgbClr val="000000"/>
                </a:solidFill>
                <a:latin typeface="Arial"/>
                <a:cs typeface="Arial"/>
                <a:sym typeface="Arial"/>
              </a:endParaRPr>
            </a:p>
          </p:txBody>
        </p:sp>
        <p:sp>
          <p:nvSpPr>
            <p:cNvPr id="36" name="Google Shape;272;p52">
              <a:extLst>
                <a:ext uri="{FF2B5EF4-FFF2-40B4-BE49-F238E27FC236}">
                  <a16:creationId xmlns:a16="http://schemas.microsoft.com/office/drawing/2014/main" id="{01718E57-B9DC-40AA-8FA9-15324E926BA6}"/>
                </a:ext>
              </a:extLst>
            </p:cNvPr>
            <p:cNvSpPr/>
            <p:nvPr/>
          </p:nvSpPr>
          <p:spPr>
            <a:xfrm>
              <a:off x="3265492" y="3379849"/>
              <a:ext cx="560508" cy="552118"/>
            </a:xfrm>
            <a:prstGeom prst="ellipse">
              <a:avLst/>
            </a:prstGeom>
            <a:solidFill>
              <a:srgbClr val="FFFFFF"/>
            </a:solidFill>
            <a:ln w="9525" cap="flat" cmpd="sng">
              <a:solidFill>
                <a:srgbClr val="1155CC"/>
              </a:solidFill>
              <a:prstDash val="solid"/>
              <a:round/>
              <a:headEnd type="none" w="sm" len="sm"/>
              <a:tailEnd type="none" w="sm" len="sm"/>
            </a:ln>
          </p:spPr>
          <p:txBody>
            <a:bodyPr spcFirstLastPara="1" wrap="square" lIns="121750" tIns="121750" rIns="121750" bIns="121750" anchor="ctr" anchorCtr="0">
              <a:noAutofit/>
            </a:bodyPr>
            <a:lstStyle/>
            <a:p>
              <a:pPr defTabSz="1217706">
                <a:buClr>
                  <a:srgbClr val="000000"/>
                </a:buClr>
              </a:pPr>
              <a:endParaRPr sz="1864" kern="0">
                <a:solidFill>
                  <a:srgbClr val="000000"/>
                </a:solidFill>
                <a:latin typeface="Arial"/>
                <a:cs typeface="Arial"/>
                <a:sym typeface="Arial"/>
              </a:endParaRPr>
            </a:p>
          </p:txBody>
        </p:sp>
        <p:sp>
          <p:nvSpPr>
            <p:cNvPr id="37" name="Google Shape;273;p52">
              <a:extLst>
                <a:ext uri="{FF2B5EF4-FFF2-40B4-BE49-F238E27FC236}">
                  <a16:creationId xmlns:a16="http://schemas.microsoft.com/office/drawing/2014/main" id="{23123B35-B242-4C95-B5CF-9F374728E37C}"/>
                </a:ext>
              </a:extLst>
            </p:cNvPr>
            <p:cNvSpPr/>
            <p:nvPr/>
          </p:nvSpPr>
          <p:spPr>
            <a:xfrm>
              <a:off x="3594985" y="4037388"/>
              <a:ext cx="560508" cy="552118"/>
            </a:xfrm>
            <a:prstGeom prst="ellipse">
              <a:avLst/>
            </a:prstGeom>
            <a:solidFill>
              <a:srgbClr val="FFFFFF"/>
            </a:solidFill>
            <a:ln w="9525" cap="flat" cmpd="sng">
              <a:solidFill>
                <a:srgbClr val="1155CC"/>
              </a:solidFill>
              <a:prstDash val="solid"/>
              <a:round/>
              <a:headEnd type="none" w="sm" len="sm"/>
              <a:tailEnd type="none" w="sm" len="sm"/>
            </a:ln>
          </p:spPr>
          <p:txBody>
            <a:bodyPr spcFirstLastPara="1" wrap="square" lIns="121750" tIns="121750" rIns="121750" bIns="121750" anchor="ctr" anchorCtr="0">
              <a:noAutofit/>
            </a:bodyPr>
            <a:lstStyle/>
            <a:p>
              <a:pPr defTabSz="1217706">
                <a:buClr>
                  <a:srgbClr val="000000"/>
                </a:buClr>
              </a:pPr>
              <a:endParaRPr sz="1864" kern="0">
                <a:solidFill>
                  <a:srgbClr val="000000"/>
                </a:solidFill>
                <a:latin typeface="Arial"/>
                <a:cs typeface="Arial"/>
                <a:sym typeface="Arial"/>
              </a:endParaRPr>
            </a:p>
          </p:txBody>
        </p:sp>
        <p:pic>
          <p:nvPicPr>
            <p:cNvPr id="40" name="Google Shape;274;p52">
              <a:extLst>
                <a:ext uri="{FF2B5EF4-FFF2-40B4-BE49-F238E27FC236}">
                  <a16:creationId xmlns:a16="http://schemas.microsoft.com/office/drawing/2014/main" id="{D21ECAD5-F4D0-462F-BACC-A9593068D15C}"/>
                </a:ext>
              </a:extLst>
            </p:cNvPr>
            <p:cNvPicPr preferRelativeResize="0"/>
            <p:nvPr/>
          </p:nvPicPr>
          <p:blipFill>
            <a:blip r:embed="rId12">
              <a:alphaModFix/>
            </a:blip>
            <a:stretch>
              <a:fillRect/>
            </a:stretch>
          </p:blipFill>
          <p:spPr>
            <a:xfrm>
              <a:off x="2633255" y="3588107"/>
              <a:ext cx="485068" cy="135601"/>
            </a:xfrm>
            <a:prstGeom prst="rect">
              <a:avLst/>
            </a:prstGeom>
            <a:noFill/>
            <a:ln>
              <a:noFill/>
            </a:ln>
          </p:spPr>
        </p:pic>
        <p:pic>
          <p:nvPicPr>
            <p:cNvPr id="41" name="Google Shape;276;p52">
              <a:extLst>
                <a:ext uri="{FF2B5EF4-FFF2-40B4-BE49-F238E27FC236}">
                  <a16:creationId xmlns:a16="http://schemas.microsoft.com/office/drawing/2014/main" id="{37AA4CC4-5E38-4C75-98C4-19227DE21068}"/>
                </a:ext>
              </a:extLst>
            </p:cNvPr>
            <p:cNvPicPr preferRelativeResize="0"/>
            <p:nvPr/>
          </p:nvPicPr>
          <p:blipFill>
            <a:blip r:embed="rId13">
              <a:alphaModFix/>
            </a:blip>
            <a:stretch>
              <a:fillRect/>
            </a:stretch>
          </p:blipFill>
          <p:spPr>
            <a:xfrm>
              <a:off x="3667909" y="4147415"/>
              <a:ext cx="414688" cy="332071"/>
            </a:xfrm>
            <a:prstGeom prst="rect">
              <a:avLst/>
            </a:prstGeom>
            <a:noFill/>
            <a:ln>
              <a:noFill/>
            </a:ln>
          </p:spPr>
        </p:pic>
        <p:pic>
          <p:nvPicPr>
            <p:cNvPr id="59" name="Picture 2" descr="Seu web de l'Escola del Treball de Barcelona">
              <a:extLst>
                <a:ext uri="{FF2B5EF4-FFF2-40B4-BE49-F238E27FC236}">
                  <a16:creationId xmlns:a16="http://schemas.microsoft.com/office/drawing/2014/main" id="{6420F2E9-7D93-45CA-AE7A-99987F5E476C}"/>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r="71075"/>
            <a:stretch/>
          </p:blipFill>
          <p:spPr bwMode="auto">
            <a:xfrm>
              <a:off x="3421379" y="3471745"/>
              <a:ext cx="246529" cy="360769"/>
            </a:xfrm>
            <a:prstGeom prst="rect">
              <a:avLst/>
            </a:prstGeom>
            <a:noFill/>
            <a:extLst>
              <a:ext uri="{909E8E84-426E-40DD-AFC4-6F175D3DCCD1}">
                <a14:hiddenFill xmlns:a14="http://schemas.microsoft.com/office/drawing/2010/main">
                  <a:solidFill>
                    <a:srgbClr val="FFFFFF"/>
                  </a:solidFill>
                </a14:hiddenFill>
              </a:ext>
            </a:extLst>
          </p:spPr>
        </p:pic>
        <p:pic>
          <p:nvPicPr>
            <p:cNvPr id="60" name="Imagen 59">
              <a:extLst>
                <a:ext uri="{FF2B5EF4-FFF2-40B4-BE49-F238E27FC236}">
                  <a16:creationId xmlns:a16="http://schemas.microsoft.com/office/drawing/2014/main" id="{34B741D8-C2E9-41B9-8D4D-97F5EC6516AA}"/>
                </a:ext>
              </a:extLst>
            </p:cNvPr>
            <p:cNvPicPr>
              <a:picLocks noChangeAspect="1"/>
            </p:cNvPicPr>
            <p:nvPr/>
          </p:nvPicPr>
          <p:blipFill>
            <a:blip r:embed="rId15"/>
            <a:stretch>
              <a:fillRect/>
            </a:stretch>
          </p:blipFill>
          <p:spPr>
            <a:xfrm>
              <a:off x="1349492" y="4846682"/>
              <a:ext cx="371688" cy="371688"/>
            </a:xfrm>
            <a:prstGeom prst="rect">
              <a:avLst/>
            </a:prstGeom>
          </p:spPr>
        </p:pic>
      </p:grpSp>
      <p:sp>
        <p:nvSpPr>
          <p:cNvPr id="22" name="Google Shape;260;p52">
            <a:extLst>
              <a:ext uri="{FF2B5EF4-FFF2-40B4-BE49-F238E27FC236}">
                <a16:creationId xmlns:a16="http://schemas.microsoft.com/office/drawing/2014/main" id="{795A1E27-E82D-4299-9B74-3F597F6C9D4E}"/>
              </a:ext>
            </a:extLst>
          </p:cNvPr>
          <p:cNvSpPr txBox="1"/>
          <p:nvPr/>
        </p:nvSpPr>
        <p:spPr>
          <a:xfrm>
            <a:off x="2093214" y="5358581"/>
            <a:ext cx="1862938" cy="1088268"/>
          </a:xfrm>
          <a:prstGeom prst="rect">
            <a:avLst/>
          </a:prstGeom>
          <a:noFill/>
          <a:ln>
            <a:noFill/>
          </a:ln>
        </p:spPr>
        <p:txBody>
          <a:bodyPr spcFirstLastPara="1" wrap="square" lIns="121750" tIns="121750" rIns="121750" bIns="121750" anchor="t" anchorCtr="0">
            <a:noAutofit/>
          </a:bodyPr>
          <a:lstStyle/>
          <a:p>
            <a:pPr defTabSz="1217706">
              <a:buClr>
                <a:srgbClr val="000000"/>
              </a:buClr>
            </a:pPr>
            <a:r>
              <a:rPr lang="es-ES" sz="1600" b="1" kern="0" dirty="0">
                <a:solidFill>
                  <a:schemeClr val="accent3">
                    <a:lumMod val="50000"/>
                  </a:schemeClr>
                </a:solidFill>
                <a:ea typeface="Roboto Slab"/>
                <a:cs typeface="Roboto Slab"/>
                <a:sym typeface="Roboto Slab"/>
              </a:rPr>
              <a:t>Red de centros  interconectados con aulas ATECA.</a:t>
            </a:r>
            <a:endParaRPr sz="1600" b="1" kern="0" dirty="0">
              <a:solidFill>
                <a:schemeClr val="accent3">
                  <a:lumMod val="50000"/>
                </a:schemeClr>
              </a:solidFill>
              <a:ea typeface="Roboto Slab"/>
              <a:cs typeface="Roboto Slab"/>
              <a:sym typeface="Roboto Slab"/>
            </a:endParaRPr>
          </a:p>
        </p:txBody>
      </p:sp>
      <p:cxnSp>
        <p:nvCxnSpPr>
          <p:cNvPr id="52" name="Google Shape;289;p52">
            <a:extLst>
              <a:ext uri="{FF2B5EF4-FFF2-40B4-BE49-F238E27FC236}">
                <a16:creationId xmlns:a16="http://schemas.microsoft.com/office/drawing/2014/main" id="{AD8BD2A0-9044-4701-B446-0E068BBDBDC7}"/>
              </a:ext>
            </a:extLst>
          </p:cNvPr>
          <p:cNvCxnSpPr>
            <a:stCxn id="24" idx="0"/>
          </p:cNvCxnSpPr>
          <p:nvPr/>
        </p:nvCxnSpPr>
        <p:spPr>
          <a:xfrm rot="16200000" flipH="1">
            <a:off x="4232373" y="751576"/>
            <a:ext cx="256883" cy="4535201"/>
          </a:xfrm>
          <a:prstGeom prst="bentConnector4">
            <a:avLst>
              <a:gd name="adj1" fmla="val -123445"/>
              <a:gd name="adj2" fmla="val 52674"/>
            </a:avLst>
          </a:prstGeom>
          <a:noFill/>
          <a:ln w="28575" cap="flat" cmpd="sng">
            <a:solidFill>
              <a:srgbClr val="1155CC"/>
            </a:solidFill>
            <a:prstDash val="solid"/>
            <a:round/>
            <a:headEnd type="oval" w="med" len="med"/>
            <a:tailEnd type="triangle" w="med" len="med"/>
          </a:ln>
        </p:spPr>
      </p:cxnSp>
      <p:sp>
        <p:nvSpPr>
          <p:cNvPr id="63" name="Marcador de número de diapositiva 1"/>
          <p:cNvSpPr>
            <a:spLocks noGrp="1"/>
          </p:cNvSpPr>
          <p:nvPr>
            <p:ph type="sldNum" sz="quarter" idx="12"/>
          </p:nvPr>
        </p:nvSpPr>
        <p:spPr>
          <a:xfrm>
            <a:off x="11777051" y="6458134"/>
            <a:ext cx="487378" cy="481343"/>
          </a:xfrm>
        </p:spPr>
        <p:txBody>
          <a:bodyPr/>
          <a:lstStyle/>
          <a:p>
            <a:r>
              <a:rPr lang="en-US" sz="2000" dirty="0" smtClean="0"/>
              <a:t>16</a:t>
            </a:r>
            <a:endParaRPr lang="en-US" sz="2000" dirty="0"/>
          </a:p>
        </p:txBody>
      </p:sp>
      <p:sp>
        <p:nvSpPr>
          <p:cNvPr id="6" name="Elipse 5"/>
          <p:cNvSpPr/>
          <p:nvPr/>
        </p:nvSpPr>
        <p:spPr>
          <a:xfrm>
            <a:off x="1064173" y="2276358"/>
            <a:ext cx="463685" cy="463685"/>
          </a:xfrm>
          <a:prstGeom prst="ellipse">
            <a:avLst/>
          </a:prstGeom>
          <a:ln>
            <a:noFill/>
          </a:ln>
          <a:effectLst>
            <a:outerShdw blurRad="50800" dist="38100" dir="13500000" algn="br"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rtlCol="0" anchor="ctr"/>
          <a:lstStyle/>
          <a:p>
            <a:pPr algn="ctr"/>
            <a:r>
              <a:rPr lang="es-ES" sz="600" b="1" dirty="0" smtClean="0"/>
              <a:t>C_1</a:t>
            </a:r>
            <a:endParaRPr lang="es-ES" sz="600" b="1" dirty="0"/>
          </a:p>
        </p:txBody>
      </p:sp>
      <p:sp>
        <p:nvSpPr>
          <p:cNvPr id="64" name="Elipse 63"/>
          <p:cNvSpPr/>
          <p:nvPr/>
        </p:nvSpPr>
        <p:spPr>
          <a:xfrm>
            <a:off x="691936" y="2780167"/>
            <a:ext cx="560507" cy="596734"/>
          </a:xfrm>
          <a:prstGeom prst="ellipse">
            <a:avLst/>
          </a:prstGeom>
          <a:effectLst>
            <a:innerShdw blurRad="63500" dist="50800" dir="13500000">
              <a:prstClr val="black">
                <a:alpha val="50000"/>
              </a:prstClr>
            </a:innerShdw>
          </a:effectLst>
        </p:spPr>
        <p:style>
          <a:lnRef idx="1">
            <a:schemeClr val="accent5"/>
          </a:lnRef>
          <a:fillRef idx="2">
            <a:schemeClr val="accent5"/>
          </a:fillRef>
          <a:effectRef idx="1">
            <a:schemeClr val="accent5"/>
          </a:effectRef>
          <a:fontRef idx="minor">
            <a:schemeClr val="dk1"/>
          </a:fontRef>
        </p:style>
        <p:txBody>
          <a:bodyPr rtlCol="0" anchor="ctr"/>
          <a:lstStyle/>
          <a:p>
            <a:pPr algn="ctr"/>
            <a:r>
              <a:rPr lang="es-ES" sz="600" b="1" dirty="0" smtClean="0"/>
              <a:t>C_3</a:t>
            </a:r>
            <a:endParaRPr lang="es-ES" sz="600" b="1" dirty="0"/>
          </a:p>
        </p:txBody>
      </p:sp>
      <p:sp>
        <p:nvSpPr>
          <p:cNvPr id="65" name="Elipse 64"/>
          <p:cNvSpPr/>
          <p:nvPr/>
        </p:nvSpPr>
        <p:spPr>
          <a:xfrm>
            <a:off x="1812962" y="2776029"/>
            <a:ext cx="587337" cy="556256"/>
          </a:xfrm>
          <a:prstGeom prst="ellipse">
            <a:avLst/>
          </a:prstGeom>
          <a:solidFill>
            <a:srgbClr val="66FFCC"/>
          </a:solidFill>
          <a:effectLst>
            <a:innerShdw blurRad="63500" dist="50800" dir="13500000">
              <a:prstClr val="black">
                <a:alpha val="50000"/>
              </a:prstClr>
            </a:innerShdw>
          </a:effectLst>
        </p:spPr>
        <p:style>
          <a:lnRef idx="1">
            <a:schemeClr val="accent6"/>
          </a:lnRef>
          <a:fillRef idx="2">
            <a:schemeClr val="accent6"/>
          </a:fillRef>
          <a:effectRef idx="1">
            <a:schemeClr val="accent6"/>
          </a:effectRef>
          <a:fontRef idx="minor">
            <a:schemeClr val="dk1"/>
          </a:fontRef>
        </p:style>
        <p:txBody>
          <a:bodyPr rtlCol="0" anchor="ctr"/>
          <a:lstStyle/>
          <a:p>
            <a:pPr algn="ctr"/>
            <a:r>
              <a:rPr lang="es-ES" sz="600" b="1" dirty="0" smtClean="0"/>
              <a:t>C_4</a:t>
            </a:r>
            <a:endParaRPr lang="es-ES" sz="600" b="1" dirty="0"/>
          </a:p>
        </p:txBody>
      </p:sp>
      <p:sp>
        <p:nvSpPr>
          <p:cNvPr id="66" name="Elipse 65"/>
          <p:cNvSpPr/>
          <p:nvPr/>
        </p:nvSpPr>
        <p:spPr>
          <a:xfrm>
            <a:off x="2207566" y="2277315"/>
            <a:ext cx="515875" cy="467278"/>
          </a:xfrm>
          <a:prstGeom prst="ellipse">
            <a:avLst/>
          </a:prstGeom>
          <a:effectLst>
            <a:innerShdw blurRad="63500" dist="50800" dir="13500000">
              <a:prstClr val="black">
                <a:alpha val="50000"/>
              </a:prstClr>
            </a:innerShdw>
          </a:effectLst>
        </p:spPr>
        <p:style>
          <a:lnRef idx="1">
            <a:schemeClr val="accent2"/>
          </a:lnRef>
          <a:fillRef idx="2">
            <a:schemeClr val="accent2"/>
          </a:fillRef>
          <a:effectRef idx="1">
            <a:schemeClr val="accent2"/>
          </a:effectRef>
          <a:fontRef idx="minor">
            <a:schemeClr val="dk1"/>
          </a:fontRef>
        </p:style>
        <p:txBody>
          <a:bodyPr rtlCol="0" anchor="ctr"/>
          <a:lstStyle/>
          <a:p>
            <a:pPr algn="ctr"/>
            <a:r>
              <a:rPr lang="es-ES" sz="600" b="1" dirty="0" smtClean="0"/>
              <a:t>C_2</a:t>
            </a:r>
            <a:endParaRPr lang="es-ES" sz="600" b="1" dirty="0"/>
          </a:p>
        </p:txBody>
      </p:sp>
      <p:sp>
        <p:nvSpPr>
          <p:cNvPr id="67" name="Elipse 66"/>
          <p:cNvSpPr/>
          <p:nvPr/>
        </p:nvSpPr>
        <p:spPr>
          <a:xfrm>
            <a:off x="2979499" y="2879485"/>
            <a:ext cx="492471" cy="443276"/>
          </a:xfrm>
          <a:prstGeom prst="ellipse">
            <a:avLst/>
          </a:prstGeom>
          <a:ln/>
          <a:effectLst>
            <a:innerShdw blurRad="63500" dist="50800" dir="13500000">
              <a:prstClr val="black">
                <a:alpha val="50000"/>
              </a:prstClr>
            </a:innerShdw>
          </a:effectLst>
        </p:spPr>
        <p:style>
          <a:lnRef idx="1">
            <a:schemeClr val="accent4"/>
          </a:lnRef>
          <a:fillRef idx="2">
            <a:schemeClr val="accent4"/>
          </a:fillRef>
          <a:effectRef idx="1">
            <a:schemeClr val="accent4"/>
          </a:effectRef>
          <a:fontRef idx="minor">
            <a:schemeClr val="dk1"/>
          </a:fontRef>
        </p:style>
        <p:txBody>
          <a:bodyPr rtlCol="0" anchor="ctr"/>
          <a:lstStyle/>
          <a:p>
            <a:pPr algn="ctr"/>
            <a:r>
              <a:rPr lang="es-ES" sz="600" b="1" dirty="0" smtClean="0"/>
              <a:t>C_5</a:t>
            </a:r>
            <a:endParaRPr lang="es-ES" sz="600" b="1" dirty="0"/>
          </a:p>
        </p:txBody>
      </p:sp>
      <p:sp>
        <p:nvSpPr>
          <p:cNvPr id="68" name="Elipse 67"/>
          <p:cNvSpPr/>
          <p:nvPr/>
        </p:nvSpPr>
        <p:spPr>
          <a:xfrm>
            <a:off x="3644806" y="2926736"/>
            <a:ext cx="492471" cy="443276"/>
          </a:xfrm>
          <a:prstGeom prst="ellipse">
            <a:avLst/>
          </a:prstGeom>
          <a:ln/>
          <a:effectLst>
            <a:innerShdw blurRad="63500" dist="50800" dir="13500000">
              <a:prstClr val="black">
                <a:alpha val="50000"/>
              </a:prstClr>
            </a:innerShdw>
          </a:effectLst>
        </p:spPr>
        <p:style>
          <a:lnRef idx="1">
            <a:schemeClr val="accent4"/>
          </a:lnRef>
          <a:fillRef idx="1002">
            <a:schemeClr val="lt2"/>
          </a:fillRef>
          <a:effectRef idx="1">
            <a:schemeClr val="accent4"/>
          </a:effectRef>
          <a:fontRef idx="minor">
            <a:schemeClr val="dk1"/>
          </a:fontRef>
        </p:style>
        <p:txBody>
          <a:bodyPr rtlCol="0" anchor="ctr"/>
          <a:lstStyle/>
          <a:p>
            <a:pPr algn="ctr"/>
            <a:r>
              <a:rPr lang="es-ES" sz="600" b="1" dirty="0" smtClean="0"/>
              <a:t>C_6</a:t>
            </a:r>
            <a:endParaRPr lang="es-ES" sz="600" b="1" dirty="0"/>
          </a:p>
        </p:txBody>
      </p:sp>
      <p:sp>
        <p:nvSpPr>
          <p:cNvPr id="69" name="Elipse 68"/>
          <p:cNvSpPr/>
          <p:nvPr/>
        </p:nvSpPr>
        <p:spPr>
          <a:xfrm>
            <a:off x="2249900" y="3246718"/>
            <a:ext cx="492471" cy="443276"/>
          </a:xfrm>
          <a:prstGeom prst="ellipse">
            <a:avLst/>
          </a:prstGeom>
          <a:solidFill>
            <a:srgbClr val="FF9933"/>
          </a:solidFill>
          <a:ln/>
          <a:effectLst>
            <a:innerShdw blurRad="63500" dist="50800" dir="13500000">
              <a:prstClr val="black">
                <a:alpha val="50000"/>
              </a:prstClr>
            </a:innerShdw>
          </a:effectLst>
        </p:spPr>
        <p:style>
          <a:lnRef idx="1">
            <a:schemeClr val="accent5"/>
          </a:lnRef>
          <a:fillRef idx="1002">
            <a:schemeClr val="lt2"/>
          </a:fillRef>
          <a:effectRef idx="1">
            <a:schemeClr val="accent5"/>
          </a:effectRef>
          <a:fontRef idx="minor">
            <a:schemeClr val="dk1"/>
          </a:fontRef>
        </p:style>
        <p:txBody>
          <a:bodyPr rtlCol="0" anchor="ctr"/>
          <a:lstStyle/>
          <a:p>
            <a:pPr algn="ctr"/>
            <a:r>
              <a:rPr lang="es-ES" sz="600" b="1" dirty="0" smtClean="0"/>
              <a:t>C_7</a:t>
            </a:r>
            <a:endParaRPr lang="es-ES" sz="600" b="1" dirty="0"/>
          </a:p>
        </p:txBody>
      </p:sp>
      <p:sp>
        <p:nvSpPr>
          <p:cNvPr id="70" name="Elipse 69"/>
          <p:cNvSpPr/>
          <p:nvPr/>
        </p:nvSpPr>
        <p:spPr>
          <a:xfrm>
            <a:off x="2586320" y="3354016"/>
            <a:ext cx="594270" cy="590041"/>
          </a:xfrm>
          <a:prstGeom prst="ellipse">
            <a:avLst/>
          </a:prstGeom>
          <a:solidFill>
            <a:srgbClr val="FFFF99"/>
          </a:solidFill>
          <a:effectLst>
            <a:innerShdw blurRad="63500" dist="50800" dir="13500000">
              <a:prstClr val="black">
                <a:alpha val="50000"/>
              </a:prstClr>
            </a:innerShdw>
          </a:effectLst>
        </p:spPr>
        <p:style>
          <a:lnRef idx="1">
            <a:schemeClr val="accent6"/>
          </a:lnRef>
          <a:fillRef idx="2">
            <a:schemeClr val="accent6"/>
          </a:fillRef>
          <a:effectRef idx="1">
            <a:schemeClr val="accent6"/>
          </a:effectRef>
          <a:fontRef idx="minor">
            <a:schemeClr val="dk1"/>
          </a:fontRef>
        </p:style>
        <p:txBody>
          <a:bodyPr rtlCol="0" anchor="ctr"/>
          <a:lstStyle/>
          <a:p>
            <a:pPr algn="ctr"/>
            <a:r>
              <a:rPr lang="es-ES" sz="600" b="1" dirty="0" smtClean="0"/>
              <a:t>C_8</a:t>
            </a:r>
            <a:endParaRPr lang="es-ES" sz="600" b="1" dirty="0"/>
          </a:p>
        </p:txBody>
      </p:sp>
      <p:sp>
        <p:nvSpPr>
          <p:cNvPr id="71" name="Elipse 70"/>
          <p:cNvSpPr/>
          <p:nvPr/>
        </p:nvSpPr>
        <p:spPr>
          <a:xfrm>
            <a:off x="3250964" y="3376901"/>
            <a:ext cx="575036" cy="559095"/>
          </a:xfrm>
          <a:prstGeom prst="ellipse">
            <a:avLst/>
          </a:prstGeom>
          <a:solidFill>
            <a:srgbClr val="FFCCCC"/>
          </a:solidFill>
          <a:effectLst>
            <a:innerShdw blurRad="63500" dist="50800" dir="13500000">
              <a:prstClr val="black">
                <a:alpha val="50000"/>
              </a:prstClr>
            </a:innerShdw>
          </a:effectLst>
        </p:spPr>
        <p:style>
          <a:lnRef idx="1">
            <a:schemeClr val="accent6"/>
          </a:lnRef>
          <a:fillRef idx="2">
            <a:schemeClr val="accent6"/>
          </a:fillRef>
          <a:effectRef idx="1">
            <a:schemeClr val="accent6"/>
          </a:effectRef>
          <a:fontRef idx="minor">
            <a:schemeClr val="dk1"/>
          </a:fontRef>
        </p:style>
        <p:txBody>
          <a:bodyPr rtlCol="0" anchor="ctr"/>
          <a:lstStyle/>
          <a:p>
            <a:pPr algn="ctr"/>
            <a:r>
              <a:rPr lang="es-ES" sz="600" b="1" dirty="0" smtClean="0"/>
              <a:t>C_9</a:t>
            </a:r>
            <a:endParaRPr lang="es-ES" sz="600" b="1" dirty="0"/>
          </a:p>
        </p:txBody>
      </p:sp>
      <p:sp>
        <p:nvSpPr>
          <p:cNvPr id="72" name="Elipse 71"/>
          <p:cNvSpPr/>
          <p:nvPr/>
        </p:nvSpPr>
        <p:spPr>
          <a:xfrm>
            <a:off x="3883498" y="3558833"/>
            <a:ext cx="524303" cy="478556"/>
          </a:xfrm>
          <a:prstGeom prst="ellipse">
            <a:avLst/>
          </a:prstGeom>
          <a:solidFill>
            <a:srgbClr val="99FF99"/>
          </a:solidFill>
          <a:ln/>
          <a:effectLst>
            <a:innerShdw blurRad="63500" dist="50800" dir="13500000">
              <a:prstClr val="black">
                <a:alpha val="50000"/>
              </a:prstClr>
            </a:innerShdw>
          </a:effectLst>
        </p:spPr>
        <p:style>
          <a:lnRef idx="1">
            <a:schemeClr val="accent4"/>
          </a:lnRef>
          <a:fillRef idx="1002">
            <a:schemeClr val="lt2"/>
          </a:fillRef>
          <a:effectRef idx="1">
            <a:schemeClr val="accent4"/>
          </a:effectRef>
          <a:fontRef idx="minor">
            <a:schemeClr val="dk1"/>
          </a:fontRef>
        </p:style>
        <p:txBody>
          <a:bodyPr rtlCol="0" anchor="ctr"/>
          <a:lstStyle/>
          <a:p>
            <a:pPr algn="ctr"/>
            <a:r>
              <a:rPr lang="es-ES" sz="600" b="1" dirty="0" smtClean="0"/>
              <a:t>C_10</a:t>
            </a:r>
            <a:endParaRPr lang="es-ES" sz="600" b="1" dirty="0"/>
          </a:p>
        </p:txBody>
      </p:sp>
      <p:sp>
        <p:nvSpPr>
          <p:cNvPr id="73" name="Elipse 72"/>
          <p:cNvSpPr/>
          <p:nvPr/>
        </p:nvSpPr>
        <p:spPr>
          <a:xfrm>
            <a:off x="1921516" y="3723794"/>
            <a:ext cx="591908" cy="587411"/>
          </a:xfrm>
          <a:prstGeom prst="ellipse">
            <a:avLst/>
          </a:prstGeom>
          <a:solidFill>
            <a:srgbClr val="CCFF66"/>
          </a:solidFill>
          <a:effectLst>
            <a:innerShdw blurRad="63500" dist="50800" dir="13500000">
              <a:prstClr val="black">
                <a:alpha val="50000"/>
              </a:prstClr>
            </a:innerShdw>
          </a:effectLst>
        </p:spPr>
        <p:style>
          <a:lnRef idx="1">
            <a:schemeClr val="accent6"/>
          </a:lnRef>
          <a:fillRef idx="2">
            <a:schemeClr val="accent6"/>
          </a:fillRef>
          <a:effectRef idx="1">
            <a:schemeClr val="accent6"/>
          </a:effectRef>
          <a:fontRef idx="minor">
            <a:schemeClr val="dk1"/>
          </a:fontRef>
        </p:style>
        <p:txBody>
          <a:bodyPr rtlCol="0" anchor="ctr"/>
          <a:lstStyle/>
          <a:p>
            <a:pPr algn="ctr"/>
            <a:r>
              <a:rPr lang="es-ES" sz="600" b="1" dirty="0" smtClean="0"/>
              <a:t>C_11</a:t>
            </a:r>
            <a:endParaRPr lang="es-ES" sz="600" b="1" dirty="0"/>
          </a:p>
        </p:txBody>
      </p:sp>
      <p:sp>
        <p:nvSpPr>
          <p:cNvPr id="74" name="Elipse 73"/>
          <p:cNvSpPr/>
          <p:nvPr/>
        </p:nvSpPr>
        <p:spPr>
          <a:xfrm>
            <a:off x="3594315" y="4023863"/>
            <a:ext cx="597248" cy="577726"/>
          </a:xfrm>
          <a:prstGeom prst="ellipse">
            <a:avLst/>
          </a:prstGeom>
          <a:solidFill>
            <a:srgbClr val="FFFF66"/>
          </a:solidFill>
          <a:effectLst>
            <a:innerShdw blurRad="63500" dist="50800" dir="13500000">
              <a:prstClr val="black">
                <a:alpha val="50000"/>
              </a:prstClr>
            </a:innerShdw>
          </a:effectLst>
        </p:spPr>
        <p:style>
          <a:lnRef idx="1">
            <a:schemeClr val="accent6"/>
          </a:lnRef>
          <a:fillRef idx="2">
            <a:schemeClr val="accent6"/>
          </a:fillRef>
          <a:effectRef idx="1">
            <a:schemeClr val="accent6"/>
          </a:effectRef>
          <a:fontRef idx="minor">
            <a:schemeClr val="dk1"/>
          </a:fontRef>
        </p:style>
        <p:txBody>
          <a:bodyPr rtlCol="0" anchor="ctr"/>
          <a:lstStyle/>
          <a:p>
            <a:pPr algn="ctr"/>
            <a:r>
              <a:rPr lang="es-ES" sz="600" b="1" dirty="0" smtClean="0"/>
              <a:t>C_12</a:t>
            </a:r>
            <a:endParaRPr lang="es-ES" sz="600" b="1" dirty="0"/>
          </a:p>
        </p:txBody>
      </p:sp>
      <p:sp>
        <p:nvSpPr>
          <p:cNvPr id="75" name="Elipse 74"/>
          <p:cNvSpPr/>
          <p:nvPr/>
        </p:nvSpPr>
        <p:spPr>
          <a:xfrm>
            <a:off x="1675725" y="4281428"/>
            <a:ext cx="529373" cy="469320"/>
          </a:xfrm>
          <a:prstGeom prst="ellipse">
            <a:avLst/>
          </a:prstGeom>
          <a:solidFill>
            <a:srgbClr val="66CCFF"/>
          </a:solidFill>
          <a:ln/>
          <a:effectLst>
            <a:innerShdw blurRad="63500" dist="50800" dir="13500000">
              <a:prstClr val="black">
                <a:alpha val="50000"/>
              </a:prstClr>
            </a:innerShdw>
          </a:effectLst>
        </p:spPr>
        <p:style>
          <a:lnRef idx="1">
            <a:schemeClr val="accent4"/>
          </a:lnRef>
          <a:fillRef idx="2">
            <a:schemeClr val="accent4"/>
          </a:fillRef>
          <a:effectRef idx="1">
            <a:schemeClr val="accent4"/>
          </a:effectRef>
          <a:fontRef idx="minor">
            <a:schemeClr val="dk1"/>
          </a:fontRef>
        </p:style>
        <p:txBody>
          <a:bodyPr rtlCol="0" anchor="ctr"/>
          <a:lstStyle/>
          <a:p>
            <a:pPr algn="ctr"/>
            <a:r>
              <a:rPr lang="es-ES" sz="600" b="1" dirty="0" smtClean="0"/>
              <a:t>C_13</a:t>
            </a:r>
            <a:endParaRPr lang="es-ES" sz="600" b="1" dirty="0"/>
          </a:p>
        </p:txBody>
      </p:sp>
      <p:sp>
        <p:nvSpPr>
          <p:cNvPr id="77" name="Elipse 76"/>
          <p:cNvSpPr/>
          <p:nvPr/>
        </p:nvSpPr>
        <p:spPr>
          <a:xfrm>
            <a:off x="1248949" y="4751806"/>
            <a:ext cx="606227" cy="567540"/>
          </a:xfrm>
          <a:prstGeom prst="ellipse">
            <a:avLst/>
          </a:prstGeom>
          <a:solidFill>
            <a:srgbClr val="FFCC66"/>
          </a:solidFill>
          <a:effectLst>
            <a:innerShdw blurRad="63500" dist="50800" dir="13500000">
              <a:prstClr val="black">
                <a:alpha val="50000"/>
              </a:prstClr>
            </a:innerShdw>
          </a:effectLst>
        </p:spPr>
        <p:style>
          <a:lnRef idx="1">
            <a:schemeClr val="accent5"/>
          </a:lnRef>
          <a:fillRef idx="2">
            <a:schemeClr val="accent5"/>
          </a:fillRef>
          <a:effectRef idx="1">
            <a:schemeClr val="accent5"/>
          </a:effectRef>
          <a:fontRef idx="minor">
            <a:schemeClr val="dk1"/>
          </a:fontRef>
        </p:style>
        <p:txBody>
          <a:bodyPr rtlCol="0" anchor="ctr"/>
          <a:lstStyle/>
          <a:p>
            <a:pPr algn="ctr"/>
            <a:r>
              <a:rPr lang="es-ES" sz="600" b="1" dirty="0" smtClean="0"/>
              <a:t>C_15</a:t>
            </a:r>
            <a:endParaRPr lang="es-ES" sz="600" b="1" dirty="0"/>
          </a:p>
        </p:txBody>
      </p:sp>
      <p:sp>
        <p:nvSpPr>
          <p:cNvPr id="78" name="Elipse 77"/>
          <p:cNvSpPr/>
          <p:nvPr/>
        </p:nvSpPr>
        <p:spPr>
          <a:xfrm>
            <a:off x="2064358" y="4844695"/>
            <a:ext cx="587337" cy="556256"/>
          </a:xfrm>
          <a:prstGeom prst="ellipse">
            <a:avLst/>
          </a:prstGeom>
          <a:solidFill>
            <a:srgbClr val="CCFF99"/>
          </a:solidFill>
          <a:effectLst>
            <a:innerShdw blurRad="63500" dist="50800" dir="13500000">
              <a:prstClr val="black">
                <a:alpha val="50000"/>
              </a:prstClr>
            </a:innerShdw>
          </a:effectLst>
        </p:spPr>
        <p:style>
          <a:lnRef idx="1">
            <a:schemeClr val="accent6"/>
          </a:lnRef>
          <a:fillRef idx="2">
            <a:schemeClr val="accent6"/>
          </a:fillRef>
          <a:effectRef idx="1">
            <a:schemeClr val="accent6"/>
          </a:effectRef>
          <a:fontRef idx="minor">
            <a:schemeClr val="dk1"/>
          </a:fontRef>
        </p:style>
        <p:txBody>
          <a:bodyPr rtlCol="0" anchor="ctr"/>
          <a:lstStyle/>
          <a:p>
            <a:pPr algn="ctr"/>
            <a:r>
              <a:rPr lang="es-ES" sz="600" b="1" dirty="0" smtClean="0"/>
              <a:t>C_16</a:t>
            </a:r>
            <a:endParaRPr lang="es-ES" sz="600" b="1" dirty="0"/>
          </a:p>
        </p:txBody>
      </p:sp>
      <p:sp>
        <p:nvSpPr>
          <p:cNvPr id="80" name="Elipse 79"/>
          <p:cNvSpPr/>
          <p:nvPr/>
        </p:nvSpPr>
        <p:spPr>
          <a:xfrm>
            <a:off x="2400299" y="4322864"/>
            <a:ext cx="524303" cy="517083"/>
          </a:xfrm>
          <a:prstGeom prst="ellipse">
            <a:avLst/>
          </a:prstGeom>
          <a:solidFill>
            <a:srgbClr val="FFCC99"/>
          </a:solidFill>
          <a:ln/>
          <a:effectLst>
            <a:innerShdw blurRad="63500" dist="50800" dir="13500000">
              <a:prstClr val="black">
                <a:alpha val="50000"/>
              </a:prstClr>
            </a:innerShdw>
          </a:effectLst>
        </p:spPr>
        <p:style>
          <a:lnRef idx="1">
            <a:schemeClr val="accent4"/>
          </a:lnRef>
          <a:fillRef idx="1002">
            <a:schemeClr val="lt2"/>
          </a:fillRef>
          <a:effectRef idx="1">
            <a:schemeClr val="accent4"/>
          </a:effectRef>
          <a:fontRef idx="minor">
            <a:schemeClr val="dk1"/>
          </a:fontRef>
        </p:style>
        <p:txBody>
          <a:bodyPr rtlCol="0" anchor="ctr"/>
          <a:lstStyle/>
          <a:p>
            <a:pPr algn="ctr"/>
            <a:r>
              <a:rPr lang="es-ES" sz="600" b="1" dirty="0" smtClean="0"/>
              <a:t>C_14</a:t>
            </a:r>
            <a:endParaRPr lang="es-ES" sz="600" b="1" dirty="0"/>
          </a:p>
        </p:txBody>
      </p:sp>
      <p:sp>
        <p:nvSpPr>
          <p:cNvPr id="5" name="Rectángulo 4"/>
          <p:cNvSpPr/>
          <p:nvPr/>
        </p:nvSpPr>
        <p:spPr>
          <a:xfrm>
            <a:off x="8559634" y="3683468"/>
            <a:ext cx="1121416" cy="746223"/>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s-ES" dirty="0" smtClean="0"/>
              <a:t>centro</a:t>
            </a:r>
            <a:endParaRPr lang="es-ES" dirty="0"/>
          </a:p>
        </p:txBody>
      </p:sp>
    </p:spTree>
    <p:extLst>
      <p:ext uri="{BB962C8B-B14F-4D97-AF65-F5344CB8AC3E}">
        <p14:creationId xmlns:p14="http://schemas.microsoft.com/office/powerpoint/2010/main" val="411612911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23FEED7-63F6-4545-95DD-474E69B1B82D}"/>
              </a:ext>
            </a:extLst>
          </p:cNvPr>
          <p:cNvSpPr/>
          <p:nvPr/>
        </p:nvSpPr>
        <p:spPr>
          <a:xfrm>
            <a:off x="419022" y="193816"/>
            <a:ext cx="8625595" cy="707886"/>
          </a:xfrm>
          <a:prstGeom prst="rect">
            <a:avLst/>
          </a:prstGeom>
          <a:noFill/>
        </p:spPr>
        <p:txBody>
          <a:bodyPr wrap="square" lIns="91440" tIns="45720" rIns="91440" bIns="45720">
            <a:spAutoFit/>
          </a:bodyPr>
          <a:lstStyle/>
          <a:p>
            <a:r>
              <a:rPr lang="es-ES" sz="4000" b="1"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Red Inteligente Colaborativa</a:t>
            </a:r>
          </a:p>
        </p:txBody>
      </p:sp>
      <p:sp>
        <p:nvSpPr>
          <p:cNvPr id="3" name="Rectángulo 2">
            <a:extLst>
              <a:ext uri="{FF2B5EF4-FFF2-40B4-BE49-F238E27FC236}">
                <a16:creationId xmlns:a16="http://schemas.microsoft.com/office/drawing/2014/main" id="{87764694-FBD5-4C20-8418-35AF9FE9E35F}"/>
              </a:ext>
            </a:extLst>
          </p:cNvPr>
          <p:cNvSpPr/>
          <p:nvPr/>
        </p:nvSpPr>
        <p:spPr>
          <a:xfrm>
            <a:off x="500645" y="1209479"/>
            <a:ext cx="8266837" cy="584775"/>
          </a:xfrm>
          <a:prstGeom prst="rect">
            <a:avLst/>
          </a:prstGeom>
          <a:noFill/>
        </p:spPr>
        <p:txBody>
          <a:bodyPr wrap="square" lIns="91440" tIns="45720" rIns="91440" bIns="45720">
            <a:spAutoFit/>
          </a:bodyPr>
          <a:lstStyle/>
          <a:p>
            <a:r>
              <a:rPr lang="es-ES" sz="3200" b="1" dirty="0">
                <a:ln w="9525">
                  <a:solidFill>
                    <a:schemeClr val="tx1"/>
                  </a:solidFill>
                  <a:prstDash val="solid"/>
                </a:ln>
                <a:solidFill>
                  <a:srgbClr val="FFFF00"/>
                </a:solidFill>
                <a:effectLst>
                  <a:outerShdw blurRad="63500" sx="102000" sy="102000" algn="ctr" rotWithShape="0">
                    <a:prstClr val="black">
                      <a:alpha val="40000"/>
                    </a:prstClr>
                  </a:outerShdw>
                </a:effectLst>
              </a:rPr>
              <a:t>Ejemplos de espacios de un aula ATECA:</a:t>
            </a:r>
          </a:p>
        </p:txBody>
      </p:sp>
      <p:grpSp>
        <p:nvGrpSpPr>
          <p:cNvPr id="4" name="Grupo 3">
            <a:extLst>
              <a:ext uri="{FF2B5EF4-FFF2-40B4-BE49-F238E27FC236}">
                <a16:creationId xmlns:a16="http://schemas.microsoft.com/office/drawing/2014/main" id="{C9DA604D-74AD-4B85-9D55-B3EBBE9BC0D1}"/>
              </a:ext>
            </a:extLst>
          </p:cNvPr>
          <p:cNvGrpSpPr/>
          <p:nvPr/>
        </p:nvGrpSpPr>
        <p:grpSpPr>
          <a:xfrm>
            <a:off x="1339218" y="1916053"/>
            <a:ext cx="9271416" cy="4430277"/>
            <a:chOff x="3589922" y="2125043"/>
            <a:chExt cx="7888350" cy="4430277"/>
          </a:xfrm>
        </p:grpSpPr>
        <p:pic>
          <p:nvPicPr>
            <p:cNvPr id="65" name="Google Shape;298;p53">
              <a:extLst>
                <a:ext uri="{FF2B5EF4-FFF2-40B4-BE49-F238E27FC236}">
                  <a16:creationId xmlns:a16="http://schemas.microsoft.com/office/drawing/2014/main" id="{7DD50158-C52B-44CC-96EA-9FE1698A436E}"/>
                </a:ext>
              </a:extLst>
            </p:cNvPr>
            <p:cNvPicPr preferRelativeResize="0"/>
            <p:nvPr/>
          </p:nvPicPr>
          <p:blipFill rotWithShape="1">
            <a:blip r:embed="rId2">
              <a:alphaModFix/>
            </a:blip>
            <a:srcRect l="14390" t="26031" r="17859" b="7061"/>
            <a:stretch/>
          </p:blipFill>
          <p:spPr>
            <a:xfrm>
              <a:off x="3590276" y="2152649"/>
              <a:ext cx="7887996" cy="4402671"/>
            </a:xfrm>
            <a:prstGeom prst="rect">
              <a:avLst/>
            </a:prstGeom>
            <a:noFill/>
            <a:ln>
              <a:noFill/>
            </a:ln>
          </p:spPr>
        </p:pic>
        <p:sp>
          <p:nvSpPr>
            <p:cNvPr id="66" name="Google Shape;308;p53">
              <a:extLst>
                <a:ext uri="{FF2B5EF4-FFF2-40B4-BE49-F238E27FC236}">
                  <a16:creationId xmlns:a16="http://schemas.microsoft.com/office/drawing/2014/main" id="{3638ED79-0DC8-4770-83DE-C9CC106DA7D8}"/>
                </a:ext>
              </a:extLst>
            </p:cNvPr>
            <p:cNvSpPr/>
            <p:nvPr/>
          </p:nvSpPr>
          <p:spPr>
            <a:xfrm>
              <a:off x="4079138" y="2878592"/>
              <a:ext cx="1812163" cy="137031"/>
            </a:xfrm>
            <a:prstGeom prst="roundRect">
              <a:avLst>
                <a:gd name="adj" fmla="val 16667"/>
              </a:avLst>
            </a:prstGeom>
            <a:solidFill>
              <a:srgbClr val="FFFFFF"/>
            </a:solidFill>
            <a:ln>
              <a:noFill/>
            </a:ln>
          </p:spPr>
          <p:txBody>
            <a:bodyPr spcFirstLastPara="1" wrap="square" lIns="121750" tIns="121750" rIns="121750" bIns="121750" anchor="ctr" anchorCtr="0">
              <a:noAutofit/>
            </a:bodyPr>
            <a:lstStyle/>
            <a:p>
              <a:pPr defTabSz="1217706">
                <a:buClr>
                  <a:srgbClr val="000000"/>
                </a:buClr>
              </a:pPr>
              <a:r>
                <a:rPr lang="es-ES" sz="799" kern="0">
                  <a:solidFill>
                    <a:srgbClr val="999999"/>
                  </a:solidFill>
                  <a:latin typeface="Arial"/>
                  <a:cs typeface="Arial"/>
                  <a:sym typeface="Arial"/>
                </a:rPr>
                <a:t>Aulas de innovación</a:t>
              </a:r>
              <a:endParaRPr sz="799" kern="0">
                <a:solidFill>
                  <a:srgbClr val="999999"/>
                </a:solidFill>
                <a:latin typeface="Arial"/>
                <a:cs typeface="Arial"/>
                <a:sym typeface="Arial"/>
              </a:endParaRPr>
            </a:p>
          </p:txBody>
        </p:sp>
        <p:sp>
          <p:nvSpPr>
            <p:cNvPr id="67" name="Google Shape;309;p53">
              <a:extLst>
                <a:ext uri="{FF2B5EF4-FFF2-40B4-BE49-F238E27FC236}">
                  <a16:creationId xmlns:a16="http://schemas.microsoft.com/office/drawing/2014/main" id="{0CB21443-F715-4230-B5A8-E30C44522087}"/>
                </a:ext>
              </a:extLst>
            </p:cNvPr>
            <p:cNvSpPr/>
            <p:nvPr/>
          </p:nvSpPr>
          <p:spPr>
            <a:xfrm>
              <a:off x="4047410" y="4162407"/>
              <a:ext cx="1812163" cy="137031"/>
            </a:xfrm>
            <a:prstGeom prst="roundRect">
              <a:avLst>
                <a:gd name="adj" fmla="val 16667"/>
              </a:avLst>
            </a:prstGeom>
            <a:solidFill>
              <a:srgbClr val="FFFFFF"/>
            </a:solidFill>
            <a:ln>
              <a:noFill/>
            </a:ln>
          </p:spPr>
          <p:txBody>
            <a:bodyPr spcFirstLastPara="1" wrap="square" lIns="121750" tIns="121750" rIns="121750" bIns="121750" anchor="ctr" anchorCtr="0">
              <a:noAutofit/>
            </a:bodyPr>
            <a:lstStyle/>
            <a:p>
              <a:pPr defTabSz="1217706">
                <a:buClr>
                  <a:srgbClr val="000000"/>
                </a:buClr>
              </a:pPr>
              <a:r>
                <a:rPr lang="es-ES" sz="799" kern="0">
                  <a:solidFill>
                    <a:srgbClr val="999999"/>
                  </a:solidFill>
                  <a:latin typeface="Arial"/>
                  <a:cs typeface="Arial"/>
                  <a:sym typeface="Arial"/>
                </a:rPr>
                <a:t>Aulas de proyectos</a:t>
              </a:r>
              <a:endParaRPr sz="799" kern="0">
                <a:solidFill>
                  <a:srgbClr val="999999"/>
                </a:solidFill>
                <a:latin typeface="Arial"/>
                <a:cs typeface="Arial"/>
                <a:sym typeface="Arial"/>
              </a:endParaRPr>
            </a:p>
          </p:txBody>
        </p:sp>
        <p:sp>
          <p:nvSpPr>
            <p:cNvPr id="68" name="Google Shape;311;p53">
              <a:extLst>
                <a:ext uri="{FF2B5EF4-FFF2-40B4-BE49-F238E27FC236}">
                  <a16:creationId xmlns:a16="http://schemas.microsoft.com/office/drawing/2014/main" id="{D0BF6926-F0F7-4A6B-B1EF-A5820F6E441A}"/>
                </a:ext>
              </a:extLst>
            </p:cNvPr>
            <p:cNvSpPr/>
            <p:nvPr/>
          </p:nvSpPr>
          <p:spPr>
            <a:xfrm>
              <a:off x="4425743" y="3150028"/>
              <a:ext cx="1433830" cy="719151"/>
            </a:xfrm>
            <a:prstGeom prst="roundRect">
              <a:avLst>
                <a:gd name="adj" fmla="val 16667"/>
              </a:avLst>
            </a:prstGeom>
            <a:solidFill>
              <a:srgbClr val="D13B58"/>
            </a:solidFill>
            <a:ln>
              <a:noFill/>
            </a:ln>
          </p:spPr>
          <p:txBody>
            <a:bodyPr spcFirstLastPara="1" wrap="square" lIns="121750" tIns="121750" rIns="121750" bIns="121750" anchor="ctr" anchorCtr="0">
              <a:noAutofit/>
            </a:bodyPr>
            <a:lstStyle/>
            <a:p>
              <a:pPr defTabSz="1217706">
                <a:buClr>
                  <a:srgbClr val="000000"/>
                </a:buClr>
              </a:pPr>
              <a:r>
                <a:rPr lang="es-ES" sz="1199" kern="0" dirty="0">
                  <a:solidFill>
                    <a:srgbClr val="FFFFFF"/>
                  </a:solidFill>
                  <a:latin typeface="Roboto Slab"/>
                  <a:ea typeface="Roboto Slab"/>
                  <a:cs typeface="Roboto Slab"/>
                  <a:sym typeface="Roboto Slab"/>
                </a:rPr>
                <a:t>INDUSTRIA 4.0</a:t>
              </a:r>
              <a:endParaRPr sz="1199" kern="0" dirty="0">
                <a:solidFill>
                  <a:srgbClr val="FFFFFF"/>
                </a:solidFill>
                <a:latin typeface="Roboto Slab"/>
                <a:ea typeface="Roboto Slab"/>
                <a:cs typeface="Roboto Slab"/>
                <a:sym typeface="Roboto Slab"/>
              </a:endParaRPr>
            </a:p>
          </p:txBody>
        </p:sp>
        <p:sp>
          <p:nvSpPr>
            <p:cNvPr id="69" name="Google Shape;312;p53">
              <a:extLst>
                <a:ext uri="{FF2B5EF4-FFF2-40B4-BE49-F238E27FC236}">
                  <a16:creationId xmlns:a16="http://schemas.microsoft.com/office/drawing/2014/main" id="{11E1C62D-451D-47B2-8DE2-DAFB105E8AB2}"/>
                </a:ext>
              </a:extLst>
            </p:cNvPr>
            <p:cNvSpPr/>
            <p:nvPr/>
          </p:nvSpPr>
          <p:spPr>
            <a:xfrm>
              <a:off x="7671137" y="3178023"/>
              <a:ext cx="1433830" cy="598920"/>
            </a:xfrm>
            <a:prstGeom prst="roundRect">
              <a:avLst>
                <a:gd name="adj" fmla="val 16667"/>
              </a:avLst>
            </a:prstGeom>
            <a:solidFill>
              <a:srgbClr val="3399FF"/>
            </a:solidFill>
            <a:ln>
              <a:noFill/>
            </a:ln>
          </p:spPr>
          <p:txBody>
            <a:bodyPr spcFirstLastPara="1" wrap="square" lIns="121750" tIns="121750" rIns="121750" bIns="121750" anchor="ctr" anchorCtr="0">
              <a:noAutofit/>
            </a:bodyPr>
            <a:lstStyle/>
            <a:p>
              <a:pPr algn="ctr" defTabSz="1217706">
                <a:buClr>
                  <a:srgbClr val="000000"/>
                </a:buClr>
              </a:pPr>
              <a:r>
                <a:rPr lang="es-ES" sz="1600" b="1" kern="0" dirty="0">
                  <a:solidFill>
                    <a:srgbClr val="FFFFFF"/>
                  </a:solidFill>
                  <a:latin typeface="Roboto Slab"/>
                  <a:ea typeface="Roboto Slab"/>
                  <a:cs typeface="Roboto Slab"/>
                  <a:sym typeface="Roboto Slab"/>
                </a:rPr>
                <a:t>IOT</a:t>
              </a:r>
              <a:endParaRPr sz="1199" b="1" kern="0" dirty="0">
                <a:solidFill>
                  <a:srgbClr val="FFFFFF"/>
                </a:solidFill>
                <a:latin typeface="Roboto Slab"/>
                <a:ea typeface="Roboto Slab"/>
                <a:cs typeface="Roboto Slab"/>
                <a:sym typeface="Roboto Slab"/>
              </a:endParaRPr>
            </a:p>
          </p:txBody>
        </p:sp>
        <p:sp>
          <p:nvSpPr>
            <p:cNvPr id="70" name="Google Shape;313;p53">
              <a:extLst>
                <a:ext uri="{FF2B5EF4-FFF2-40B4-BE49-F238E27FC236}">
                  <a16:creationId xmlns:a16="http://schemas.microsoft.com/office/drawing/2014/main" id="{D3E1E131-EEC8-4B00-AC71-D119FFDA1691}"/>
                </a:ext>
              </a:extLst>
            </p:cNvPr>
            <p:cNvSpPr/>
            <p:nvPr/>
          </p:nvSpPr>
          <p:spPr>
            <a:xfrm>
              <a:off x="9286190" y="3117685"/>
              <a:ext cx="1503847" cy="751493"/>
            </a:xfrm>
            <a:prstGeom prst="roundRect">
              <a:avLst>
                <a:gd name="adj" fmla="val 16667"/>
              </a:avLst>
            </a:prstGeom>
            <a:solidFill>
              <a:srgbClr val="FF33CC"/>
            </a:solidFill>
            <a:ln>
              <a:noFill/>
            </a:ln>
          </p:spPr>
          <p:txBody>
            <a:bodyPr spcFirstLastPara="1" wrap="square" lIns="121750" tIns="121750" rIns="121750" bIns="121750" anchor="ctr" anchorCtr="0">
              <a:noAutofit/>
            </a:bodyPr>
            <a:lstStyle/>
            <a:p>
              <a:pPr defTabSz="1217706">
                <a:buClr>
                  <a:srgbClr val="000000"/>
                </a:buClr>
              </a:pPr>
              <a:r>
                <a:rPr lang="es-ES" sz="1200" b="1" kern="0" dirty="0">
                  <a:solidFill>
                    <a:srgbClr val="FFFFFF"/>
                  </a:solidFill>
                  <a:latin typeface="Roboto Slab"/>
                  <a:ea typeface="Roboto Slab"/>
                  <a:cs typeface="Roboto Slab"/>
                  <a:sym typeface="Roboto Slab"/>
                </a:rPr>
                <a:t>ELECTRÓNICA</a:t>
              </a:r>
              <a:endParaRPr sz="1100" b="1" kern="0" dirty="0">
                <a:solidFill>
                  <a:srgbClr val="FFFFFF"/>
                </a:solidFill>
                <a:latin typeface="Roboto Slab"/>
                <a:ea typeface="Roboto Slab"/>
                <a:cs typeface="Roboto Slab"/>
                <a:sym typeface="Roboto Slab"/>
              </a:endParaRPr>
            </a:p>
          </p:txBody>
        </p:sp>
        <p:sp>
          <p:nvSpPr>
            <p:cNvPr id="71" name="Google Shape;314;p53">
              <a:extLst>
                <a:ext uri="{FF2B5EF4-FFF2-40B4-BE49-F238E27FC236}">
                  <a16:creationId xmlns:a16="http://schemas.microsoft.com/office/drawing/2014/main" id="{87C03FE9-2FD3-4FBD-BE8C-78ED009D7549}"/>
                </a:ext>
              </a:extLst>
            </p:cNvPr>
            <p:cNvSpPr/>
            <p:nvPr/>
          </p:nvSpPr>
          <p:spPr>
            <a:xfrm>
              <a:off x="6876684" y="5676804"/>
              <a:ext cx="1433830" cy="466624"/>
            </a:xfrm>
            <a:prstGeom prst="roundRect">
              <a:avLst>
                <a:gd name="adj" fmla="val 16667"/>
              </a:avLst>
            </a:prstGeom>
            <a:solidFill>
              <a:schemeClr val="bg1">
                <a:lumMod val="50000"/>
              </a:schemeClr>
            </a:solidFill>
            <a:ln>
              <a:noFill/>
            </a:ln>
          </p:spPr>
          <p:txBody>
            <a:bodyPr spcFirstLastPara="1" wrap="square" lIns="121750" tIns="121750" rIns="121750" bIns="121750" anchor="ctr" anchorCtr="0">
              <a:noAutofit/>
            </a:bodyPr>
            <a:lstStyle/>
            <a:p>
              <a:pPr defTabSz="1217706">
                <a:buClr>
                  <a:srgbClr val="000000"/>
                </a:buClr>
              </a:pPr>
              <a:r>
                <a:rPr lang="es-ES" sz="932" b="1" kern="0" dirty="0">
                  <a:solidFill>
                    <a:srgbClr val="FFFFFF"/>
                  </a:solidFill>
                  <a:latin typeface="Roboto Slab"/>
                  <a:ea typeface="Roboto Slab"/>
                  <a:cs typeface="Roboto Slab"/>
                  <a:sym typeface="Roboto Slab"/>
                </a:rPr>
                <a:t>AUTOMATIZACIÓN</a:t>
              </a:r>
              <a:endParaRPr sz="932" b="1" kern="0" dirty="0">
                <a:solidFill>
                  <a:srgbClr val="FFFFFF"/>
                </a:solidFill>
                <a:latin typeface="Roboto Slab"/>
                <a:ea typeface="Roboto Slab"/>
                <a:cs typeface="Roboto Slab"/>
                <a:sym typeface="Roboto Slab"/>
              </a:endParaRPr>
            </a:p>
          </p:txBody>
        </p:sp>
        <p:sp>
          <p:nvSpPr>
            <p:cNvPr id="72" name="Google Shape;315;p53">
              <a:extLst>
                <a:ext uri="{FF2B5EF4-FFF2-40B4-BE49-F238E27FC236}">
                  <a16:creationId xmlns:a16="http://schemas.microsoft.com/office/drawing/2014/main" id="{0625DE32-DA44-47AA-8F04-18B4AAE148D1}"/>
                </a:ext>
              </a:extLst>
            </p:cNvPr>
            <p:cNvSpPr/>
            <p:nvPr/>
          </p:nvSpPr>
          <p:spPr>
            <a:xfrm>
              <a:off x="9419078" y="4632460"/>
              <a:ext cx="1238072" cy="436661"/>
            </a:xfrm>
            <a:prstGeom prst="roundRect">
              <a:avLst>
                <a:gd name="adj" fmla="val 16667"/>
              </a:avLst>
            </a:prstGeom>
            <a:solidFill>
              <a:schemeClr val="accent3">
                <a:lumMod val="75000"/>
              </a:schemeClr>
            </a:solidFill>
            <a:ln>
              <a:noFill/>
            </a:ln>
          </p:spPr>
          <p:txBody>
            <a:bodyPr spcFirstLastPara="1" wrap="square" lIns="121750" tIns="121750" rIns="121750" bIns="121750" anchor="ctr" anchorCtr="0">
              <a:noAutofit/>
            </a:bodyPr>
            <a:lstStyle/>
            <a:p>
              <a:pPr defTabSz="1217706">
                <a:buClr>
                  <a:srgbClr val="000000"/>
                </a:buClr>
              </a:pPr>
              <a:r>
                <a:rPr lang="es-ES" sz="1400" kern="0" dirty="0">
                  <a:solidFill>
                    <a:srgbClr val="FFFFFF"/>
                  </a:solidFill>
                  <a:latin typeface="Roboto Slab"/>
                  <a:ea typeface="Roboto Slab"/>
                  <a:cs typeface="Roboto Slab"/>
                  <a:sym typeface="Roboto Slab"/>
                </a:rPr>
                <a:t>ENERGÍA</a:t>
              </a:r>
              <a:endParaRPr sz="932" kern="0" dirty="0">
                <a:solidFill>
                  <a:srgbClr val="FFFFFF"/>
                </a:solidFill>
                <a:latin typeface="Roboto Slab"/>
                <a:ea typeface="Roboto Slab"/>
                <a:cs typeface="Roboto Slab"/>
                <a:sym typeface="Roboto Slab"/>
              </a:endParaRPr>
            </a:p>
          </p:txBody>
        </p:sp>
        <p:sp>
          <p:nvSpPr>
            <p:cNvPr id="73" name="Google Shape;317;p53">
              <a:extLst>
                <a:ext uri="{FF2B5EF4-FFF2-40B4-BE49-F238E27FC236}">
                  <a16:creationId xmlns:a16="http://schemas.microsoft.com/office/drawing/2014/main" id="{161D3E07-5038-43E2-B4AB-F79D37BDE924}"/>
                </a:ext>
              </a:extLst>
            </p:cNvPr>
            <p:cNvSpPr/>
            <p:nvPr/>
          </p:nvSpPr>
          <p:spPr>
            <a:xfrm>
              <a:off x="4385759" y="4592666"/>
              <a:ext cx="1433830" cy="525961"/>
            </a:xfrm>
            <a:prstGeom prst="roundRect">
              <a:avLst>
                <a:gd name="adj" fmla="val 16667"/>
              </a:avLst>
            </a:prstGeom>
            <a:gradFill>
              <a:gsLst>
                <a:gs pos="0">
                  <a:srgbClr val="8C8C8C"/>
                </a:gs>
                <a:gs pos="100000">
                  <a:srgbClr val="404040"/>
                </a:gs>
              </a:gsLst>
              <a:path path="circle">
                <a:fillToRect l="50000" t="50000" r="50000" b="50000"/>
              </a:path>
              <a:tileRect/>
            </a:gradFill>
            <a:ln>
              <a:noFill/>
            </a:ln>
          </p:spPr>
          <p:txBody>
            <a:bodyPr spcFirstLastPara="1" wrap="square" lIns="121750" tIns="121750" rIns="121750" bIns="121750" anchor="ctr" anchorCtr="0">
              <a:noAutofit/>
            </a:bodyPr>
            <a:lstStyle/>
            <a:p>
              <a:pPr defTabSz="1217706">
                <a:buClr>
                  <a:srgbClr val="000000"/>
                </a:buClr>
              </a:pPr>
              <a:r>
                <a:rPr lang="es-ES" sz="1199" b="1" kern="0" dirty="0">
                  <a:solidFill>
                    <a:srgbClr val="FFFFFF"/>
                  </a:solidFill>
                  <a:latin typeface="Roboto Slab"/>
                  <a:ea typeface="Roboto Slab"/>
                  <a:cs typeface="Roboto Slab"/>
                  <a:sym typeface="Roboto Slab"/>
                </a:rPr>
                <a:t>BIOMECÁNICA</a:t>
              </a:r>
              <a:endParaRPr sz="1199" b="1" kern="0" dirty="0">
                <a:solidFill>
                  <a:srgbClr val="FFFFFF"/>
                </a:solidFill>
                <a:latin typeface="Roboto Slab"/>
                <a:ea typeface="Roboto Slab"/>
                <a:cs typeface="Roboto Slab"/>
                <a:sym typeface="Roboto Slab"/>
              </a:endParaRPr>
            </a:p>
          </p:txBody>
        </p:sp>
        <p:sp>
          <p:nvSpPr>
            <p:cNvPr id="74" name="Google Shape;318;p53">
              <a:extLst>
                <a:ext uri="{FF2B5EF4-FFF2-40B4-BE49-F238E27FC236}">
                  <a16:creationId xmlns:a16="http://schemas.microsoft.com/office/drawing/2014/main" id="{CC8B5A7D-7CC3-45F5-84BB-DC124DE260C0}"/>
                </a:ext>
              </a:extLst>
            </p:cNvPr>
            <p:cNvSpPr/>
            <p:nvPr/>
          </p:nvSpPr>
          <p:spPr>
            <a:xfrm>
              <a:off x="6061990" y="4660426"/>
              <a:ext cx="1433830" cy="408695"/>
            </a:xfrm>
            <a:prstGeom prst="roundRect">
              <a:avLst>
                <a:gd name="adj" fmla="val 16667"/>
              </a:avLst>
            </a:prstGeom>
            <a:gradFill>
              <a:gsLst>
                <a:gs pos="0">
                  <a:srgbClr val="8C8C8C"/>
                </a:gs>
                <a:gs pos="100000">
                  <a:srgbClr val="404040"/>
                </a:gs>
              </a:gsLst>
              <a:path path="circle">
                <a:fillToRect l="50000" t="50000" r="50000" b="50000"/>
              </a:path>
              <a:tileRect/>
            </a:gradFill>
            <a:ln>
              <a:noFill/>
            </a:ln>
          </p:spPr>
          <p:txBody>
            <a:bodyPr spcFirstLastPara="1" wrap="square" lIns="121750" tIns="121750" rIns="121750" bIns="121750" anchor="ctr" anchorCtr="0">
              <a:noAutofit/>
            </a:bodyPr>
            <a:lstStyle/>
            <a:p>
              <a:pPr defTabSz="1217706">
                <a:buClr>
                  <a:srgbClr val="000000"/>
                </a:buClr>
              </a:pPr>
              <a:r>
                <a:rPr lang="es-ES" sz="1199" b="1" kern="0" dirty="0">
                  <a:solidFill>
                    <a:srgbClr val="FFFFFF"/>
                  </a:solidFill>
                  <a:latin typeface="Roboto Slab"/>
                  <a:ea typeface="Roboto Slab"/>
                  <a:cs typeface="Roboto Slab"/>
                  <a:sym typeface="Roboto Slab"/>
                </a:rPr>
                <a:t>AUTOMOCIÓN</a:t>
              </a:r>
              <a:endParaRPr sz="1199" b="1" kern="0" dirty="0">
                <a:solidFill>
                  <a:srgbClr val="FFFFFF"/>
                </a:solidFill>
                <a:latin typeface="Roboto Slab"/>
                <a:ea typeface="Roboto Slab"/>
                <a:cs typeface="Roboto Slab"/>
                <a:sym typeface="Roboto Slab"/>
              </a:endParaRPr>
            </a:p>
          </p:txBody>
        </p:sp>
        <p:sp>
          <p:nvSpPr>
            <p:cNvPr id="75" name="Google Shape;319;p53">
              <a:extLst>
                <a:ext uri="{FF2B5EF4-FFF2-40B4-BE49-F238E27FC236}">
                  <a16:creationId xmlns:a16="http://schemas.microsoft.com/office/drawing/2014/main" id="{92FBD998-58A4-4DB3-A275-187ECA105956}"/>
                </a:ext>
              </a:extLst>
            </p:cNvPr>
            <p:cNvSpPr/>
            <p:nvPr/>
          </p:nvSpPr>
          <p:spPr>
            <a:xfrm>
              <a:off x="7704679" y="4675807"/>
              <a:ext cx="1433830" cy="377933"/>
            </a:xfrm>
            <a:prstGeom prst="roundRect">
              <a:avLst>
                <a:gd name="adj" fmla="val 16667"/>
              </a:avLst>
            </a:prstGeom>
            <a:solidFill>
              <a:srgbClr val="FFC000"/>
            </a:solidFill>
            <a:ln>
              <a:noFill/>
            </a:ln>
          </p:spPr>
          <p:txBody>
            <a:bodyPr spcFirstLastPara="1" wrap="square" lIns="121750" tIns="121750" rIns="121750" bIns="121750" anchor="ctr" anchorCtr="0">
              <a:noAutofit/>
            </a:bodyPr>
            <a:lstStyle/>
            <a:p>
              <a:pPr algn="ctr" defTabSz="1217706">
                <a:buClr>
                  <a:srgbClr val="000000"/>
                </a:buClr>
              </a:pPr>
              <a:r>
                <a:rPr lang="es-ES" sz="1200" b="1" kern="0" dirty="0">
                  <a:solidFill>
                    <a:srgbClr val="FFFFFF"/>
                  </a:solidFill>
                  <a:latin typeface="Roboto Slab"/>
                  <a:ea typeface="Roboto Slab"/>
                  <a:cs typeface="Roboto Slab"/>
                  <a:sym typeface="Roboto Slab"/>
                </a:rPr>
                <a:t>HEALTH</a:t>
              </a:r>
              <a:endParaRPr sz="1199" b="1" kern="0" dirty="0">
                <a:solidFill>
                  <a:srgbClr val="FFFFFF"/>
                </a:solidFill>
                <a:latin typeface="Roboto Slab"/>
                <a:ea typeface="Roboto Slab"/>
                <a:cs typeface="Roboto Slab"/>
                <a:sym typeface="Roboto Slab"/>
              </a:endParaRPr>
            </a:p>
          </p:txBody>
        </p:sp>
        <p:sp>
          <p:nvSpPr>
            <p:cNvPr id="76" name="Google Shape;320;p53">
              <a:extLst>
                <a:ext uri="{FF2B5EF4-FFF2-40B4-BE49-F238E27FC236}">
                  <a16:creationId xmlns:a16="http://schemas.microsoft.com/office/drawing/2014/main" id="{E385689A-4852-4839-BC60-6473ED8E5F0E}"/>
                </a:ext>
              </a:extLst>
            </p:cNvPr>
            <p:cNvSpPr/>
            <p:nvPr/>
          </p:nvSpPr>
          <p:spPr>
            <a:xfrm>
              <a:off x="5234112" y="5655664"/>
              <a:ext cx="1433830" cy="558910"/>
            </a:xfrm>
            <a:prstGeom prst="roundRect">
              <a:avLst>
                <a:gd name="adj" fmla="val 16667"/>
              </a:avLst>
            </a:prstGeom>
            <a:gradFill>
              <a:gsLst>
                <a:gs pos="0">
                  <a:srgbClr val="FFC002"/>
                </a:gs>
                <a:gs pos="100000">
                  <a:srgbClr val="795B04"/>
                </a:gs>
              </a:gsLst>
              <a:path path="circle">
                <a:fillToRect l="50000" t="50000" r="50000" b="50000"/>
              </a:path>
              <a:tileRect/>
            </a:gradFill>
            <a:ln>
              <a:noFill/>
            </a:ln>
          </p:spPr>
          <p:txBody>
            <a:bodyPr spcFirstLastPara="1" wrap="square" lIns="121750" tIns="121750" rIns="121750" bIns="121750" anchor="ctr" anchorCtr="0">
              <a:noAutofit/>
            </a:bodyPr>
            <a:lstStyle/>
            <a:p>
              <a:pPr algn="ctr" defTabSz="1217706">
                <a:buClr>
                  <a:srgbClr val="000000"/>
                </a:buClr>
              </a:pPr>
              <a:r>
                <a:rPr lang="es-ES" sz="1199" b="1" kern="0" dirty="0">
                  <a:solidFill>
                    <a:srgbClr val="FFFFFF"/>
                  </a:solidFill>
                  <a:latin typeface="Roboto Slab"/>
                  <a:ea typeface="Roboto Slab"/>
                  <a:cs typeface="Roboto Slab"/>
                  <a:sym typeface="Roboto Slab"/>
                </a:rPr>
                <a:t>DISEÑO INDUSTRIAL</a:t>
              </a:r>
              <a:endParaRPr sz="1199" b="1" kern="0" dirty="0">
                <a:solidFill>
                  <a:srgbClr val="FFFFFF"/>
                </a:solidFill>
                <a:latin typeface="Roboto Slab"/>
                <a:ea typeface="Roboto Slab"/>
                <a:cs typeface="Roboto Slab"/>
                <a:sym typeface="Roboto Slab"/>
              </a:endParaRPr>
            </a:p>
          </p:txBody>
        </p:sp>
        <p:pic>
          <p:nvPicPr>
            <p:cNvPr id="78" name="Google Shape;298;p53">
              <a:extLst>
                <a:ext uri="{FF2B5EF4-FFF2-40B4-BE49-F238E27FC236}">
                  <a16:creationId xmlns:a16="http://schemas.microsoft.com/office/drawing/2014/main" id="{36F5A63C-177D-4B9F-89DB-0FCE0C6A3F33}"/>
                </a:ext>
              </a:extLst>
            </p:cNvPr>
            <p:cNvPicPr preferRelativeResize="0"/>
            <p:nvPr/>
          </p:nvPicPr>
          <p:blipFill rotWithShape="1">
            <a:blip r:embed="rId2">
              <a:alphaModFix/>
            </a:blip>
            <a:srcRect l="14390" t="10252" r="17859" b="81254"/>
            <a:stretch/>
          </p:blipFill>
          <p:spPr>
            <a:xfrm>
              <a:off x="3589922" y="2125043"/>
              <a:ext cx="7887996" cy="558910"/>
            </a:xfrm>
            <a:prstGeom prst="rect">
              <a:avLst/>
            </a:prstGeom>
            <a:noFill/>
            <a:ln>
              <a:noFill/>
            </a:ln>
          </p:spPr>
        </p:pic>
        <p:pic>
          <p:nvPicPr>
            <p:cNvPr id="79" name="Imagen 78">
              <a:extLst>
                <a:ext uri="{FF2B5EF4-FFF2-40B4-BE49-F238E27FC236}">
                  <a16:creationId xmlns:a16="http://schemas.microsoft.com/office/drawing/2014/main" id="{E7AD1FAE-AC94-4F86-9D87-6EA67E1F84AD}"/>
                </a:ext>
              </a:extLst>
            </p:cNvPr>
            <p:cNvPicPr>
              <a:picLocks noChangeAspect="1"/>
            </p:cNvPicPr>
            <p:nvPr/>
          </p:nvPicPr>
          <p:blipFill>
            <a:blip r:embed="rId3"/>
            <a:stretch>
              <a:fillRect/>
            </a:stretch>
          </p:blipFill>
          <p:spPr>
            <a:xfrm>
              <a:off x="4034547" y="2181680"/>
              <a:ext cx="909526" cy="540715"/>
            </a:xfrm>
            <a:prstGeom prst="rect">
              <a:avLst/>
            </a:prstGeom>
          </p:spPr>
        </p:pic>
      </p:grpSp>
      <p:sp>
        <p:nvSpPr>
          <p:cNvPr id="19" name="Marcador de número de diapositiva 1"/>
          <p:cNvSpPr>
            <a:spLocks noGrp="1"/>
          </p:cNvSpPr>
          <p:nvPr>
            <p:ph type="sldNum" sz="quarter" idx="12"/>
          </p:nvPr>
        </p:nvSpPr>
        <p:spPr>
          <a:xfrm>
            <a:off x="11777051" y="6458134"/>
            <a:ext cx="487378" cy="481343"/>
          </a:xfrm>
        </p:spPr>
        <p:txBody>
          <a:bodyPr/>
          <a:lstStyle/>
          <a:p>
            <a:r>
              <a:rPr lang="en-US" sz="2000" dirty="0" smtClean="0"/>
              <a:t>17</a:t>
            </a:r>
            <a:endParaRPr lang="en-US" sz="2000" dirty="0"/>
          </a:p>
        </p:txBody>
      </p:sp>
    </p:spTree>
    <p:extLst>
      <p:ext uri="{BB962C8B-B14F-4D97-AF65-F5344CB8AC3E}">
        <p14:creationId xmlns:p14="http://schemas.microsoft.com/office/powerpoint/2010/main" val="21325676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23FEED7-63F6-4545-95DD-474E69B1B82D}"/>
              </a:ext>
            </a:extLst>
          </p:cNvPr>
          <p:cNvSpPr/>
          <p:nvPr/>
        </p:nvSpPr>
        <p:spPr>
          <a:xfrm>
            <a:off x="419022" y="193816"/>
            <a:ext cx="7338869" cy="707886"/>
          </a:xfrm>
          <a:prstGeom prst="rect">
            <a:avLst/>
          </a:prstGeom>
          <a:noFill/>
        </p:spPr>
        <p:txBody>
          <a:bodyPr wrap="none" lIns="91440" tIns="45720" rIns="91440" bIns="45720">
            <a:spAutoFit/>
          </a:bodyPr>
          <a:lstStyle/>
          <a:p>
            <a:r>
              <a:rPr lang="es-ES" sz="4000" b="1"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Red Inteligente Colaborativa</a:t>
            </a:r>
          </a:p>
        </p:txBody>
      </p:sp>
      <p:sp>
        <p:nvSpPr>
          <p:cNvPr id="3" name="Rectángulo 2">
            <a:extLst>
              <a:ext uri="{FF2B5EF4-FFF2-40B4-BE49-F238E27FC236}">
                <a16:creationId xmlns:a16="http://schemas.microsoft.com/office/drawing/2014/main" id="{87764694-FBD5-4C20-8418-35AF9FE9E35F}"/>
              </a:ext>
            </a:extLst>
          </p:cNvPr>
          <p:cNvSpPr/>
          <p:nvPr/>
        </p:nvSpPr>
        <p:spPr>
          <a:xfrm>
            <a:off x="500645" y="1209479"/>
            <a:ext cx="7033629" cy="523220"/>
          </a:xfrm>
          <a:prstGeom prst="rect">
            <a:avLst/>
          </a:prstGeom>
          <a:noFill/>
        </p:spPr>
        <p:txBody>
          <a:bodyPr wrap="square" lIns="91440" tIns="45720" rIns="91440" bIns="45720">
            <a:spAutoFit/>
          </a:bodyPr>
          <a:lstStyle/>
          <a:p>
            <a:r>
              <a:rPr lang="es-ES" sz="2800" b="1" dirty="0">
                <a:ln w="9525">
                  <a:solidFill>
                    <a:schemeClr val="tx1"/>
                  </a:solidFill>
                  <a:prstDash val="solid"/>
                </a:ln>
                <a:solidFill>
                  <a:srgbClr val="FFFF00"/>
                </a:solidFill>
                <a:effectLst>
                  <a:outerShdw blurRad="63500" sx="102000" sy="102000" algn="ctr" rotWithShape="0">
                    <a:prstClr val="black">
                      <a:alpha val="40000"/>
                    </a:prstClr>
                  </a:outerShdw>
                </a:effectLst>
              </a:rPr>
              <a:t>Ejemplo de un espacio digital temático </a:t>
            </a:r>
          </a:p>
        </p:txBody>
      </p:sp>
      <p:grpSp>
        <p:nvGrpSpPr>
          <p:cNvPr id="22" name="Grupo 21">
            <a:extLst>
              <a:ext uri="{FF2B5EF4-FFF2-40B4-BE49-F238E27FC236}">
                <a16:creationId xmlns:a16="http://schemas.microsoft.com/office/drawing/2014/main" id="{7A71BB81-F3D8-4DB0-95B3-67F98774EEE3}"/>
              </a:ext>
            </a:extLst>
          </p:cNvPr>
          <p:cNvGrpSpPr/>
          <p:nvPr/>
        </p:nvGrpSpPr>
        <p:grpSpPr>
          <a:xfrm>
            <a:off x="5030381" y="1794254"/>
            <a:ext cx="6791513" cy="4775445"/>
            <a:chOff x="300855" y="1188422"/>
            <a:chExt cx="6791513" cy="4775445"/>
          </a:xfrm>
        </p:grpSpPr>
        <p:grpSp>
          <p:nvGrpSpPr>
            <p:cNvPr id="23" name="Grupo 22">
              <a:extLst>
                <a:ext uri="{FF2B5EF4-FFF2-40B4-BE49-F238E27FC236}">
                  <a16:creationId xmlns:a16="http://schemas.microsoft.com/office/drawing/2014/main" id="{E93D5EA8-192F-4EF1-B77C-A26BAA215C2F}"/>
                </a:ext>
              </a:extLst>
            </p:cNvPr>
            <p:cNvGrpSpPr/>
            <p:nvPr/>
          </p:nvGrpSpPr>
          <p:grpSpPr>
            <a:xfrm>
              <a:off x="300855" y="1196134"/>
              <a:ext cx="6791513" cy="4767733"/>
              <a:chOff x="300855" y="1196134"/>
              <a:chExt cx="6791513" cy="4767733"/>
            </a:xfrm>
          </p:grpSpPr>
          <p:pic>
            <p:nvPicPr>
              <p:cNvPr id="25" name="Google Shape;328;p54">
                <a:extLst>
                  <a:ext uri="{FF2B5EF4-FFF2-40B4-BE49-F238E27FC236}">
                    <a16:creationId xmlns:a16="http://schemas.microsoft.com/office/drawing/2014/main" id="{E2C164F2-F272-4D48-B047-967CEBE7323C}"/>
                  </a:ext>
                </a:extLst>
              </p:cNvPr>
              <p:cNvPicPr preferRelativeResize="0"/>
              <p:nvPr/>
            </p:nvPicPr>
            <p:blipFill rotWithShape="1">
              <a:blip r:embed="rId2">
                <a:alphaModFix/>
              </a:blip>
              <a:srcRect l="17111" t="11189" r="20070" b="10508"/>
              <a:stretch/>
            </p:blipFill>
            <p:spPr>
              <a:xfrm>
                <a:off x="300855" y="1196134"/>
                <a:ext cx="6791513" cy="4767733"/>
              </a:xfrm>
              <a:prstGeom prst="rect">
                <a:avLst/>
              </a:prstGeom>
              <a:noFill/>
              <a:ln>
                <a:noFill/>
              </a:ln>
            </p:spPr>
          </p:pic>
          <p:sp>
            <p:nvSpPr>
              <p:cNvPr id="26" name="Google Shape;334;p54">
                <a:extLst>
                  <a:ext uri="{FF2B5EF4-FFF2-40B4-BE49-F238E27FC236}">
                    <a16:creationId xmlns:a16="http://schemas.microsoft.com/office/drawing/2014/main" id="{10FE3CA8-9BDC-4260-A8FD-CC455F60D611}"/>
                  </a:ext>
                </a:extLst>
              </p:cNvPr>
              <p:cNvSpPr txBox="1"/>
              <p:nvPr/>
            </p:nvSpPr>
            <p:spPr>
              <a:xfrm>
                <a:off x="383452" y="1731163"/>
                <a:ext cx="4934708" cy="377933"/>
              </a:xfrm>
              <a:prstGeom prst="rect">
                <a:avLst/>
              </a:prstGeom>
              <a:solidFill>
                <a:srgbClr val="FFFFFF"/>
              </a:solidFill>
              <a:ln>
                <a:noFill/>
              </a:ln>
            </p:spPr>
            <p:txBody>
              <a:bodyPr spcFirstLastPara="1" wrap="square" lIns="121750" tIns="121750" rIns="121750" bIns="121750" anchor="t" anchorCtr="0">
                <a:noAutofit/>
              </a:bodyPr>
              <a:lstStyle/>
              <a:p>
                <a:pPr defTabSz="1217706">
                  <a:buClr>
                    <a:srgbClr val="000000"/>
                  </a:buClr>
                </a:pPr>
                <a:r>
                  <a:rPr lang="es-ES" sz="1199" kern="0" dirty="0">
                    <a:solidFill>
                      <a:srgbClr val="000000"/>
                    </a:solidFill>
                    <a:latin typeface="Roboto"/>
                    <a:ea typeface="Roboto"/>
                    <a:cs typeface="Roboto"/>
                    <a:sym typeface="Roboto"/>
                  </a:rPr>
                  <a:t>Aula ATECA. Polo temático: </a:t>
                </a:r>
                <a:r>
                  <a:rPr lang="es-ES" sz="1199" b="1" kern="0" dirty="0">
                    <a:solidFill>
                      <a:srgbClr val="000000"/>
                    </a:solidFill>
                    <a:latin typeface="Roboto"/>
                    <a:ea typeface="Roboto"/>
                    <a:cs typeface="Roboto"/>
                    <a:sym typeface="Roboto"/>
                  </a:rPr>
                  <a:t>INDUSTRIA 4.0</a:t>
                </a:r>
                <a:endParaRPr sz="1199" b="1" kern="0" dirty="0">
                  <a:solidFill>
                    <a:srgbClr val="000000"/>
                  </a:solidFill>
                  <a:latin typeface="Roboto"/>
                  <a:ea typeface="Roboto"/>
                  <a:cs typeface="Roboto"/>
                  <a:sym typeface="Roboto"/>
                </a:endParaRPr>
              </a:p>
            </p:txBody>
          </p:sp>
        </p:grpSp>
        <p:pic>
          <p:nvPicPr>
            <p:cNvPr id="24" name="Imagen 23">
              <a:extLst>
                <a:ext uri="{FF2B5EF4-FFF2-40B4-BE49-F238E27FC236}">
                  <a16:creationId xmlns:a16="http://schemas.microsoft.com/office/drawing/2014/main" id="{FE9C7C96-2298-4F6B-B038-B65E96DAF650}"/>
                </a:ext>
              </a:extLst>
            </p:cNvPr>
            <p:cNvPicPr>
              <a:picLocks noChangeAspect="1"/>
            </p:cNvPicPr>
            <p:nvPr/>
          </p:nvPicPr>
          <p:blipFill>
            <a:blip r:embed="rId3"/>
            <a:stretch>
              <a:fillRect/>
            </a:stretch>
          </p:blipFill>
          <p:spPr>
            <a:xfrm>
              <a:off x="371412" y="1188422"/>
              <a:ext cx="909526" cy="540715"/>
            </a:xfrm>
            <a:prstGeom prst="rect">
              <a:avLst/>
            </a:prstGeom>
          </p:spPr>
        </p:pic>
      </p:grpSp>
      <p:grpSp>
        <p:nvGrpSpPr>
          <p:cNvPr id="8" name="Grupo 7">
            <a:extLst>
              <a:ext uri="{FF2B5EF4-FFF2-40B4-BE49-F238E27FC236}">
                <a16:creationId xmlns:a16="http://schemas.microsoft.com/office/drawing/2014/main" id="{F6202E18-FE17-43FD-A983-1C09E7744343}"/>
              </a:ext>
            </a:extLst>
          </p:cNvPr>
          <p:cNvGrpSpPr/>
          <p:nvPr/>
        </p:nvGrpSpPr>
        <p:grpSpPr>
          <a:xfrm>
            <a:off x="500644" y="5425226"/>
            <a:ext cx="3691885" cy="803545"/>
            <a:chOff x="500645" y="5648521"/>
            <a:chExt cx="3691885" cy="803545"/>
          </a:xfrm>
        </p:grpSpPr>
        <p:sp>
          <p:nvSpPr>
            <p:cNvPr id="32" name="Rectangle: Rounded Corners 21">
              <a:extLst>
                <a:ext uri="{FF2B5EF4-FFF2-40B4-BE49-F238E27FC236}">
                  <a16:creationId xmlns:a16="http://schemas.microsoft.com/office/drawing/2014/main" id="{47045E68-E0C1-42E6-A59A-2D5021C10FE7}"/>
                </a:ext>
              </a:extLst>
            </p:cNvPr>
            <p:cNvSpPr/>
            <p:nvPr/>
          </p:nvSpPr>
          <p:spPr>
            <a:xfrm>
              <a:off x="500645" y="5648521"/>
              <a:ext cx="3691885" cy="803545"/>
            </a:xfrm>
            <a:prstGeom prst="roundRect">
              <a:avLst>
                <a:gd name="adj" fmla="val 50000"/>
              </a:avLst>
            </a:prstGeom>
            <a:gradFill flip="none" rotWithShape="1">
              <a:gsLst>
                <a:gs pos="0">
                  <a:srgbClr val="A6228F"/>
                </a:gs>
                <a:gs pos="100000">
                  <a:srgbClr val="D3509D"/>
                </a:gs>
              </a:gsLst>
              <a:lin ang="13500000" scaled="1"/>
              <a:tileRect/>
            </a:gradFill>
            <a:ln>
              <a:noFill/>
            </a:ln>
            <a:effectLst>
              <a:innerShdw blurRad="254000" dist="381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1" name="TextBox 95">
              <a:extLst>
                <a:ext uri="{FF2B5EF4-FFF2-40B4-BE49-F238E27FC236}">
                  <a16:creationId xmlns:a16="http://schemas.microsoft.com/office/drawing/2014/main" id="{A48BF43B-11DD-4D0E-A750-CD2F85F0D2DB}"/>
                </a:ext>
              </a:extLst>
            </p:cNvPr>
            <p:cNvSpPr txBox="1"/>
            <p:nvPr/>
          </p:nvSpPr>
          <p:spPr>
            <a:xfrm>
              <a:off x="763421" y="5767562"/>
              <a:ext cx="3103730" cy="369332"/>
            </a:xfrm>
            <a:prstGeom prst="rect">
              <a:avLst/>
            </a:prstGeom>
            <a:noFill/>
          </p:spPr>
          <p:txBody>
            <a:bodyPr wrap="square" rtlCol="0">
              <a:spAutoFit/>
            </a:bodyPr>
            <a:lstStyle/>
            <a:p>
              <a:pPr marL="85725" indent="-85725" algn="ctr">
                <a:buFont typeface="Arial" panose="020B0604020202020204" pitchFamily="34" charset="0"/>
                <a:buChar char="•"/>
              </a:pPr>
              <a:r>
                <a:rPr lang="es-ES" dirty="0">
                  <a:solidFill>
                    <a:schemeClr val="bg1"/>
                  </a:solidFill>
                  <a:ea typeface="Open Sans Condensed" panose="020B0806030504020204" pitchFamily="34" charset="0"/>
                  <a:cs typeface="Open Sans Condensed" panose="020B0806030504020204" pitchFamily="34" charset="0"/>
                </a:rPr>
                <a:t>Distintos ámbitos.</a:t>
              </a:r>
            </a:p>
          </p:txBody>
        </p:sp>
      </p:grpSp>
      <p:grpSp>
        <p:nvGrpSpPr>
          <p:cNvPr id="5" name="Grupo 4">
            <a:extLst>
              <a:ext uri="{FF2B5EF4-FFF2-40B4-BE49-F238E27FC236}">
                <a16:creationId xmlns:a16="http://schemas.microsoft.com/office/drawing/2014/main" id="{0003B7A7-EDE5-489C-8008-4E7B7716D8D5}"/>
              </a:ext>
            </a:extLst>
          </p:cNvPr>
          <p:cNvGrpSpPr/>
          <p:nvPr/>
        </p:nvGrpSpPr>
        <p:grpSpPr>
          <a:xfrm>
            <a:off x="546904" y="2237265"/>
            <a:ext cx="3691885" cy="803545"/>
            <a:chOff x="546905" y="2965088"/>
            <a:chExt cx="3691885" cy="803545"/>
          </a:xfrm>
        </p:grpSpPr>
        <p:sp>
          <p:nvSpPr>
            <p:cNvPr id="35" name="Rectangle: Rounded Corners 22">
              <a:extLst>
                <a:ext uri="{FF2B5EF4-FFF2-40B4-BE49-F238E27FC236}">
                  <a16:creationId xmlns:a16="http://schemas.microsoft.com/office/drawing/2014/main" id="{49856804-5E49-49F9-AE8A-81FBE585481E}"/>
                </a:ext>
              </a:extLst>
            </p:cNvPr>
            <p:cNvSpPr/>
            <p:nvPr/>
          </p:nvSpPr>
          <p:spPr>
            <a:xfrm>
              <a:off x="546905" y="2965088"/>
              <a:ext cx="3691885" cy="803545"/>
            </a:xfrm>
            <a:prstGeom prst="roundRect">
              <a:avLst>
                <a:gd name="adj" fmla="val 50000"/>
              </a:avLst>
            </a:prstGeom>
            <a:gradFill flip="none" rotWithShape="1">
              <a:gsLst>
                <a:gs pos="0">
                  <a:srgbClr val="473E8F"/>
                </a:gs>
                <a:gs pos="100000">
                  <a:srgbClr val="6957A1"/>
                </a:gs>
              </a:gsLst>
              <a:lin ang="13500000" scaled="1"/>
              <a:tileRect/>
            </a:gradFill>
            <a:ln>
              <a:noFill/>
            </a:ln>
            <a:effectLst>
              <a:innerShdw blurRad="254000" dist="381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6" name="TextBox 95">
              <a:extLst>
                <a:ext uri="{FF2B5EF4-FFF2-40B4-BE49-F238E27FC236}">
                  <a16:creationId xmlns:a16="http://schemas.microsoft.com/office/drawing/2014/main" id="{2905A554-A727-48DD-A5A7-665B94E1B9EE}"/>
                </a:ext>
              </a:extLst>
            </p:cNvPr>
            <p:cNvSpPr txBox="1"/>
            <p:nvPr/>
          </p:nvSpPr>
          <p:spPr>
            <a:xfrm>
              <a:off x="763421" y="3113812"/>
              <a:ext cx="3429110" cy="400110"/>
            </a:xfrm>
            <a:prstGeom prst="rect">
              <a:avLst/>
            </a:prstGeom>
            <a:noFill/>
          </p:spPr>
          <p:txBody>
            <a:bodyPr wrap="square" rtlCol="0">
              <a:spAutoFit/>
            </a:bodyPr>
            <a:lstStyle/>
            <a:p>
              <a:pPr marL="85725" indent="-85725">
                <a:buFont typeface="Arial" panose="020B0604020202020204" pitchFamily="34" charset="0"/>
                <a:buChar char="•"/>
              </a:pPr>
              <a:r>
                <a:rPr lang="es-ES" sz="2000" dirty="0" err="1">
                  <a:solidFill>
                    <a:schemeClr val="bg1"/>
                  </a:solidFill>
                  <a:ea typeface="Open Sans Condensed" panose="020B0806030504020204" pitchFamily="34" charset="0"/>
                  <a:cs typeface="Open Sans Condensed" panose="020B0806030504020204" pitchFamily="34" charset="0"/>
                </a:rPr>
                <a:t>Multipolos</a:t>
              </a:r>
              <a:r>
                <a:rPr lang="es-ES" sz="2000" dirty="0">
                  <a:solidFill>
                    <a:schemeClr val="bg1"/>
                  </a:solidFill>
                  <a:ea typeface="Open Sans Condensed" panose="020B0806030504020204" pitchFamily="34" charset="0"/>
                  <a:cs typeface="Open Sans Condensed" panose="020B0806030504020204" pitchFamily="34" charset="0"/>
                </a:rPr>
                <a:t> de </a:t>
              </a:r>
              <a:r>
                <a:rPr lang="es-ES" dirty="0">
                  <a:solidFill>
                    <a:schemeClr val="bg1"/>
                  </a:solidFill>
                  <a:ea typeface="Open Sans Condensed" panose="020B0806030504020204" pitchFamily="34" charset="0"/>
                  <a:cs typeface="Open Sans Condensed" panose="020B0806030504020204" pitchFamily="34" charset="0"/>
                </a:rPr>
                <a:t>expertos</a:t>
              </a:r>
              <a:endParaRPr lang="es-ES" sz="2000" dirty="0">
                <a:solidFill>
                  <a:schemeClr val="bg1"/>
                </a:solidFill>
                <a:ea typeface="Open Sans Condensed" panose="020B0806030504020204" pitchFamily="34" charset="0"/>
                <a:cs typeface="Open Sans Condensed" panose="020B0806030504020204" pitchFamily="34" charset="0"/>
              </a:endParaRPr>
            </a:p>
          </p:txBody>
        </p:sp>
      </p:grpSp>
      <p:grpSp>
        <p:nvGrpSpPr>
          <p:cNvPr id="6" name="Grupo 5">
            <a:extLst>
              <a:ext uri="{FF2B5EF4-FFF2-40B4-BE49-F238E27FC236}">
                <a16:creationId xmlns:a16="http://schemas.microsoft.com/office/drawing/2014/main" id="{33EC195A-2C35-4294-A4F7-0F0614F251A9}"/>
              </a:ext>
            </a:extLst>
          </p:cNvPr>
          <p:cNvGrpSpPr/>
          <p:nvPr/>
        </p:nvGrpSpPr>
        <p:grpSpPr>
          <a:xfrm>
            <a:off x="275104" y="3298150"/>
            <a:ext cx="4336351" cy="803545"/>
            <a:chOff x="275104" y="3421975"/>
            <a:chExt cx="4336351" cy="803545"/>
          </a:xfrm>
        </p:grpSpPr>
        <p:sp>
          <p:nvSpPr>
            <p:cNvPr id="34" name="Rectangle: Rounded Corners 20">
              <a:extLst>
                <a:ext uri="{FF2B5EF4-FFF2-40B4-BE49-F238E27FC236}">
                  <a16:creationId xmlns:a16="http://schemas.microsoft.com/office/drawing/2014/main" id="{A38C46B8-6544-44D2-98CD-AD3DB05A742A}"/>
                </a:ext>
              </a:extLst>
            </p:cNvPr>
            <p:cNvSpPr/>
            <p:nvPr/>
          </p:nvSpPr>
          <p:spPr>
            <a:xfrm>
              <a:off x="500644" y="3421975"/>
              <a:ext cx="3691885" cy="803545"/>
            </a:xfrm>
            <a:prstGeom prst="roundRect">
              <a:avLst>
                <a:gd name="adj" fmla="val 50000"/>
              </a:avLst>
            </a:prstGeom>
            <a:gradFill flip="none" rotWithShape="1">
              <a:gsLst>
                <a:gs pos="0">
                  <a:srgbClr val="F05222"/>
                </a:gs>
                <a:gs pos="100000">
                  <a:srgbClr val="FBA31A"/>
                </a:gs>
              </a:gsLst>
              <a:lin ang="13500000" scaled="1"/>
              <a:tileRect/>
            </a:gradFill>
            <a:ln>
              <a:noFill/>
            </a:ln>
            <a:effectLst>
              <a:innerShdw blurRad="254000" dist="381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8" name="TextBox 95">
              <a:extLst>
                <a:ext uri="{FF2B5EF4-FFF2-40B4-BE49-F238E27FC236}">
                  <a16:creationId xmlns:a16="http://schemas.microsoft.com/office/drawing/2014/main" id="{536B0262-4D86-4566-ACD3-E4356D55DA66}"/>
                </a:ext>
              </a:extLst>
            </p:cNvPr>
            <p:cNvSpPr txBox="1"/>
            <p:nvPr/>
          </p:nvSpPr>
          <p:spPr>
            <a:xfrm>
              <a:off x="275104" y="3500581"/>
              <a:ext cx="4336351" cy="646331"/>
            </a:xfrm>
            <a:prstGeom prst="rect">
              <a:avLst/>
            </a:prstGeom>
            <a:noFill/>
          </p:spPr>
          <p:txBody>
            <a:bodyPr wrap="square" rtlCol="0">
              <a:spAutoFit/>
            </a:bodyPr>
            <a:lstStyle/>
            <a:p>
              <a:pPr marL="85725" indent="-85725" algn="ctr">
                <a:buFont typeface="Arial" panose="020B0604020202020204" pitchFamily="34" charset="0"/>
                <a:buChar char="•"/>
              </a:pPr>
              <a:r>
                <a:rPr lang="es-ES" dirty="0">
                  <a:solidFill>
                    <a:schemeClr val="bg1"/>
                  </a:solidFill>
                  <a:ea typeface="Open Sans Condensed" panose="020B0806030504020204" pitchFamily="34" charset="0"/>
                  <a:cs typeface="Open Sans Condensed" panose="020B0806030504020204" pitchFamily="34" charset="0"/>
                </a:rPr>
                <a:t>Distintos roles </a:t>
              </a:r>
              <a:r>
                <a:rPr lang="es-ES" dirty="0" smtClean="0">
                  <a:solidFill>
                    <a:schemeClr val="bg1"/>
                  </a:solidFill>
                  <a:ea typeface="Open Sans Condensed" panose="020B0806030504020204" pitchFamily="34" charset="0"/>
                  <a:cs typeface="Open Sans Condensed" panose="020B0806030504020204" pitchFamily="34" charset="0"/>
                </a:rPr>
                <a:t>de</a:t>
              </a:r>
            </a:p>
            <a:p>
              <a:pPr algn="ctr"/>
              <a:r>
                <a:rPr lang="es-ES" dirty="0" smtClean="0">
                  <a:solidFill>
                    <a:schemeClr val="bg1"/>
                  </a:solidFill>
                  <a:ea typeface="Open Sans Condensed" panose="020B0806030504020204" pitchFamily="34" charset="0"/>
                  <a:cs typeface="Open Sans Condensed" panose="020B0806030504020204" pitchFamily="34" charset="0"/>
                </a:rPr>
                <a:t> </a:t>
              </a:r>
              <a:r>
                <a:rPr lang="es-ES" dirty="0">
                  <a:solidFill>
                    <a:schemeClr val="bg1"/>
                  </a:solidFill>
                  <a:ea typeface="Open Sans Condensed" panose="020B0806030504020204" pitchFamily="34" charset="0"/>
                  <a:cs typeface="Open Sans Condensed" panose="020B0806030504020204" pitchFamily="34" charset="0"/>
                </a:rPr>
                <a:t>participantes</a:t>
              </a:r>
            </a:p>
          </p:txBody>
        </p:sp>
      </p:grpSp>
      <p:grpSp>
        <p:nvGrpSpPr>
          <p:cNvPr id="7" name="Grupo 6">
            <a:extLst>
              <a:ext uri="{FF2B5EF4-FFF2-40B4-BE49-F238E27FC236}">
                <a16:creationId xmlns:a16="http://schemas.microsoft.com/office/drawing/2014/main" id="{F655BFA8-2FAA-453E-8E82-D0AFDCC97267}"/>
              </a:ext>
            </a:extLst>
          </p:cNvPr>
          <p:cNvGrpSpPr/>
          <p:nvPr/>
        </p:nvGrpSpPr>
        <p:grpSpPr>
          <a:xfrm>
            <a:off x="546904" y="4361688"/>
            <a:ext cx="4195425" cy="803545"/>
            <a:chOff x="546904" y="4485513"/>
            <a:chExt cx="3691885" cy="803545"/>
          </a:xfrm>
        </p:grpSpPr>
        <p:sp>
          <p:nvSpPr>
            <p:cNvPr id="33" name="Rectangle: Rounded Corners 23">
              <a:extLst>
                <a:ext uri="{FF2B5EF4-FFF2-40B4-BE49-F238E27FC236}">
                  <a16:creationId xmlns:a16="http://schemas.microsoft.com/office/drawing/2014/main" id="{891D52E0-AABE-4DFB-9075-AF5375C5756D}"/>
                </a:ext>
              </a:extLst>
            </p:cNvPr>
            <p:cNvSpPr/>
            <p:nvPr/>
          </p:nvSpPr>
          <p:spPr>
            <a:xfrm>
              <a:off x="546904" y="4485513"/>
              <a:ext cx="3691885" cy="803545"/>
            </a:xfrm>
            <a:prstGeom prst="roundRect">
              <a:avLst>
                <a:gd name="adj" fmla="val 50000"/>
              </a:avLst>
            </a:prstGeom>
            <a:gradFill flip="none" rotWithShape="1">
              <a:gsLst>
                <a:gs pos="0">
                  <a:srgbClr val="00AAA9"/>
                </a:gs>
                <a:gs pos="100000">
                  <a:srgbClr val="00AED0"/>
                </a:gs>
              </a:gsLst>
              <a:lin ang="13500000" scaled="1"/>
              <a:tileRect/>
            </a:gradFill>
            <a:ln>
              <a:noFill/>
            </a:ln>
            <a:effectLst>
              <a:innerShdw blurRad="254000" dist="381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9" name="TextBox 95">
              <a:extLst>
                <a:ext uri="{FF2B5EF4-FFF2-40B4-BE49-F238E27FC236}">
                  <a16:creationId xmlns:a16="http://schemas.microsoft.com/office/drawing/2014/main" id="{84203F59-7B6B-4F8F-9C34-154904146912}"/>
                </a:ext>
              </a:extLst>
            </p:cNvPr>
            <p:cNvSpPr txBox="1"/>
            <p:nvPr/>
          </p:nvSpPr>
          <p:spPr>
            <a:xfrm>
              <a:off x="670899" y="4694415"/>
              <a:ext cx="3386751" cy="400110"/>
            </a:xfrm>
            <a:prstGeom prst="rect">
              <a:avLst/>
            </a:prstGeom>
            <a:noFill/>
          </p:spPr>
          <p:txBody>
            <a:bodyPr wrap="square" rtlCol="0">
              <a:spAutoFit/>
            </a:bodyPr>
            <a:lstStyle/>
            <a:p>
              <a:pPr marL="85725" indent="-85725">
                <a:buFont typeface="Arial" panose="020B0604020202020204" pitchFamily="34" charset="0"/>
                <a:buChar char="•"/>
              </a:pPr>
              <a:r>
                <a:rPr lang="es-ES" sz="2000" dirty="0">
                  <a:solidFill>
                    <a:schemeClr val="bg1"/>
                  </a:solidFill>
                  <a:ea typeface="Open Sans Condensed" panose="020B0806030504020204" pitchFamily="34" charset="0"/>
                  <a:cs typeface="Open Sans Condensed" panose="020B0806030504020204" pitchFamily="34" charset="0"/>
                </a:rPr>
                <a:t>Distintos tipos de interacción  </a:t>
              </a:r>
            </a:p>
          </p:txBody>
        </p:sp>
      </p:grpSp>
      <p:sp>
        <p:nvSpPr>
          <p:cNvPr id="21" name="Marcador de número de diapositiva 1"/>
          <p:cNvSpPr>
            <a:spLocks noGrp="1"/>
          </p:cNvSpPr>
          <p:nvPr>
            <p:ph type="sldNum" sz="quarter" idx="12"/>
          </p:nvPr>
        </p:nvSpPr>
        <p:spPr>
          <a:xfrm>
            <a:off x="11777051" y="6458134"/>
            <a:ext cx="487378" cy="481343"/>
          </a:xfrm>
        </p:spPr>
        <p:txBody>
          <a:bodyPr/>
          <a:lstStyle/>
          <a:p>
            <a:r>
              <a:rPr lang="en-US" sz="2000" dirty="0" smtClean="0"/>
              <a:t>18</a:t>
            </a:r>
            <a:endParaRPr lang="en-US" sz="2000" dirty="0"/>
          </a:p>
        </p:txBody>
      </p:sp>
    </p:spTree>
    <p:extLst>
      <p:ext uri="{BB962C8B-B14F-4D97-AF65-F5344CB8AC3E}">
        <p14:creationId xmlns:p14="http://schemas.microsoft.com/office/powerpoint/2010/main" val="352038658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23FEED7-63F6-4545-95DD-474E69B1B82D}"/>
              </a:ext>
            </a:extLst>
          </p:cNvPr>
          <p:cNvSpPr/>
          <p:nvPr/>
        </p:nvSpPr>
        <p:spPr>
          <a:xfrm>
            <a:off x="419022" y="193816"/>
            <a:ext cx="7338869" cy="707886"/>
          </a:xfrm>
          <a:prstGeom prst="rect">
            <a:avLst/>
          </a:prstGeom>
          <a:noFill/>
        </p:spPr>
        <p:txBody>
          <a:bodyPr wrap="none" lIns="91440" tIns="45720" rIns="91440" bIns="45720">
            <a:spAutoFit/>
          </a:bodyPr>
          <a:lstStyle/>
          <a:p>
            <a:r>
              <a:rPr lang="es-ES" sz="4000" b="1"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Red Inteligente Colaborativa</a:t>
            </a:r>
          </a:p>
        </p:txBody>
      </p:sp>
      <p:grpSp>
        <p:nvGrpSpPr>
          <p:cNvPr id="7" name="Grupo 6">
            <a:extLst>
              <a:ext uri="{FF2B5EF4-FFF2-40B4-BE49-F238E27FC236}">
                <a16:creationId xmlns:a16="http://schemas.microsoft.com/office/drawing/2014/main" id="{F655BFA8-2FAA-453E-8E82-D0AFDCC97267}"/>
              </a:ext>
            </a:extLst>
          </p:cNvPr>
          <p:cNvGrpSpPr/>
          <p:nvPr/>
        </p:nvGrpSpPr>
        <p:grpSpPr>
          <a:xfrm>
            <a:off x="1232704" y="2827344"/>
            <a:ext cx="3691885" cy="1825338"/>
            <a:chOff x="546904" y="4485513"/>
            <a:chExt cx="3691885" cy="1302364"/>
          </a:xfrm>
        </p:grpSpPr>
        <p:sp>
          <p:nvSpPr>
            <p:cNvPr id="33" name="Rectangle: Rounded Corners 23">
              <a:extLst>
                <a:ext uri="{FF2B5EF4-FFF2-40B4-BE49-F238E27FC236}">
                  <a16:creationId xmlns:a16="http://schemas.microsoft.com/office/drawing/2014/main" id="{891D52E0-AABE-4DFB-9075-AF5375C5756D}"/>
                </a:ext>
              </a:extLst>
            </p:cNvPr>
            <p:cNvSpPr/>
            <p:nvPr/>
          </p:nvSpPr>
          <p:spPr>
            <a:xfrm>
              <a:off x="546904" y="4485513"/>
              <a:ext cx="3691885" cy="1302364"/>
            </a:xfrm>
            <a:prstGeom prst="roundRect">
              <a:avLst>
                <a:gd name="adj" fmla="val 50000"/>
              </a:avLst>
            </a:prstGeom>
            <a:gradFill flip="none" rotWithShape="1">
              <a:gsLst>
                <a:gs pos="0">
                  <a:srgbClr val="00AAA9"/>
                </a:gs>
                <a:gs pos="100000">
                  <a:srgbClr val="00AED0"/>
                </a:gs>
              </a:gsLst>
              <a:lin ang="13500000" scaled="1"/>
              <a:tileRect/>
            </a:gradFill>
            <a:ln>
              <a:noFill/>
            </a:ln>
            <a:effectLst>
              <a:innerShdw blurRad="254000" dist="381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 name="TextBox 95">
              <a:extLst>
                <a:ext uri="{FF2B5EF4-FFF2-40B4-BE49-F238E27FC236}">
                  <a16:creationId xmlns:a16="http://schemas.microsoft.com/office/drawing/2014/main" id="{84203F59-7B6B-4F8F-9C34-154904146912}"/>
                </a:ext>
              </a:extLst>
            </p:cNvPr>
            <p:cNvSpPr txBox="1"/>
            <p:nvPr/>
          </p:nvSpPr>
          <p:spPr>
            <a:xfrm>
              <a:off x="670899" y="4694415"/>
              <a:ext cx="3386751" cy="954107"/>
            </a:xfrm>
            <a:prstGeom prst="rect">
              <a:avLst/>
            </a:prstGeom>
            <a:noFill/>
          </p:spPr>
          <p:txBody>
            <a:bodyPr wrap="square" rtlCol="0">
              <a:spAutoFit/>
            </a:bodyPr>
            <a:lstStyle/>
            <a:p>
              <a:pPr algn="ctr"/>
              <a:r>
                <a:rPr lang="es-ES" sz="2800" dirty="0">
                  <a:solidFill>
                    <a:schemeClr val="bg1"/>
                  </a:solidFill>
                  <a:ea typeface="Open Sans Condensed" panose="020B0806030504020204" pitchFamily="34" charset="0"/>
                  <a:cs typeface="Open Sans Condensed" panose="020B0806030504020204" pitchFamily="34" charset="0"/>
                </a:rPr>
                <a:t>Módulo de Control de Gestión</a:t>
              </a:r>
            </a:p>
          </p:txBody>
        </p:sp>
      </p:grpSp>
      <p:grpSp>
        <p:nvGrpSpPr>
          <p:cNvPr id="4" name="Grupo 3">
            <a:extLst>
              <a:ext uri="{FF2B5EF4-FFF2-40B4-BE49-F238E27FC236}">
                <a16:creationId xmlns:a16="http://schemas.microsoft.com/office/drawing/2014/main" id="{5814969C-D46C-4C90-A9F9-83895EED9D94}"/>
              </a:ext>
            </a:extLst>
          </p:cNvPr>
          <p:cNvGrpSpPr/>
          <p:nvPr/>
        </p:nvGrpSpPr>
        <p:grpSpPr>
          <a:xfrm>
            <a:off x="6191250" y="1232279"/>
            <a:ext cx="5329851" cy="5326634"/>
            <a:chOff x="6191250" y="1232279"/>
            <a:chExt cx="5329851" cy="5326634"/>
          </a:xfrm>
        </p:grpSpPr>
        <p:pic>
          <p:nvPicPr>
            <p:cNvPr id="21" name="Google Shape;347;p55">
              <a:extLst>
                <a:ext uri="{FF2B5EF4-FFF2-40B4-BE49-F238E27FC236}">
                  <a16:creationId xmlns:a16="http://schemas.microsoft.com/office/drawing/2014/main" id="{47455B09-ADF7-451B-8D39-A43688F1F527}"/>
                </a:ext>
              </a:extLst>
            </p:cNvPr>
            <p:cNvPicPr preferRelativeResize="0"/>
            <p:nvPr/>
          </p:nvPicPr>
          <p:blipFill rotWithShape="1">
            <a:blip r:embed="rId2">
              <a:alphaModFix/>
            </a:blip>
            <a:srcRect/>
            <a:stretch/>
          </p:blipFill>
          <p:spPr>
            <a:xfrm>
              <a:off x="6191250" y="1232279"/>
              <a:ext cx="5329851" cy="3190130"/>
            </a:xfrm>
            <a:prstGeom prst="rect">
              <a:avLst/>
            </a:prstGeom>
            <a:noFill/>
            <a:ln w="9525" cap="flat" cmpd="sng">
              <a:solidFill>
                <a:schemeClr val="accent1"/>
              </a:solidFill>
              <a:prstDash val="solid"/>
              <a:round/>
              <a:headEnd type="none" w="sm" len="sm"/>
              <a:tailEnd type="none" w="sm" len="sm"/>
            </a:ln>
            <a:effectLst>
              <a:outerShdw blurRad="50800" dist="38100" dir="2700000" algn="tl" rotWithShape="0">
                <a:srgbClr val="000000">
                  <a:alpha val="40000"/>
                </a:srgbClr>
              </a:outerShdw>
            </a:effectLst>
          </p:spPr>
        </p:pic>
        <p:pic>
          <p:nvPicPr>
            <p:cNvPr id="27" name="Google Shape;348;p55">
              <a:extLst>
                <a:ext uri="{FF2B5EF4-FFF2-40B4-BE49-F238E27FC236}">
                  <a16:creationId xmlns:a16="http://schemas.microsoft.com/office/drawing/2014/main" id="{53B4AC2E-6A6A-436A-9CD2-389CF2EB9811}"/>
                </a:ext>
              </a:extLst>
            </p:cNvPr>
            <p:cNvPicPr preferRelativeResize="0"/>
            <p:nvPr/>
          </p:nvPicPr>
          <p:blipFill rotWithShape="1">
            <a:blip r:embed="rId3">
              <a:alphaModFix/>
            </a:blip>
            <a:srcRect/>
            <a:stretch/>
          </p:blipFill>
          <p:spPr>
            <a:xfrm>
              <a:off x="6191251" y="4437888"/>
              <a:ext cx="5329850" cy="2121025"/>
            </a:xfrm>
            <a:prstGeom prst="rect">
              <a:avLst/>
            </a:prstGeom>
            <a:noFill/>
            <a:ln w="9525" cap="flat" cmpd="sng">
              <a:solidFill>
                <a:schemeClr val="accent1"/>
              </a:solidFill>
              <a:prstDash val="solid"/>
              <a:round/>
              <a:headEnd type="none" w="sm" len="sm"/>
              <a:tailEnd type="none" w="sm" len="sm"/>
            </a:ln>
            <a:effectLst>
              <a:outerShdw blurRad="50800" dist="38100" dir="2700000" algn="tl" rotWithShape="0">
                <a:srgbClr val="000000">
                  <a:alpha val="40000"/>
                </a:srgbClr>
              </a:outerShdw>
            </a:effectLst>
          </p:spPr>
        </p:pic>
      </p:grpSp>
      <p:sp>
        <p:nvSpPr>
          <p:cNvPr id="9" name="Marcador de número de diapositiva 1"/>
          <p:cNvSpPr>
            <a:spLocks noGrp="1"/>
          </p:cNvSpPr>
          <p:nvPr>
            <p:ph type="sldNum" sz="quarter" idx="12"/>
          </p:nvPr>
        </p:nvSpPr>
        <p:spPr>
          <a:xfrm>
            <a:off x="11777051" y="6458134"/>
            <a:ext cx="487378" cy="481343"/>
          </a:xfrm>
        </p:spPr>
        <p:txBody>
          <a:bodyPr/>
          <a:lstStyle/>
          <a:p>
            <a:r>
              <a:rPr lang="en-US" sz="2000" dirty="0" smtClean="0"/>
              <a:t>19</a:t>
            </a:r>
            <a:endParaRPr lang="en-US" sz="2000" dirty="0"/>
          </a:p>
        </p:txBody>
      </p:sp>
    </p:spTree>
    <p:extLst>
      <p:ext uri="{BB962C8B-B14F-4D97-AF65-F5344CB8AC3E}">
        <p14:creationId xmlns:p14="http://schemas.microsoft.com/office/powerpoint/2010/main" val="230819836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uadroTexto 2"/>
          <p:cNvSpPr txBox="1"/>
          <p:nvPr/>
        </p:nvSpPr>
        <p:spPr>
          <a:xfrm>
            <a:off x="716595" y="667852"/>
            <a:ext cx="6156357" cy="5109091"/>
          </a:xfrm>
          <a:prstGeom prst="rect">
            <a:avLst/>
          </a:prstGeom>
          <a:noFill/>
        </p:spPr>
        <p:txBody>
          <a:bodyPr wrap="square" rtlCol="0">
            <a:spAutoFit/>
          </a:bodyPr>
          <a:lstStyle/>
          <a:p>
            <a:r>
              <a:rPr lang="es-ES" sz="1400" dirty="0" smtClean="0"/>
              <a:t>2. Índice</a:t>
            </a:r>
          </a:p>
          <a:p>
            <a:r>
              <a:rPr lang="es-ES" sz="1400" dirty="0" smtClean="0">
                <a:hlinkClick r:id="rId2" action="ppaction://hlinksldjump"/>
              </a:rPr>
              <a:t>3. Agradecimientos</a:t>
            </a:r>
            <a:endParaRPr lang="es-ES" sz="1400" dirty="0" smtClean="0"/>
          </a:p>
          <a:p>
            <a:r>
              <a:rPr lang="es-ES" sz="1400" dirty="0" smtClean="0">
                <a:hlinkClick r:id="rId3" action="ppaction://hlinksldjump"/>
              </a:rPr>
              <a:t>4. </a:t>
            </a:r>
            <a:r>
              <a:rPr lang="es-ES" b="1" dirty="0" smtClean="0">
                <a:hlinkClick r:id="rId3" action="ppaction://hlinksldjump"/>
              </a:rPr>
              <a:t>Aula </a:t>
            </a:r>
            <a:r>
              <a:rPr lang="es-ES" b="1" dirty="0" err="1" smtClean="0">
                <a:hlinkClick r:id="rId3" action="ppaction://hlinksldjump"/>
              </a:rPr>
              <a:t>AtecA</a:t>
            </a:r>
            <a:endParaRPr lang="es-ES" b="1" dirty="0" smtClean="0"/>
          </a:p>
          <a:p>
            <a:r>
              <a:rPr lang="es-ES" sz="1400" dirty="0"/>
              <a:t>	</a:t>
            </a:r>
            <a:r>
              <a:rPr lang="es-ES" sz="1400" dirty="0" smtClean="0">
                <a:hlinkClick r:id="rId4" action="ppaction://hlinksldjump"/>
              </a:rPr>
              <a:t>5</a:t>
            </a:r>
            <a:r>
              <a:rPr lang="es-ES" sz="1400" dirty="0">
                <a:hlinkClick r:id="rId4" action="ppaction://hlinksldjump"/>
              </a:rPr>
              <a:t>.</a:t>
            </a:r>
            <a:r>
              <a:rPr lang="es-ES" sz="1400" dirty="0" smtClean="0">
                <a:hlinkClick r:id="rId4" action="ppaction://hlinksldjump"/>
              </a:rPr>
              <a:t> Tecnologías </a:t>
            </a:r>
            <a:r>
              <a:rPr lang="es-ES" sz="1400" dirty="0" err="1" smtClean="0">
                <a:hlinkClick r:id="rId4" action="ppaction://hlinksldjump"/>
              </a:rPr>
              <a:t>AtecA</a:t>
            </a:r>
            <a:endParaRPr lang="es-ES" sz="1400" dirty="0" smtClean="0"/>
          </a:p>
          <a:p>
            <a:r>
              <a:rPr lang="es-ES" sz="1400" dirty="0"/>
              <a:t>	</a:t>
            </a:r>
            <a:r>
              <a:rPr lang="es-ES" sz="1400" dirty="0" smtClean="0">
                <a:hlinkClick r:id="rId5" action="ppaction://hlinksldjump"/>
              </a:rPr>
              <a:t>6.Capas </a:t>
            </a:r>
            <a:r>
              <a:rPr lang="es-ES" sz="1400" dirty="0" err="1" smtClean="0">
                <a:hlinkClick r:id="rId5" action="ppaction://hlinksldjump"/>
              </a:rPr>
              <a:t>AtecA</a:t>
            </a:r>
            <a:endParaRPr lang="es-ES" sz="1400" dirty="0" smtClean="0"/>
          </a:p>
          <a:p>
            <a:r>
              <a:rPr lang="es-ES" sz="1400" dirty="0"/>
              <a:t>	</a:t>
            </a:r>
            <a:r>
              <a:rPr lang="es-ES" sz="1400" dirty="0" smtClean="0">
                <a:hlinkClick r:id="rId6" action="ppaction://hlinksldjump"/>
              </a:rPr>
              <a:t>7. Características principales</a:t>
            </a:r>
            <a:endParaRPr lang="es-ES" sz="1400" dirty="0" smtClean="0"/>
          </a:p>
          <a:p>
            <a:r>
              <a:rPr lang="es-ES" sz="1400" dirty="0"/>
              <a:t>	</a:t>
            </a:r>
            <a:r>
              <a:rPr lang="es-ES" sz="1400" dirty="0" smtClean="0">
                <a:hlinkClick r:id="rId7" action="ppaction://hlinksldjump"/>
              </a:rPr>
              <a:t>8. Realidad Mixta (I)</a:t>
            </a:r>
            <a:endParaRPr lang="es-ES" sz="1400" dirty="0" smtClean="0"/>
          </a:p>
          <a:p>
            <a:r>
              <a:rPr lang="es-ES" sz="1400" dirty="0"/>
              <a:t>	</a:t>
            </a:r>
            <a:r>
              <a:rPr lang="es-ES" sz="1400" dirty="0" smtClean="0">
                <a:hlinkClick r:id="rId8" action="ppaction://hlinksldjump"/>
              </a:rPr>
              <a:t>9. </a:t>
            </a:r>
            <a:r>
              <a:rPr lang="es-ES" sz="1400" dirty="0">
                <a:hlinkClick r:id="rId8" action="ppaction://hlinksldjump"/>
              </a:rPr>
              <a:t>Realidad Mixta (</a:t>
            </a:r>
            <a:r>
              <a:rPr lang="es-ES" sz="1400" dirty="0" smtClean="0">
                <a:hlinkClick r:id="rId8" action="ppaction://hlinksldjump"/>
              </a:rPr>
              <a:t>II)</a:t>
            </a:r>
            <a:endParaRPr lang="es-ES" sz="1400" dirty="0" smtClean="0"/>
          </a:p>
          <a:p>
            <a:r>
              <a:rPr lang="es-ES" sz="1400" dirty="0"/>
              <a:t>	</a:t>
            </a:r>
            <a:r>
              <a:rPr lang="es-ES" sz="1400" dirty="0" smtClean="0">
                <a:hlinkClick r:id="rId9" action="ppaction://hlinksldjump"/>
              </a:rPr>
              <a:t>10. </a:t>
            </a:r>
            <a:r>
              <a:rPr lang="es-ES" sz="1400" dirty="0">
                <a:hlinkClick r:id="rId9" action="ppaction://hlinksldjump"/>
              </a:rPr>
              <a:t>Realidad Mixta </a:t>
            </a:r>
            <a:r>
              <a:rPr lang="es-ES" sz="1400" dirty="0" smtClean="0">
                <a:hlinkClick r:id="rId9" action="ppaction://hlinksldjump"/>
              </a:rPr>
              <a:t>(III)</a:t>
            </a:r>
            <a:endParaRPr lang="es-ES" sz="1400" dirty="0" smtClean="0"/>
          </a:p>
          <a:p>
            <a:r>
              <a:rPr lang="es-ES" sz="1400" dirty="0" smtClean="0">
                <a:hlinkClick r:id="rId10" action="ppaction://hlinksldjump"/>
              </a:rPr>
              <a:t>11-13. impresión y Escaneado 3D</a:t>
            </a:r>
            <a:endParaRPr lang="es-ES" sz="1400" dirty="0" smtClean="0"/>
          </a:p>
          <a:p>
            <a:r>
              <a:rPr lang="es-ES" sz="1400" dirty="0" smtClean="0">
                <a:hlinkClick r:id="rId11" action="ppaction://hlinksldjump"/>
              </a:rPr>
              <a:t>14. Red Inteligente Colaborativa. Necesidades</a:t>
            </a:r>
            <a:r>
              <a:rPr lang="es-ES" sz="1400" dirty="0"/>
              <a:t>	</a:t>
            </a:r>
            <a:endParaRPr lang="es-ES" sz="1400" dirty="0" smtClean="0"/>
          </a:p>
          <a:p>
            <a:r>
              <a:rPr lang="es-ES" sz="1400" dirty="0" smtClean="0">
                <a:hlinkClick r:id="rId12" action="ppaction://hlinksldjump"/>
              </a:rPr>
              <a:t>15. Red Inteligente Colaborativa. Vistas del sistema</a:t>
            </a:r>
            <a:endParaRPr lang="es-ES" sz="1400" dirty="0" smtClean="0"/>
          </a:p>
          <a:p>
            <a:r>
              <a:rPr lang="es-ES" sz="1400" dirty="0" smtClean="0">
                <a:hlinkClick r:id="rId13" action="ppaction://hlinksldjump"/>
              </a:rPr>
              <a:t>16. </a:t>
            </a:r>
            <a:r>
              <a:rPr lang="es-ES" sz="1400" dirty="0">
                <a:hlinkClick r:id="rId13" action="ppaction://hlinksldjump"/>
              </a:rPr>
              <a:t>Red Inteligente Colaborativa</a:t>
            </a:r>
            <a:r>
              <a:rPr lang="es-ES" sz="1400" dirty="0" smtClean="0">
                <a:hlinkClick r:id="rId13" action="ppaction://hlinksldjump"/>
              </a:rPr>
              <a:t>. Conexión entre centros</a:t>
            </a:r>
            <a:endParaRPr lang="es-ES" sz="1400" dirty="0"/>
          </a:p>
          <a:p>
            <a:r>
              <a:rPr lang="es-ES" sz="1400" dirty="0" smtClean="0">
                <a:hlinkClick r:id="rId14" action="ppaction://hlinksldjump"/>
              </a:rPr>
              <a:t>17. </a:t>
            </a:r>
            <a:r>
              <a:rPr lang="es-ES" sz="1400" dirty="0">
                <a:hlinkClick r:id="rId14" action="ppaction://hlinksldjump"/>
              </a:rPr>
              <a:t>Red </a:t>
            </a:r>
            <a:r>
              <a:rPr lang="es-ES" sz="1400" dirty="0">
                <a:hlinkClick r:id="rId15" action="ppaction://hlinksldjump"/>
              </a:rPr>
              <a:t>Inteligente Colaborativa. </a:t>
            </a:r>
            <a:r>
              <a:rPr lang="es-ES" sz="1400" dirty="0" smtClean="0">
                <a:hlinkClick r:id="rId15" action="ppaction://hlinksldjump"/>
              </a:rPr>
              <a:t>Espacios aula </a:t>
            </a:r>
            <a:r>
              <a:rPr lang="es-ES" sz="1400" dirty="0" err="1" smtClean="0">
                <a:hlinkClick r:id="rId15" action="ppaction://hlinksldjump"/>
              </a:rPr>
              <a:t>AtecA</a:t>
            </a:r>
            <a:endParaRPr lang="es-ES" sz="1400" dirty="0" smtClean="0">
              <a:hlinkClick r:id="rId15" action="ppaction://hlinksldjump"/>
            </a:endParaRPr>
          </a:p>
          <a:p>
            <a:r>
              <a:rPr lang="es-ES" sz="1400" dirty="0" smtClean="0">
                <a:hlinkClick r:id="rId15" action="ppaction://hlinksldjump"/>
              </a:rPr>
              <a:t>18. </a:t>
            </a:r>
            <a:r>
              <a:rPr lang="es-ES" sz="1400" dirty="0">
                <a:hlinkClick r:id="rId15" action="ppaction://hlinksldjump"/>
              </a:rPr>
              <a:t>Red Inteligente Colaborativa. </a:t>
            </a:r>
            <a:r>
              <a:rPr lang="es-ES" sz="1400" dirty="0" smtClean="0">
                <a:hlinkClick r:id="rId15" action="ppaction://hlinksldjump"/>
              </a:rPr>
              <a:t>Espacio Digital</a:t>
            </a:r>
            <a:endParaRPr lang="es-ES" sz="1400" dirty="0" smtClean="0"/>
          </a:p>
          <a:p>
            <a:r>
              <a:rPr lang="es-ES" sz="1400" dirty="0" smtClean="0">
                <a:hlinkClick r:id="rId16" action="ppaction://hlinksldjump"/>
              </a:rPr>
              <a:t>19. Red Inteligente Colaborativa. Módulo de control de Gestión</a:t>
            </a:r>
            <a:endParaRPr lang="es-ES" sz="1400" dirty="0" smtClean="0"/>
          </a:p>
          <a:p>
            <a:r>
              <a:rPr lang="es-ES" sz="1400" dirty="0" smtClean="0">
                <a:hlinkClick r:id="rId17" action="ppaction://hlinksldjump"/>
              </a:rPr>
              <a:t>20. Wifi 6 y Tecnología 5G (I)</a:t>
            </a:r>
            <a:endParaRPr lang="es-ES" sz="1400" dirty="0" smtClean="0"/>
          </a:p>
          <a:p>
            <a:r>
              <a:rPr lang="es-ES" sz="1400" dirty="0" smtClean="0">
                <a:hlinkClick r:id="rId18" action="ppaction://hlinksldjump"/>
              </a:rPr>
              <a:t>21. </a:t>
            </a:r>
            <a:r>
              <a:rPr lang="es-ES" sz="1400" dirty="0">
                <a:hlinkClick r:id="rId18" action="ppaction://hlinksldjump"/>
              </a:rPr>
              <a:t>Wifi 6 y Tecnología 5G </a:t>
            </a:r>
            <a:r>
              <a:rPr lang="es-ES" sz="1400" dirty="0" smtClean="0">
                <a:hlinkClick r:id="rId18" action="ppaction://hlinksldjump"/>
              </a:rPr>
              <a:t>(II)</a:t>
            </a:r>
            <a:endParaRPr lang="es-ES" sz="1400" dirty="0" smtClean="0"/>
          </a:p>
          <a:p>
            <a:r>
              <a:rPr lang="es-ES" sz="1400" dirty="0" smtClean="0">
                <a:hlinkClick r:id="rId19" action="ppaction://hlinksldjump"/>
              </a:rPr>
              <a:t>22. </a:t>
            </a:r>
            <a:r>
              <a:rPr lang="es-ES" sz="1400" dirty="0">
                <a:hlinkClick r:id="rId19" action="ppaction://hlinksldjump"/>
              </a:rPr>
              <a:t>Wifi 6 y Tecnología 5G </a:t>
            </a:r>
            <a:r>
              <a:rPr lang="es-ES" sz="1400" dirty="0" smtClean="0">
                <a:hlinkClick r:id="rId19" action="ppaction://hlinksldjump"/>
              </a:rPr>
              <a:t>(III</a:t>
            </a:r>
            <a:r>
              <a:rPr lang="es-ES" sz="1400" dirty="0">
                <a:hlinkClick r:id="rId19" action="ppaction://hlinksldjump"/>
              </a:rPr>
              <a:t>)</a:t>
            </a:r>
            <a:endParaRPr lang="es-ES" sz="1400" dirty="0"/>
          </a:p>
          <a:p>
            <a:r>
              <a:rPr lang="es-ES" sz="1400" dirty="0" smtClean="0">
                <a:hlinkClick r:id="rId20" action="ppaction://hlinksldjump"/>
              </a:rPr>
              <a:t>23. Aula </a:t>
            </a:r>
            <a:r>
              <a:rPr lang="es-ES" sz="1400" dirty="0" err="1" smtClean="0">
                <a:hlinkClick r:id="rId20" action="ppaction://hlinksldjump"/>
              </a:rPr>
              <a:t>AtecA</a:t>
            </a:r>
            <a:r>
              <a:rPr lang="es-ES" sz="1400" dirty="0" smtClean="0">
                <a:hlinkClick r:id="rId20" action="ppaction://hlinksldjump"/>
              </a:rPr>
              <a:t>: capa física y emocional (I)</a:t>
            </a:r>
            <a:endParaRPr lang="es-ES" sz="1400" dirty="0" smtClean="0"/>
          </a:p>
          <a:p>
            <a:r>
              <a:rPr lang="es-ES" sz="1400" dirty="0" smtClean="0">
                <a:hlinkClick r:id="rId21" action="ppaction://hlinksldjump"/>
              </a:rPr>
              <a:t>24. </a:t>
            </a:r>
            <a:r>
              <a:rPr lang="es-ES" sz="1400" dirty="0">
                <a:hlinkClick r:id="rId21" action="ppaction://hlinksldjump"/>
              </a:rPr>
              <a:t>Aula </a:t>
            </a:r>
            <a:r>
              <a:rPr lang="es-ES" sz="1400" dirty="0" err="1">
                <a:hlinkClick r:id="rId21" action="ppaction://hlinksldjump"/>
              </a:rPr>
              <a:t>AtecA</a:t>
            </a:r>
            <a:r>
              <a:rPr lang="es-ES" sz="1400" dirty="0">
                <a:hlinkClick r:id="rId21" action="ppaction://hlinksldjump"/>
              </a:rPr>
              <a:t>: capa física y </a:t>
            </a:r>
            <a:r>
              <a:rPr lang="es-ES" sz="1400" dirty="0" smtClean="0">
                <a:hlinkClick r:id="rId21" action="ppaction://hlinksldjump"/>
              </a:rPr>
              <a:t>emocional (II)</a:t>
            </a:r>
            <a:endParaRPr lang="es-ES" sz="1400" dirty="0" smtClean="0"/>
          </a:p>
          <a:p>
            <a:r>
              <a:rPr lang="es-ES" sz="1400" dirty="0" smtClean="0">
                <a:hlinkClick r:id="rId22" action="ppaction://hlinksldjump"/>
              </a:rPr>
              <a:t>25. </a:t>
            </a:r>
            <a:r>
              <a:rPr lang="es-ES" sz="1400" dirty="0">
                <a:hlinkClick r:id="rId22" action="ppaction://hlinksldjump"/>
              </a:rPr>
              <a:t>Aula </a:t>
            </a:r>
            <a:r>
              <a:rPr lang="es-ES" sz="1400" dirty="0" err="1">
                <a:hlinkClick r:id="rId22" action="ppaction://hlinksldjump"/>
              </a:rPr>
              <a:t>AtecA</a:t>
            </a:r>
            <a:r>
              <a:rPr lang="es-ES" sz="1400" dirty="0">
                <a:hlinkClick r:id="rId22" action="ppaction://hlinksldjump"/>
              </a:rPr>
              <a:t>: capa física y emocional (</a:t>
            </a:r>
            <a:r>
              <a:rPr lang="es-ES" sz="1400" dirty="0" smtClean="0">
                <a:hlinkClick r:id="rId22" action="ppaction://hlinksldjump"/>
              </a:rPr>
              <a:t>III)</a:t>
            </a:r>
            <a:endParaRPr lang="es-ES" sz="1400" dirty="0"/>
          </a:p>
          <a:p>
            <a:r>
              <a:rPr lang="es-ES" sz="1400" dirty="0" smtClean="0">
                <a:hlinkClick r:id="rId23" action="ppaction://hlinksldjump"/>
              </a:rPr>
              <a:t>26. </a:t>
            </a:r>
            <a:r>
              <a:rPr lang="es-ES" sz="1400" dirty="0">
                <a:hlinkClick r:id="rId23" action="ppaction://hlinksldjump"/>
              </a:rPr>
              <a:t>Aula </a:t>
            </a:r>
            <a:r>
              <a:rPr lang="es-ES" sz="1400" dirty="0" err="1" smtClean="0">
                <a:hlinkClick r:id="rId23" action="ppaction://hlinksldjump"/>
              </a:rPr>
              <a:t>AtecA</a:t>
            </a:r>
            <a:r>
              <a:rPr lang="es-ES" sz="1400" dirty="0" smtClean="0">
                <a:hlinkClick r:id="rId23" action="ppaction://hlinksldjump"/>
              </a:rPr>
              <a:t>. Fin</a:t>
            </a:r>
            <a:endParaRPr lang="es-ES" sz="1400" dirty="0"/>
          </a:p>
        </p:txBody>
      </p:sp>
      <p:sp>
        <p:nvSpPr>
          <p:cNvPr id="4" name="CuadroTexto 3"/>
          <p:cNvSpPr txBox="1"/>
          <p:nvPr/>
        </p:nvSpPr>
        <p:spPr>
          <a:xfrm>
            <a:off x="6452849" y="1366676"/>
            <a:ext cx="5811580" cy="1877437"/>
          </a:xfrm>
          <a:prstGeom prst="rect">
            <a:avLst/>
          </a:prstGeom>
          <a:noFill/>
        </p:spPr>
        <p:txBody>
          <a:bodyPr wrap="square" rtlCol="0">
            <a:spAutoFit/>
          </a:bodyPr>
          <a:lstStyle/>
          <a:p>
            <a:r>
              <a:rPr lang="es-ES" sz="1400" dirty="0" smtClean="0"/>
              <a:t>27. </a:t>
            </a:r>
            <a:r>
              <a:rPr lang="es-ES" b="1" dirty="0" smtClean="0">
                <a:solidFill>
                  <a:schemeClr val="bg1"/>
                </a:solidFill>
                <a:hlinkClick r:id="rId24" action="ppaction://hlinksldjump"/>
              </a:rPr>
              <a:t>AULAS TECNOLÓGICAS</a:t>
            </a:r>
            <a:r>
              <a:rPr lang="es-ES" b="1" dirty="0" smtClean="0">
                <a:hlinkClick r:id="rId24" action="ppaction://hlinksldjump"/>
              </a:rPr>
              <a:t>: Visión de la Empresa</a:t>
            </a:r>
            <a:endParaRPr lang="es-ES" b="1" dirty="0" smtClean="0"/>
          </a:p>
          <a:p>
            <a:r>
              <a:rPr lang="es-ES" sz="1400" dirty="0" smtClean="0">
                <a:hlinkClick r:id="rId25" action="ppaction://hlinksldjump"/>
              </a:rPr>
              <a:t>28-34. </a:t>
            </a:r>
            <a:r>
              <a:rPr lang="es-ES" sz="1400" b="1" dirty="0" smtClean="0">
                <a:hlinkClick r:id="rId25" action="ppaction://hlinksldjump"/>
              </a:rPr>
              <a:t>digitales</a:t>
            </a:r>
            <a:endParaRPr lang="es-ES" sz="1400" b="1" dirty="0" smtClean="0"/>
          </a:p>
          <a:p>
            <a:endParaRPr lang="es-ES" sz="1400" b="1" dirty="0"/>
          </a:p>
          <a:p>
            <a:r>
              <a:rPr lang="es-ES" sz="1400" dirty="0" smtClean="0">
                <a:hlinkClick r:id="rId26" action="ppaction://hlinksldjump"/>
              </a:rPr>
              <a:t>35-41. </a:t>
            </a:r>
            <a:r>
              <a:rPr lang="es-ES" sz="1400" dirty="0" err="1" smtClean="0">
                <a:hlinkClick r:id="rId26" action="ppaction://hlinksldjump"/>
              </a:rPr>
              <a:t>Hewlet</a:t>
            </a:r>
            <a:r>
              <a:rPr lang="es-ES" sz="1400" dirty="0" smtClean="0">
                <a:hlinkClick r:id="rId26" action="ppaction://hlinksldjump"/>
              </a:rPr>
              <a:t> Packard</a:t>
            </a:r>
            <a:endParaRPr lang="es-ES" sz="1400" dirty="0" smtClean="0"/>
          </a:p>
          <a:p>
            <a:r>
              <a:rPr lang="es-ES" sz="1400" dirty="0" smtClean="0">
                <a:hlinkClick r:id="rId27" action="ppaction://hlinksldjump"/>
              </a:rPr>
              <a:t>42-44. Vodafone</a:t>
            </a:r>
            <a:endParaRPr lang="es-ES" sz="1400" dirty="0" smtClean="0"/>
          </a:p>
          <a:p>
            <a:r>
              <a:rPr lang="es-ES" sz="1400" dirty="0" smtClean="0">
                <a:hlinkClick r:id="rId28" action="ppaction://hlinksldjump"/>
              </a:rPr>
              <a:t>45-51. HUAWEI</a:t>
            </a:r>
            <a:endParaRPr lang="es-ES" sz="1400" dirty="0" smtClean="0"/>
          </a:p>
          <a:p>
            <a:r>
              <a:rPr lang="es-ES" sz="1400" dirty="0" smtClean="0">
                <a:hlinkClick r:id="rId29" action="ppaction://hlinksldjump"/>
              </a:rPr>
              <a:t>52-55. Telefónica</a:t>
            </a:r>
            <a:endParaRPr lang="es-ES" dirty="0" smtClean="0"/>
          </a:p>
          <a:p>
            <a:r>
              <a:rPr lang="es-ES" sz="1400" dirty="0"/>
              <a:t>	</a:t>
            </a:r>
          </a:p>
        </p:txBody>
      </p:sp>
      <p:sp>
        <p:nvSpPr>
          <p:cNvPr id="5" name="Marcador de número de diapositiva 1"/>
          <p:cNvSpPr>
            <a:spLocks noGrp="1"/>
          </p:cNvSpPr>
          <p:nvPr>
            <p:ph type="sldNum" sz="quarter" idx="12"/>
          </p:nvPr>
        </p:nvSpPr>
        <p:spPr>
          <a:xfrm>
            <a:off x="11777051" y="6458134"/>
            <a:ext cx="487378" cy="481343"/>
          </a:xfrm>
        </p:spPr>
        <p:txBody>
          <a:bodyPr/>
          <a:lstStyle/>
          <a:p>
            <a:r>
              <a:rPr lang="en-US" sz="2000" dirty="0" smtClean="0"/>
              <a:t>2</a:t>
            </a:r>
            <a:endParaRPr lang="en-US" sz="2000" dirty="0"/>
          </a:p>
        </p:txBody>
      </p:sp>
    </p:spTree>
    <p:extLst>
      <p:ext uri="{BB962C8B-B14F-4D97-AF65-F5344CB8AC3E}">
        <p14:creationId xmlns:p14="http://schemas.microsoft.com/office/powerpoint/2010/main" val="361995427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23FEED7-63F6-4545-95DD-474E69B1B82D}"/>
              </a:ext>
            </a:extLst>
          </p:cNvPr>
          <p:cNvSpPr/>
          <p:nvPr/>
        </p:nvSpPr>
        <p:spPr>
          <a:xfrm>
            <a:off x="419022" y="193816"/>
            <a:ext cx="6357831" cy="707886"/>
          </a:xfrm>
          <a:prstGeom prst="rect">
            <a:avLst/>
          </a:prstGeom>
          <a:noFill/>
        </p:spPr>
        <p:txBody>
          <a:bodyPr wrap="none" lIns="91440" tIns="45720" rIns="91440" bIns="45720">
            <a:spAutoFit/>
          </a:bodyPr>
          <a:lstStyle/>
          <a:p>
            <a:r>
              <a:rPr lang="es-ES" sz="4000" b="1"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Wifi 6 y Tecnología </a:t>
            </a:r>
            <a:r>
              <a:rPr lang="es-ES" sz="4000" b="1" dirty="0" smtClean="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5G (I)</a:t>
            </a:r>
            <a:endParaRPr lang="es-ES" sz="4000" b="1"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endParaRPr>
          </a:p>
        </p:txBody>
      </p:sp>
      <p:sp>
        <p:nvSpPr>
          <p:cNvPr id="5" name="Freeform: Shape 6">
            <a:extLst>
              <a:ext uri="{FF2B5EF4-FFF2-40B4-BE49-F238E27FC236}">
                <a16:creationId xmlns:a16="http://schemas.microsoft.com/office/drawing/2014/main" id="{0DD31925-D198-48E7-BDA5-F7704A6AD0D3}"/>
              </a:ext>
            </a:extLst>
          </p:cNvPr>
          <p:cNvSpPr/>
          <p:nvPr/>
        </p:nvSpPr>
        <p:spPr>
          <a:xfrm>
            <a:off x="757316" y="2896480"/>
            <a:ext cx="1048043" cy="1048043"/>
          </a:xfrm>
          <a:custGeom>
            <a:avLst/>
            <a:gdLst>
              <a:gd name="connsiteX0" fmla="*/ 1048043 w 1048043"/>
              <a:gd name="connsiteY0" fmla="*/ 0 h 1048043"/>
              <a:gd name="connsiteX1" fmla="*/ 1048043 w 1048043"/>
              <a:gd name="connsiteY1" fmla="*/ 177140 h 1048043"/>
              <a:gd name="connsiteX2" fmla="*/ 177140 w 1048043"/>
              <a:gd name="connsiteY2" fmla="*/ 1048043 h 1048043"/>
              <a:gd name="connsiteX3" fmla="*/ 0 w 1048043"/>
              <a:gd name="connsiteY3" fmla="*/ 1048043 h 1048043"/>
              <a:gd name="connsiteX4" fmla="*/ 1048043 w 1048043"/>
              <a:gd name="connsiteY4" fmla="*/ 0 h 1048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043" h="1048043">
                <a:moveTo>
                  <a:pt x="1048043" y="0"/>
                </a:moveTo>
                <a:lnTo>
                  <a:pt x="1048043" y="177140"/>
                </a:lnTo>
                <a:cubicBezTo>
                  <a:pt x="567057" y="177140"/>
                  <a:pt x="177140" y="567057"/>
                  <a:pt x="177140" y="1048043"/>
                </a:cubicBezTo>
                <a:lnTo>
                  <a:pt x="0" y="1048043"/>
                </a:lnTo>
                <a:cubicBezTo>
                  <a:pt x="0" y="469225"/>
                  <a:pt x="469225" y="0"/>
                  <a:pt x="1048043" y="0"/>
                </a:cubicBezTo>
                <a:close/>
              </a:path>
            </a:pathLst>
          </a:custGeom>
          <a:solidFill>
            <a:srgbClr val="FF0000"/>
          </a:solidFill>
          <a:ln>
            <a:solidFill>
              <a:schemeClr val="tx1"/>
            </a:solidFill>
            <a:extLst>
              <a:ext uri="{C807C97D-BFC1-408E-A445-0C87EB9F89A2}">
                <ask:lineSketchStyleProps xmlns:ask="http://schemas.microsoft.com/office/drawing/2018/sketchyshapes" xmlns="" sd="1943496191">
                  <a:custGeom>
                    <a:avLst/>
                    <a:gdLst>
                      <a:gd name="connsiteX0" fmla="*/ 1048043 w 1048043"/>
                      <a:gd name="connsiteY0" fmla="*/ 0 h 1048043"/>
                      <a:gd name="connsiteX1" fmla="*/ 1048043 w 1048043"/>
                      <a:gd name="connsiteY1" fmla="*/ 177140 h 1048043"/>
                      <a:gd name="connsiteX2" fmla="*/ 177140 w 1048043"/>
                      <a:gd name="connsiteY2" fmla="*/ 1048043 h 1048043"/>
                      <a:gd name="connsiteX3" fmla="*/ 0 w 1048043"/>
                      <a:gd name="connsiteY3" fmla="*/ 1048043 h 1048043"/>
                      <a:gd name="connsiteX4" fmla="*/ 1048043 w 1048043"/>
                      <a:gd name="connsiteY4" fmla="*/ 0 h 1048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043" h="1048043" fill="none" extrusionOk="0">
                        <a:moveTo>
                          <a:pt x="1048043" y="0"/>
                        </a:moveTo>
                        <a:cubicBezTo>
                          <a:pt x="1060160" y="83621"/>
                          <a:pt x="1046168" y="99787"/>
                          <a:pt x="1048043" y="177140"/>
                        </a:cubicBezTo>
                        <a:cubicBezTo>
                          <a:pt x="559939" y="146955"/>
                          <a:pt x="170278" y="688544"/>
                          <a:pt x="177140" y="1048043"/>
                        </a:cubicBezTo>
                        <a:cubicBezTo>
                          <a:pt x="127421" y="1052656"/>
                          <a:pt x="53271" y="1044195"/>
                          <a:pt x="0" y="1048043"/>
                        </a:cubicBezTo>
                        <a:cubicBezTo>
                          <a:pt x="20080" y="444525"/>
                          <a:pt x="527038" y="94937"/>
                          <a:pt x="1048043" y="0"/>
                        </a:cubicBezTo>
                        <a:close/>
                      </a:path>
                      <a:path w="1048043" h="1048043" stroke="0" extrusionOk="0">
                        <a:moveTo>
                          <a:pt x="1048043" y="0"/>
                        </a:moveTo>
                        <a:cubicBezTo>
                          <a:pt x="1063964" y="64542"/>
                          <a:pt x="1027976" y="131288"/>
                          <a:pt x="1048043" y="177140"/>
                        </a:cubicBezTo>
                        <a:cubicBezTo>
                          <a:pt x="512837" y="181293"/>
                          <a:pt x="101685" y="524170"/>
                          <a:pt x="177140" y="1048043"/>
                        </a:cubicBezTo>
                        <a:cubicBezTo>
                          <a:pt x="111640" y="1048874"/>
                          <a:pt x="38247" y="1047692"/>
                          <a:pt x="0" y="1048043"/>
                        </a:cubicBezTo>
                        <a:cubicBezTo>
                          <a:pt x="-31368" y="395919"/>
                          <a:pt x="390649" y="17372"/>
                          <a:pt x="1048043"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Freeform: Shape 7">
            <a:extLst>
              <a:ext uri="{FF2B5EF4-FFF2-40B4-BE49-F238E27FC236}">
                <a16:creationId xmlns:a16="http://schemas.microsoft.com/office/drawing/2014/main" id="{32E95523-762E-4396-BEC9-564AA7C76F60}"/>
              </a:ext>
            </a:extLst>
          </p:cNvPr>
          <p:cNvSpPr/>
          <p:nvPr/>
        </p:nvSpPr>
        <p:spPr>
          <a:xfrm rot="5400000">
            <a:off x="1931968" y="2896479"/>
            <a:ext cx="1048043" cy="1048043"/>
          </a:xfrm>
          <a:custGeom>
            <a:avLst/>
            <a:gdLst>
              <a:gd name="connsiteX0" fmla="*/ 1048043 w 1048043"/>
              <a:gd name="connsiteY0" fmla="*/ 0 h 1048043"/>
              <a:gd name="connsiteX1" fmla="*/ 1048043 w 1048043"/>
              <a:gd name="connsiteY1" fmla="*/ 177140 h 1048043"/>
              <a:gd name="connsiteX2" fmla="*/ 177140 w 1048043"/>
              <a:gd name="connsiteY2" fmla="*/ 1048043 h 1048043"/>
              <a:gd name="connsiteX3" fmla="*/ 0 w 1048043"/>
              <a:gd name="connsiteY3" fmla="*/ 1048043 h 1048043"/>
              <a:gd name="connsiteX4" fmla="*/ 1048043 w 1048043"/>
              <a:gd name="connsiteY4" fmla="*/ 0 h 1048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043" h="1048043">
                <a:moveTo>
                  <a:pt x="1048043" y="0"/>
                </a:moveTo>
                <a:lnTo>
                  <a:pt x="1048043" y="177140"/>
                </a:lnTo>
                <a:cubicBezTo>
                  <a:pt x="567057" y="177140"/>
                  <a:pt x="177140" y="567057"/>
                  <a:pt x="177140" y="1048043"/>
                </a:cubicBezTo>
                <a:lnTo>
                  <a:pt x="0" y="1048043"/>
                </a:lnTo>
                <a:cubicBezTo>
                  <a:pt x="0" y="469225"/>
                  <a:pt x="469225" y="0"/>
                  <a:pt x="1048043" y="0"/>
                </a:cubicBezTo>
                <a:close/>
              </a:path>
            </a:pathLst>
          </a:custGeom>
          <a:solidFill>
            <a:srgbClr val="FF0000"/>
          </a:solidFill>
          <a:ln>
            <a:solidFill>
              <a:schemeClr val="tx1"/>
            </a:solidFill>
            <a:extLst>
              <a:ext uri="{C807C97D-BFC1-408E-A445-0C87EB9F89A2}">
                <ask:lineSketchStyleProps xmlns:ask="http://schemas.microsoft.com/office/drawing/2018/sketchyshapes" xmlns="" sd="761292823">
                  <a:custGeom>
                    <a:avLst/>
                    <a:gdLst>
                      <a:gd name="connsiteX0" fmla="*/ 1048043 w 1048043"/>
                      <a:gd name="connsiteY0" fmla="*/ 0 h 1048043"/>
                      <a:gd name="connsiteX1" fmla="*/ 1048043 w 1048043"/>
                      <a:gd name="connsiteY1" fmla="*/ 177140 h 1048043"/>
                      <a:gd name="connsiteX2" fmla="*/ 177140 w 1048043"/>
                      <a:gd name="connsiteY2" fmla="*/ 1048043 h 1048043"/>
                      <a:gd name="connsiteX3" fmla="*/ 0 w 1048043"/>
                      <a:gd name="connsiteY3" fmla="*/ 1048043 h 1048043"/>
                      <a:gd name="connsiteX4" fmla="*/ 1048043 w 1048043"/>
                      <a:gd name="connsiteY4" fmla="*/ 0 h 1048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043" h="1048043" fill="none" extrusionOk="0">
                        <a:moveTo>
                          <a:pt x="1048043" y="0"/>
                        </a:moveTo>
                        <a:cubicBezTo>
                          <a:pt x="1057191" y="76370"/>
                          <a:pt x="1034788" y="139692"/>
                          <a:pt x="1048043" y="177140"/>
                        </a:cubicBezTo>
                        <a:cubicBezTo>
                          <a:pt x="517745" y="151650"/>
                          <a:pt x="232919" y="629941"/>
                          <a:pt x="177140" y="1048043"/>
                        </a:cubicBezTo>
                        <a:cubicBezTo>
                          <a:pt x="95478" y="1054676"/>
                          <a:pt x="50514" y="1036963"/>
                          <a:pt x="0" y="1048043"/>
                        </a:cubicBezTo>
                        <a:cubicBezTo>
                          <a:pt x="48295" y="419612"/>
                          <a:pt x="564602" y="95875"/>
                          <a:pt x="1048043" y="0"/>
                        </a:cubicBezTo>
                        <a:close/>
                      </a:path>
                      <a:path w="1048043" h="1048043" stroke="0" extrusionOk="0">
                        <a:moveTo>
                          <a:pt x="1048043" y="0"/>
                        </a:moveTo>
                        <a:cubicBezTo>
                          <a:pt x="1068073" y="76367"/>
                          <a:pt x="1047106" y="109519"/>
                          <a:pt x="1048043" y="177140"/>
                        </a:cubicBezTo>
                        <a:cubicBezTo>
                          <a:pt x="474871" y="212551"/>
                          <a:pt x="94544" y="625993"/>
                          <a:pt x="177140" y="1048043"/>
                        </a:cubicBezTo>
                        <a:cubicBezTo>
                          <a:pt x="124314" y="1048545"/>
                          <a:pt x="47262" y="1040566"/>
                          <a:pt x="0" y="1048043"/>
                        </a:cubicBezTo>
                        <a:cubicBezTo>
                          <a:pt x="22320" y="477639"/>
                          <a:pt x="512681" y="-13891"/>
                          <a:pt x="1048043"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Freeform: Shape 10">
            <a:extLst>
              <a:ext uri="{FF2B5EF4-FFF2-40B4-BE49-F238E27FC236}">
                <a16:creationId xmlns:a16="http://schemas.microsoft.com/office/drawing/2014/main" id="{8DCADD80-B7D8-47CF-829E-65621DC176DB}"/>
              </a:ext>
            </a:extLst>
          </p:cNvPr>
          <p:cNvSpPr/>
          <p:nvPr/>
        </p:nvSpPr>
        <p:spPr>
          <a:xfrm flipH="1" flipV="1">
            <a:off x="3986071" y="4057064"/>
            <a:ext cx="1048043" cy="1048043"/>
          </a:xfrm>
          <a:custGeom>
            <a:avLst/>
            <a:gdLst>
              <a:gd name="connsiteX0" fmla="*/ 1048043 w 1048043"/>
              <a:gd name="connsiteY0" fmla="*/ 0 h 1048043"/>
              <a:gd name="connsiteX1" fmla="*/ 1048043 w 1048043"/>
              <a:gd name="connsiteY1" fmla="*/ 177140 h 1048043"/>
              <a:gd name="connsiteX2" fmla="*/ 177140 w 1048043"/>
              <a:gd name="connsiteY2" fmla="*/ 1048043 h 1048043"/>
              <a:gd name="connsiteX3" fmla="*/ 0 w 1048043"/>
              <a:gd name="connsiteY3" fmla="*/ 1048043 h 1048043"/>
              <a:gd name="connsiteX4" fmla="*/ 1048043 w 1048043"/>
              <a:gd name="connsiteY4" fmla="*/ 0 h 1048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043" h="1048043">
                <a:moveTo>
                  <a:pt x="1048043" y="0"/>
                </a:moveTo>
                <a:lnTo>
                  <a:pt x="1048043" y="177140"/>
                </a:lnTo>
                <a:cubicBezTo>
                  <a:pt x="567057" y="177140"/>
                  <a:pt x="177140" y="567057"/>
                  <a:pt x="177140" y="1048043"/>
                </a:cubicBezTo>
                <a:lnTo>
                  <a:pt x="0" y="1048043"/>
                </a:lnTo>
                <a:cubicBezTo>
                  <a:pt x="0" y="469225"/>
                  <a:pt x="469225" y="0"/>
                  <a:pt x="1048043" y="0"/>
                </a:cubicBezTo>
                <a:close/>
              </a:path>
            </a:pathLst>
          </a:custGeom>
          <a:solidFill>
            <a:srgbClr val="00446E"/>
          </a:solidFill>
          <a:ln>
            <a:solidFill>
              <a:schemeClr val="tx1"/>
            </a:solidFill>
            <a:extLst>
              <a:ext uri="{C807C97D-BFC1-408E-A445-0C87EB9F89A2}">
                <ask:lineSketchStyleProps xmlns:ask="http://schemas.microsoft.com/office/drawing/2018/sketchyshapes" xmlns="" sd="361823003">
                  <a:custGeom>
                    <a:avLst/>
                    <a:gdLst>
                      <a:gd name="connsiteX0" fmla="*/ 1048043 w 1048043"/>
                      <a:gd name="connsiteY0" fmla="*/ 0 h 1048043"/>
                      <a:gd name="connsiteX1" fmla="*/ 1048043 w 1048043"/>
                      <a:gd name="connsiteY1" fmla="*/ 177140 h 1048043"/>
                      <a:gd name="connsiteX2" fmla="*/ 177140 w 1048043"/>
                      <a:gd name="connsiteY2" fmla="*/ 1048043 h 1048043"/>
                      <a:gd name="connsiteX3" fmla="*/ 0 w 1048043"/>
                      <a:gd name="connsiteY3" fmla="*/ 1048043 h 1048043"/>
                      <a:gd name="connsiteX4" fmla="*/ 1048043 w 1048043"/>
                      <a:gd name="connsiteY4" fmla="*/ 0 h 1048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043" h="1048043" fill="none" extrusionOk="0">
                        <a:moveTo>
                          <a:pt x="1048043" y="0"/>
                        </a:moveTo>
                        <a:cubicBezTo>
                          <a:pt x="1066917" y="57887"/>
                          <a:pt x="1035806" y="103102"/>
                          <a:pt x="1048043" y="177140"/>
                        </a:cubicBezTo>
                        <a:cubicBezTo>
                          <a:pt x="565190" y="240542"/>
                          <a:pt x="142815" y="547314"/>
                          <a:pt x="177140" y="1048043"/>
                        </a:cubicBezTo>
                        <a:cubicBezTo>
                          <a:pt x="101686" y="1058632"/>
                          <a:pt x="77162" y="1035536"/>
                          <a:pt x="0" y="1048043"/>
                        </a:cubicBezTo>
                        <a:cubicBezTo>
                          <a:pt x="-23141" y="385692"/>
                          <a:pt x="496402" y="62375"/>
                          <a:pt x="1048043" y="0"/>
                        </a:cubicBezTo>
                        <a:close/>
                      </a:path>
                      <a:path w="1048043" h="1048043" stroke="0" extrusionOk="0">
                        <a:moveTo>
                          <a:pt x="1048043" y="0"/>
                        </a:moveTo>
                        <a:cubicBezTo>
                          <a:pt x="1055099" y="45767"/>
                          <a:pt x="1030368" y="124643"/>
                          <a:pt x="1048043" y="177140"/>
                        </a:cubicBezTo>
                        <a:cubicBezTo>
                          <a:pt x="594301" y="100504"/>
                          <a:pt x="110321" y="454262"/>
                          <a:pt x="177140" y="1048043"/>
                        </a:cubicBezTo>
                        <a:cubicBezTo>
                          <a:pt x="111357" y="1048804"/>
                          <a:pt x="44066" y="1043801"/>
                          <a:pt x="0" y="1048043"/>
                        </a:cubicBezTo>
                        <a:cubicBezTo>
                          <a:pt x="-88234" y="353284"/>
                          <a:pt x="536112" y="-90068"/>
                          <a:pt x="1048043"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Freeform: Shape 11">
            <a:extLst>
              <a:ext uri="{FF2B5EF4-FFF2-40B4-BE49-F238E27FC236}">
                <a16:creationId xmlns:a16="http://schemas.microsoft.com/office/drawing/2014/main" id="{4B2116ED-4984-45FE-A195-42D29E1D0682}"/>
              </a:ext>
            </a:extLst>
          </p:cNvPr>
          <p:cNvSpPr/>
          <p:nvPr/>
        </p:nvSpPr>
        <p:spPr>
          <a:xfrm rot="5400000" flipH="1" flipV="1">
            <a:off x="2811419" y="4057065"/>
            <a:ext cx="1048043" cy="1048043"/>
          </a:xfrm>
          <a:custGeom>
            <a:avLst/>
            <a:gdLst>
              <a:gd name="connsiteX0" fmla="*/ 1048043 w 1048043"/>
              <a:gd name="connsiteY0" fmla="*/ 0 h 1048043"/>
              <a:gd name="connsiteX1" fmla="*/ 1048043 w 1048043"/>
              <a:gd name="connsiteY1" fmla="*/ 177140 h 1048043"/>
              <a:gd name="connsiteX2" fmla="*/ 177140 w 1048043"/>
              <a:gd name="connsiteY2" fmla="*/ 1048043 h 1048043"/>
              <a:gd name="connsiteX3" fmla="*/ 0 w 1048043"/>
              <a:gd name="connsiteY3" fmla="*/ 1048043 h 1048043"/>
              <a:gd name="connsiteX4" fmla="*/ 1048043 w 1048043"/>
              <a:gd name="connsiteY4" fmla="*/ 0 h 1048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043" h="1048043">
                <a:moveTo>
                  <a:pt x="1048043" y="0"/>
                </a:moveTo>
                <a:lnTo>
                  <a:pt x="1048043" y="177140"/>
                </a:lnTo>
                <a:cubicBezTo>
                  <a:pt x="567057" y="177140"/>
                  <a:pt x="177140" y="567057"/>
                  <a:pt x="177140" y="1048043"/>
                </a:cubicBezTo>
                <a:lnTo>
                  <a:pt x="0" y="1048043"/>
                </a:lnTo>
                <a:cubicBezTo>
                  <a:pt x="0" y="469225"/>
                  <a:pt x="469225" y="0"/>
                  <a:pt x="1048043" y="0"/>
                </a:cubicBezTo>
                <a:close/>
              </a:path>
            </a:pathLst>
          </a:custGeom>
          <a:solidFill>
            <a:srgbClr val="00446E"/>
          </a:solidFill>
          <a:ln>
            <a:solidFill>
              <a:schemeClr val="tx1"/>
            </a:solidFill>
            <a:extLst>
              <a:ext uri="{C807C97D-BFC1-408E-A445-0C87EB9F89A2}">
                <ask:lineSketchStyleProps xmlns:ask="http://schemas.microsoft.com/office/drawing/2018/sketchyshapes" xmlns="" sd="2446798759">
                  <a:custGeom>
                    <a:avLst/>
                    <a:gdLst>
                      <a:gd name="connsiteX0" fmla="*/ 1048043 w 1048043"/>
                      <a:gd name="connsiteY0" fmla="*/ 0 h 1048043"/>
                      <a:gd name="connsiteX1" fmla="*/ 1048043 w 1048043"/>
                      <a:gd name="connsiteY1" fmla="*/ 177140 h 1048043"/>
                      <a:gd name="connsiteX2" fmla="*/ 177140 w 1048043"/>
                      <a:gd name="connsiteY2" fmla="*/ 1048043 h 1048043"/>
                      <a:gd name="connsiteX3" fmla="*/ 0 w 1048043"/>
                      <a:gd name="connsiteY3" fmla="*/ 1048043 h 1048043"/>
                      <a:gd name="connsiteX4" fmla="*/ 1048043 w 1048043"/>
                      <a:gd name="connsiteY4" fmla="*/ 0 h 1048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043" h="1048043" fill="none" extrusionOk="0">
                        <a:moveTo>
                          <a:pt x="1048043" y="0"/>
                        </a:moveTo>
                        <a:cubicBezTo>
                          <a:pt x="1068203" y="63024"/>
                          <a:pt x="1039884" y="112548"/>
                          <a:pt x="1048043" y="177140"/>
                        </a:cubicBezTo>
                        <a:cubicBezTo>
                          <a:pt x="572889" y="243535"/>
                          <a:pt x="126245" y="505780"/>
                          <a:pt x="177140" y="1048043"/>
                        </a:cubicBezTo>
                        <a:cubicBezTo>
                          <a:pt x="130151" y="1061063"/>
                          <a:pt x="46695" y="1044777"/>
                          <a:pt x="0" y="1048043"/>
                        </a:cubicBezTo>
                        <a:cubicBezTo>
                          <a:pt x="7278" y="296322"/>
                          <a:pt x="380340" y="-87086"/>
                          <a:pt x="1048043" y="0"/>
                        </a:cubicBezTo>
                        <a:close/>
                      </a:path>
                      <a:path w="1048043" h="1048043" stroke="0" extrusionOk="0">
                        <a:moveTo>
                          <a:pt x="1048043" y="0"/>
                        </a:moveTo>
                        <a:cubicBezTo>
                          <a:pt x="1064954" y="53718"/>
                          <a:pt x="1037688" y="131776"/>
                          <a:pt x="1048043" y="177140"/>
                        </a:cubicBezTo>
                        <a:cubicBezTo>
                          <a:pt x="462393" y="122325"/>
                          <a:pt x="159854" y="560977"/>
                          <a:pt x="177140" y="1048043"/>
                        </a:cubicBezTo>
                        <a:cubicBezTo>
                          <a:pt x="95315" y="1066817"/>
                          <a:pt x="47522" y="1031394"/>
                          <a:pt x="0" y="1048043"/>
                        </a:cubicBezTo>
                        <a:cubicBezTo>
                          <a:pt x="94395" y="548833"/>
                          <a:pt x="472385" y="-138759"/>
                          <a:pt x="1048043"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Freeform: Shape 13">
            <a:extLst>
              <a:ext uri="{FF2B5EF4-FFF2-40B4-BE49-F238E27FC236}">
                <a16:creationId xmlns:a16="http://schemas.microsoft.com/office/drawing/2014/main" id="{9745EA50-5259-4079-B2D6-E33AB085B02D}"/>
              </a:ext>
            </a:extLst>
          </p:cNvPr>
          <p:cNvSpPr/>
          <p:nvPr/>
        </p:nvSpPr>
        <p:spPr>
          <a:xfrm>
            <a:off x="4862737" y="2896480"/>
            <a:ext cx="1048043" cy="1048043"/>
          </a:xfrm>
          <a:custGeom>
            <a:avLst/>
            <a:gdLst>
              <a:gd name="connsiteX0" fmla="*/ 1048043 w 1048043"/>
              <a:gd name="connsiteY0" fmla="*/ 0 h 1048043"/>
              <a:gd name="connsiteX1" fmla="*/ 1048043 w 1048043"/>
              <a:gd name="connsiteY1" fmla="*/ 177140 h 1048043"/>
              <a:gd name="connsiteX2" fmla="*/ 177140 w 1048043"/>
              <a:gd name="connsiteY2" fmla="*/ 1048043 h 1048043"/>
              <a:gd name="connsiteX3" fmla="*/ 0 w 1048043"/>
              <a:gd name="connsiteY3" fmla="*/ 1048043 h 1048043"/>
              <a:gd name="connsiteX4" fmla="*/ 1048043 w 1048043"/>
              <a:gd name="connsiteY4" fmla="*/ 0 h 1048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043" h="1048043">
                <a:moveTo>
                  <a:pt x="1048043" y="0"/>
                </a:moveTo>
                <a:lnTo>
                  <a:pt x="1048043" y="177140"/>
                </a:lnTo>
                <a:cubicBezTo>
                  <a:pt x="567057" y="177140"/>
                  <a:pt x="177140" y="567057"/>
                  <a:pt x="177140" y="1048043"/>
                </a:cubicBezTo>
                <a:lnTo>
                  <a:pt x="0" y="1048043"/>
                </a:lnTo>
                <a:cubicBezTo>
                  <a:pt x="0" y="469225"/>
                  <a:pt x="469225" y="0"/>
                  <a:pt x="1048043" y="0"/>
                </a:cubicBezTo>
                <a:close/>
              </a:path>
            </a:pathLst>
          </a:custGeom>
          <a:solidFill>
            <a:schemeClr val="accent6">
              <a:lumMod val="50000"/>
            </a:schemeClr>
          </a:solidFill>
          <a:ln>
            <a:solidFill>
              <a:schemeClr val="tx1"/>
            </a:solidFill>
            <a:extLst>
              <a:ext uri="{C807C97D-BFC1-408E-A445-0C87EB9F89A2}">
                <ask:lineSketchStyleProps xmlns:ask="http://schemas.microsoft.com/office/drawing/2018/sketchyshapes" xmlns="" sd="3545891676">
                  <a:custGeom>
                    <a:avLst/>
                    <a:gdLst>
                      <a:gd name="connsiteX0" fmla="*/ 1048043 w 1048043"/>
                      <a:gd name="connsiteY0" fmla="*/ 0 h 1048043"/>
                      <a:gd name="connsiteX1" fmla="*/ 1048043 w 1048043"/>
                      <a:gd name="connsiteY1" fmla="*/ 177140 h 1048043"/>
                      <a:gd name="connsiteX2" fmla="*/ 177140 w 1048043"/>
                      <a:gd name="connsiteY2" fmla="*/ 1048043 h 1048043"/>
                      <a:gd name="connsiteX3" fmla="*/ 0 w 1048043"/>
                      <a:gd name="connsiteY3" fmla="*/ 1048043 h 1048043"/>
                      <a:gd name="connsiteX4" fmla="*/ 1048043 w 1048043"/>
                      <a:gd name="connsiteY4" fmla="*/ 0 h 1048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043" h="1048043" fill="none" extrusionOk="0">
                        <a:moveTo>
                          <a:pt x="1048043" y="0"/>
                        </a:moveTo>
                        <a:cubicBezTo>
                          <a:pt x="1055893" y="64846"/>
                          <a:pt x="1028049" y="113377"/>
                          <a:pt x="1048043" y="177140"/>
                        </a:cubicBezTo>
                        <a:cubicBezTo>
                          <a:pt x="585957" y="195309"/>
                          <a:pt x="151584" y="566354"/>
                          <a:pt x="177140" y="1048043"/>
                        </a:cubicBezTo>
                        <a:cubicBezTo>
                          <a:pt x="112369" y="1060052"/>
                          <a:pt x="50272" y="1041168"/>
                          <a:pt x="0" y="1048043"/>
                        </a:cubicBezTo>
                        <a:cubicBezTo>
                          <a:pt x="-13990" y="431866"/>
                          <a:pt x="586107" y="-102714"/>
                          <a:pt x="1048043" y="0"/>
                        </a:cubicBezTo>
                        <a:close/>
                      </a:path>
                      <a:path w="1048043" h="1048043" stroke="0" extrusionOk="0">
                        <a:moveTo>
                          <a:pt x="1048043" y="0"/>
                        </a:moveTo>
                        <a:cubicBezTo>
                          <a:pt x="1059528" y="55232"/>
                          <a:pt x="1034306" y="130536"/>
                          <a:pt x="1048043" y="177140"/>
                        </a:cubicBezTo>
                        <a:cubicBezTo>
                          <a:pt x="659795" y="168021"/>
                          <a:pt x="59934" y="629563"/>
                          <a:pt x="177140" y="1048043"/>
                        </a:cubicBezTo>
                        <a:cubicBezTo>
                          <a:pt x="120206" y="1061064"/>
                          <a:pt x="73435" y="1046582"/>
                          <a:pt x="0" y="1048043"/>
                        </a:cubicBezTo>
                        <a:cubicBezTo>
                          <a:pt x="-60220" y="433302"/>
                          <a:pt x="401681" y="-93153"/>
                          <a:pt x="1048043"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Freeform: Shape 14">
            <a:extLst>
              <a:ext uri="{FF2B5EF4-FFF2-40B4-BE49-F238E27FC236}">
                <a16:creationId xmlns:a16="http://schemas.microsoft.com/office/drawing/2014/main" id="{474D68F6-DC2A-4509-AE5E-7D6878789737}"/>
              </a:ext>
            </a:extLst>
          </p:cNvPr>
          <p:cNvSpPr/>
          <p:nvPr/>
        </p:nvSpPr>
        <p:spPr>
          <a:xfrm rot="5400000">
            <a:off x="6037389" y="2896479"/>
            <a:ext cx="1048043" cy="1048043"/>
          </a:xfrm>
          <a:custGeom>
            <a:avLst/>
            <a:gdLst>
              <a:gd name="connsiteX0" fmla="*/ 1048043 w 1048043"/>
              <a:gd name="connsiteY0" fmla="*/ 0 h 1048043"/>
              <a:gd name="connsiteX1" fmla="*/ 1048043 w 1048043"/>
              <a:gd name="connsiteY1" fmla="*/ 177140 h 1048043"/>
              <a:gd name="connsiteX2" fmla="*/ 177140 w 1048043"/>
              <a:gd name="connsiteY2" fmla="*/ 1048043 h 1048043"/>
              <a:gd name="connsiteX3" fmla="*/ 0 w 1048043"/>
              <a:gd name="connsiteY3" fmla="*/ 1048043 h 1048043"/>
              <a:gd name="connsiteX4" fmla="*/ 1048043 w 1048043"/>
              <a:gd name="connsiteY4" fmla="*/ 0 h 1048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043" h="1048043">
                <a:moveTo>
                  <a:pt x="1048043" y="0"/>
                </a:moveTo>
                <a:lnTo>
                  <a:pt x="1048043" y="177140"/>
                </a:lnTo>
                <a:cubicBezTo>
                  <a:pt x="567057" y="177140"/>
                  <a:pt x="177140" y="567057"/>
                  <a:pt x="177140" y="1048043"/>
                </a:cubicBezTo>
                <a:lnTo>
                  <a:pt x="0" y="1048043"/>
                </a:lnTo>
                <a:cubicBezTo>
                  <a:pt x="0" y="469225"/>
                  <a:pt x="469225" y="0"/>
                  <a:pt x="1048043" y="0"/>
                </a:cubicBezTo>
                <a:close/>
              </a:path>
            </a:pathLst>
          </a:custGeom>
          <a:solidFill>
            <a:schemeClr val="accent6">
              <a:lumMod val="50000"/>
            </a:schemeClr>
          </a:solidFill>
          <a:ln>
            <a:solidFill>
              <a:schemeClr val="tx1"/>
            </a:solidFill>
            <a:extLst>
              <a:ext uri="{C807C97D-BFC1-408E-A445-0C87EB9F89A2}">
                <ask:lineSketchStyleProps xmlns:ask="http://schemas.microsoft.com/office/drawing/2018/sketchyshapes" xmlns="" sd="3565497381">
                  <a:custGeom>
                    <a:avLst/>
                    <a:gdLst>
                      <a:gd name="connsiteX0" fmla="*/ 1048043 w 1048043"/>
                      <a:gd name="connsiteY0" fmla="*/ 0 h 1048043"/>
                      <a:gd name="connsiteX1" fmla="*/ 1048043 w 1048043"/>
                      <a:gd name="connsiteY1" fmla="*/ 177140 h 1048043"/>
                      <a:gd name="connsiteX2" fmla="*/ 177140 w 1048043"/>
                      <a:gd name="connsiteY2" fmla="*/ 1048043 h 1048043"/>
                      <a:gd name="connsiteX3" fmla="*/ 0 w 1048043"/>
                      <a:gd name="connsiteY3" fmla="*/ 1048043 h 1048043"/>
                      <a:gd name="connsiteX4" fmla="*/ 1048043 w 1048043"/>
                      <a:gd name="connsiteY4" fmla="*/ 0 h 1048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043" h="1048043" fill="none" extrusionOk="0">
                        <a:moveTo>
                          <a:pt x="1048043" y="0"/>
                        </a:moveTo>
                        <a:cubicBezTo>
                          <a:pt x="1049623" y="87709"/>
                          <a:pt x="1030476" y="141594"/>
                          <a:pt x="1048043" y="177140"/>
                        </a:cubicBezTo>
                        <a:cubicBezTo>
                          <a:pt x="514165" y="159488"/>
                          <a:pt x="143299" y="666243"/>
                          <a:pt x="177140" y="1048043"/>
                        </a:cubicBezTo>
                        <a:cubicBezTo>
                          <a:pt x="125509" y="1053589"/>
                          <a:pt x="86074" y="1038648"/>
                          <a:pt x="0" y="1048043"/>
                        </a:cubicBezTo>
                        <a:cubicBezTo>
                          <a:pt x="86793" y="522597"/>
                          <a:pt x="596490" y="-1"/>
                          <a:pt x="1048043" y="0"/>
                        </a:cubicBezTo>
                        <a:close/>
                      </a:path>
                      <a:path w="1048043" h="1048043" stroke="0" extrusionOk="0">
                        <a:moveTo>
                          <a:pt x="1048043" y="0"/>
                        </a:moveTo>
                        <a:cubicBezTo>
                          <a:pt x="1060681" y="51487"/>
                          <a:pt x="1046406" y="99559"/>
                          <a:pt x="1048043" y="177140"/>
                        </a:cubicBezTo>
                        <a:cubicBezTo>
                          <a:pt x="589082" y="155019"/>
                          <a:pt x="152777" y="537660"/>
                          <a:pt x="177140" y="1048043"/>
                        </a:cubicBezTo>
                        <a:cubicBezTo>
                          <a:pt x="121693" y="1054317"/>
                          <a:pt x="86058" y="1041765"/>
                          <a:pt x="0" y="1048043"/>
                        </a:cubicBezTo>
                        <a:cubicBezTo>
                          <a:pt x="87733" y="427247"/>
                          <a:pt x="457921" y="-11067"/>
                          <a:pt x="1048043"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Freeform: Shape 16">
            <a:extLst>
              <a:ext uri="{FF2B5EF4-FFF2-40B4-BE49-F238E27FC236}">
                <a16:creationId xmlns:a16="http://schemas.microsoft.com/office/drawing/2014/main" id="{E417D7BA-F3CF-4D1F-B985-F64C54D766A4}"/>
              </a:ext>
            </a:extLst>
          </p:cNvPr>
          <p:cNvSpPr/>
          <p:nvPr/>
        </p:nvSpPr>
        <p:spPr>
          <a:xfrm flipH="1" flipV="1">
            <a:off x="8091492" y="4057064"/>
            <a:ext cx="1048043" cy="1048043"/>
          </a:xfrm>
          <a:custGeom>
            <a:avLst/>
            <a:gdLst>
              <a:gd name="connsiteX0" fmla="*/ 1048043 w 1048043"/>
              <a:gd name="connsiteY0" fmla="*/ 0 h 1048043"/>
              <a:gd name="connsiteX1" fmla="*/ 1048043 w 1048043"/>
              <a:gd name="connsiteY1" fmla="*/ 177140 h 1048043"/>
              <a:gd name="connsiteX2" fmla="*/ 177140 w 1048043"/>
              <a:gd name="connsiteY2" fmla="*/ 1048043 h 1048043"/>
              <a:gd name="connsiteX3" fmla="*/ 0 w 1048043"/>
              <a:gd name="connsiteY3" fmla="*/ 1048043 h 1048043"/>
              <a:gd name="connsiteX4" fmla="*/ 1048043 w 1048043"/>
              <a:gd name="connsiteY4" fmla="*/ 0 h 1048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043" h="1048043">
                <a:moveTo>
                  <a:pt x="1048043" y="0"/>
                </a:moveTo>
                <a:lnTo>
                  <a:pt x="1048043" y="177140"/>
                </a:lnTo>
                <a:cubicBezTo>
                  <a:pt x="567057" y="177140"/>
                  <a:pt x="177140" y="567057"/>
                  <a:pt x="177140" y="1048043"/>
                </a:cubicBezTo>
                <a:lnTo>
                  <a:pt x="0" y="1048043"/>
                </a:lnTo>
                <a:cubicBezTo>
                  <a:pt x="0" y="469225"/>
                  <a:pt x="469225" y="0"/>
                  <a:pt x="1048043" y="0"/>
                </a:cubicBezTo>
                <a:close/>
              </a:path>
            </a:pathLst>
          </a:custGeom>
          <a:solidFill>
            <a:srgbClr val="FF33CC"/>
          </a:solidFill>
          <a:ln>
            <a:solidFill>
              <a:schemeClr val="tx1"/>
            </a:solidFill>
            <a:extLst>
              <a:ext uri="{C807C97D-BFC1-408E-A445-0C87EB9F89A2}">
                <ask:lineSketchStyleProps xmlns:ask="http://schemas.microsoft.com/office/drawing/2018/sketchyshapes" xmlns="" sd="995854510">
                  <a:custGeom>
                    <a:avLst/>
                    <a:gdLst>
                      <a:gd name="connsiteX0" fmla="*/ 1048043 w 1048043"/>
                      <a:gd name="connsiteY0" fmla="*/ 0 h 1048043"/>
                      <a:gd name="connsiteX1" fmla="*/ 1048043 w 1048043"/>
                      <a:gd name="connsiteY1" fmla="*/ 177140 h 1048043"/>
                      <a:gd name="connsiteX2" fmla="*/ 177140 w 1048043"/>
                      <a:gd name="connsiteY2" fmla="*/ 1048043 h 1048043"/>
                      <a:gd name="connsiteX3" fmla="*/ 0 w 1048043"/>
                      <a:gd name="connsiteY3" fmla="*/ 1048043 h 1048043"/>
                      <a:gd name="connsiteX4" fmla="*/ 1048043 w 1048043"/>
                      <a:gd name="connsiteY4" fmla="*/ 0 h 1048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043" h="1048043" fill="none" extrusionOk="0">
                        <a:moveTo>
                          <a:pt x="1048043" y="0"/>
                        </a:moveTo>
                        <a:cubicBezTo>
                          <a:pt x="1051870" y="80595"/>
                          <a:pt x="1031621" y="94501"/>
                          <a:pt x="1048043" y="177140"/>
                        </a:cubicBezTo>
                        <a:cubicBezTo>
                          <a:pt x="672995" y="144061"/>
                          <a:pt x="118670" y="656352"/>
                          <a:pt x="177140" y="1048043"/>
                        </a:cubicBezTo>
                        <a:cubicBezTo>
                          <a:pt x="108241" y="1065528"/>
                          <a:pt x="74110" y="1043186"/>
                          <a:pt x="0" y="1048043"/>
                        </a:cubicBezTo>
                        <a:cubicBezTo>
                          <a:pt x="-36579" y="412707"/>
                          <a:pt x="350511" y="-38627"/>
                          <a:pt x="1048043" y="0"/>
                        </a:cubicBezTo>
                        <a:close/>
                      </a:path>
                      <a:path w="1048043" h="1048043" stroke="0" extrusionOk="0">
                        <a:moveTo>
                          <a:pt x="1048043" y="0"/>
                        </a:moveTo>
                        <a:cubicBezTo>
                          <a:pt x="1057962" y="62510"/>
                          <a:pt x="1027576" y="124450"/>
                          <a:pt x="1048043" y="177140"/>
                        </a:cubicBezTo>
                        <a:cubicBezTo>
                          <a:pt x="559710" y="199185"/>
                          <a:pt x="165476" y="471100"/>
                          <a:pt x="177140" y="1048043"/>
                        </a:cubicBezTo>
                        <a:cubicBezTo>
                          <a:pt x="118741" y="1049688"/>
                          <a:pt x="41932" y="1041990"/>
                          <a:pt x="0" y="1048043"/>
                        </a:cubicBezTo>
                        <a:cubicBezTo>
                          <a:pt x="-36348" y="431251"/>
                          <a:pt x="385175" y="-46291"/>
                          <a:pt x="1048043"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Freeform: Shape 17">
            <a:extLst>
              <a:ext uri="{FF2B5EF4-FFF2-40B4-BE49-F238E27FC236}">
                <a16:creationId xmlns:a16="http://schemas.microsoft.com/office/drawing/2014/main" id="{12084D32-C36B-4E63-B293-635AAB746994}"/>
              </a:ext>
            </a:extLst>
          </p:cNvPr>
          <p:cNvSpPr/>
          <p:nvPr/>
        </p:nvSpPr>
        <p:spPr>
          <a:xfrm rot="5400000" flipH="1" flipV="1">
            <a:off x="6916840" y="4057065"/>
            <a:ext cx="1048043" cy="1048043"/>
          </a:xfrm>
          <a:custGeom>
            <a:avLst/>
            <a:gdLst>
              <a:gd name="connsiteX0" fmla="*/ 1048043 w 1048043"/>
              <a:gd name="connsiteY0" fmla="*/ 0 h 1048043"/>
              <a:gd name="connsiteX1" fmla="*/ 1048043 w 1048043"/>
              <a:gd name="connsiteY1" fmla="*/ 177140 h 1048043"/>
              <a:gd name="connsiteX2" fmla="*/ 177140 w 1048043"/>
              <a:gd name="connsiteY2" fmla="*/ 1048043 h 1048043"/>
              <a:gd name="connsiteX3" fmla="*/ 0 w 1048043"/>
              <a:gd name="connsiteY3" fmla="*/ 1048043 h 1048043"/>
              <a:gd name="connsiteX4" fmla="*/ 1048043 w 1048043"/>
              <a:gd name="connsiteY4" fmla="*/ 0 h 1048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043" h="1048043">
                <a:moveTo>
                  <a:pt x="1048043" y="0"/>
                </a:moveTo>
                <a:lnTo>
                  <a:pt x="1048043" y="177140"/>
                </a:lnTo>
                <a:cubicBezTo>
                  <a:pt x="567057" y="177140"/>
                  <a:pt x="177140" y="567057"/>
                  <a:pt x="177140" y="1048043"/>
                </a:cubicBezTo>
                <a:lnTo>
                  <a:pt x="0" y="1048043"/>
                </a:lnTo>
                <a:cubicBezTo>
                  <a:pt x="0" y="469225"/>
                  <a:pt x="469225" y="0"/>
                  <a:pt x="1048043" y="0"/>
                </a:cubicBezTo>
                <a:close/>
              </a:path>
            </a:pathLst>
          </a:custGeom>
          <a:solidFill>
            <a:srgbClr val="FF33CC"/>
          </a:solidFill>
          <a:ln>
            <a:solidFill>
              <a:schemeClr val="tx1"/>
            </a:solidFill>
            <a:extLst>
              <a:ext uri="{C807C97D-BFC1-408E-A445-0C87EB9F89A2}">
                <ask:lineSketchStyleProps xmlns:ask="http://schemas.microsoft.com/office/drawing/2018/sketchyshapes" xmlns="" sd="3075663505">
                  <a:custGeom>
                    <a:avLst/>
                    <a:gdLst>
                      <a:gd name="connsiteX0" fmla="*/ 1048043 w 1048043"/>
                      <a:gd name="connsiteY0" fmla="*/ 0 h 1048043"/>
                      <a:gd name="connsiteX1" fmla="*/ 1048043 w 1048043"/>
                      <a:gd name="connsiteY1" fmla="*/ 177140 h 1048043"/>
                      <a:gd name="connsiteX2" fmla="*/ 177140 w 1048043"/>
                      <a:gd name="connsiteY2" fmla="*/ 1048043 h 1048043"/>
                      <a:gd name="connsiteX3" fmla="*/ 0 w 1048043"/>
                      <a:gd name="connsiteY3" fmla="*/ 1048043 h 1048043"/>
                      <a:gd name="connsiteX4" fmla="*/ 1048043 w 1048043"/>
                      <a:gd name="connsiteY4" fmla="*/ 0 h 1048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043" h="1048043" fill="none" extrusionOk="0">
                        <a:moveTo>
                          <a:pt x="1048043" y="0"/>
                        </a:moveTo>
                        <a:cubicBezTo>
                          <a:pt x="1051846" y="65821"/>
                          <a:pt x="1028825" y="128733"/>
                          <a:pt x="1048043" y="177140"/>
                        </a:cubicBezTo>
                        <a:cubicBezTo>
                          <a:pt x="532993" y="271555"/>
                          <a:pt x="193644" y="591485"/>
                          <a:pt x="177140" y="1048043"/>
                        </a:cubicBezTo>
                        <a:cubicBezTo>
                          <a:pt x="120866" y="1052519"/>
                          <a:pt x="53248" y="1042267"/>
                          <a:pt x="0" y="1048043"/>
                        </a:cubicBezTo>
                        <a:cubicBezTo>
                          <a:pt x="-142414" y="430440"/>
                          <a:pt x="610808" y="-93106"/>
                          <a:pt x="1048043" y="0"/>
                        </a:cubicBezTo>
                        <a:close/>
                      </a:path>
                      <a:path w="1048043" h="1048043" stroke="0" extrusionOk="0">
                        <a:moveTo>
                          <a:pt x="1048043" y="0"/>
                        </a:moveTo>
                        <a:cubicBezTo>
                          <a:pt x="1065263" y="36994"/>
                          <a:pt x="1042797" y="121624"/>
                          <a:pt x="1048043" y="177140"/>
                        </a:cubicBezTo>
                        <a:cubicBezTo>
                          <a:pt x="518286" y="60376"/>
                          <a:pt x="185936" y="699323"/>
                          <a:pt x="177140" y="1048043"/>
                        </a:cubicBezTo>
                        <a:cubicBezTo>
                          <a:pt x="121517" y="1062871"/>
                          <a:pt x="59381" y="1032817"/>
                          <a:pt x="0" y="1048043"/>
                        </a:cubicBezTo>
                        <a:cubicBezTo>
                          <a:pt x="7391" y="429742"/>
                          <a:pt x="425451" y="23775"/>
                          <a:pt x="1048043"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Circle: Hollow 21">
            <a:extLst>
              <a:ext uri="{FF2B5EF4-FFF2-40B4-BE49-F238E27FC236}">
                <a16:creationId xmlns:a16="http://schemas.microsoft.com/office/drawing/2014/main" id="{A63D9948-9400-4C91-BF69-E8DA41C65875}"/>
              </a:ext>
            </a:extLst>
          </p:cNvPr>
          <p:cNvSpPr/>
          <p:nvPr/>
        </p:nvSpPr>
        <p:spPr>
          <a:xfrm>
            <a:off x="1069366" y="3288616"/>
            <a:ext cx="1536895" cy="1536895"/>
          </a:xfrm>
          <a:prstGeom prst="donut">
            <a:avLst>
              <a:gd name="adj" fmla="val 13055"/>
            </a:avLst>
          </a:prstGeom>
          <a:solidFill>
            <a:schemeClr val="bg1">
              <a:lumMod val="65000"/>
            </a:schemeClr>
          </a:solidFill>
          <a:ln>
            <a:solidFill>
              <a:schemeClr val="tx1"/>
            </a:solidFill>
            <a:extLst>
              <a:ext uri="{C807C97D-BFC1-408E-A445-0C87EB9F89A2}">
                <ask:lineSketchStyleProps xmlns:ask="http://schemas.microsoft.com/office/drawing/2018/sketchyshapes" xmlns="" sd="3179233795">
                  <a:custGeom>
                    <a:avLst/>
                    <a:gdLst>
                      <a:gd name="connsiteX0" fmla="*/ 0 w 1536895"/>
                      <a:gd name="connsiteY0" fmla="*/ 768448 h 1536895"/>
                      <a:gd name="connsiteX1" fmla="*/ 768448 w 1536895"/>
                      <a:gd name="connsiteY1" fmla="*/ 0 h 1536895"/>
                      <a:gd name="connsiteX2" fmla="*/ 1536896 w 1536895"/>
                      <a:gd name="connsiteY2" fmla="*/ 768448 h 1536895"/>
                      <a:gd name="connsiteX3" fmla="*/ 768448 w 1536895"/>
                      <a:gd name="connsiteY3" fmla="*/ 1536896 h 1536895"/>
                      <a:gd name="connsiteX4" fmla="*/ 0 w 1536895"/>
                      <a:gd name="connsiteY4" fmla="*/ 768448 h 1536895"/>
                      <a:gd name="connsiteX5" fmla="*/ 200642 w 1536895"/>
                      <a:gd name="connsiteY5" fmla="*/ 768448 h 1536895"/>
                      <a:gd name="connsiteX6" fmla="*/ 768448 w 1536895"/>
                      <a:gd name="connsiteY6" fmla="*/ 1336254 h 1536895"/>
                      <a:gd name="connsiteX7" fmla="*/ 1336254 w 1536895"/>
                      <a:gd name="connsiteY7" fmla="*/ 768448 h 1536895"/>
                      <a:gd name="connsiteX8" fmla="*/ 768448 w 1536895"/>
                      <a:gd name="connsiteY8" fmla="*/ 200642 h 1536895"/>
                      <a:gd name="connsiteX9" fmla="*/ 200642 w 1536895"/>
                      <a:gd name="connsiteY9" fmla="*/ 768448 h 1536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6895" h="1536895" fill="none" extrusionOk="0">
                        <a:moveTo>
                          <a:pt x="0" y="768448"/>
                        </a:moveTo>
                        <a:cubicBezTo>
                          <a:pt x="-24289" y="380506"/>
                          <a:pt x="447553" y="-39716"/>
                          <a:pt x="768448" y="0"/>
                        </a:cubicBezTo>
                        <a:cubicBezTo>
                          <a:pt x="1096924" y="56808"/>
                          <a:pt x="1478627" y="444190"/>
                          <a:pt x="1536896" y="768448"/>
                        </a:cubicBezTo>
                        <a:cubicBezTo>
                          <a:pt x="1543086" y="1210201"/>
                          <a:pt x="1197043" y="1557347"/>
                          <a:pt x="768448" y="1536896"/>
                        </a:cubicBezTo>
                        <a:cubicBezTo>
                          <a:pt x="452285" y="1481085"/>
                          <a:pt x="12111" y="1199465"/>
                          <a:pt x="0" y="768448"/>
                        </a:cubicBezTo>
                        <a:close/>
                        <a:moveTo>
                          <a:pt x="200642" y="768448"/>
                        </a:moveTo>
                        <a:cubicBezTo>
                          <a:pt x="169585" y="1019248"/>
                          <a:pt x="446293" y="1330533"/>
                          <a:pt x="768448" y="1336254"/>
                        </a:cubicBezTo>
                        <a:cubicBezTo>
                          <a:pt x="1114078" y="1351856"/>
                          <a:pt x="1377779" y="1059417"/>
                          <a:pt x="1336254" y="768448"/>
                        </a:cubicBezTo>
                        <a:cubicBezTo>
                          <a:pt x="1402595" y="410599"/>
                          <a:pt x="1089008" y="283367"/>
                          <a:pt x="768448" y="200642"/>
                        </a:cubicBezTo>
                        <a:cubicBezTo>
                          <a:pt x="462905" y="201412"/>
                          <a:pt x="283392" y="491750"/>
                          <a:pt x="200642" y="768448"/>
                        </a:cubicBezTo>
                        <a:close/>
                      </a:path>
                      <a:path w="1536895" h="1536895" stroke="0" extrusionOk="0">
                        <a:moveTo>
                          <a:pt x="0" y="768448"/>
                        </a:moveTo>
                        <a:cubicBezTo>
                          <a:pt x="-15781" y="385263"/>
                          <a:pt x="342319" y="31334"/>
                          <a:pt x="768448" y="0"/>
                        </a:cubicBezTo>
                        <a:cubicBezTo>
                          <a:pt x="1124559" y="63048"/>
                          <a:pt x="1449493" y="341927"/>
                          <a:pt x="1536896" y="768448"/>
                        </a:cubicBezTo>
                        <a:cubicBezTo>
                          <a:pt x="1454611" y="1230812"/>
                          <a:pt x="1186157" y="1616375"/>
                          <a:pt x="768448" y="1536896"/>
                        </a:cubicBezTo>
                        <a:cubicBezTo>
                          <a:pt x="354060" y="1459729"/>
                          <a:pt x="-114230" y="1157854"/>
                          <a:pt x="0" y="768448"/>
                        </a:cubicBezTo>
                        <a:close/>
                        <a:moveTo>
                          <a:pt x="200642" y="768448"/>
                        </a:moveTo>
                        <a:cubicBezTo>
                          <a:pt x="264353" y="1122292"/>
                          <a:pt x="445920" y="1321039"/>
                          <a:pt x="768448" y="1336254"/>
                        </a:cubicBezTo>
                        <a:cubicBezTo>
                          <a:pt x="990492" y="1335706"/>
                          <a:pt x="1339728" y="1051092"/>
                          <a:pt x="1336254" y="768448"/>
                        </a:cubicBezTo>
                        <a:cubicBezTo>
                          <a:pt x="1370832" y="455266"/>
                          <a:pt x="1150356" y="182256"/>
                          <a:pt x="768448" y="200642"/>
                        </a:cubicBezTo>
                        <a:cubicBezTo>
                          <a:pt x="440671" y="212473"/>
                          <a:pt x="147140" y="416122"/>
                          <a:pt x="200642" y="768448"/>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Circle: Hollow 22">
            <a:extLst>
              <a:ext uri="{FF2B5EF4-FFF2-40B4-BE49-F238E27FC236}">
                <a16:creationId xmlns:a16="http://schemas.microsoft.com/office/drawing/2014/main" id="{776C3F4E-FAA8-457B-ADCB-D19FB7CE92A8}"/>
              </a:ext>
            </a:extLst>
          </p:cNvPr>
          <p:cNvSpPr/>
          <p:nvPr/>
        </p:nvSpPr>
        <p:spPr>
          <a:xfrm>
            <a:off x="3152926" y="3232346"/>
            <a:ext cx="1536895" cy="1536895"/>
          </a:xfrm>
          <a:prstGeom prst="donut">
            <a:avLst>
              <a:gd name="adj" fmla="val 13055"/>
            </a:avLst>
          </a:prstGeom>
          <a:solidFill>
            <a:schemeClr val="bg1">
              <a:lumMod val="65000"/>
            </a:schemeClr>
          </a:solidFill>
          <a:ln>
            <a:solidFill>
              <a:schemeClr val="tx1"/>
            </a:solidFill>
            <a:extLst>
              <a:ext uri="{C807C97D-BFC1-408E-A445-0C87EB9F89A2}">
                <ask:lineSketchStyleProps xmlns:ask="http://schemas.microsoft.com/office/drawing/2018/sketchyshapes" xmlns="" sd="1501070575">
                  <a:custGeom>
                    <a:avLst/>
                    <a:gdLst>
                      <a:gd name="connsiteX0" fmla="*/ 0 w 1536895"/>
                      <a:gd name="connsiteY0" fmla="*/ 768448 h 1536895"/>
                      <a:gd name="connsiteX1" fmla="*/ 768448 w 1536895"/>
                      <a:gd name="connsiteY1" fmla="*/ 0 h 1536895"/>
                      <a:gd name="connsiteX2" fmla="*/ 1536896 w 1536895"/>
                      <a:gd name="connsiteY2" fmla="*/ 768448 h 1536895"/>
                      <a:gd name="connsiteX3" fmla="*/ 768448 w 1536895"/>
                      <a:gd name="connsiteY3" fmla="*/ 1536896 h 1536895"/>
                      <a:gd name="connsiteX4" fmla="*/ 0 w 1536895"/>
                      <a:gd name="connsiteY4" fmla="*/ 768448 h 1536895"/>
                      <a:gd name="connsiteX5" fmla="*/ 200642 w 1536895"/>
                      <a:gd name="connsiteY5" fmla="*/ 768448 h 1536895"/>
                      <a:gd name="connsiteX6" fmla="*/ 768448 w 1536895"/>
                      <a:gd name="connsiteY6" fmla="*/ 1336254 h 1536895"/>
                      <a:gd name="connsiteX7" fmla="*/ 1336254 w 1536895"/>
                      <a:gd name="connsiteY7" fmla="*/ 768448 h 1536895"/>
                      <a:gd name="connsiteX8" fmla="*/ 768448 w 1536895"/>
                      <a:gd name="connsiteY8" fmla="*/ 200642 h 1536895"/>
                      <a:gd name="connsiteX9" fmla="*/ 200642 w 1536895"/>
                      <a:gd name="connsiteY9" fmla="*/ 768448 h 1536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6895" h="1536895" fill="none" extrusionOk="0">
                        <a:moveTo>
                          <a:pt x="0" y="768448"/>
                        </a:moveTo>
                        <a:cubicBezTo>
                          <a:pt x="-9202" y="339167"/>
                          <a:pt x="258661" y="48817"/>
                          <a:pt x="768448" y="0"/>
                        </a:cubicBezTo>
                        <a:cubicBezTo>
                          <a:pt x="1114218" y="-63698"/>
                          <a:pt x="1600486" y="242501"/>
                          <a:pt x="1536896" y="768448"/>
                        </a:cubicBezTo>
                        <a:cubicBezTo>
                          <a:pt x="1612242" y="1191793"/>
                          <a:pt x="1213844" y="1449299"/>
                          <a:pt x="768448" y="1536896"/>
                        </a:cubicBezTo>
                        <a:cubicBezTo>
                          <a:pt x="375406" y="1510122"/>
                          <a:pt x="17211" y="1137781"/>
                          <a:pt x="0" y="768448"/>
                        </a:cubicBezTo>
                        <a:close/>
                        <a:moveTo>
                          <a:pt x="200642" y="768448"/>
                        </a:moveTo>
                        <a:cubicBezTo>
                          <a:pt x="216283" y="1085842"/>
                          <a:pt x="511935" y="1304632"/>
                          <a:pt x="768448" y="1336254"/>
                        </a:cubicBezTo>
                        <a:cubicBezTo>
                          <a:pt x="1069861" y="1395748"/>
                          <a:pt x="1334470" y="1014911"/>
                          <a:pt x="1336254" y="768448"/>
                        </a:cubicBezTo>
                        <a:cubicBezTo>
                          <a:pt x="1336620" y="419415"/>
                          <a:pt x="1088007" y="264516"/>
                          <a:pt x="768448" y="200642"/>
                        </a:cubicBezTo>
                        <a:cubicBezTo>
                          <a:pt x="493313" y="183750"/>
                          <a:pt x="218680" y="430525"/>
                          <a:pt x="200642" y="768448"/>
                        </a:cubicBezTo>
                        <a:close/>
                      </a:path>
                      <a:path w="1536895" h="1536895" stroke="0" extrusionOk="0">
                        <a:moveTo>
                          <a:pt x="0" y="768448"/>
                        </a:moveTo>
                        <a:cubicBezTo>
                          <a:pt x="-46865" y="365779"/>
                          <a:pt x="374614" y="98542"/>
                          <a:pt x="768448" y="0"/>
                        </a:cubicBezTo>
                        <a:cubicBezTo>
                          <a:pt x="1133017" y="-34774"/>
                          <a:pt x="1545525" y="340775"/>
                          <a:pt x="1536896" y="768448"/>
                        </a:cubicBezTo>
                        <a:cubicBezTo>
                          <a:pt x="1574725" y="1231329"/>
                          <a:pt x="1186480" y="1437827"/>
                          <a:pt x="768448" y="1536896"/>
                        </a:cubicBezTo>
                        <a:cubicBezTo>
                          <a:pt x="396362" y="1571144"/>
                          <a:pt x="-25210" y="1179095"/>
                          <a:pt x="0" y="768448"/>
                        </a:cubicBezTo>
                        <a:close/>
                        <a:moveTo>
                          <a:pt x="200642" y="768448"/>
                        </a:moveTo>
                        <a:cubicBezTo>
                          <a:pt x="205612" y="1130509"/>
                          <a:pt x="544423" y="1312262"/>
                          <a:pt x="768448" y="1336254"/>
                        </a:cubicBezTo>
                        <a:cubicBezTo>
                          <a:pt x="1030165" y="1311898"/>
                          <a:pt x="1307788" y="1024360"/>
                          <a:pt x="1336254" y="768448"/>
                        </a:cubicBezTo>
                        <a:cubicBezTo>
                          <a:pt x="1331727" y="547381"/>
                          <a:pt x="1077676" y="219100"/>
                          <a:pt x="768448" y="200642"/>
                        </a:cubicBezTo>
                        <a:cubicBezTo>
                          <a:pt x="479612" y="202675"/>
                          <a:pt x="153066" y="415962"/>
                          <a:pt x="200642" y="768448"/>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Circle: Hollow 23">
            <a:extLst>
              <a:ext uri="{FF2B5EF4-FFF2-40B4-BE49-F238E27FC236}">
                <a16:creationId xmlns:a16="http://schemas.microsoft.com/office/drawing/2014/main" id="{70C0385B-2451-4090-B471-B708E6C0B676}"/>
              </a:ext>
            </a:extLst>
          </p:cNvPr>
          <p:cNvSpPr/>
          <p:nvPr/>
        </p:nvSpPr>
        <p:spPr>
          <a:xfrm>
            <a:off x="5209080" y="3176074"/>
            <a:ext cx="1536895" cy="1536895"/>
          </a:xfrm>
          <a:prstGeom prst="donut">
            <a:avLst>
              <a:gd name="adj" fmla="val 13055"/>
            </a:avLst>
          </a:prstGeom>
          <a:solidFill>
            <a:schemeClr val="bg1">
              <a:lumMod val="65000"/>
            </a:schemeClr>
          </a:solidFill>
          <a:ln>
            <a:solidFill>
              <a:schemeClr val="tx1"/>
            </a:solidFill>
            <a:extLst>
              <a:ext uri="{C807C97D-BFC1-408E-A445-0C87EB9F89A2}">
                <ask:lineSketchStyleProps xmlns:ask="http://schemas.microsoft.com/office/drawing/2018/sketchyshapes" xmlns="" sd="1038219406">
                  <a:custGeom>
                    <a:avLst/>
                    <a:gdLst>
                      <a:gd name="connsiteX0" fmla="*/ 0 w 1536895"/>
                      <a:gd name="connsiteY0" fmla="*/ 768448 h 1536895"/>
                      <a:gd name="connsiteX1" fmla="*/ 768448 w 1536895"/>
                      <a:gd name="connsiteY1" fmla="*/ 0 h 1536895"/>
                      <a:gd name="connsiteX2" fmla="*/ 1536896 w 1536895"/>
                      <a:gd name="connsiteY2" fmla="*/ 768448 h 1536895"/>
                      <a:gd name="connsiteX3" fmla="*/ 768448 w 1536895"/>
                      <a:gd name="connsiteY3" fmla="*/ 1536896 h 1536895"/>
                      <a:gd name="connsiteX4" fmla="*/ 0 w 1536895"/>
                      <a:gd name="connsiteY4" fmla="*/ 768448 h 1536895"/>
                      <a:gd name="connsiteX5" fmla="*/ 200642 w 1536895"/>
                      <a:gd name="connsiteY5" fmla="*/ 768448 h 1536895"/>
                      <a:gd name="connsiteX6" fmla="*/ 768448 w 1536895"/>
                      <a:gd name="connsiteY6" fmla="*/ 1336254 h 1536895"/>
                      <a:gd name="connsiteX7" fmla="*/ 1336254 w 1536895"/>
                      <a:gd name="connsiteY7" fmla="*/ 768448 h 1536895"/>
                      <a:gd name="connsiteX8" fmla="*/ 768448 w 1536895"/>
                      <a:gd name="connsiteY8" fmla="*/ 200642 h 1536895"/>
                      <a:gd name="connsiteX9" fmla="*/ 200642 w 1536895"/>
                      <a:gd name="connsiteY9" fmla="*/ 768448 h 1536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6895" h="1536895" fill="none" extrusionOk="0">
                        <a:moveTo>
                          <a:pt x="0" y="768448"/>
                        </a:moveTo>
                        <a:cubicBezTo>
                          <a:pt x="-87978" y="411540"/>
                          <a:pt x="393705" y="-97528"/>
                          <a:pt x="768448" y="0"/>
                        </a:cubicBezTo>
                        <a:cubicBezTo>
                          <a:pt x="1212652" y="-11958"/>
                          <a:pt x="1604975" y="347162"/>
                          <a:pt x="1536896" y="768448"/>
                        </a:cubicBezTo>
                        <a:cubicBezTo>
                          <a:pt x="1520739" y="1140035"/>
                          <a:pt x="1233066" y="1544712"/>
                          <a:pt x="768448" y="1536896"/>
                        </a:cubicBezTo>
                        <a:cubicBezTo>
                          <a:pt x="408906" y="1612285"/>
                          <a:pt x="-110962" y="1188770"/>
                          <a:pt x="0" y="768448"/>
                        </a:cubicBezTo>
                        <a:close/>
                        <a:moveTo>
                          <a:pt x="200642" y="768448"/>
                        </a:moveTo>
                        <a:cubicBezTo>
                          <a:pt x="220730" y="1061250"/>
                          <a:pt x="499109" y="1308102"/>
                          <a:pt x="768448" y="1336254"/>
                        </a:cubicBezTo>
                        <a:cubicBezTo>
                          <a:pt x="1115150" y="1317391"/>
                          <a:pt x="1400638" y="1095522"/>
                          <a:pt x="1336254" y="768448"/>
                        </a:cubicBezTo>
                        <a:cubicBezTo>
                          <a:pt x="1335185" y="462585"/>
                          <a:pt x="1123920" y="221786"/>
                          <a:pt x="768448" y="200642"/>
                        </a:cubicBezTo>
                        <a:cubicBezTo>
                          <a:pt x="428496" y="285389"/>
                          <a:pt x="184263" y="438692"/>
                          <a:pt x="200642" y="768448"/>
                        </a:cubicBezTo>
                        <a:close/>
                      </a:path>
                      <a:path w="1536895" h="1536895" stroke="0" extrusionOk="0">
                        <a:moveTo>
                          <a:pt x="0" y="768448"/>
                        </a:moveTo>
                        <a:cubicBezTo>
                          <a:pt x="-105590" y="327815"/>
                          <a:pt x="357434" y="1807"/>
                          <a:pt x="768448" y="0"/>
                        </a:cubicBezTo>
                        <a:cubicBezTo>
                          <a:pt x="1287258" y="1140"/>
                          <a:pt x="1528427" y="378009"/>
                          <a:pt x="1536896" y="768448"/>
                        </a:cubicBezTo>
                        <a:cubicBezTo>
                          <a:pt x="1518664" y="1214980"/>
                          <a:pt x="1077930" y="1561452"/>
                          <a:pt x="768448" y="1536896"/>
                        </a:cubicBezTo>
                        <a:cubicBezTo>
                          <a:pt x="354854" y="1514633"/>
                          <a:pt x="3115" y="1166519"/>
                          <a:pt x="0" y="768448"/>
                        </a:cubicBezTo>
                        <a:close/>
                        <a:moveTo>
                          <a:pt x="200642" y="768448"/>
                        </a:moveTo>
                        <a:cubicBezTo>
                          <a:pt x="160744" y="1065064"/>
                          <a:pt x="471668" y="1342326"/>
                          <a:pt x="768448" y="1336254"/>
                        </a:cubicBezTo>
                        <a:cubicBezTo>
                          <a:pt x="1080487" y="1307441"/>
                          <a:pt x="1385154" y="1051497"/>
                          <a:pt x="1336254" y="768448"/>
                        </a:cubicBezTo>
                        <a:cubicBezTo>
                          <a:pt x="1341558" y="460077"/>
                          <a:pt x="1082966" y="190283"/>
                          <a:pt x="768448" y="200642"/>
                        </a:cubicBezTo>
                        <a:cubicBezTo>
                          <a:pt x="449478" y="195163"/>
                          <a:pt x="158896" y="440352"/>
                          <a:pt x="200642" y="768448"/>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Circle: Hollow 24">
            <a:extLst>
              <a:ext uri="{FF2B5EF4-FFF2-40B4-BE49-F238E27FC236}">
                <a16:creationId xmlns:a16="http://schemas.microsoft.com/office/drawing/2014/main" id="{46E2A218-5D82-4E9B-9415-16D444D03B9E}"/>
              </a:ext>
            </a:extLst>
          </p:cNvPr>
          <p:cNvSpPr/>
          <p:nvPr/>
        </p:nvSpPr>
        <p:spPr>
          <a:xfrm>
            <a:off x="7265234" y="3234104"/>
            <a:ext cx="1536895" cy="1536895"/>
          </a:xfrm>
          <a:prstGeom prst="donut">
            <a:avLst>
              <a:gd name="adj" fmla="val 13055"/>
            </a:avLst>
          </a:prstGeom>
          <a:solidFill>
            <a:schemeClr val="bg1">
              <a:lumMod val="65000"/>
            </a:schemeClr>
          </a:solidFill>
          <a:ln>
            <a:solidFill>
              <a:schemeClr val="tx1"/>
            </a:solidFill>
            <a:extLst>
              <a:ext uri="{C807C97D-BFC1-408E-A445-0C87EB9F89A2}">
                <ask:lineSketchStyleProps xmlns:ask="http://schemas.microsoft.com/office/drawing/2018/sketchyshapes" xmlns="" sd="44017755">
                  <a:custGeom>
                    <a:avLst/>
                    <a:gdLst>
                      <a:gd name="connsiteX0" fmla="*/ 0 w 1536895"/>
                      <a:gd name="connsiteY0" fmla="*/ 768448 h 1536895"/>
                      <a:gd name="connsiteX1" fmla="*/ 768448 w 1536895"/>
                      <a:gd name="connsiteY1" fmla="*/ 0 h 1536895"/>
                      <a:gd name="connsiteX2" fmla="*/ 1536896 w 1536895"/>
                      <a:gd name="connsiteY2" fmla="*/ 768448 h 1536895"/>
                      <a:gd name="connsiteX3" fmla="*/ 768448 w 1536895"/>
                      <a:gd name="connsiteY3" fmla="*/ 1536896 h 1536895"/>
                      <a:gd name="connsiteX4" fmla="*/ 0 w 1536895"/>
                      <a:gd name="connsiteY4" fmla="*/ 768448 h 1536895"/>
                      <a:gd name="connsiteX5" fmla="*/ 200642 w 1536895"/>
                      <a:gd name="connsiteY5" fmla="*/ 768448 h 1536895"/>
                      <a:gd name="connsiteX6" fmla="*/ 768448 w 1536895"/>
                      <a:gd name="connsiteY6" fmla="*/ 1336254 h 1536895"/>
                      <a:gd name="connsiteX7" fmla="*/ 1336254 w 1536895"/>
                      <a:gd name="connsiteY7" fmla="*/ 768448 h 1536895"/>
                      <a:gd name="connsiteX8" fmla="*/ 768448 w 1536895"/>
                      <a:gd name="connsiteY8" fmla="*/ 200642 h 1536895"/>
                      <a:gd name="connsiteX9" fmla="*/ 200642 w 1536895"/>
                      <a:gd name="connsiteY9" fmla="*/ 768448 h 1536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6895" h="1536895" fill="none" extrusionOk="0">
                        <a:moveTo>
                          <a:pt x="0" y="768448"/>
                        </a:moveTo>
                        <a:cubicBezTo>
                          <a:pt x="78549" y="265111"/>
                          <a:pt x="330562" y="7876"/>
                          <a:pt x="768448" y="0"/>
                        </a:cubicBezTo>
                        <a:cubicBezTo>
                          <a:pt x="1208963" y="38440"/>
                          <a:pt x="1500261" y="348195"/>
                          <a:pt x="1536896" y="768448"/>
                        </a:cubicBezTo>
                        <a:cubicBezTo>
                          <a:pt x="1509555" y="1222701"/>
                          <a:pt x="1218776" y="1581011"/>
                          <a:pt x="768448" y="1536896"/>
                        </a:cubicBezTo>
                        <a:cubicBezTo>
                          <a:pt x="349770" y="1564932"/>
                          <a:pt x="-49823" y="1127510"/>
                          <a:pt x="0" y="768448"/>
                        </a:cubicBezTo>
                        <a:close/>
                        <a:moveTo>
                          <a:pt x="200642" y="768448"/>
                        </a:moveTo>
                        <a:cubicBezTo>
                          <a:pt x="234122" y="1089126"/>
                          <a:pt x="405580" y="1328889"/>
                          <a:pt x="768448" y="1336254"/>
                        </a:cubicBezTo>
                        <a:cubicBezTo>
                          <a:pt x="1076248" y="1361366"/>
                          <a:pt x="1371770" y="1091256"/>
                          <a:pt x="1336254" y="768448"/>
                        </a:cubicBezTo>
                        <a:cubicBezTo>
                          <a:pt x="1406674" y="429976"/>
                          <a:pt x="1058542" y="177510"/>
                          <a:pt x="768448" y="200642"/>
                        </a:cubicBezTo>
                        <a:cubicBezTo>
                          <a:pt x="467489" y="208359"/>
                          <a:pt x="196123" y="479099"/>
                          <a:pt x="200642" y="768448"/>
                        </a:cubicBezTo>
                        <a:close/>
                      </a:path>
                      <a:path w="1536895" h="1536895" stroke="0" extrusionOk="0">
                        <a:moveTo>
                          <a:pt x="0" y="768448"/>
                        </a:moveTo>
                        <a:cubicBezTo>
                          <a:pt x="34520" y="403246"/>
                          <a:pt x="423606" y="21936"/>
                          <a:pt x="768448" y="0"/>
                        </a:cubicBezTo>
                        <a:cubicBezTo>
                          <a:pt x="1155701" y="-14461"/>
                          <a:pt x="1550481" y="331840"/>
                          <a:pt x="1536896" y="768448"/>
                        </a:cubicBezTo>
                        <a:cubicBezTo>
                          <a:pt x="1563364" y="1150699"/>
                          <a:pt x="1129636" y="1472895"/>
                          <a:pt x="768448" y="1536896"/>
                        </a:cubicBezTo>
                        <a:cubicBezTo>
                          <a:pt x="349507" y="1522317"/>
                          <a:pt x="-48395" y="1192780"/>
                          <a:pt x="0" y="768448"/>
                        </a:cubicBezTo>
                        <a:close/>
                        <a:moveTo>
                          <a:pt x="200642" y="768448"/>
                        </a:moveTo>
                        <a:cubicBezTo>
                          <a:pt x="209284" y="1053733"/>
                          <a:pt x="423939" y="1357869"/>
                          <a:pt x="768448" y="1336254"/>
                        </a:cubicBezTo>
                        <a:cubicBezTo>
                          <a:pt x="1048498" y="1340272"/>
                          <a:pt x="1344086" y="1133232"/>
                          <a:pt x="1336254" y="768448"/>
                        </a:cubicBezTo>
                        <a:cubicBezTo>
                          <a:pt x="1339349" y="508362"/>
                          <a:pt x="1083291" y="281054"/>
                          <a:pt x="768448" y="200642"/>
                        </a:cubicBezTo>
                        <a:cubicBezTo>
                          <a:pt x="462760" y="200832"/>
                          <a:pt x="153885" y="422763"/>
                          <a:pt x="200642" y="768448"/>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Rectangle 26">
            <a:extLst>
              <a:ext uri="{FF2B5EF4-FFF2-40B4-BE49-F238E27FC236}">
                <a16:creationId xmlns:a16="http://schemas.microsoft.com/office/drawing/2014/main" id="{CB74BF6E-540E-4B16-8D02-493D0436CE6A}"/>
              </a:ext>
            </a:extLst>
          </p:cNvPr>
          <p:cNvSpPr/>
          <p:nvPr/>
        </p:nvSpPr>
        <p:spPr>
          <a:xfrm>
            <a:off x="-15225" y="3884733"/>
            <a:ext cx="948576" cy="225085"/>
          </a:xfrm>
          <a:prstGeom prst="rect">
            <a:avLst/>
          </a:prstGeom>
          <a:solidFill>
            <a:srgbClr val="FF0000"/>
          </a:solidFill>
          <a:ln>
            <a:solidFill>
              <a:schemeClr val="tx1"/>
            </a:solidFill>
            <a:extLst>
              <a:ext uri="{C807C97D-BFC1-408E-A445-0C87EB9F89A2}">
                <ask:lineSketchStyleProps xmlns:ask="http://schemas.microsoft.com/office/drawing/2018/sketchyshapes" xmlns="" sd="2168565417">
                  <a:custGeom>
                    <a:avLst/>
                    <a:gdLst>
                      <a:gd name="connsiteX0" fmla="*/ 0 w 948576"/>
                      <a:gd name="connsiteY0" fmla="*/ 0 h 225085"/>
                      <a:gd name="connsiteX1" fmla="*/ 445831 w 948576"/>
                      <a:gd name="connsiteY1" fmla="*/ 0 h 225085"/>
                      <a:gd name="connsiteX2" fmla="*/ 948576 w 948576"/>
                      <a:gd name="connsiteY2" fmla="*/ 0 h 225085"/>
                      <a:gd name="connsiteX3" fmla="*/ 948576 w 948576"/>
                      <a:gd name="connsiteY3" fmla="*/ 225085 h 225085"/>
                      <a:gd name="connsiteX4" fmla="*/ 474288 w 948576"/>
                      <a:gd name="connsiteY4" fmla="*/ 225085 h 225085"/>
                      <a:gd name="connsiteX5" fmla="*/ 0 w 948576"/>
                      <a:gd name="connsiteY5" fmla="*/ 225085 h 225085"/>
                      <a:gd name="connsiteX6" fmla="*/ 0 w 948576"/>
                      <a:gd name="connsiteY6" fmla="*/ 0 h 225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8576" h="225085" fill="none" extrusionOk="0">
                        <a:moveTo>
                          <a:pt x="0" y="0"/>
                        </a:moveTo>
                        <a:cubicBezTo>
                          <a:pt x="166551" y="-24470"/>
                          <a:pt x="301183" y="16516"/>
                          <a:pt x="445831" y="0"/>
                        </a:cubicBezTo>
                        <a:cubicBezTo>
                          <a:pt x="590479" y="-16516"/>
                          <a:pt x="830523" y="50639"/>
                          <a:pt x="948576" y="0"/>
                        </a:cubicBezTo>
                        <a:cubicBezTo>
                          <a:pt x="972411" y="105417"/>
                          <a:pt x="925424" y="174862"/>
                          <a:pt x="948576" y="225085"/>
                        </a:cubicBezTo>
                        <a:cubicBezTo>
                          <a:pt x="763534" y="280126"/>
                          <a:pt x="659985" y="220650"/>
                          <a:pt x="474288" y="225085"/>
                        </a:cubicBezTo>
                        <a:cubicBezTo>
                          <a:pt x="288591" y="229520"/>
                          <a:pt x="165890" y="222917"/>
                          <a:pt x="0" y="225085"/>
                        </a:cubicBezTo>
                        <a:cubicBezTo>
                          <a:pt x="-17206" y="165065"/>
                          <a:pt x="13138" y="83669"/>
                          <a:pt x="0" y="0"/>
                        </a:cubicBezTo>
                        <a:close/>
                      </a:path>
                      <a:path w="948576" h="225085" stroke="0" extrusionOk="0">
                        <a:moveTo>
                          <a:pt x="0" y="0"/>
                        </a:moveTo>
                        <a:cubicBezTo>
                          <a:pt x="211573" y="-28804"/>
                          <a:pt x="259135" y="54929"/>
                          <a:pt x="483774" y="0"/>
                        </a:cubicBezTo>
                        <a:cubicBezTo>
                          <a:pt x="708413" y="-54929"/>
                          <a:pt x="819506" y="20965"/>
                          <a:pt x="948576" y="0"/>
                        </a:cubicBezTo>
                        <a:cubicBezTo>
                          <a:pt x="973004" y="61442"/>
                          <a:pt x="922159" y="179509"/>
                          <a:pt x="948576" y="225085"/>
                        </a:cubicBezTo>
                        <a:cubicBezTo>
                          <a:pt x="758454" y="264571"/>
                          <a:pt x="663560" y="203570"/>
                          <a:pt x="483774" y="225085"/>
                        </a:cubicBezTo>
                        <a:cubicBezTo>
                          <a:pt x="303988" y="246600"/>
                          <a:pt x="130046" y="214471"/>
                          <a:pt x="0" y="225085"/>
                        </a:cubicBezTo>
                        <a:cubicBezTo>
                          <a:pt x="-8250" y="137325"/>
                          <a:pt x="21131" y="109124"/>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8">
            <a:extLst>
              <a:ext uri="{FF2B5EF4-FFF2-40B4-BE49-F238E27FC236}">
                <a16:creationId xmlns:a16="http://schemas.microsoft.com/office/drawing/2014/main" id="{2783F846-0576-415B-9CAF-0294A36A3AE7}"/>
              </a:ext>
            </a:extLst>
          </p:cNvPr>
          <p:cNvSpPr txBox="1"/>
          <p:nvPr/>
        </p:nvSpPr>
        <p:spPr>
          <a:xfrm>
            <a:off x="1279694" y="3841557"/>
            <a:ext cx="1113111" cy="646331"/>
          </a:xfrm>
          <a:prstGeom prst="rect">
            <a:avLst/>
          </a:prstGeom>
          <a:noFill/>
        </p:spPr>
        <p:txBody>
          <a:bodyPr wrap="square" rtlCol="0">
            <a:spAutoFit/>
          </a:bodyPr>
          <a:lstStyle/>
          <a:p>
            <a:pPr algn="ctr"/>
            <a:r>
              <a:rPr lang="en-US" sz="3600" b="1" dirty="0">
                <a:solidFill>
                  <a:srgbClr val="FF0000"/>
                </a:solidFill>
                <a:latin typeface="Hand Of Sean" panose="02000500000000000000" pitchFamily="2" charset="-128"/>
                <a:ea typeface="Hand Of Sean" panose="02000500000000000000" pitchFamily="2" charset="-128"/>
              </a:rPr>
              <a:t>01</a:t>
            </a:r>
          </a:p>
        </p:txBody>
      </p:sp>
      <p:sp>
        <p:nvSpPr>
          <p:cNvPr id="23" name="TextBox 29">
            <a:extLst>
              <a:ext uri="{FF2B5EF4-FFF2-40B4-BE49-F238E27FC236}">
                <a16:creationId xmlns:a16="http://schemas.microsoft.com/office/drawing/2014/main" id="{CCEA3B09-C03C-4F24-85D4-779877DEB160}"/>
              </a:ext>
            </a:extLst>
          </p:cNvPr>
          <p:cNvSpPr txBox="1"/>
          <p:nvPr/>
        </p:nvSpPr>
        <p:spPr>
          <a:xfrm>
            <a:off x="3342033" y="3786652"/>
            <a:ext cx="1113111" cy="646331"/>
          </a:xfrm>
          <a:prstGeom prst="rect">
            <a:avLst/>
          </a:prstGeom>
          <a:noFill/>
          <a:ln>
            <a:noFill/>
            <a:extLst>
              <a:ext uri="{C807C97D-BFC1-408E-A445-0C87EB9F89A2}">
                <ask:lineSketchStyleProps xmlns:ask="http://schemas.microsoft.com/office/drawing/2018/sketchyshapes" xmlns="">
                  <ask:type>
                    <ask:lineSketchNone/>
                  </ask:type>
                </ask:lineSketchStyleProps>
              </a:ext>
            </a:extLst>
          </a:ln>
        </p:spPr>
        <p:txBody>
          <a:bodyPr wrap="square" rtlCol="0">
            <a:spAutoFit/>
          </a:bodyPr>
          <a:lstStyle/>
          <a:p>
            <a:pPr algn="ctr"/>
            <a:r>
              <a:rPr lang="en-US" sz="3600" b="1" dirty="0">
                <a:solidFill>
                  <a:srgbClr val="002060"/>
                </a:solidFill>
                <a:latin typeface="Hand Of Sean" panose="02000500000000000000" pitchFamily="2" charset="-128"/>
                <a:ea typeface="Hand Of Sean" panose="02000500000000000000" pitchFamily="2" charset="-128"/>
              </a:rPr>
              <a:t>02</a:t>
            </a:r>
          </a:p>
        </p:txBody>
      </p:sp>
      <p:sp>
        <p:nvSpPr>
          <p:cNvPr id="24" name="TextBox 30">
            <a:extLst>
              <a:ext uri="{FF2B5EF4-FFF2-40B4-BE49-F238E27FC236}">
                <a16:creationId xmlns:a16="http://schemas.microsoft.com/office/drawing/2014/main" id="{8D72EEDE-2DD1-4178-B218-A01195BE3308}"/>
              </a:ext>
            </a:extLst>
          </p:cNvPr>
          <p:cNvSpPr txBox="1"/>
          <p:nvPr/>
        </p:nvSpPr>
        <p:spPr>
          <a:xfrm>
            <a:off x="5448299" y="3733896"/>
            <a:ext cx="1113111" cy="646331"/>
          </a:xfrm>
          <a:prstGeom prst="rect">
            <a:avLst/>
          </a:prstGeom>
          <a:noFill/>
        </p:spPr>
        <p:txBody>
          <a:bodyPr wrap="square" rtlCol="0">
            <a:spAutoFit/>
          </a:bodyPr>
          <a:lstStyle/>
          <a:p>
            <a:pPr algn="ctr"/>
            <a:r>
              <a:rPr lang="en-US" sz="3600" b="1" dirty="0">
                <a:solidFill>
                  <a:schemeClr val="accent6">
                    <a:lumMod val="50000"/>
                  </a:schemeClr>
                </a:solidFill>
                <a:latin typeface="Hand Of Sean" panose="02000500000000000000" pitchFamily="2" charset="-128"/>
                <a:ea typeface="Hand Of Sean" panose="02000500000000000000" pitchFamily="2" charset="-128"/>
              </a:rPr>
              <a:t>03</a:t>
            </a:r>
          </a:p>
        </p:txBody>
      </p:sp>
      <p:sp>
        <p:nvSpPr>
          <p:cNvPr id="25" name="TextBox 31">
            <a:extLst>
              <a:ext uri="{FF2B5EF4-FFF2-40B4-BE49-F238E27FC236}">
                <a16:creationId xmlns:a16="http://schemas.microsoft.com/office/drawing/2014/main" id="{2F3A63B0-286F-4D85-8F01-BC77B0115F64}"/>
              </a:ext>
            </a:extLst>
          </p:cNvPr>
          <p:cNvSpPr txBox="1"/>
          <p:nvPr/>
        </p:nvSpPr>
        <p:spPr>
          <a:xfrm>
            <a:off x="7500250" y="3783526"/>
            <a:ext cx="1113111" cy="646331"/>
          </a:xfrm>
          <a:prstGeom prst="rect">
            <a:avLst/>
          </a:prstGeom>
          <a:noFill/>
        </p:spPr>
        <p:txBody>
          <a:bodyPr wrap="square" rtlCol="0">
            <a:spAutoFit/>
          </a:bodyPr>
          <a:lstStyle/>
          <a:p>
            <a:pPr algn="ctr"/>
            <a:r>
              <a:rPr lang="en-US" sz="3600" b="1" dirty="0">
                <a:solidFill>
                  <a:srgbClr val="FF33CC"/>
                </a:solidFill>
                <a:latin typeface="Hand Of Sean" panose="02000500000000000000" pitchFamily="2" charset="-128"/>
                <a:ea typeface="Hand Of Sean" panose="02000500000000000000" pitchFamily="2" charset="-128"/>
              </a:rPr>
              <a:t>04</a:t>
            </a:r>
          </a:p>
        </p:txBody>
      </p:sp>
      <p:sp>
        <p:nvSpPr>
          <p:cNvPr id="27" name="Arrow: Chevron 33">
            <a:extLst>
              <a:ext uri="{FF2B5EF4-FFF2-40B4-BE49-F238E27FC236}">
                <a16:creationId xmlns:a16="http://schemas.microsoft.com/office/drawing/2014/main" id="{8682C669-6675-40A1-8664-355002EA96E3}"/>
              </a:ext>
            </a:extLst>
          </p:cNvPr>
          <p:cNvSpPr/>
          <p:nvPr/>
        </p:nvSpPr>
        <p:spPr>
          <a:xfrm rot="5400000">
            <a:off x="1576646" y="4876395"/>
            <a:ext cx="457425" cy="601394"/>
          </a:xfrm>
          <a:prstGeom prst="chevron">
            <a:avLst/>
          </a:prstGeom>
          <a:solidFill>
            <a:schemeClr val="bg1">
              <a:lumMod val="75000"/>
            </a:schemeClr>
          </a:solidFill>
          <a:ln>
            <a:solidFill>
              <a:schemeClr val="tx1"/>
            </a:solidFill>
            <a:extLst>
              <a:ext uri="{C807C97D-BFC1-408E-A445-0C87EB9F89A2}">
                <ask:lineSketchStyleProps xmlns:ask="http://schemas.microsoft.com/office/drawing/2018/sketchyshapes" xmlns="" sd="619679285">
                  <a:custGeom>
                    <a:avLst/>
                    <a:gdLst>
                      <a:gd name="connsiteX0" fmla="*/ 0 w 457425"/>
                      <a:gd name="connsiteY0" fmla="*/ 0 h 601394"/>
                      <a:gd name="connsiteX1" fmla="*/ 228713 w 457425"/>
                      <a:gd name="connsiteY1" fmla="*/ 0 h 601394"/>
                      <a:gd name="connsiteX2" fmla="*/ 457425 w 457425"/>
                      <a:gd name="connsiteY2" fmla="*/ 300697 h 601394"/>
                      <a:gd name="connsiteX3" fmla="*/ 228713 w 457425"/>
                      <a:gd name="connsiteY3" fmla="*/ 601394 h 601394"/>
                      <a:gd name="connsiteX4" fmla="*/ 0 w 457425"/>
                      <a:gd name="connsiteY4" fmla="*/ 601394 h 601394"/>
                      <a:gd name="connsiteX5" fmla="*/ 228713 w 457425"/>
                      <a:gd name="connsiteY5" fmla="*/ 300697 h 601394"/>
                      <a:gd name="connsiteX6" fmla="*/ 0 w 457425"/>
                      <a:gd name="connsiteY6" fmla="*/ 0 h 601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425" h="601394" fill="none" extrusionOk="0">
                        <a:moveTo>
                          <a:pt x="0" y="0"/>
                        </a:moveTo>
                        <a:cubicBezTo>
                          <a:pt x="53228" y="-6318"/>
                          <a:pt x="115565" y="26939"/>
                          <a:pt x="228713" y="0"/>
                        </a:cubicBezTo>
                        <a:cubicBezTo>
                          <a:pt x="347570" y="84893"/>
                          <a:pt x="372561" y="263373"/>
                          <a:pt x="457425" y="300697"/>
                        </a:cubicBezTo>
                        <a:cubicBezTo>
                          <a:pt x="382664" y="461328"/>
                          <a:pt x="322722" y="468775"/>
                          <a:pt x="228713" y="601394"/>
                        </a:cubicBezTo>
                        <a:cubicBezTo>
                          <a:pt x="118789" y="621553"/>
                          <a:pt x="78222" y="592008"/>
                          <a:pt x="0" y="601394"/>
                        </a:cubicBezTo>
                        <a:cubicBezTo>
                          <a:pt x="53854" y="474456"/>
                          <a:pt x="134151" y="442642"/>
                          <a:pt x="228713" y="300697"/>
                        </a:cubicBezTo>
                        <a:cubicBezTo>
                          <a:pt x="120675" y="192658"/>
                          <a:pt x="59231" y="66957"/>
                          <a:pt x="0" y="0"/>
                        </a:cubicBezTo>
                        <a:close/>
                      </a:path>
                      <a:path w="457425" h="601394" stroke="0" extrusionOk="0">
                        <a:moveTo>
                          <a:pt x="0" y="0"/>
                        </a:moveTo>
                        <a:cubicBezTo>
                          <a:pt x="69118" y="-11041"/>
                          <a:pt x="144549" y="207"/>
                          <a:pt x="228713" y="0"/>
                        </a:cubicBezTo>
                        <a:cubicBezTo>
                          <a:pt x="332525" y="80445"/>
                          <a:pt x="403320" y="243191"/>
                          <a:pt x="457425" y="300697"/>
                        </a:cubicBezTo>
                        <a:cubicBezTo>
                          <a:pt x="426834" y="398018"/>
                          <a:pt x="298214" y="476775"/>
                          <a:pt x="228713" y="601394"/>
                        </a:cubicBezTo>
                        <a:cubicBezTo>
                          <a:pt x="158657" y="611200"/>
                          <a:pt x="79632" y="585547"/>
                          <a:pt x="0" y="601394"/>
                        </a:cubicBezTo>
                        <a:cubicBezTo>
                          <a:pt x="65454" y="509437"/>
                          <a:pt x="200903" y="407857"/>
                          <a:pt x="228713" y="300697"/>
                        </a:cubicBezTo>
                        <a:cubicBezTo>
                          <a:pt x="122209" y="162087"/>
                          <a:pt x="82188" y="99177"/>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 name="Arrow: Chevron 34">
            <a:extLst>
              <a:ext uri="{FF2B5EF4-FFF2-40B4-BE49-F238E27FC236}">
                <a16:creationId xmlns:a16="http://schemas.microsoft.com/office/drawing/2014/main" id="{FCB9B6A4-AC66-4FBA-9355-EC41603B3DAD}"/>
              </a:ext>
            </a:extLst>
          </p:cNvPr>
          <p:cNvSpPr/>
          <p:nvPr/>
        </p:nvSpPr>
        <p:spPr>
          <a:xfrm rot="5400000">
            <a:off x="5867288" y="4804410"/>
            <a:ext cx="457425" cy="601394"/>
          </a:xfrm>
          <a:prstGeom prst="chevron">
            <a:avLst/>
          </a:prstGeom>
          <a:solidFill>
            <a:schemeClr val="bg1">
              <a:lumMod val="75000"/>
            </a:schemeClr>
          </a:solidFill>
          <a:ln>
            <a:solidFill>
              <a:schemeClr val="tx1"/>
            </a:solidFill>
            <a:extLst>
              <a:ext uri="{C807C97D-BFC1-408E-A445-0C87EB9F89A2}">
                <ask:lineSketchStyleProps xmlns:ask="http://schemas.microsoft.com/office/drawing/2018/sketchyshapes" xmlns="" sd="619679285">
                  <a:custGeom>
                    <a:avLst/>
                    <a:gdLst>
                      <a:gd name="connsiteX0" fmla="*/ 0 w 457425"/>
                      <a:gd name="connsiteY0" fmla="*/ 0 h 601394"/>
                      <a:gd name="connsiteX1" fmla="*/ 228713 w 457425"/>
                      <a:gd name="connsiteY1" fmla="*/ 0 h 601394"/>
                      <a:gd name="connsiteX2" fmla="*/ 457425 w 457425"/>
                      <a:gd name="connsiteY2" fmla="*/ 300697 h 601394"/>
                      <a:gd name="connsiteX3" fmla="*/ 228713 w 457425"/>
                      <a:gd name="connsiteY3" fmla="*/ 601394 h 601394"/>
                      <a:gd name="connsiteX4" fmla="*/ 0 w 457425"/>
                      <a:gd name="connsiteY4" fmla="*/ 601394 h 601394"/>
                      <a:gd name="connsiteX5" fmla="*/ 228713 w 457425"/>
                      <a:gd name="connsiteY5" fmla="*/ 300697 h 601394"/>
                      <a:gd name="connsiteX6" fmla="*/ 0 w 457425"/>
                      <a:gd name="connsiteY6" fmla="*/ 0 h 601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425" h="601394" fill="none" extrusionOk="0">
                        <a:moveTo>
                          <a:pt x="0" y="0"/>
                        </a:moveTo>
                        <a:cubicBezTo>
                          <a:pt x="53228" y="-6318"/>
                          <a:pt x="115565" y="26939"/>
                          <a:pt x="228713" y="0"/>
                        </a:cubicBezTo>
                        <a:cubicBezTo>
                          <a:pt x="347570" y="84893"/>
                          <a:pt x="372561" y="263373"/>
                          <a:pt x="457425" y="300697"/>
                        </a:cubicBezTo>
                        <a:cubicBezTo>
                          <a:pt x="382664" y="461328"/>
                          <a:pt x="322722" y="468775"/>
                          <a:pt x="228713" y="601394"/>
                        </a:cubicBezTo>
                        <a:cubicBezTo>
                          <a:pt x="118789" y="621553"/>
                          <a:pt x="78222" y="592008"/>
                          <a:pt x="0" y="601394"/>
                        </a:cubicBezTo>
                        <a:cubicBezTo>
                          <a:pt x="53854" y="474456"/>
                          <a:pt x="134151" y="442642"/>
                          <a:pt x="228713" y="300697"/>
                        </a:cubicBezTo>
                        <a:cubicBezTo>
                          <a:pt x="120675" y="192658"/>
                          <a:pt x="59231" y="66957"/>
                          <a:pt x="0" y="0"/>
                        </a:cubicBezTo>
                        <a:close/>
                      </a:path>
                      <a:path w="457425" h="601394" stroke="0" extrusionOk="0">
                        <a:moveTo>
                          <a:pt x="0" y="0"/>
                        </a:moveTo>
                        <a:cubicBezTo>
                          <a:pt x="69118" y="-11041"/>
                          <a:pt x="144549" y="207"/>
                          <a:pt x="228713" y="0"/>
                        </a:cubicBezTo>
                        <a:cubicBezTo>
                          <a:pt x="332525" y="80445"/>
                          <a:pt x="403320" y="243191"/>
                          <a:pt x="457425" y="300697"/>
                        </a:cubicBezTo>
                        <a:cubicBezTo>
                          <a:pt x="426834" y="398018"/>
                          <a:pt x="298214" y="476775"/>
                          <a:pt x="228713" y="601394"/>
                        </a:cubicBezTo>
                        <a:cubicBezTo>
                          <a:pt x="158657" y="611200"/>
                          <a:pt x="79632" y="585547"/>
                          <a:pt x="0" y="601394"/>
                        </a:cubicBezTo>
                        <a:cubicBezTo>
                          <a:pt x="65454" y="509437"/>
                          <a:pt x="200903" y="407857"/>
                          <a:pt x="228713" y="300697"/>
                        </a:cubicBezTo>
                        <a:cubicBezTo>
                          <a:pt x="122209" y="162087"/>
                          <a:pt x="82188" y="99177"/>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Arrow: Chevron 35">
            <a:extLst>
              <a:ext uri="{FF2B5EF4-FFF2-40B4-BE49-F238E27FC236}">
                <a16:creationId xmlns:a16="http://schemas.microsoft.com/office/drawing/2014/main" id="{ADE32C5F-1758-43C8-9121-2EB4CBA0234D}"/>
              </a:ext>
            </a:extLst>
          </p:cNvPr>
          <p:cNvSpPr/>
          <p:nvPr/>
        </p:nvSpPr>
        <p:spPr>
          <a:xfrm>
            <a:off x="9380581" y="3650791"/>
            <a:ext cx="457425" cy="601394"/>
          </a:xfrm>
          <a:prstGeom prst="chevron">
            <a:avLst/>
          </a:prstGeom>
          <a:solidFill>
            <a:schemeClr val="bg1">
              <a:lumMod val="75000"/>
            </a:schemeClr>
          </a:solidFill>
          <a:ln>
            <a:solidFill>
              <a:schemeClr val="tx1"/>
            </a:solidFill>
            <a:extLst>
              <a:ext uri="{C807C97D-BFC1-408E-A445-0C87EB9F89A2}">
                <ask:lineSketchStyleProps xmlns:ask="http://schemas.microsoft.com/office/drawing/2018/sketchyshapes" xmlns="" sd="619679285">
                  <a:custGeom>
                    <a:avLst/>
                    <a:gdLst>
                      <a:gd name="connsiteX0" fmla="*/ 0 w 457425"/>
                      <a:gd name="connsiteY0" fmla="*/ 0 h 601394"/>
                      <a:gd name="connsiteX1" fmla="*/ 228713 w 457425"/>
                      <a:gd name="connsiteY1" fmla="*/ 0 h 601394"/>
                      <a:gd name="connsiteX2" fmla="*/ 457425 w 457425"/>
                      <a:gd name="connsiteY2" fmla="*/ 300697 h 601394"/>
                      <a:gd name="connsiteX3" fmla="*/ 228713 w 457425"/>
                      <a:gd name="connsiteY3" fmla="*/ 601394 h 601394"/>
                      <a:gd name="connsiteX4" fmla="*/ 0 w 457425"/>
                      <a:gd name="connsiteY4" fmla="*/ 601394 h 601394"/>
                      <a:gd name="connsiteX5" fmla="*/ 228713 w 457425"/>
                      <a:gd name="connsiteY5" fmla="*/ 300697 h 601394"/>
                      <a:gd name="connsiteX6" fmla="*/ 0 w 457425"/>
                      <a:gd name="connsiteY6" fmla="*/ 0 h 601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425" h="601394" fill="none" extrusionOk="0">
                        <a:moveTo>
                          <a:pt x="0" y="0"/>
                        </a:moveTo>
                        <a:cubicBezTo>
                          <a:pt x="53228" y="-6318"/>
                          <a:pt x="115565" y="26939"/>
                          <a:pt x="228713" y="0"/>
                        </a:cubicBezTo>
                        <a:cubicBezTo>
                          <a:pt x="347570" y="84893"/>
                          <a:pt x="372561" y="263373"/>
                          <a:pt x="457425" y="300697"/>
                        </a:cubicBezTo>
                        <a:cubicBezTo>
                          <a:pt x="382664" y="461328"/>
                          <a:pt x="322722" y="468775"/>
                          <a:pt x="228713" y="601394"/>
                        </a:cubicBezTo>
                        <a:cubicBezTo>
                          <a:pt x="118789" y="621553"/>
                          <a:pt x="78222" y="592008"/>
                          <a:pt x="0" y="601394"/>
                        </a:cubicBezTo>
                        <a:cubicBezTo>
                          <a:pt x="53854" y="474456"/>
                          <a:pt x="134151" y="442642"/>
                          <a:pt x="228713" y="300697"/>
                        </a:cubicBezTo>
                        <a:cubicBezTo>
                          <a:pt x="120675" y="192658"/>
                          <a:pt x="59231" y="66957"/>
                          <a:pt x="0" y="0"/>
                        </a:cubicBezTo>
                        <a:close/>
                      </a:path>
                      <a:path w="457425" h="601394" stroke="0" extrusionOk="0">
                        <a:moveTo>
                          <a:pt x="0" y="0"/>
                        </a:moveTo>
                        <a:cubicBezTo>
                          <a:pt x="69118" y="-11041"/>
                          <a:pt x="144549" y="207"/>
                          <a:pt x="228713" y="0"/>
                        </a:cubicBezTo>
                        <a:cubicBezTo>
                          <a:pt x="332525" y="80445"/>
                          <a:pt x="403320" y="243191"/>
                          <a:pt x="457425" y="300697"/>
                        </a:cubicBezTo>
                        <a:cubicBezTo>
                          <a:pt x="426834" y="398018"/>
                          <a:pt x="298214" y="476775"/>
                          <a:pt x="228713" y="601394"/>
                        </a:cubicBezTo>
                        <a:cubicBezTo>
                          <a:pt x="158657" y="611200"/>
                          <a:pt x="79632" y="585547"/>
                          <a:pt x="0" y="601394"/>
                        </a:cubicBezTo>
                        <a:cubicBezTo>
                          <a:pt x="65454" y="509437"/>
                          <a:pt x="200903" y="407857"/>
                          <a:pt x="228713" y="300697"/>
                        </a:cubicBezTo>
                        <a:cubicBezTo>
                          <a:pt x="122209" y="162087"/>
                          <a:pt x="82188" y="99177"/>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Arrow: Chevron 36">
            <a:extLst>
              <a:ext uri="{FF2B5EF4-FFF2-40B4-BE49-F238E27FC236}">
                <a16:creationId xmlns:a16="http://schemas.microsoft.com/office/drawing/2014/main" id="{29FF16C2-2B42-417D-8F24-028E8E9A64E9}"/>
              </a:ext>
            </a:extLst>
          </p:cNvPr>
          <p:cNvSpPr/>
          <p:nvPr/>
        </p:nvSpPr>
        <p:spPr>
          <a:xfrm rot="16200000" flipV="1">
            <a:off x="3744238" y="2519289"/>
            <a:ext cx="457425" cy="601394"/>
          </a:xfrm>
          <a:prstGeom prst="chevron">
            <a:avLst/>
          </a:prstGeom>
          <a:solidFill>
            <a:schemeClr val="bg1">
              <a:lumMod val="75000"/>
            </a:schemeClr>
          </a:solidFill>
          <a:ln>
            <a:solidFill>
              <a:schemeClr val="tx1"/>
            </a:solidFill>
            <a:extLst>
              <a:ext uri="{C807C97D-BFC1-408E-A445-0C87EB9F89A2}">
                <ask:lineSketchStyleProps xmlns:ask="http://schemas.microsoft.com/office/drawing/2018/sketchyshapes" xmlns="" sd="619679285">
                  <a:custGeom>
                    <a:avLst/>
                    <a:gdLst>
                      <a:gd name="connsiteX0" fmla="*/ 0 w 457425"/>
                      <a:gd name="connsiteY0" fmla="*/ 0 h 601394"/>
                      <a:gd name="connsiteX1" fmla="*/ 228713 w 457425"/>
                      <a:gd name="connsiteY1" fmla="*/ 0 h 601394"/>
                      <a:gd name="connsiteX2" fmla="*/ 457425 w 457425"/>
                      <a:gd name="connsiteY2" fmla="*/ 300697 h 601394"/>
                      <a:gd name="connsiteX3" fmla="*/ 228713 w 457425"/>
                      <a:gd name="connsiteY3" fmla="*/ 601394 h 601394"/>
                      <a:gd name="connsiteX4" fmla="*/ 0 w 457425"/>
                      <a:gd name="connsiteY4" fmla="*/ 601394 h 601394"/>
                      <a:gd name="connsiteX5" fmla="*/ 228713 w 457425"/>
                      <a:gd name="connsiteY5" fmla="*/ 300697 h 601394"/>
                      <a:gd name="connsiteX6" fmla="*/ 0 w 457425"/>
                      <a:gd name="connsiteY6" fmla="*/ 0 h 601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425" h="601394" fill="none" extrusionOk="0">
                        <a:moveTo>
                          <a:pt x="0" y="0"/>
                        </a:moveTo>
                        <a:cubicBezTo>
                          <a:pt x="53228" y="-6318"/>
                          <a:pt x="115565" y="26939"/>
                          <a:pt x="228713" y="0"/>
                        </a:cubicBezTo>
                        <a:cubicBezTo>
                          <a:pt x="347570" y="84893"/>
                          <a:pt x="372561" y="263373"/>
                          <a:pt x="457425" y="300697"/>
                        </a:cubicBezTo>
                        <a:cubicBezTo>
                          <a:pt x="382664" y="461328"/>
                          <a:pt x="322722" y="468775"/>
                          <a:pt x="228713" y="601394"/>
                        </a:cubicBezTo>
                        <a:cubicBezTo>
                          <a:pt x="118789" y="621553"/>
                          <a:pt x="78222" y="592008"/>
                          <a:pt x="0" y="601394"/>
                        </a:cubicBezTo>
                        <a:cubicBezTo>
                          <a:pt x="53854" y="474456"/>
                          <a:pt x="134151" y="442642"/>
                          <a:pt x="228713" y="300697"/>
                        </a:cubicBezTo>
                        <a:cubicBezTo>
                          <a:pt x="120675" y="192658"/>
                          <a:pt x="59231" y="66957"/>
                          <a:pt x="0" y="0"/>
                        </a:cubicBezTo>
                        <a:close/>
                      </a:path>
                      <a:path w="457425" h="601394" stroke="0" extrusionOk="0">
                        <a:moveTo>
                          <a:pt x="0" y="0"/>
                        </a:moveTo>
                        <a:cubicBezTo>
                          <a:pt x="69118" y="-11041"/>
                          <a:pt x="144549" y="207"/>
                          <a:pt x="228713" y="0"/>
                        </a:cubicBezTo>
                        <a:cubicBezTo>
                          <a:pt x="332525" y="80445"/>
                          <a:pt x="403320" y="243191"/>
                          <a:pt x="457425" y="300697"/>
                        </a:cubicBezTo>
                        <a:cubicBezTo>
                          <a:pt x="426834" y="398018"/>
                          <a:pt x="298214" y="476775"/>
                          <a:pt x="228713" y="601394"/>
                        </a:cubicBezTo>
                        <a:cubicBezTo>
                          <a:pt x="158657" y="611200"/>
                          <a:pt x="79632" y="585547"/>
                          <a:pt x="0" y="601394"/>
                        </a:cubicBezTo>
                        <a:cubicBezTo>
                          <a:pt x="65454" y="509437"/>
                          <a:pt x="200903" y="407857"/>
                          <a:pt x="228713" y="300697"/>
                        </a:cubicBezTo>
                        <a:cubicBezTo>
                          <a:pt x="122209" y="162087"/>
                          <a:pt x="82188" y="99177"/>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Arrow: Chevron 37">
            <a:extLst>
              <a:ext uri="{FF2B5EF4-FFF2-40B4-BE49-F238E27FC236}">
                <a16:creationId xmlns:a16="http://schemas.microsoft.com/office/drawing/2014/main" id="{9449B5C2-EF0E-4AE5-843A-8D43A1A9FF76}"/>
              </a:ext>
            </a:extLst>
          </p:cNvPr>
          <p:cNvSpPr/>
          <p:nvPr/>
        </p:nvSpPr>
        <p:spPr>
          <a:xfrm rot="16200000" flipV="1">
            <a:off x="7804969" y="2567925"/>
            <a:ext cx="457425" cy="601394"/>
          </a:xfrm>
          <a:prstGeom prst="chevron">
            <a:avLst/>
          </a:prstGeom>
          <a:solidFill>
            <a:schemeClr val="bg1">
              <a:lumMod val="75000"/>
            </a:schemeClr>
          </a:solidFill>
          <a:ln>
            <a:solidFill>
              <a:schemeClr val="tx1"/>
            </a:solidFill>
            <a:extLst>
              <a:ext uri="{C807C97D-BFC1-408E-A445-0C87EB9F89A2}">
                <ask:lineSketchStyleProps xmlns:ask="http://schemas.microsoft.com/office/drawing/2018/sketchyshapes" xmlns="" sd="619679285">
                  <a:custGeom>
                    <a:avLst/>
                    <a:gdLst>
                      <a:gd name="connsiteX0" fmla="*/ 0 w 457425"/>
                      <a:gd name="connsiteY0" fmla="*/ 0 h 601394"/>
                      <a:gd name="connsiteX1" fmla="*/ 228713 w 457425"/>
                      <a:gd name="connsiteY1" fmla="*/ 0 h 601394"/>
                      <a:gd name="connsiteX2" fmla="*/ 457425 w 457425"/>
                      <a:gd name="connsiteY2" fmla="*/ 300697 h 601394"/>
                      <a:gd name="connsiteX3" fmla="*/ 228713 w 457425"/>
                      <a:gd name="connsiteY3" fmla="*/ 601394 h 601394"/>
                      <a:gd name="connsiteX4" fmla="*/ 0 w 457425"/>
                      <a:gd name="connsiteY4" fmla="*/ 601394 h 601394"/>
                      <a:gd name="connsiteX5" fmla="*/ 228713 w 457425"/>
                      <a:gd name="connsiteY5" fmla="*/ 300697 h 601394"/>
                      <a:gd name="connsiteX6" fmla="*/ 0 w 457425"/>
                      <a:gd name="connsiteY6" fmla="*/ 0 h 601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425" h="601394" fill="none" extrusionOk="0">
                        <a:moveTo>
                          <a:pt x="0" y="0"/>
                        </a:moveTo>
                        <a:cubicBezTo>
                          <a:pt x="53228" y="-6318"/>
                          <a:pt x="115565" y="26939"/>
                          <a:pt x="228713" y="0"/>
                        </a:cubicBezTo>
                        <a:cubicBezTo>
                          <a:pt x="347570" y="84893"/>
                          <a:pt x="372561" y="263373"/>
                          <a:pt x="457425" y="300697"/>
                        </a:cubicBezTo>
                        <a:cubicBezTo>
                          <a:pt x="382664" y="461328"/>
                          <a:pt x="322722" y="468775"/>
                          <a:pt x="228713" y="601394"/>
                        </a:cubicBezTo>
                        <a:cubicBezTo>
                          <a:pt x="118789" y="621553"/>
                          <a:pt x="78222" y="592008"/>
                          <a:pt x="0" y="601394"/>
                        </a:cubicBezTo>
                        <a:cubicBezTo>
                          <a:pt x="53854" y="474456"/>
                          <a:pt x="134151" y="442642"/>
                          <a:pt x="228713" y="300697"/>
                        </a:cubicBezTo>
                        <a:cubicBezTo>
                          <a:pt x="120675" y="192658"/>
                          <a:pt x="59231" y="66957"/>
                          <a:pt x="0" y="0"/>
                        </a:cubicBezTo>
                        <a:close/>
                      </a:path>
                      <a:path w="457425" h="601394" stroke="0" extrusionOk="0">
                        <a:moveTo>
                          <a:pt x="0" y="0"/>
                        </a:moveTo>
                        <a:cubicBezTo>
                          <a:pt x="69118" y="-11041"/>
                          <a:pt x="144549" y="207"/>
                          <a:pt x="228713" y="0"/>
                        </a:cubicBezTo>
                        <a:cubicBezTo>
                          <a:pt x="332525" y="80445"/>
                          <a:pt x="403320" y="243191"/>
                          <a:pt x="457425" y="300697"/>
                        </a:cubicBezTo>
                        <a:cubicBezTo>
                          <a:pt x="426834" y="398018"/>
                          <a:pt x="298214" y="476775"/>
                          <a:pt x="228713" y="601394"/>
                        </a:cubicBezTo>
                        <a:cubicBezTo>
                          <a:pt x="158657" y="611200"/>
                          <a:pt x="79632" y="585547"/>
                          <a:pt x="0" y="601394"/>
                        </a:cubicBezTo>
                        <a:cubicBezTo>
                          <a:pt x="65454" y="509437"/>
                          <a:pt x="200903" y="407857"/>
                          <a:pt x="228713" y="300697"/>
                        </a:cubicBezTo>
                        <a:cubicBezTo>
                          <a:pt x="122209" y="162087"/>
                          <a:pt x="82188" y="99177"/>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2" name="TextBox 38">
            <a:extLst>
              <a:ext uri="{FF2B5EF4-FFF2-40B4-BE49-F238E27FC236}">
                <a16:creationId xmlns:a16="http://schemas.microsoft.com/office/drawing/2014/main" id="{78A59776-75B1-4216-AEBC-95C1A821F03C}"/>
              </a:ext>
            </a:extLst>
          </p:cNvPr>
          <p:cNvSpPr txBox="1"/>
          <p:nvPr/>
        </p:nvSpPr>
        <p:spPr>
          <a:xfrm>
            <a:off x="581891" y="5491661"/>
            <a:ext cx="2540559" cy="830997"/>
          </a:xfrm>
          <a:prstGeom prst="rect">
            <a:avLst/>
          </a:prstGeom>
          <a:ln/>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600" b="1" dirty="0">
                <a:solidFill>
                  <a:schemeClr val="bg1"/>
                </a:solidFill>
                <a:ea typeface="Hand Of Sean" panose="02000500000000000000" pitchFamily="2" charset="-128"/>
              </a:rPr>
              <a:t>TECNOLOGÍA ACTUAL:</a:t>
            </a:r>
          </a:p>
          <a:p>
            <a:pPr algn="ctr"/>
            <a:r>
              <a:rPr lang="en-US" sz="1600" b="1" dirty="0">
                <a:solidFill>
                  <a:schemeClr val="bg1"/>
                </a:solidFill>
                <a:ea typeface="Hand Of Sean" panose="02000500000000000000" pitchFamily="2" charset="-128"/>
              </a:rPr>
              <a:t>WIFI5, 4G y </a:t>
            </a:r>
            <a:r>
              <a:rPr lang="en-US" sz="1600" b="1" dirty="0" err="1">
                <a:solidFill>
                  <a:schemeClr val="bg1"/>
                </a:solidFill>
                <a:ea typeface="Hand Of Sean" panose="02000500000000000000" pitchFamily="2" charset="-128"/>
              </a:rPr>
              <a:t>Fibra</a:t>
            </a:r>
            <a:r>
              <a:rPr lang="en-US" sz="1600" b="1" dirty="0">
                <a:solidFill>
                  <a:schemeClr val="bg1"/>
                </a:solidFill>
                <a:ea typeface="Hand Of Sean" panose="02000500000000000000" pitchFamily="2" charset="-128"/>
              </a:rPr>
              <a:t> </a:t>
            </a:r>
            <a:r>
              <a:rPr lang="en-US" sz="1600" b="1" dirty="0" err="1">
                <a:solidFill>
                  <a:schemeClr val="bg1"/>
                </a:solidFill>
                <a:ea typeface="Hand Of Sean" panose="02000500000000000000" pitchFamily="2" charset="-128"/>
              </a:rPr>
              <a:t>óptica</a:t>
            </a:r>
            <a:r>
              <a:rPr lang="en-US" sz="1600" b="1" dirty="0">
                <a:solidFill>
                  <a:schemeClr val="bg1"/>
                </a:solidFill>
                <a:ea typeface="Hand Of Sean" panose="02000500000000000000" pitchFamily="2" charset="-128"/>
              </a:rPr>
              <a:t> (FTTH)</a:t>
            </a:r>
          </a:p>
        </p:txBody>
      </p:sp>
      <p:sp>
        <p:nvSpPr>
          <p:cNvPr id="42" name="Rectángulo 41">
            <a:extLst>
              <a:ext uri="{FF2B5EF4-FFF2-40B4-BE49-F238E27FC236}">
                <a16:creationId xmlns:a16="http://schemas.microsoft.com/office/drawing/2014/main" id="{0BE31391-F5A4-44B5-AF37-5068D3B8AF94}"/>
              </a:ext>
            </a:extLst>
          </p:cNvPr>
          <p:cNvSpPr/>
          <p:nvPr/>
        </p:nvSpPr>
        <p:spPr>
          <a:xfrm>
            <a:off x="355249" y="1219246"/>
            <a:ext cx="5595354" cy="646331"/>
          </a:xfrm>
          <a:prstGeom prst="rect">
            <a:avLst/>
          </a:prstGeom>
          <a:noFill/>
        </p:spPr>
        <p:txBody>
          <a:bodyPr wrap="square" lIns="91440" tIns="45720" rIns="91440" bIns="45720">
            <a:spAutoFit/>
          </a:bodyPr>
          <a:lstStyle/>
          <a:p>
            <a:r>
              <a:rPr lang="es-ES" sz="3600" b="1" dirty="0">
                <a:ln w="9525">
                  <a:solidFill>
                    <a:schemeClr val="tx1"/>
                  </a:solidFill>
                  <a:prstDash val="solid"/>
                </a:ln>
                <a:solidFill>
                  <a:srgbClr val="FFFF00"/>
                </a:solidFill>
                <a:effectLst>
                  <a:outerShdw blurRad="63500" sx="102000" sy="102000" algn="ctr" rotWithShape="0">
                    <a:prstClr val="black">
                      <a:alpha val="40000"/>
                    </a:prstClr>
                  </a:outerShdw>
                </a:effectLst>
              </a:rPr>
              <a:t>Contexto:</a:t>
            </a:r>
          </a:p>
        </p:txBody>
      </p:sp>
      <p:sp>
        <p:nvSpPr>
          <p:cNvPr id="43" name="TextBox 38">
            <a:extLst>
              <a:ext uri="{FF2B5EF4-FFF2-40B4-BE49-F238E27FC236}">
                <a16:creationId xmlns:a16="http://schemas.microsoft.com/office/drawing/2014/main" id="{4DBAC7AB-E790-4D9E-8607-1ABD836A18C9}"/>
              </a:ext>
            </a:extLst>
          </p:cNvPr>
          <p:cNvSpPr txBox="1"/>
          <p:nvPr/>
        </p:nvSpPr>
        <p:spPr>
          <a:xfrm>
            <a:off x="2702670" y="1331788"/>
            <a:ext cx="2540559" cy="1323439"/>
          </a:xfrm>
          <a:prstGeom prst="rect">
            <a:avLst/>
          </a:prstGeom>
          <a:ln/>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a:r>
              <a:rPr lang="en-US" sz="1600" b="1" dirty="0">
                <a:solidFill>
                  <a:schemeClr val="bg1"/>
                </a:solidFill>
                <a:ea typeface="Hand Of Sean" panose="02000500000000000000" pitchFamily="2" charset="-128"/>
              </a:rPr>
              <a:t>NUEVAS NECESIDADES: Alta </a:t>
            </a:r>
            <a:r>
              <a:rPr lang="en-US" sz="1600" b="1" dirty="0" err="1">
                <a:solidFill>
                  <a:schemeClr val="bg1"/>
                </a:solidFill>
                <a:ea typeface="Hand Of Sean" panose="02000500000000000000" pitchFamily="2" charset="-128"/>
              </a:rPr>
              <a:t>densidad</a:t>
            </a:r>
            <a:r>
              <a:rPr lang="en-US" sz="1600" b="1" dirty="0">
                <a:solidFill>
                  <a:schemeClr val="bg1"/>
                </a:solidFill>
                <a:ea typeface="Hand Of Sean" panose="02000500000000000000" pitchFamily="2" charset="-128"/>
              </a:rPr>
              <a:t> de </a:t>
            </a:r>
            <a:r>
              <a:rPr lang="en-US" sz="1600" b="1" dirty="0" err="1">
                <a:solidFill>
                  <a:schemeClr val="bg1"/>
                </a:solidFill>
                <a:ea typeface="Hand Of Sean" panose="02000500000000000000" pitchFamily="2" charset="-128"/>
              </a:rPr>
              <a:t>dispositivos</a:t>
            </a:r>
            <a:r>
              <a:rPr lang="en-US" sz="1600" b="1" dirty="0">
                <a:solidFill>
                  <a:schemeClr val="bg1"/>
                </a:solidFill>
                <a:ea typeface="Hand Of Sean" panose="02000500000000000000" pitchFamily="2" charset="-128"/>
              </a:rPr>
              <a:t> </a:t>
            </a:r>
            <a:r>
              <a:rPr lang="en-US" sz="1600" b="1" dirty="0" err="1">
                <a:solidFill>
                  <a:schemeClr val="bg1"/>
                </a:solidFill>
                <a:ea typeface="Hand Of Sean" panose="02000500000000000000" pitchFamily="2" charset="-128"/>
              </a:rPr>
              <a:t>conectados</a:t>
            </a:r>
            <a:r>
              <a:rPr lang="en-US" sz="1600" b="1" dirty="0">
                <a:solidFill>
                  <a:schemeClr val="bg1"/>
                </a:solidFill>
                <a:ea typeface="Hand Of Sean" panose="02000500000000000000" pitchFamily="2" charset="-128"/>
              </a:rPr>
              <a:t> y </a:t>
            </a:r>
            <a:r>
              <a:rPr lang="en-US" sz="1600" b="1" dirty="0" err="1">
                <a:solidFill>
                  <a:schemeClr val="bg1"/>
                </a:solidFill>
                <a:ea typeface="Hand Of Sean" panose="02000500000000000000" pitchFamily="2" charset="-128"/>
              </a:rPr>
              <a:t>nuevos</a:t>
            </a:r>
            <a:r>
              <a:rPr lang="en-US" sz="1600" b="1" dirty="0">
                <a:solidFill>
                  <a:schemeClr val="bg1"/>
                </a:solidFill>
                <a:ea typeface="Hand Of Sean" panose="02000500000000000000" pitchFamily="2" charset="-128"/>
              </a:rPr>
              <a:t> </a:t>
            </a:r>
            <a:r>
              <a:rPr lang="en-US" sz="1600" b="1" dirty="0" err="1">
                <a:solidFill>
                  <a:schemeClr val="bg1"/>
                </a:solidFill>
                <a:ea typeface="Hand Of Sean" panose="02000500000000000000" pitchFamily="2" charset="-128"/>
              </a:rPr>
              <a:t>servicios</a:t>
            </a:r>
            <a:endParaRPr lang="en-US" sz="1600" b="1" dirty="0">
              <a:solidFill>
                <a:schemeClr val="bg1"/>
              </a:solidFill>
              <a:ea typeface="Hand Of Sean" panose="02000500000000000000" pitchFamily="2" charset="-128"/>
            </a:endParaRPr>
          </a:p>
        </p:txBody>
      </p:sp>
      <p:sp>
        <p:nvSpPr>
          <p:cNvPr id="44" name="TextBox 38">
            <a:extLst>
              <a:ext uri="{FF2B5EF4-FFF2-40B4-BE49-F238E27FC236}">
                <a16:creationId xmlns:a16="http://schemas.microsoft.com/office/drawing/2014/main" id="{42190602-13F0-4B9F-920B-1FDC39E524D4}"/>
              </a:ext>
            </a:extLst>
          </p:cNvPr>
          <p:cNvSpPr txBox="1"/>
          <p:nvPr/>
        </p:nvSpPr>
        <p:spPr>
          <a:xfrm>
            <a:off x="4665818" y="5426300"/>
            <a:ext cx="2852524" cy="1077218"/>
          </a:xfrm>
          <a:prstGeom prst="rect">
            <a:avLst/>
          </a:prstGeom>
          <a:ln/>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a:r>
              <a:rPr lang="en-US" sz="1600" b="1" dirty="0">
                <a:solidFill>
                  <a:schemeClr val="bg1"/>
                </a:solidFill>
                <a:ea typeface="Hand Of Sean" panose="02000500000000000000" pitchFamily="2" charset="-128"/>
              </a:rPr>
              <a:t>TECNOLOGÍA MÓVIL:</a:t>
            </a:r>
          </a:p>
          <a:p>
            <a:pPr algn="ctr"/>
            <a:r>
              <a:rPr lang="en-US" sz="1600" b="1" dirty="0" err="1">
                <a:solidFill>
                  <a:schemeClr val="bg1"/>
                </a:solidFill>
                <a:ea typeface="Hand Of Sean" panose="02000500000000000000" pitchFamily="2" charset="-128"/>
              </a:rPr>
              <a:t>Nuevas</a:t>
            </a:r>
            <a:r>
              <a:rPr lang="en-US" sz="1600" b="1" dirty="0">
                <a:solidFill>
                  <a:schemeClr val="bg1"/>
                </a:solidFill>
                <a:ea typeface="Hand Of Sean" panose="02000500000000000000" pitchFamily="2" charset="-128"/>
              </a:rPr>
              <a:t> redes 5G</a:t>
            </a:r>
          </a:p>
          <a:p>
            <a:pPr algn="ctr"/>
            <a:r>
              <a:rPr lang="en-US" sz="1600" b="1" dirty="0">
                <a:solidFill>
                  <a:schemeClr val="bg1"/>
                </a:solidFill>
                <a:ea typeface="Hand Of Sean" panose="02000500000000000000" pitchFamily="2" charset="-128"/>
              </a:rPr>
              <a:t>TECNOLOGÍA WIFI:</a:t>
            </a:r>
          </a:p>
          <a:p>
            <a:pPr algn="ctr"/>
            <a:r>
              <a:rPr lang="en-US" sz="1600" b="1" dirty="0" err="1">
                <a:solidFill>
                  <a:schemeClr val="bg1"/>
                </a:solidFill>
                <a:ea typeface="Hand Of Sean" panose="02000500000000000000" pitchFamily="2" charset="-128"/>
              </a:rPr>
              <a:t>Evolución</a:t>
            </a:r>
            <a:r>
              <a:rPr lang="en-US" sz="1600" b="1" dirty="0">
                <a:solidFill>
                  <a:schemeClr val="bg1"/>
                </a:solidFill>
                <a:ea typeface="Hand Of Sean" panose="02000500000000000000" pitchFamily="2" charset="-128"/>
              </a:rPr>
              <a:t> a la </a:t>
            </a:r>
            <a:r>
              <a:rPr lang="en-US" sz="1600" b="1" dirty="0" err="1">
                <a:solidFill>
                  <a:schemeClr val="bg1"/>
                </a:solidFill>
                <a:ea typeface="Hand Of Sean" panose="02000500000000000000" pitchFamily="2" charset="-128"/>
              </a:rPr>
              <a:t>nueva</a:t>
            </a:r>
            <a:r>
              <a:rPr lang="en-US" sz="1600" b="1" dirty="0">
                <a:solidFill>
                  <a:schemeClr val="bg1"/>
                </a:solidFill>
                <a:ea typeface="Hand Of Sean" panose="02000500000000000000" pitchFamily="2" charset="-128"/>
              </a:rPr>
              <a:t> WIFI6</a:t>
            </a:r>
          </a:p>
        </p:txBody>
      </p:sp>
      <p:sp>
        <p:nvSpPr>
          <p:cNvPr id="45" name="TextBox 38">
            <a:extLst>
              <a:ext uri="{FF2B5EF4-FFF2-40B4-BE49-F238E27FC236}">
                <a16:creationId xmlns:a16="http://schemas.microsoft.com/office/drawing/2014/main" id="{008D9248-DAA2-49F0-90BF-87B35F28B7D9}"/>
              </a:ext>
            </a:extLst>
          </p:cNvPr>
          <p:cNvSpPr txBox="1"/>
          <p:nvPr/>
        </p:nvSpPr>
        <p:spPr>
          <a:xfrm>
            <a:off x="6765005" y="1545345"/>
            <a:ext cx="2540559" cy="830997"/>
          </a:xfrm>
          <a:prstGeom prst="rect">
            <a:avLst/>
          </a:prstGeom>
          <a:ln/>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a:r>
              <a:rPr lang="en-US" sz="1600" b="1" dirty="0">
                <a:solidFill>
                  <a:schemeClr val="bg1"/>
                </a:solidFill>
                <a:ea typeface="Hand Of Sean" panose="02000500000000000000" pitchFamily="2" charset="-128"/>
              </a:rPr>
              <a:t>REDES DE FIBRA:</a:t>
            </a:r>
          </a:p>
          <a:p>
            <a:pPr algn="ctr"/>
            <a:r>
              <a:rPr lang="en-US" sz="1600" b="1" dirty="0" err="1">
                <a:solidFill>
                  <a:schemeClr val="bg1"/>
                </a:solidFill>
                <a:ea typeface="Hand Of Sean" panose="02000500000000000000" pitchFamily="2" charset="-128"/>
              </a:rPr>
              <a:t>Aumentan</a:t>
            </a:r>
            <a:r>
              <a:rPr lang="en-US" sz="1600" b="1" dirty="0">
                <a:solidFill>
                  <a:schemeClr val="bg1"/>
                </a:solidFill>
                <a:ea typeface="Hand Of Sean" panose="02000500000000000000" pitchFamily="2" charset="-128"/>
              </a:rPr>
              <a:t> la </a:t>
            </a:r>
            <a:r>
              <a:rPr lang="en-US" sz="1600" b="1" dirty="0" err="1">
                <a:solidFill>
                  <a:schemeClr val="bg1"/>
                </a:solidFill>
                <a:ea typeface="Hand Of Sean" panose="02000500000000000000" pitchFamily="2" charset="-128"/>
              </a:rPr>
              <a:t>cobertura</a:t>
            </a:r>
            <a:r>
              <a:rPr lang="en-US" sz="1600" b="1" dirty="0">
                <a:solidFill>
                  <a:schemeClr val="bg1"/>
                </a:solidFill>
                <a:ea typeface="Hand Of Sean" panose="02000500000000000000" pitchFamily="2" charset="-128"/>
              </a:rPr>
              <a:t> por </a:t>
            </a:r>
            <a:r>
              <a:rPr lang="en-US" sz="1600" b="1" dirty="0" err="1">
                <a:solidFill>
                  <a:schemeClr val="bg1"/>
                </a:solidFill>
                <a:ea typeface="Hand Of Sean" panose="02000500000000000000" pitchFamily="2" charset="-128"/>
              </a:rPr>
              <a:t>todo</a:t>
            </a:r>
            <a:r>
              <a:rPr lang="en-US" sz="1600" b="1" dirty="0">
                <a:solidFill>
                  <a:schemeClr val="bg1"/>
                </a:solidFill>
                <a:ea typeface="Hand Of Sean" panose="02000500000000000000" pitchFamily="2" charset="-128"/>
              </a:rPr>
              <a:t> el Estado</a:t>
            </a:r>
          </a:p>
        </p:txBody>
      </p:sp>
      <p:sp>
        <p:nvSpPr>
          <p:cNvPr id="46" name="TextBox 38">
            <a:extLst>
              <a:ext uri="{FF2B5EF4-FFF2-40B4-BE49-F238E27FC236}">
                <a16:creationId xmlns:a16="http://schemas.microsoft.com/office/drawing/2014/main" id="{622608C9-EE6F-48E6-BC3A-92CF6AA750F2}"/>
              </a:ext>
            </a:extLst>
          </p:cNvPr>
          <p:cNvSpPr txBox="1"/>
          <p:nvPr/>
        </p:nvSpPr>
        <p:spPr>
          <a:xfrm>
            <a:off x="10010571" y="3145008"/>
            <a:ext cx="1803469" cy="1815882"/>
          </a:xfrm>
          <a:prstGeom prst="rect">
            <a:avLst/>
          </a:prstGeom>
          <a:ln/>
        </p:spPr>
        <p:style>
          <a:lnRef idx="1">
            <a:schemeClr val="accent5"/>
          </a:lnRef>
          <a:fillRef idx="2">
            <a:schemeClr val="accent5"/>
          </a:fillRef>
          <a:effectRef idx="1">
            <a:schemeClr val="accent5"/>
          </a:effectRef>
          <a:fontRef idx="minor">
            <a:schemeClr val="dk1"/>
          </a:fontRef>
        </p:style>
        <p:txBody>
          <a:bodyPr wrap="square" rtlCol="0">
            <a:spAutoFit/>
          </a:bodyPr>
          <a:lstStyle/>
          <a:p>
            <a:pPr algn="ctr"/>
            <a:r>
              <a:rPr lang="en-US" sz="1600" b="1" dirty="0">
                <a:solidFill>
                  <a:schemeClr val="bg1"/>
                </a:solidFill>
                <a:ea typeface="Hand Of Sean" panose="02000500000000000000" pitchFamily="2" charset="-128"/>
              </a:rPr>
              <a:t>WIFI6, 5G y </a:t>
            </a:r>
            <a:r>
              <a:rPr lang="en-US" sz="1600" b="1" dirty="0" err="1">
                <a:solidFill>
                  <a:schemeClr val="bg1"/>
                </a:solidFill>
                <a:ea typeface="Hand Of Sean" panose="02000500000000000000" pitchFamily="2" charset="-128"/>
              </a:rPr>
              <a:t>Fibra</a:t>
            </a:r>
            <a:r>
              <a:rPr lang="en-US" sz="1600" b="1" dirty="0">
                <a:solidFill>
                  <a:schemeClr val="bg1"/>
                </a:solidFill>
                <a:ea typeface="Hand Of Sean" panose="02000500000000000000" pitchFamily="2" charset="-128"/>
              </a:rPr>
              <a:t> </a:t>
            </a:r>
            <a:r>
              <a:rPr lang="en-US" sz="1600" b="1" dirty="0" err="1">
                <a:solidFill>
                  <a:schemeClr val="bg1"/>
                </a:solidFill>
                <a:ea typeface="Hand Of Sean" panose="02000500000000000000" pitchFamily="2" charset="-128"/>
              </a:rPr>
              <a:t>esenciales</a:t>
            </a:r>
            <a:r>
              <a:rPr lang="en-US" sz="1600" b="1" dirty="0">
                <a:solidFill>
                  <a:schemeClr val="bg1"/>
                </a:solidFill>
                <a:ea typeface="Hand Of Sean" panose="02000500000000000000" pitchFamily="2" charset="-128"/>
              </a:rPr>
              <a:t> para </a:t>
            </a:r>
            <a:r>
              <a:rPr lang="en-US" sz="1600" b="1" dirty="0" err="1">
                <a:solidFill>
                  <a:schemeClr val="bg1"/>
                </a:solidFill>
                <a:ea typeface="Hand Of Sean" panose="02000500000000000000" pitchFamily="2" charset="-128"/>
              </a:rPr>
              <a:t>atender</a:t>
            </a:r>
            <a:r>
              <a:rPr lang="en-US" sz="1600" b="1" dirty="0">
                <a:solidFill>
                  <a:schemeClr val="bg1"/>
                </a:solidFill>
                <a:ea typeface="Hand Of Sean" panose="02000500000000000000" pitchFamily="2" charset="-128"/>
              </a:rPr>
              <a:t> a las </a:t>
            </a:r>
            <a:r>
              <a:rPr lang="en-US" sz="1600" b="1" dirty="0" err="1">
                <a:solidFill>
                  <a:schemeClr val="bg1"/>
                </a:solidFill>
                <a:ea typeface="Hand Of Sean" panose="02000500000000000000" pitchFamily="2" charset="-128"/>
              </a:rPr>
              <a:t>Nuevas</a:t>
            </a:r>
            <a:r>
              <a:rPr lang="en-US" sz="1600" b="1" dirty="0">
                <a:solidFill>
                  <a:schemeClr val="bg1"/>
                </a:solidFill>
                <a:ea typeface="Hand Of Sean" panose="02000500000000000000" pitchFamily="2" charset="-128"/>
              </a:rPr>
              <a:t> </a:t>
            </a:r>
            <a:r>
              <a:rPr lang="en-US" sz="1600" b="1" dirty="0" err="1">
                <a:solidFill>
                  <a:schemeClr val="bg1"/>
                </a:solidFill>
                <a:ea typeface="Hand Of Sean" panose="02000500000000000000" pitchFamily="2" charset="-128"/>
              </a:rPr>
              <a:t>Tecnologías</a:t>
            </a:r>
            <a:r>
              <a:rPr lang="en-US" sz="1600" b="1" dirty="0">
                <a:solidFill>
                  <a:schemeClr val="bg1"/>
                </a:solidFill>
                <a:ea typeface="Hand Of Sean" panose="02000500000000000000" pitchFamily="2" charset="-128"/>
              </a:rPr>
              <a:t> y </a:t>
            </a:r>
            <a:r>
              <a:rPr lang="en-US" sz="1600" b="1" dirty="0" err="1">
                <a:solidFill>
                  <a:schemeClr val="bg1"/>
                </a:solidFill>
                <a:ea typeface="Hand Of Sean" panose="02000500000000000000" pitchFamily="2" charset="-128"/>
              </a:rPr>
              <a:t>Metodologías</a:t>
            </a:r>
            <a:r>
              <a:rPr lang="en-US" sz="1600" b="1" dirty="0">
                <a:solidFill>
                  <a:schemeClr val="bg1"/>
                </a:solidFill>
                <a:ea typeface="Hand Of Sean" panose="02000500000000000000" pitchFamily="2" charset="-128"/>
              </a:rPr>
              <a:t> de </a:t>
            </a:r>
            <a:r>
              <a:rPr lang="en-US" sz="1600" b="1" dirty="0" err="1">
                <a:solidFill>
                  <a:schemeClr val="bg1"/>
                </a:solidFill>
                <a:ea typeface="Hand Of Sean" panose="02000500000000000000" pitchFamily="2" charset="-128"/>
              </a:rPr>
              <a:t>Aprendizaje</a:t>
            </a:r>
            <a:endParaRPr lang="en-US" sz="1600" b="1" dirty="0">
              <a:solidFill>
                <a:schemeClr val="bg1"/>
              </a:solidFill>
              <a:ea typeface="Hand Of Sean" panose="02000500000000000000" pitchFamily="2" charset="-128"/>
            </a:endParaRPr>
          </a:p>
        </p:txBody>
      </p:sp>
      <p:sp>
        <p:nvSpPr>
          <p:cNvPr id="33" name="Marcador de número de diapositiva 1"/>
          <p:cNvSpPr>
            <a:spLocks noGrp="1"/>
          </p:cNvSpPr>
          <p:nvPr>
            <p:ph type="sldNum" sz="quarter" idx="12"/>
          </p:nvPr>
        </p:nvSpPr>
        <p:spPr>
          <a:xfrm>
            <a:off x="11777051" y="6458134"/>
            <a:ext cx="487378" cy="481343"/>
          </a:xfrm>
        </p:spPr>
        <p:txBody>
          <a:bodyPr/>
          <a:lstStyle/>
          <a:p>
            <a:r>
              <a:rPr lang="en-US" sz="2000" dirty="0" smtClean="0"/>
              <a:t>20</a:t>
            </a:r>
            <a:endParaRPr lang="en-US" sz="2000" dirty="0"/>
          </a:p>
        </p:txBody>
      </p:sp>
    </p:spTree>
    <p:extLst>
      <p:ext uri="{BB962C8B-B14F-4D97-AF65-F5344CB8AC3E}">
        <p14:creationId xmlns:p14="http://schemas.microsoft.com/office/powerpoint/2010/main" val="414590085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23FEED7-63F6-4545-95DD-474E69B1B82D}"/>
              </a:ext>
            </a:extLst>
          </p:cNvPr>
          <p:cNvSpPr/>
          <p:nvPr/>
        </p:nvSpPr>
        <p:spPr>
          <a:xfrm>
            <a:off x="419022" y="193816"/>
            <a:ext cx="6502101" cy="707886"/>
          </a:xfrm>
          <a:prstGeom prst="rect">
            <a:avLst/>
          </a:prstGeom>
          <a:noFill/>
        </p:spPr>
        <p:txBody>
          <a:bodyPr wrap="none" lIns="91440" tIns="45720" rIns="91440" bIns="45720">
            <a:spAutoFit/>
          </a:bodyPr>
          <a:lstStyle/>
          <a:p>
            <a:r>
              <a:rPr lang="es-ES" sz="4000" b="1"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Wifi 6 y Tecnología </a:t>
            </a:r>
            <a:r>
              <a:rPr lang="es-ES" sz="4000" b="1" dirty="0" smtClean="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5G (II)</a:t>
            </a:r>
            <a:endParaRPr lang="es-ES" sz="4000" b="1"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endParaRPr>
          </a:p>
        </p:txBody>
      </p:sp>
      <p:sp>
        <p:nvSpPr>
          <p:cNvPr id="42" name="Rectángulo 41">
            <a:extLst>
              <a:ext uri="{FF2B5EF4-FFF2-40B4-BE49-F238E27FC236}">
                <a16:creationId xmlns:a16="http://schemas.microsoft.com/office/drawing/2014/main" id="{0BE31391-F5A4-44B5-AF37-5068D3B8AF94}"/>
              </a:ext>
            </a:extLst>
          </p:cNvPr>
          <p:cNvSpPr/>
          <p:nvPr/>
        </p:nvSpPr>
        <p:spPr>
          <a:xfrm>
            <a:off x="419022" y="1209479"/>
            <a:ext cx="5595354" cy="646331"/>
          </a:xfrm>
          <a:prstGeom prst="rect">
            <a:avLst/>
          </a:prstGeom>
          <a:noFill/>
        </p:spPr>
        <p:txBody>
          <a:bodyPr wrap="square" lIns="91440" tIns="45720" rIns="91440" bIns="45720">
            <a:spAutoFit/>
          </a:bodyPr>
          <a:lstStyle/>
          <a:p>
            <a:r>
              <a:rPr lang="es-ES" sz="3600" b="1" dirty="0">
                <a:ln w="9525">
                  <a:solidFill>
                    <a:schemeClr val="tx1"/>
                  </a:solidFill>
                  <a:prstDash val="solid"/>
                </a:ln>
                <a:solidFill>
                  <a:srgbClr val="FFFF00"/>
                </a:solidFill>
                <a:effectLst>
                  <a:outerShdw blurRad="63500" sx="102000" sy="102000" algn="ctr" rotWithShape="0">
                    <a:prstClr val="black">
                      <a:alpha val="40000"/>
                    </a:prstClr>
                  </a:outerShdw>
                </a:effectLst>
              </a:rPr>
              <a:t>Descripción:</a:t>
            </a:r>
          </a:p>
        </p:txBody>
      </p:sp>
      <p:sp>
        <p:nvSpPr>
          <p:cNvPr id="33" name="Right Triangle 23">
            <a:extLst>
              <a:ext uri="{FF2B5EF4-FFF2-40B4-BE49-F238E27FC236}">
                <a16:creationId xmlns:a16="http://schemas.microsoft.com/office/drawing/2014/main" id="{85055443-EE6C-4015-B444-1F6EFB107513}"/>
              </a:ext>
            </a:extLst>
          </p:cNvPr>
          <p:cNvSpPr/>
          <p:nvPr/>
        </p:nvSpPr>
        <p:spPr>
          <a:xfrm>
            <a:off x="5395421" y="4055275"/>
            <a:ext cx="612617" cy="360966"/>
          </a:xfrm>
          <a:prstGeom prst="rtTriangle">
            <a:avLst/>
          </a:prstGeom>
          <a:solidFill>
            <a:srgbClr val="D62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ight Triangle 22">
            <a:extLst>
              <a:ext uri="{FF2B5EF4-FFF2-40B4-BE49-F238E27FC236}">
                <a16:creationId xmlns:a16="http://schemas.microsoft.com/office/drawing/2014/main" id="{018951AC-F5C5-4B87-967B-06D60EFAB345}"/>
              </a:ext>
            </a:extLst>
          </p:cNvPr>
          <p:cNvSpPr/>
          <p:nvPr/>
        </p:nvSpPr>
        <p:spPr>
          <a:xfrm flipH="1">
            <a:off x="1648918" y="4055275"/>
            <a:ext cx="612617" cy="360966"/>
          </a:xfrm>
          <a:prstGeom prst="rtTriangle">
            <a:avLst/>
          </a:prstGeom>
          <a:solidFill>
            <a:srgbClr val="D62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19">
            <a:extLst>
              <a:ext uri="{FF2B5EF4-FFF2-40B4-BE49-F238E27FC236}">
                <a16:creationId xmlns:a16="http://schemas.microsoft.com/office/drawing/2014/main" id="{E2B57C43-2B2F-4912-80E8-F745276889D0}"/>
              </a:ext>
            </a:extLst>
          </p:cNvPr>
          <p:cNvSpPr/>
          <p:nvPr/>
        </p:nvSpPr>
        <p:spPr>
          <a:xfrm>
            <a:off x="3038683" y="5623029"/>
            <a:ext cx="2476754" cy="385186"/>
          </a:xfrm>
          <a:prstGeom prst="ellipse">
            <a:avLst/>
          </a:prstGeom>
          <a:gradFill flip="none" rotWithShape="1">
            <a:gsLst>
              <a:gs pos="0">
                <a:schemeClr val="tx1">
                  <a:alpha val="62000"/>
                </a:schemeClr>
              </a:gs>
              <a:gs pos="100000">
                <a:schemeClr val="bg1">
                  <a:alpha val="0"/>
                </a:schemeClr>
              </a:gs>
            </a:gsLst>
            <a:path path="circle">
              <a:fillToRect l="50000" t="50000" r="50000" b="50000"/>
            </a:path>
            <a:tileRect/>
          </a:gradFill>
          <a:ln>
            <a:noFill/>
          </a:ln>
          <a:effectLst>
            <a:softEdge rad="762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6" name="Group 46">
            <a:extLst>
              <a:ext uri="{FF2B5EF4-FFF2-40B4-BE49-F238E27FC236}">
                <a16:creationId xmlns:a16="http://schemas.microsoft.com/office/drawing/2014/main" id="{C809C38D-677B-4B63-ACAC-38A7E612A6F0}"/>
              </a:ext>
            </a:extLst>
          </p:cNvPr>
          <p:cNvGrpSpPr/>
          <p:nvPr/>
        </p:nvGrpSpPr>
        <p:grpSpPr>
          <a:xfrm>
            <a:off x="1150333" y="1473376"/>
            <a:ext cx="5141280" cy="3094270"/>
            <a:chOff x="5253190" y="475931"/>
            <a:chExt cx="2188577" cy="2677313"/>
          </a:xfrm>
        </p:grpSpPr>
        <p:sp>
          <p:nvSpPr>
            <p:cNvPr id="37" name="Flowchart: Document 20">
              <a:extLst>
                <a:ext uri="{FF2B5EF4-FFF2-40B4-BE49-F238E27FC236}">
                  <a16:creationId xmlns:a16="http://schemas.microsoft.com/office/drawing/2014/main" id="{6150EF14-6A7F-4C36-A6D1-063949651AE9}"/>
                </a:ext>
              </a:extLst>
            </p:cNvPr>
            <p:cNvSpPr/>
            <p:nvPr/>
          </p:nvSpPr>
          <p:spPr>
            <a:xfrm flipH="1" flipV="1">
              <a:off x="5254265" y="475931"/>
              <a:ext cx="2187502" cy="2677313"/>
            </a:xfrm>
            <a:prstGeom prst="flowChartDocumen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endParaRPr lang="en-US"/>
            </a:p>
          </p:txBody>
        </p:sp>
        <p:pic>
          <p:nvPicPr>
            <p:cNvPr id="38" name="Graphic 24" descr="Antena parabólica">
              <a:extLst>
                <a:ext uri="{FF2B5EF4-FFF2-40B4-BE49-F238E27FC236}">
                  <a16:creationId xmlns:a16="http://schemas.microsoft.com/office/drawing/2014/main" id="{B8D5D8B7-64CE-4539-A741-671A79EC279C}"/>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6637530" y="629718"/>
              <a:ext cx="618207" cy="618207"/>
            </a:xfrm>
            <a:prstGeom prst="rect">
              <a:avLst/>
            </a:prstGeom>
          </p:spPr>
        </p:pic>
        <p:sp>
          <p:nvSpPr>
            <p:cNvPr id="39" name="TextBox 25">
              <a:extLst>
                <a:ext uri="{FF2B5EF4-FFF2-40B4-BE49-F238E27FC236}">
                  <a16:creationId xmlns:a16="http://schemas.microsoft.com/office/drawing/2014/main" id="{0A19534A-B3E3-435E-8EFE-5A5925E58D12}"/>
                </a:ext>
              </a:extLst>
            </p:cNvPr>
            <p:cNvSpPr txBox="1"/>
            <p:nvPr/>
          </p:nvSpPr>
          <p:spPr>
            <a:xfrm>
              <a:off x="5253190" y="1104378"/>
              <a:ext cx="2187502" cy="455788"/>
            </a:xfrm>
            <a:prstGeom prst="rect">
              <a:avLst/>
            </a:prstGeom>
            <a:noFill/>
          </p:spPr>
          <p:txBody>
            <a:bodyPr wrap="square" rtlCol="0">
              <a:spAutoFit/>
            </a:bodyPr>
            <a:lstStyle/>
            <a:p>
              <a:pPr algn="ctr"/>
              <a:r>
                <a:rPr lang="en-US" sz="2400" b="1" dirty="0">
                  <a:latin typeface="Century Gothic" panose="020B0502020202020204" pitchFamily="34" charset="0"/>
                </a:rPr>
                <a:t>WIFI 6</a:t>
              </a:r>
            </a:p>
          </p:txBody>
        </p:sp>
        <p:sp>
          <p:nvSpPr>
            <p:cNvPr id="40" name="TextBox 26">
              <a:extLst>
                <a:ext uri="{FF2B5EF4-FFF2-40B4-BE49-F238E27FC236}">
                  <a16:creationId xmlns:a16="http://schemas.microsoft.com/office/drawing/2014/main" id="{F68BC94B-8BD6-43EC-9832-6A06656BF1BF}"/>
                </a:ext>
              </a:extLst>
            </p:cNvPr>
            <p:cNvSpPr txBox="1"/>
            <p:nvPr/>
          </p:nvSpPr>
          <p:spPr>
            <a:xfrm>
              <a:off x="5342182" y="1549025"/>
              <a:ext cx="2092678" cy="985322"/>
            </a:xfrm>
            <a:prstGeom prst="rect">
              <a:avLst/>
            </a:prstGeom>
            <a:noFill/>
          </p:spPr>
          <p:txBody>
            <a:bodyPr wrap="square" rtlCol="0">
              <a:spAutoFit/>
            </a:bodyPr>
            <a:lstStyle/>
            <a:p>
              <a:pPr marL="285750" indent="-285750">
                <a:buFont typeface="Wingdings" panose="05000000000000000000" pitchFamily="2" charset="2"/>
                <a:buChar char="§"/>
              </a:pPr>
              <a:r>
                <a:rPr lang="es-ES" sz="1700" dirty="0" smtClean="0">
                  <a:solidFill>
                    <a:schemeClr val="bg1">
                      <a:lumMod val="50000"/>
                    </a:schemeClr>
                  </a:solidFill>
                </a:rPr>
                <a:t>Velocidad </a:t>
              </a:r>
              <a:r>
                <a:rPr lang="es-ES" sz="1700" dirty="0">
                  <a:solidFill>
                    <a:schemeClr val="bg1">
                      <a:lumMod val="50000"/>
                    </a:schemeClr>
                  </a:solidFill>
                </a:rPr>
                <a:t>de datos de casi 3Gbps y una </a:t>
              </a:r>
              <a:r>
                <a:rPr lang="es-ES" sz="1700" dirty="0" smtClean="0">
                  <a:solidFill>
                    <a:schemeClr val="bg1">
                      <a:lumMod val="50000"/>
                    </a:schemeClr>
                  </a:solidFill>
                </a:rPr>
                <a:t>concurrencia máxima </a:t>
              </a:r>
              <a:r>
                <a:rPr lang="es-ES" sz="1700" dirty="0">
                  <a:solidFill>
                    <a:schemeClr val="bg1">
                      <a:lumMod val="50000"/>
                    </a:schemeClr>
                  </a:solidFill>
                </a:rPr>
                <a:t>de 512 usuarios</a:t>
              </a:r>
            </a:p>
            <a:p>
              <a:endParaRPr lang="en-US" sz="1700" dirty="0" smtClean="0">
                <a:solidFill>
                  <a:schemeClr val="bg1">
                    <a:lumMod val="50000"/>
                  </a:schemeClr>
                </a:solidFill>
              </a:endParaRPr>
            </a:p>
            <a:p>
              <a:pPr marL="285750" indent="-285750">
                <a:buFont typeface="Wingdings" panose="05000000000000000000" pitchFamily="2" charset="2"/>
                <a:buChar char="§"/>
              </a:pPr>
              <a:r>
                <a:rPr lang="en-US" sz="1700" dirty="0" err="1" smtClean="0">
                  <a:solidFill>
                    <a:schemeClr val="bg1">
                      <a:lumMod val="50000"/>
                    </a:schemeClr>
                  </a:solidFill>
                </a:rPr>
                <a:t>Controladores</a:t>
              </a:r>
              <a:r>
                <a:rPr lang="en-US" sz="1700" dirty="0" smtClean="0">
                  <a:solidFill>
                    <a:schemeClr val="bg1">
                      <a:lumMod val="50000"/>
                    </a:schemeClr>
                  </a:solidFill>
                </a:rPr>
                <a:t> </a:t>
              </a:r>
              <a:r>
                <a:rPr lang="en-US" sz="1700" dirty="0">
                  <a:solidFill>
                    <a:schemeClr val="bg1">
                      <a:lumMod val="50000"/>
                    </a:schemeClr>
                  </a:solidFill>
                </a:rPr>
                <a:t>APs </a:t>
              </a:r>
              <a:r>
                <a:rPr lang="en-US" sz="1700" dirty="0" smtClean="0">
                  <a:solidFill>
                    <a:schemeClr val="bg1">
                      <a:lumMod val="50000"/>
                    </a:schemeClr>
                  </a:solidFill>
                </a:rPr>
                <a:t>Cloud. </a:t>
              </a:r>
              <a:endParaRPr lang="en-US" sz="1700" dirty="0">
                <a:solidFill>
                  <a:schemeClr val="bg1">
                    <a:lumMod val="50000"/>
                  </a:schemeClr>
                </a:solidFill>
              </a:endParaRPr>
            </a:p>
          </p:txBody>
        </p:sp>
      </p:grpSp>
      <p:sp>
        <p:nvSpPr>
          <p:cNvPr id="41" name="Oval 37">
            <a:extLst>
              <a:ext uri="{FF2B5EF4-FFF2-40B4-BE49-F238E27FC236}">
                <a16:creationId xmlns:a16="http://schemas.microsoft.com/office/drawing/2014/main" id="{93AA433A-CB2A-4A56-A612-E742577C37CA}"/>
              </a:ext>
            </a:extLst>
          </p:cNvPr>
          <p:cNvSpPr/>
          <p:nvPr/>
        </p:nvSpPr>
        <p:spPr>
          <a:xfrm>
            <a:off x="2780867" y="4138363"/>
            <a:ext cx="2992387" cy="770328"/>
          </a:xfrm>
          <a:prstGeom prst="ellipse">
            <a:avLst/>
          </a:prstGeom>
          <a:solidFill>
            <a:schemeClr val="tx1">
              <a:alpha val="51000"/>
            </a:schemeClr>
          </a:solidFill>
          <a:ln>
            <a:noFill/>
          </a:ln>
          <a:effectLst>
            <a:softEdge rad="139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Isosceles Triangle 21">
            <a:extLst>
              <a:ext uri="{FF2B5EF4-FFF2-40B4-BE49-F238E27FC236}">
                <a16:creationId xmlns:a16="http://schemas.microsoft.com/office/drawing/2014/main" id="{5CF7E228-CBCB-4F2C-82AF-A0133CCF7D39}"/>
              </a:ext>
            </a:extLst>
          </p:cNvPr>
          <p:cNvSpPr/>
          <p:nvPr/>
        </p:nvSpPr>
        <p:spPr>
          <a:xfrm flipV="1">
            <a:off x="1666312" y="4621885"/>
            <a:ext cx="4364045" cy="1098222"/>
          </a:xfrm>
          <a:prstGeom prst="triangle">
            <a:avLst/>
          </a:prstGeom>
          <a:gradFill>
            <a:gsLst>
              <a:gs pos="0">
                <a:srgbClr val="FF9933"/>
              </a:gs>
              <a:gs pos="100000">
                <a:srgbClr val="FF3300"/>
              </a:gs>
            </a:gsLst>
            <a:lin ang="5400000" scaled="1"/>
          </a:gradFill>
          <a:ln>
            <a:noFill/>
          </a:ln>
          <a:effectLst>
            <a:reflection blurRad="6350" stA="50000" endA="300" endPos="555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TextBox 41">
            <a:extLst>
              <a:ext uri="{FF2B5EF4-FFF2-40B4-BE49-F238E27FC236}">
                <a16:creationId xmlns:a16="http://schemas.microsoft.com/office/drawing/2014/main" id="{796088ED-2592-4990-B513-AD3034DBAB8E}"/>
              </a:ext>
            </a:extLst>
          </p:cNvPr>
          <p:cNvSpPr txBox="1"/>
          <p:nvPr/>
        </p:nvSpPr>
        <p:spPr>
          <a:xfrm>
            <a:off x="2924893" y="4647776"/>
            <a:ext cx="1771168" cy="523220"/>
          </a:xfrm>
          <a:prstGeom prst="rect">
            <a:avLst/>
          </a:prstGeom>
          <a:noFill/>
        </p:spPr>
        <p:txBody>
          <a:bodyPr wrap="square" rtlCol="0">
            <a:spAutoFit/>
          </a:bodyPr>
          <a:lstStyle/>
          <a:p>
            <a:pPr algn="ctr"/>
            <a:r>
              <a:rPr lang="en-US" sz="2800" b="1" dirty="0">
                <a:latin typeface="Century Gothic" panose="020B0502020202020204" pitchFamily="34" charset="0"/>
              </a:rPr>
              <a:t>01</a:t>
            </a:r>
          </a:p>
        </p:txBody>
      </p:sp>
      <p:sp>
        <p:nvSpPr>
          <p:cNvPr id="49" name="Right Triangle 30">
            <a:extLst>
              <a:ext uri="{FF2B5EF4-FFF2-40B4-BE49-F238E27FC236}">
                <a16:creationId xmlns:a16="http://schemas.microsoft.com/office/drawing/2014/main" id="{CFC64ABD-1164-460E-89F7-FF85B68B9DFC}"/>
              </a:ext>
            </a:extLst>
          </p:cNvPr>
          <p:cNvSpPr/>
          <p:nvPr/>
        </p:nvSpPr>
        <p:spPr>
          <a:xfrm flipH="1">
            <a:off x="6595973" y="4031055"/>
            <a:ext cx="637229" cy="385186"/>
          </a:xfrm>
          <a:prstGeom prst="rtTriangle">
            <a:avLst/>
          </a:prstGeom>
          <a:solidFill>
            <a:srgbClr val="001B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ight Triangle 31">
            <a:extLst>
              <a:ext uri="{FF2B5EF4-FFF2-40B4-BE49-F238E27FC236}">
                <a16:creationId xmlns:a16="http://schemas.microsoft.com/office/drawing/2014/main" id="{E30F7D01-5185-4919-844A-2F1AA6F416BC}"/>
              </a:ext>
            </a:extLst>
          </p:cNvPr>
          <p:cNvSpPr/>
          <p:nvPr/>
        </p:nvSpPr>
        <p:spPr>
          <a:xfrm>
            <a:off x="10305594" y="4031055"/>
            <a:ext cx="637229" cy="385186"/>
          </a:xfrm>
          <a:prstGeom prst="rtTriangle">
            <a:avLst/>
          </a:prstGeom>
          <a:solidFill>
            <a:srgbClr val="001B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27">
            <a:extLst>
              <a:ext uri="{FF2B5EF4-FFF2-40B4-BE49-F238E27FC236}">
                <a16:creationId xmlns:a16="http://schemas.microsoft.com/office/drawing/2014/main" id="{CE6FD71F-645C-48AA-82C8-63FC710A5785}"/>
              </a:ext>
            </a:extLst>
          </p:cNvPr>
          <p:cNvSpPr/>
          <p:nvPr/>
        </p:nvSpPr>
        <p:spPr>
          <a:xfrm>
            <a:off x="7707998" y="5307888"/>
            <a:ext cx="2476754" cy="385186"/>
          </a:xfrm>
          <a:prstGeom prst="ellipse">
            <a:avLst/>
          </a:prstGeom>
          <a:gradFill flip="none" rotWithShape="1">
            <a:gsLst>
              <a:gs pos="0">
                <a:schemeClr val="tx1">
                  <a:alpha val="62000"/>
                </a:schemeClr>
              </a:gs>
              <a:gs pos="100000">
                <a:schemeClr val="bg1">
                  <a:alpha val="0"/>
                </a:schemeClr>
              </a:gs>
            </a:gsLst>
            <a:path path="circle">
              <a:fillToRect l="50000" t="50000" r="50000" b="50000"/>
            </a:path>
            <a:tileRect/>
          </a:gradFill>
          <a:ln>
            <a:noFill/>
          </a:ln>
          <a:effectLst>
            <a:softEdge rad="762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2" name="Group 47">
            <a:extLst>
              <a:ext uri="{FF2B5EF4-FFF2-40B4-BE49-F238E27FC236}">
                <a16:creationId xmlns:a16="http://schemas.microsoft.com/office/drawing/2014/main" id="{CEDD05E0-404B-4522-B69C-4AB2B12B412E}"/>
              </a:ext>
            </a:extLst>
          </p:cNvPr>
          <p:cNvGrpSpPr/>
          <p:nvPr/>
        </p:nvGrpSpPr>
        <p:grpSpPr>
          <a:xfrm>
            <a:off x="7183511" y="1459415"/>
            <a:ext cx="3959619" cy="3098109"/>
            <a:chOff x="8906280" y="2448307"/>
            <a:chExt cx="2191009" cy="2677313"/>
          </a:xfrm>
        </p:grpSpPr>
        <p:sp>
          <p:nvSpPr>
            <p:cNvPr id="53" name="Flowchart: Document 28">
              <a:extLst>
                <a:ext uri="{FF2B5EF4-FFF2-40B4-BE49-F238E27FC236}">
                  <a16:creationId xmlns:a16="http://schemas.microsoft.com/office/drawing/2014/main" id="{E0511F5D-4671-4BA5-B721-5B3EEA0D67AD}"/>
                </a:ext>
              </a:extLst>
            </p:cNvPr>
            <p:cNvSpPr/>
            <p:nvPr/>
          </p:nvSpPr>
          <p:spPr>
            <a:xfrm flipH="1" flipV="1">
              <a:off x="8909787" y="2448307"/>
              <a:ext cx="2187502" cy="2677313"/>
            </a:xfrm>
            <a:prstGeom prst="flowChartDocumen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a:p>
          </p:txBody>
        </p:sp>
        <p:pic>
          <p:nvPicPr>
            <p:cNvPr id="54" name="Graphic 32" descr="Satélite">
              <a:extLst>
                <a:ext uri="{FF2B5EF4-FFF2-40B4-BE49-F238E27FC236}">
                  <a16:creationId xmlns:a16="http://schemas.microsoft.com/office/drawing/2014/main" id="{CB203810-F982-4564-85EA-D1FE12220B6B}"/>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10376282" y="2533812"/>
              <a:ext cx="618207" cy="618207"/>
            </a:xfrm>
            <a:prstGeom prst="rect">
              <a:avLst/>
            </a:prstGeom>
          </p:spPr>
          <p:style>
            <a:lnRef idx="1">
              <a:schemeClr val="accent3"/>
            </a:lnRef>
            <a:fillRef idx="3">
              <a:schemeClr val="accent3"/>
            </a:fillRef>
            <a:effectRef idx="2">
              <a:schemeClr val="accent3"/>
            </a:effectRef>
            <a:fontRef idx="minor">
              <a:schemeClr val="lt1"/>
            </a:fontRef>
          </p:style>
        </p:pic>
        <p:sp>
          <p:nvSpPr>
            <p:cNvPr id="55" name="TextBox 33">
              <a:extLst>
                <a:ext uri="{FF2B5EF4-FFF2-40B4-BE49-F238E27FC236}">
                  <a16:creationId xmlns:a16="http://schemas.microsoft.com/office/drawing/2014/main" id="{C58B26F1-F5CD-4A66-9A1E-6DCDA38EC908}"/>
                </a:ext>
              </a:extLst>
            </p:cNvPr>
            <p:cNvSpPr txBox="1"/>
            <p:nvPr/>
          </p:nvSpPr>
          <p:spPr>
            <a:xfrm>
              <a:off x="8909782" y="3128223"/>
              <a:ext cx="2187502" cy="461665"/>
            </a:xfrm>
            <a:prstGeom prst="rect">
              <a:avLst/>
            </a:prstGeom>
          </p:spPr>
          <p:style>
            <a:lnRef idx="1">
              <a:schemeClr val="accent3"/>
            </a:lnRef>
            <a:fillRef idx="3">
              <a:schemeClr val="accent3"/>
            </a:fillRef>
            <a:effectRef idx="2">
              <a:schemeClr val="accent3"/>
            </a:effectRef>
            <a:fontRef idx="minor">
              <a:schemeClr val="lt1"/>
            </a:fontRef>
          </p:style>
          <p:txBody>
            <a:bodyPr wrap="square" rtlCol="0">
              <a:spAutoFit/>
            </a:bodyPr>
            <a:lstStyle/>
            <a:p>
              <a:pPr algn="ctr"/>
              <a:r>
                <a:rPr lang="en-US" sz="2400" b="1" dirty="0">
                  <a:latin typeface="Century Gothic" panose="020B0502020202020204" pitchFamily="34" charset="0"/>
                </a:rPr>
                <a:t>REDES 5G</a:t>
              </a:r>
              <a:endParaRPr lang="en-US" sz="2000" b="1" dirty="0">
                <a:latin typeface="Century Gothic" panose="020B0502020202020204" pitchFamily="34" charset="0"/>
              </a:endParaRPr>
            </a:p>
          </p:txBody>
        </p:sp>
        <p:sp>
          <p:nvSpPr>
            <p:cNvPr id="56" name="TextBox 34">
              <a:extLst>
                <a:ext uri="{FF2B5EF4-FFF2-40B4-BE49-F238E27FC236}">
                  <a16:creationId xmlns:a16="http://schemas.microsoft.com/office/drawing/2014/main" id="{1AB0EDBA-2B82-44D7-A933-804B52A6CED8}"/>
                </a:ext>
              </a:extLst>
            </p:cNvPr>
            <p:cNvSpPr txBox="1"/>
            <p:nvPr/>
          </p:nvSpPr>
          <p:spPr>
            <a:xfrm>
              <a:off x="8906280" y="3528020"/>
              <a:ext cx="2191004" cy="1436255"/>
            </a:xfrm>
            <a:prstGeom prst="rect">
              <a:avLst/>
            </a:prstGeom>
          </p:spPr>
          <p:style>
            <a:lnRef idx="1">
              <a:schemeClr val="accent3"/>
            </a:lnRef>
            <a:fillRef idx="3">
              <a:schemeClr val="accent3"/>
            </a:fillRef>
            <a:effectRef idx="2">
              <a:schemeClr val="accent3"/>
            </a:effectRef>
            <a:fontRef idx="minor">
              <a:schemeClr val="lt1"/>
            </a:fontRef>
          </p:style>
          <p:txBody>
            <a:bodyPr wrap="square" rtlCol="0">
              <a:spAutoFit/>
            </a:bodyPr>
            <a:lstStyle/>
            <a:p>
              <a:pPr marL="285750" indent="-285750">
                <a:buFont typeface="Wingdings" panose="05000000000000000000" pitchFamily="2" charset="2"/>
                <a:buChar char="§"/>
              </a:pPr>
              <a:r>
                <a:rPr lang="es-ES" sz="1700" dirty="0" smtClean="0">
                  <a:solidFill>
                    <a:schemeClr val="bg1">
                      <a:lumMod val="50000"/>
                    </a:schemeClr>
                  </a:solidFill>
                  <a:latin typeface="Calibri" panose="020F0502020204030204" pitchFamily="34" charset="0"/>
                  <a:cs typeface="Calibri" panose="020F0502020204030204" pitchFamily="34" charset="0"/>
                </a:rPr>
                <a:t>Equipamiento </a:t>
              </a:r>
              <a:r>
                <a:rPr lang="es-ES" sz="1700" dirty="0">
                  <a:solidFill>
                    <a:schemeClr val="bg1">
                      <a:lumMod val="50000"/>
                    </a:schemeClr>
                  </a:solidFill>
                  <a:latin typeface="Calibri" panose="020F0502020204030204" pitchFamily="34" charset="0"/>
                  <a:cs typeface="Calibri" panose="020F0502020204030204" pitchFamily="34" charset="0"/>
                </a:rPr>
                <a:t>basado en </a:t>
              </a:r>
              <a:r>
                <a:rPr lang="es-ES" sz="1700" dirty="0" err="1">
                  <a:solidFill>
                    <a:schemeClr val="bg1">
                      <a:lumMod val="50000"/>
                    </a:schemeClr>
                  </a:solidFill>
                  <a:latin typeface="Calibri" panose="020F0502020204030204" pitchFamily="34" charset="0"/>
                  <a:cs typeface="Calibri" panose="020F0502020204030204" pitchFamily="34" charset="0"/>
                </a:rPr>
                <a:t>routers</a:t>
              </a:r>
              <a:r>
                <a:rPr lang="es-ES" sz="1700" dirty="0">
                  <a:solidFill>
                    <a:schemeClr val="bg1">
                      <a:lumMod val="50000"/>
                    </a:schemeClr>
                  </a:solidFill>
                  <a:latin typeface="Calibri" panose="020F0502020204030204" pitchFamily="34" charset="0"/>
                  <a:cs typeface="Calibri" panose="020F0502020204030204" pitchFamily="34" charset="0"/>
                </a:rPr>
                <a:t> 5G y Wifi 6 doble banda.</a:t>
              </a:r>
            </a:p>
            <a:p>
              <a:endParaRPr lang="es-ES" sz="1700" dirty="0" smtClean="0">
                <a:solidFill>
                  <a:schemeClr val="bg1">
                    <a:lumMod val="50000"/>
                  </a:schemeClr>
                </a:solidFill>
                <a:latin typeface="Calibri" panose="020F0502020204030204" pitchFamily="34" charset="0"/>
                <a:cs typeface="Calibri" panose="020F0502020204030204" pitchFamily="34" charset="0"/>
              </a:endParaRPr>
            </a:p>
            <a:p>
              <a:pPr marL="285750" indent="-285750">
                <a:buFont typeface="Wingdings" panose="05000000000000000000" pitchFamily="2" charset="2"/>
                <a:buChar char="§"/>
              </a:pPr>
              <a:r>
                <a:rPr lang="es-ES" sz="1700" dirty="0" smtClean="0">
                  <a:solidFill>
                    <a:schemeClr val="bg1">
                      <a:lumMod val="50000"/>
                    </a:schemeClr>
                  </a:solidFill>
                  <a:latin typeface="Calibri" panose="020F0502020204030204" pitchFamily="34" charset="0"/>
                  <a:cs typeface="Calibri" panose="020F0502020204030204" pitchFamily="34" charset="0"/>
                </a:rPr>
                <a:t>Velocidades </a:t>
              </a:r>
              <a:r>
                <a:rPr lang="es-ES" sz="1700" dirty="0">
                  <a:solidFill>
                    <a:schemeClr val="bg1">
                      <a:lumMod val="50000"/>
                    </a:schemeClr>
                  </a:solidFill>
                  <a:latin typeface="Calibri" panose="020F0502020204030204" pitchFamily="34" charset="0"/>
                  <a:cs typeface="Calibri" panose="020F0502020204030204" pitchFamily="34" charset="0"/>
                </a:rPr>
                <a:t>de descarga de 7Gbps y de subida de </a:t>
              </a:r>
              <a:r>
                <a:rPr lang="es-ES" sz="1700" dirty="0" smtClean="0">
                  <a:solidFill>
                    <a:schemeClr val="bg1">
                      <a:lumMod val="50000"/>
                    </a:schemeClr>
                  </a:solidFill>
                  <a:latin typeface="Calibri" panose="020F0502020204030204" pitchFamily="34" charset="0"/>
                  <a:cs typeface="Calibri" panose="020F0502020204030204" pitchFamily="34" charset="0"/>
                </a:rPr>
                <a:t>3Gbps.</a:t>
              </a:r>
              <a:endParaRPr lang="es-ES" sz="1700" dirty="0">
                <a:solidFill>
                  <a:schemeClr val="bg1">
                    <a:lumMod val="50000"/>
                  </a:schemeClr>
                </a:solidFill>
                <a:latin typeface="Calibri" panose="020F0502020204030204" pitchFamily="34" charset="0"/>
                <a:cs typeface="Calibri" panose="020F0502020204030204" pitchFamily="34" charset="0"/>
              </a:endParaRPr>
            </a:p>
            <a:p>
              <a:endParaRPr lang="en-US" sz="1700" dirty="0">
                <a:solidFill>
                  <a:schemeClr val="bg1">
                    <a:lumMod val="50000"/>
                  </a:schemeClr>
                </a:solidFill>
                <a:latin typeface="Century Gothic" panose="020B0502020202020204" pitchFamily="34" charset="0"/>
              </a:endParaRPr>
            </a:p>
          </p:txBody>
        </p:sp>
      </p:grpSp>
      <p:sp>
        <p:nvSpPr>
          <p:cNvPr id="57" name="Oval 38">
            <a:extLst>
              <a:ext uri="{FF2B5EF4-FFF2-40B4-BE49-F238E27FC236}">
                <a16:creationId xmlns:a16="http://schemas.microsoft.com/office/drawing/2014/main" id="{16340EA1-3F2C-4528-BE43-4D5B47F21A4B}"/>
              </a:ext>
            </a:extLst>
          </p:cNvPr>
          <p:cNvSpPr/>
          <p:nvPr/>
        </p:nvSpPr>
        <p:spPr>
          <a:xfrm>
            <a:off x="7510439" y="4172457"/>
            <a:ext cx="2888343" cy="770328"/>
          </a:xfrm>
          <a:prstGeom prst="ellipse">
            <a:avLst/>
          </a:prstGeom>
          <a:solidFill>
            <a:schemeClr val="tx1">
              <a:alpha val="51000"/>
            </a:schemeClr>
          </a:solidFill>
          <a:ln>
            <a:noFill/>
          </a:ln>
          <a:effectLst>
            <a:softEdge rad="139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Isosceles Triangle 29">
            <a:extLst>
              <a:ext uri="{FF2B5EF4-FFF2-40B4-BE49-F238E27FC236}">
                <a16:creationId xmlns:a16="http://schemas.microsoft.com/office/drawing/2014/main" id="{A8A2FFB3-5285-4D4E-8F2F-6BE455890D6E}"/>
              </a:ext>
            </a:extLst>
          </p:cNvPr>
          <p:cNvSpPr/>
          <p:nvPr/>
        </p:nvSpPr>
        <p:spPr>
          <a:xfrm flipV="1">
            <a:off x="7364452" y="4557524"/>
            <a:ext cx="3597727" cy="1105212"/>
          </a:xfrm>
          <a:prstGeom prst="triangle">
            <a:avLst/>
          </a:prstGeom>
          <a:gradFill>
            <a:gsLst>
              <a:gs pos="0">
                <a:srgbClr val="009999"/>
              </a:gs>
              <a:gs pos="100000">
                <a:srgbClr val="003366"/>
              </a:gs>
            </a:gsLst>
            <a:lin ang="5400000" scaled="1"/>
          </a:gradFill>
          <a:ln>
            <a:noFill/>
          </a:ln>
          <a:effectLst>
            <a:reflection blurRad="6350" stA="50000" endA="300" endPos="555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TextBox 42">
            <a:extLst>
              <a:ext uri="{FF2B5EF4-FFF2-40B4-BE49-F238E27FC236}">
                <a16:creationId xmlns:a16="http://schemas.microsoft.com/office/drawing/2014/main" id="{4C4725E8-80C5-4E89-B633-7968746C88F6}"/>
              </a:ext>
            </a:extLst>
          </p:cNvPr>
          <p:cNvSpPr txBox="1"/>
          <p:nvPr/>
        </p:nvSpPr>
        <p:spPr>
          <a:xfrm>
            <a:off x="8065699" y="4663130"/>
            <a:ext cx="1405052" cy="523220"/>
          </a:xfrm>
          <a:prstGeom prst="rect">
            <a:avLst/>
          </a:prstGeom>
          <a:noFill/>
        </p:spPr>
        <p:txBody>
          <a:bodyPr wrap="square" rtlCol="0">
            <a:spAutoFit/>
          </a:bodyPr>
          <a:lstStyle/>
          <a:p>
            <a:pPr algn="ctr"/>
            <a:r>
              <a:rPr lang="en-US" sz="2800" b="1" dirty="0">
                <a:latin typeface="Century Gothic" panose="020B0502020202020204" pitchFamily="34" charset="0"/>
              </a:rPr>
              <a:t>02</a:t>
            </a:r>
          </a:p>
        </p:txBody>
      </p:sp>
      <p:sp>
        <p:nvSpPr>
          <p:cNvPr id="26" name="Marcador de número de diapositiva 1"/>
          <p:cNvSpPr>
            <a:spLocks noGrp="1"/>
          </p:cNvSpPr>
          <p:nvPr>
            <p:ph type="sldNum" sz="quarter" idx="12"/>
          </p:nvPr>
        </p:nvSpPr>
        <p:spPr>
          <a:xfrm>
            <a:off x="11777051" y="6458134"/>
            <a:ext cx="487378" cy="481343"/>
          </a:xfrm>
        </p:spPr>
        <p:txBody>
          <a:bodyPr/>
          <a:lstStyle/>
          <a:p>
            <a:r>
              <a:rPr lang="en-US" sz="2000" dirty="0" smtClean="0"/>
              <a:t>21</a:t>
            </a:r>
            <a:endParaRPr lang="en-US" sz="2000" dirty="0"/>
          </a:p>
        </p:txBody>
      </p:sp>
    </p:spTree>
    <p:extLst>
      <p:ext uri="{BB962C8B-B14F-4D97-AF65-F5344CB8AC3E}">
        <p14:creationId xmlns:p14="http://schemas.microsoft.com/office/powerpoint/2010/main" val="183571679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23FEED7-63F6-4545-95DD-474E69B1B82D}"/>
              </a:ext>
            </a:extLst>
          </p:cNvPr>
          <p:cNvSpPr/>
          <p:nvPr/>
        </p:nvSpPr>
        <p:spPr>
          <a:xfrm>
            <a:off x="419022" y="193816"/>
            <a:ext cx="6646371" cy="707886"/>
          </a:xfrm>
          <a:prstGeom prst="rect">
            <a:avLst/>
          </a:prstGeom>
          <a:noFill/>
        </p:spPr>
        <p:txBody>
          <a:bodyPr wrap="none" lIns="91440" tIns="45720" rIns="91440" bIns="45720">
            <a:spAutoFit/>
          </a:bodyPr>
          <a:lstStyle/>
          <a:p>
            <a:r>
              <a:rPr lang="es-ES" sz="4000" b="1"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Wifi 6 y Tecnología </a:t>
            </a:r>
            <a:r>
              <a:rPr lang="es-ES" sz="4000" b="1" dirty="0" smtClean="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5G (III)</a:t>
            </a:r>
            <a:endParaRPr lang="es-ES" sz="4000" b="1"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endParaRPr>
          </a:p>
        </p:txBody>
      </p:sp>
      <p:sp>
        <p:nvSpPr>
          <p:cNvPr id="42" name="Rectángulo 41">
            <a:extLst>
              <a:ext uri="{FF2B5EF4-FFF2-40B4-BE49-F238E27FC236}">
                <a16:creationId xmlns:a16="http://schemas.microsoft.com/office/drawing/2014/main" id="{0BE31391-F5A4-44B5-AF37-5068D3B8AF94}"/>
              </a:ext>
            </a:extLst>
          </p:cNvPr>
          <p:cNvSpPr/>
          <p:nvPr/>
        </p:nvSpPr>
        <p:spPr>
          <a:xfrm>
            <a:off x="419022" y="1209479"/>
            <a:ext cx="5595354" cy="646331"/>
          </a:xfrm>
          <a:prstGeom prst="rect">
            <a:avLst/>
          </a:prstGeom>
          <a:noFill/>
        </p:spPr>
        <p:txBody>
          <a:bodyPr wrap="square" lIns="91440" tIns="45720" rIns="91440" bIns="45720">
            <a:spAutoFit/>
          </a:bodyPr>
          <a:lstStyle/>
          <a:p>
            <a:r>
              <a:rPr lang="es-ES" sz="3600" b="1" dirty="0">
                <a:ln w="9525">
                  <a:solidFill>
                    <a:schemeClr val="tx1"/>
                  </a:solidFill>
                  <a:prstDash val="solid"/>
                </a:ln>
                <a:solidFill>
                  <a:srgbClr val="FFFF00"/>
                </a:solidFill>
                <a:effectLst>
                  <a:outerShdw blurRad="63500" sx="102000" sy="102000" algn="ctr" rotWithShape="0">
                    <a:prstClr val="black">
                      <a:alpha val="40000"/>
                    </a:prstClr>
                  </a:outerShdw>
                </a:effectLst>
              </a:rPr>
              <a:t>Implantación - Utilidad:</a:t>
            </a:r>
          </a:p>
        </p:txBody>
      </p:sp>
      <p:grpSp>
        <p:nvGrpSpPr>
          <p:cNvPr id="26" name="Group 106">
            <a:extLst>
              <a:ext uri="{FF2B5EF4-FFF2-40B4-BE49-F238E27FC236}">
                <a16:creationId xmlns:a16="http://schemas.microsoft.com/office/drawing/2014/main" id="{56142D0B-089A-4428-8ABC-D48F86A78E0E}"/>
              </a:ext>
            </a:extLst>
          </p:cNvPr>
          <p:cNvGrpSpPr/>
          <p:nvPr/>
        </p:nvGrpSpPr>
        <p:grpSpPr>
          <a:xfrm>
            <a:off x="1117075" y="1822927"/>
            <a:ext cx="6238042" cy="6923842"/>
            <a:chOff x="2260075" y="3435827"/>
            <a:chExt cx="4269123" cy="4738463"/>
          </a:xfrm>
        </p:grpSpPr>
        <p:grpSp>
          <p:nvGrpSpPr>
            <p:cNvPr id="27" name="Group 70">
              <a:extLst>
                <a:ext uri="{FF2B5EF4-FFF2-40B4-BE49-F238E27FC236}">
                  <a16:creationId xmlns:a16="http://schemas.microsoft.com/office/drawing/2014/main" id="{E1FAE4AC-1278-4899-B0AF-72D55C2B1CF7}"/>
                </a:ext>
              </a:extLst>
            </p:cNvPr>
            <p:cNvGrpSpPr/>
            <p:nvPr/>
          </p:nvGrpSpPr>
          <p:grpSpPr>
            <a:xfrm>
              <a:off x="2260075" y="3435827"/>
              <a:ext cx="4269123" cy="4738463"/>
              <a:chOff x="433297" y="291905"/>
              <a:chExt cx="4269123" cy="4738463"/>
            </a:xfrm>
          </p:grpSpPr>
          <p:sp>
            <p:nvSpPr>
              <p:cNvPr id="29" name="Rectangle 71">
                <a:extLst>
                  <a:ext uri="{FF2B5EF4-FFF2-40B4-BE49-F238E27FC236}">
                    <a16:creationId xmlns:a16="http://schemas.microsoft.com/office/drawing/2014/main" id="{EF0BF827-EA82-42E9-A6B4-303A2DC3AC24}"/>
                  </a:ext>
                </a:extLst>
              </p:cNvPr>
              <p:cNvSpPr/>
              <p:nvPr/>
            </p:nvSpPr>
            <p:spPr>
              <a:xfrm rot="18875151">
                <a:off x="1185618" y="1513567"/>
                <a:ext cx="4094569" cy="2939034"/>
              </a:xfrm>
              <a:prstGeom prst="rect">
                <a:avLst/>
              </a:prstGeom>
              <a:gradFill flip="none" rotWithShape="1">
                <a:gsLst>
                  <a:gs pos="0">
                    <a:srgbClr val="DDDDDD">
                      <a:alpha val="0"/>
                    </a:srgbClr>
                  </a:gs>
                  <a:gs pos="100000">
                    <a:schemeClr val="tx1">
                      <a:alpha val="42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oup 72">
                <a:extLst>
                  <a:ext uri="{FF2B5EF4-FFF2-40B4-BE49-F238E27FC236}">
                    <a16:creationId xmlns:a16="http://schemas.microsoft.com/office/drawing/2014/main" id="{63044B76-A486-4B1E-8C25-582653E203CE}"/>
                  </a:ext>
                </a:extLst>
              </p:cNvPr>
              <p:cNvGrpSpPr/>
              <p:nvPr/>
            </p:nvGrpSpPr>
            <p:grpSpPr>
              <a:xfrm>
                <a:off x="433297" y="291905"/>
                <a:ext cx="3271870" cy="3137095"/>
                <a:chOff x="34389" y="154745"/>
                <a:chExt cx="3874299" cy="3714708"/>
              </a:xfrm>
            </p:grpSpPr>
            <p:sp>
              <p:nvSpPr>
                <p:cNvPr id="43" name="Rectangle 75">
                  <a:extLst>
                    <a:ext uri="{FF2B5EF4-FFF2-40B4-BE49-F238E27FC236}">
                      <a16:creationId xmlns:a16="http://schemas.microsoft.com/office/drawing/2014/main" id="{EAE9C61F-007C-499C-920D-77A7C8164322}"/>
                    </a:ext>
                  </a:extLst>
                </p:cNvPr>
                <p:cNvSpPr/>
                <p:nvPr/>
              </p:nvSpPr>
              <p:spPr>
                <a:xfrm>
                  <a:off x="428509" y="389272"/>
                  <a:ext cx="3480179" cy="3480179"/>
                </a:xfrm>
                <a:prstGeom prst="rect">
                  <a:avLst/>
                </a:pr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Freeform: Shape 76">
                  <a:extLst>
                    <a:ext uri="{FF2B5EF4-FFF2-40B4-BE49-F238E27FC236}">
                      <a16:creationId xmlns:a16="http://schemas.microsoft.com/office/drawing/2014/main" id="{65646126-750C-4A28-BA39-5877CA9303FA}"/>
                    </a:ext>
                  </a:extLst>
                </p:cNvPr>
                <p:cNvSpPr/>
                <p:nvPr/>
              </p:nvSpPr>
              <p:spPr>
                <a:xfrm>
                  <a:off x="428509" y="389274"/>
                  <a:ext cx="3480179" cy="3480179"/>
                </a:xfrm>
                <a:custGeom>
                  <a:avLst/>
                  <a:gdLst>
                    <a:gd name="connsiteX0" fmla="*/ 1570381 w 3480179"/>
                    <a:gd name="connsiteY0" fmla="*/ 0 h 3480179"/>
                    <a:gd name="connsiteX1" fmla="*/ 3480179 w 3480179"/>
                    <a:gd name="connsiteY1" fmla="*/ 0 h 3480179"/>
                    <a:gd name="connsiteX2" fmla="*/ 3480179 w 3480179"/>
                    <a:gd name="connsiteY2" fmla="*/ 3480179 h 3480179"/>
                    <a:gd name="connsiteX3" fmla="*/ 0 w 3480179"/>
                    <a:gd name="connsiteY3" fmla="*/ 3480179 h 3480179"/>
                    <a:gd name="connsiteX4" fmla="*/ 0 w 3480179"/>
                    <a:gd name="connsiteY4" fmla="*/ 1423145 h 348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0179" h="3480179">
                      <a:moveTo>
                        <a:pt x="1570381" y="0"/>
                      </a:moveTo>
                      <a:lnTo>
                        <a:pt x="3480179" y="0"/>
                      </a:lnTo>
                      <a:lnTo>
                        <a:pt x="3480179" y="3480179"/>
                      </a:lnTo>
                      <a:lnTo>
                        <a:pt x="0" y="3480179"/>
                      </a:lnTo>
                      <a:lnTo>
                        <a:pt x="0" y="1423145"/>
                      </a:ln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Freeform: Shape 77">
                  <a:extLst>
                    <a:ext uri="{FF2B5EF4-FFF2-40B4-BE49-F238E27FC236}">
                      <a16:creationId xmlns:a16="http://schemas.microsoft.com/office/drawing/2014/main" id="{216BC3CB-D3BE-48F5-AC5A-3AB4A749800F}"/>
                    </a:ext>
                  </a:extLst>
                </p:cNvPr>
                <p:cNvSpPr/>
                <p:nvPr/>
              </p:nvSpPr>
              <p:spPr>
                <a:xfrm>
                  <a:off x="537690" y="498455"/>
                  <a:ext cx="3261815" cy="3261815"/>
                </a:xfrm>
                <a:custGeom>
                  <a:avLst/>
                  <a:gdLst>
                    <a:gd name="connsiteX0" fmla="*/ 1570381 w 3480179"/>
                    <a:gd name="connsiteY0" fmla="*/ 0 h 3480179"/>
                    <a:gd name="connsiteX1" fmla="*/ 3480179 w 3480179"/>
                    <a:gd name="connsiteY1" fmla="*/ 0 h 3480179"/>
                    <a:gd name="connsiteX2" fmla="*/ 3480179 w 3480179"/>
                    <a:gd name="connsiteY2" fmla="*/ 3480179 h 3480179"/>
                    <a:gd name="connsiteX3" fmla="*/ 0 w 3480179"/>
                    <a:gd name="connsiteY3" fmla="*/ 3480179 h 3480179"/>
                    <a:gd name="connsiteX4" fmla="*/ 0 w 3480179"/>
                    <a:gd name="connsiteY4" fmla="*/ 1423145 h 348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0179" h="3480179">
                      <a:moveTo>
                        <a:pt x="1570381" y="0"/>
                      </a:moveTo>
                      <a:lnTo>
                        <a:pt x="3480179" y="0"/>
                      </a:lnTo>
                      <a:lnTo>
                        <a:pt x="3480179" y="3480179"/>
                      </a:lnTo>
                      <a:lnTo>
                        <a:pt x="0" y="3480179"/>
                      </a:lnTo>
                      <a:lnTo>
                        <a:pt x="0" y="1423145"/>
                      </a:lnTo>
                      <a:close/>
                    </a:path>
                  </a:pathLst>
                </a:custGeom>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1400"/>
                </a:p>
              </p:txBody>
            </p:sp>
            <p:sp>
              <p:nvSpPr>
                <p:cNvPr id="46" name="Freeform: Shape 78">
                  <a:extLst>
                    <a:ext uri="{FF2B5EF4-FFF2-40B4-BE49-F238E27FC236}">
                      <a16:creationId xmlns:a16="http://schemas.microsoft.com/office/drawing/2014/main" id="{A1BF6B34-1E97-489B-880B-571A562C1CEE}"/>
                    </a:ext>
                  </a:extLst>
                </p:cNvPr>
                <p:cNvSpPr/>
                <p:nvPr/>
              </p:nvSpPr>
              <p:spPr>
                <a:xfrm flipH="1" flipV="1">
                  <a:off x="844062" y="154745"/>
                  <a:ext cx="1451146" cy="731519"/>
                </a:xfrm>
                <a:custGeom>
                  <a:avLst/>
                  <a:gdLst>
                    <a:gd name="connsiteX0" fmla="*/ 0 w 1570380"/>
                    <a:gd name="connsiteY0" fmla="*/ 0 h 1423145"/>
                    <a:gd name="connsiteX1" fmla="*/ 1570380 w 1570380"/>
                    <a:gd name="connsiteY1" fmla="*/ 0 h 1423145"/>
                    <a:gd name="connsiteX2" fmla="*/ 0 w 1570380"/>
                    <a:gd name="connsiteY2" fmla="*/ 1423145 h 1423145"/>
                  </a:gdLst>
                  <a:ahLst/>
                  <a:cxnLst>
                    <a:cxn ang="0">
                      <a:pos x="connsiteX0" y="connsiteY0"/>
                    </a:cxn>
                    <a:cxn ang="0">
                      <a:pos x="connsiteX1" y="connsiteY1"/>
                    </a:cxn>
                    <a:cxn ang="0">
                      <a:pos x="connsiteX2" y="connsiteY2"/>
                    </a:cxn>
                  </a:cxnLst>
                  <a:rect l="l" t="t" r="r" b="b"/>
                  <a:pathLst>
                    <a:path w="1570380" h="1423145">
                      <a:moveTo>
                        <a:pt x="0" y="0"/>
                      </a:moveTo>
                      <a:lnTo>
                        <a:pt x="1570380" y="0"/>
                      </a:lnTo>
                      <a:lnTo>
                        <a:pt x="0" y="1423145"/>
                      </a:lnTo>
                      <a:close/>
                    </a:path>
                  </a:pathLst>
                </a:custGeom>
                <a:solidFill>
                  <a:schemeClr val="tx1">
                    <a:alpha val="42000"/>
                  </a:schemeClr>
                </a:solidFill>
                <a:ln>
                  <a:noFill/>
                </a:ln>
                <a:effectLst>
                  <a:softEdge rad="165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TextBox 79">
                  <a:extLst>
                    <a:ext uri="{FF2B5EF4-FFF2-40B4-BE49-F238E27FC236}">
                      <a16:creationId xmlns:a16="http://schemas.microsoft.com/office/drawing/2014/main" id="{AA4C9261-ACC3-45EF-AC9C-7F4A3CA1738B}"/>
                    </a:ext>
                  </a:extLst>
                </p:cNvPr>
                <p:cNvSpPr txBox="1"/>
                <p:nvPr/>
              </p:nvSpPr>
              <p:spPr>
                <a:xfrm>
                  <a:off x="428508" y="428113"/>
                  <a:ext cx="1037651" cy="636142"/>
                </a:xfrm>
                <a:prstGeom prst="rect">
                  <a:avLst/>
                </a:prstGeom>
                <a:noFill/>
              </p:spPr>
              <p:txBody>
                <a:bodyPr wrap="square" rtlCol="0">
                  <a:spAutoFit/>
                </a:bodyPr>
                <a:lstStyle/>
                <a:p>
                  <a:pPr algn="ctr"/>
                  <a:r>
                    <a:rPr lang="en-US" sz="3600" dirty="0">
                      <a:solidFill>
                        <a:schemeClr val="bg1"/>
                      </a:solidFill>
                      <a:latin typeface="Century Gothic" panose="020B0502020202020204" pitchFamily="34" charset="0"/>
                    </a:rPr>
                    <a:t>01</a:t>
                  </a:r>
                </a:p>
              </p:txBody>
            </p:sp>
            <p:sp>
              <p:nvSpPr>
                <p:cNvPr id="61" name="Freeform: Shape 96">
                  <a:extLst>
                    <a:ext uri="{FF2B5EF4-FFF2-40B4-BE49-F238E27FC236}">
                      <a16:creationId xmlns:a16="http://schemas.microsoft.com/office/drawing/2014/main" id="{C0D7C917-8CB3-4BA9-9D9E-B3D0DD1628CF}"/>
                    </a:ext>
                  </a:extLst>
                </p:cNvPr>
                <p:cNvSpPr/>
                <p:nvPr/>
              </p:nvSpPr>
              <p:spPr>
                <a:xfrm flipH="1" flipV="1">
                  <a:off x="34389" y="899922"/>
                  <a:ext cx="1050243" cy="1201874"/>
                </a:xfrm>
                <a:custGeom>
                  <a:avLst/>
                  <a:gdLst>
                    <a:gd name="connsiteX0" fmla="*/ 0 w 1570380"/>
                    <a:gd name="connsiteY0" fmla="*/ 0 h 1423145"/>
                    <a:gd name="connsiteX1" fmla="*/ 1570380 w 1570380"/>
                    <a:gd name="connsiteY1" fmla="*/ 0 h 1423145"/>
                    <a:gd name="connsiteX2" fmla="*/ 0 w 1570380"/>
                    <a:gd name="connsiteY2" fmla="*/ 1423145 h 1423145"/>
                  </a:gdLst>
                  <a:ahLst/>
                  <a:cxnLst>
                    <a:cxn ang="0">
                      <a:pos x="connsiteX0" y="connsiteY0"/>
                    </a:cxn>
                    <a:cxn ang="0">
                      <a:pos x="connsiteX1" y="connsiteY1"/>
                    </a:cxn>
                    <a:cxn ang="0">
                      <a:pos x="connsiteX2" y="connsiteY2"/>
                    </a:cxn>
                  </a:cxnLst>
                  <a:rect l="l" t="t" r="r" b="b"/>
                  <a:pathLst>
                    <a:path w="1570380" h="1423145">
                      <a:moveTo>
                        <a:pt x="0" y="0"/>
                      </a:moveTo>
                      <a:lnTo>
                        <a:pt x="1570380" y="0"/>
                      </a:lnTo>
                      <a:lnTo>
                        <a:pt x="0" y="1423145"/>
                      </a:lnTo>
                      <a:close/>
                    </a:path>
                  </a:pathLst>
                </a:custGeom>
                <a:solidFill>
                  <a:schemeClr val="tx1">
                    <a:alpha val="42000"/>
                  </a:schemeClr>
                </a:solidFill>
                <a:ln>
                  <a:noFill/>
                </a:ln>
                <a:effectLst>
                  <a:softEdge rad="165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Freeform: Shape 80">
                  <a:extLst>
                    <a:ext uri="{FF2B5EF4-FFF2-40B4-BE49-F238E27FC236}">
                      <a16:creationId xmlns:a16="http://schemas.microsoft.com/office/drawing/2014/main" id="{76F36240-589A-4434-8739-C30B7807CDD6}"/>
                    </a:ext>
                  </a:extLst>
                </p:cNvPr>
                <p:cNvSpPr/>
                <p:nvPr/>
              </p:nvSpPr>
              <p:spPr>
                <a:xfrm flipH="1" flipV="1">
                  <a:off x="428507" y="389270"/>
                  <a:ext cx="1570380" cy="1423145"/>
                </a:xfrm>
                <a:custGeom>
                  <a:avLst/>
                  <a:gdLst>
                    <a:gd name="connsiteX0" fmla="*/ 0 w 1570380"/>
                    <a:gd name="connsiteY0" fmla="*/ 0 h 1423145"/>
                    <a:gd name="connsiteX1" fmla="*/ 1570380 w 1570380"/>
                    <a:gd name="connsiteY1" fmla="*/ 0 h 1423145"/>
                    <a:gd name="connsiteX2" fmla="*/ 0 w 1570380"/>
                    <a:gd name="connsiteY2" fmla="*/ 1423145 h 1423145"/>
                  </a:gdLst>
                  <a:ahLst/>
                  <a:cxnLst>
                    <a:cxn ang="0">
                      <a:pos x="connsiteX0" y="connsiteY0"/>
                    </a:cxn>
                    <a:cxn ang="0">
                      <a:pos x="connsiteX1" y="connsiteY1"/>
                    </a:cxn>
                    <a:cxn ang="0">
                      <a:pos x="connsiteX2" y="connsiteY2"/>
                    </a:cxn>
                  </a:cxnLst>
                  <a:rect l="l" t="t" r="r" b="b"/>
                  <a:pathLst>
                    <a:path w="1570380" h="1423145">
                      <a:moveTo>
                        <a:pt x="0" y="0"/>
                      </a:moveTo>
                      <a:lnTo>
                        <a:pt x="1570380" y="0"/>
                      </a:lnTo>
                      <a:lnTo>
                        <a:pt x="0" y="1423145"/>
                      </a:ln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Freeform: Shape 81">
                  <a:extLst>
                    <a:ext uri="{FF2B5EF4-FFF2-40B4-BE49-F238E27FC236}">
                      <a16:creationId xmlns:a16="http://schemas.microsoft.com/office/drawing/2014/main" id="{9AB2A4F5-9C29-4E37-B827-6C03395815AD}"/>
                    </a:ext>
                  </a:extLst>
                </p:cNvPr>
                <p:cNvSpPr/>
                <p:nvPr/>
              </p:nvSpPr>
              <p:spPr>
                <a:xfrm flipH="1" flipV="1">
                  <a:off x="425859" y="391334"/>
                  <a:ext cx="1570380" cy="1423145"/>
                </a:xfrm>
                <a:custGeom>
                  <a:avLst/>
                  <a:gdLst>
                    <a:gd name="connsiteX0" fmla="*/ 0 w 1570380"/>
                    <a:gd name="connsiteY0" fmla="*/ 0 h 1423145"/>
                    <a:gd name="connsiteX1" fmla="*/ 1570380 w 1570380"/>
                    <a:gd name="connsiteY1" fmla="*/ 0 h 1423145"/>
                    <a:gd name="connsiteX2" fmla="*/ 0 w 1570380"/>
                    <a:gd name="connsiteY2" fmla="*/ 1423145 h 1423145"/>
                  </a:gdLst>
                  <a:ahLst/>
                  <a:cxnLst>
                    <a:cxn ang="0">
                      <a:pos x="connsiteX0" y="connsiteY0"/>
                    </a:cxn>
                    <a:cxn ang="0">
                      <a:pos x="connsiteX1" y="connsiteY1"/>
                    </a:cxn>
                    <a:cxn ang="0">
                      <a:pos x="connsiteX2" y="connsiteY2"/>
                    </a:cxn>
                  </a:cxnLst>
                  <a:rect l="l" t="t" r="r" b="b"/>
                  <a:pathLst>
                    <a:path w="1570380" h="1423145">
                      <a:moveTo>
                        <a:pt x="0" y="0"/>
                      </a:moveTo>
                      <a:lnTo>
                        <a:pt x="1570380" y="0"/>
                      </a:lnTo>
                      <a:lnTo>
                        <a:pt x="0" y="1423145"/>
                      </a:lnTo>
                      <a:close/>
                    </a:path>
                  </a:pathLst>
                </a:custGeom>
                <a:gradFill flip="none" rotWithShape="1">
                  <a:gsLst>
                    <a:gs pos="31000">
                      <a:srgbClr val="FF9900">
                        <a:alpha val="0"/>
                      </a:srgbClr>
                    </a:gs>
                    <a:gs pos="54000">
                      <a:schemeClr val="bg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1" name="TextBox 73">
                <a:extLst>
                  <a:ext uri="{FF2B5EF4-FFF2-40B4-BE49-F238E27FC236}">
                    <a16:creationId xmlns:a16="http://schemas.microsoft.com/office/drawing/2014/main" id="{C47467BD-56FA-4945-8FA6-19EE25D030B3}"/>
                  </a:ext>
                </a:extLst>
              </p:cNvPr>
              <p:cNvSpPr txBox="1"/>
              <p:nvPr/>
            </p:nvSpPr>
            <p:spPr>
              <a:xfrm>
                <a:off x="2114191" y="721556"/>
                <a:ext cx="1445399" cy="400202"/>
              </a:xfrm>
              <a:prstGeom prst="rect">
                <a:avLst/>
              </a:prstGeom>
              <a:noFill/>
            </p:spPr>
            <p:txBody>
              <a:bodyPr wrap="square" rtlCol="0">
                <a:spAutoFit/>
              </a:bodyPr>
              <a:lstStyle/>
              <a:p>
                <a:pPr algn="ctr"/>
                <a:r>
                  <a:rPr lang="en-US" sz="3200" b="1" dirty="0">
                    <a:solidFill>
                      <a:srgbClr val="4D4D4D"/>
                    </a:solidFill>
                    <a:latin typeface="Century Gothic" panose="020B0502020202020204" pitchFamily="34" charset="0"/>
                  </a:rPr>
                  <a:t>WIFI6</a:t>
                </a:r>
                <a:endParaRPr lang="en-US" b="1" dirty="0">
                  <a:solidFill>
                    <a:srgbClr val="4D4D4D"/>
                  </a:solidFill>
                  <a:latin typeface="Century Gothic" panose="020B0502020202020204" pitchFamily="34" charset="0"/>
                </a:endParaRPr>
              </a:p>
            </p:txBody>
          </p:sp>
          <p:sp>
            <p:nvSpPr>
              <p:cNvPr id="32" name="TextBox 74">
                <a:extLst>
                  <a:ext uri="{FF2B5EF4-FFF2-40B4-BE49-F238E27FC236}">
                    <a16:creationId xmlns:a16="http://schemas.microsoft.com/office/drawing/2014/main" id="{B6F699C3-0DC0-4DA9-B6C0-98C630806EB2}"/>
                  </a:ext>
                </a:extLst>
              </p:cNvPr>
              <p:cNvSpPr txBox="1"/>
              <p:nvPr/>
            </p:nvSpPr>
            <p:spPr>
              <a:xfrm>
                <a:off x="839760" y="1802318"/>
                <a:ext cx="2766289" cy="1579745"/>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marL="88900" indent="-88900" algn="just">
                  <a:buFont typeface="Arial" panose="020B0604020202020204" pitchFamily="34" charset="0"/>
                  <a:buChar char="•"/>
                </a:pPr>
                <a:r>
                  <a:rPr lang="es-ES" sz="1200" b="1" dirty="0">
                    <a:solidFill>
                      <a:schemeClr val="bg1"/>
                    </a:solidFill>
                  </a:rPr>
                  <a:t>Uso de esquemas de modulación de hasta 1024 QAM: garantiza flujo binario muy </a:t>
                </a:r>
                <a:r>
                  <a:rPr lang="es-ES" sz="1200" b="1" dirty="0" smtClean="0">
                    <a:solidFill>
                      <a:schemeClr val="bg1"/>
                    </a:solidFill>
                  </a:rPr>
                  <a:t>alto</a:t>
                </a:r>
              </a:p>
              <a:p>
                <a:pPr marL="88900" indent="-88900" algn="just">
                  <a:buFont typeface="Arial" panose="020B0604020202020204" pitchFamily="34" charset="0"/>
                  <a:buChar char="•"/>
                </a:pPr>
                <a:endParaRPr lang="es-ES" sz="1200" b="1" dirty="0">
                  <a:solidFill>
                    <a:schemeClr val="bg1"/>
                  </a:solidFill>
                </a:endParaRPr>
              </a:p>
              <a:p>
                <a:pPr marL="88900" indent="-88900" algn="just">
                  <a:buFont typeface="Arial" panose="020B0604020202020204" pitchFamily="34" charset="0"/>
                  <a:buChar char="•"/>
                </a:pPr>
                <a:r>
                  <a:rPr lang="es-ES" sz="1200" b="1" dirty="0">
                    <a:solidFill>
                      <a:schemeClr val="bg1"/>
                    </a:solidFill>
                  </a:rPr>
                  <a:t>Desarrollo de tecnologías de acceso múltiple por división en frecuencia OFDMA</a:t>
                </a:r>
                <a:r>
                  <a:rPr lang="es-ES" sz="1200" b="1" dirty="0" smtClean="0">
                    <a:solidFill>
                      <a:schemeClr val="bg1"/>
                    </a:solidFill>
                  </a:rPr>
                  <a:t>.</a:t>
                </a:r>
              </a:p>
              <a:p>
                <a:pPr marL="88900" indent="-88900" algn="just">
                  <a:buFont typeface="Arial" panose="020B0604020202020204" pitchFamily="34" charset="0"/>
                  <a:buChar char="•"/>
                </a:pPr>
                <a:endParaRPr lang="es-ES" sz="1200" b="1" dirty="0">
                  <a:solidFill>
                    <a:schemeClr val="bg1"/>
                  </a:solidFill>
                </a:endParaRPr>
              </a:p>
              <a:p>
                <a:pPr marL="88900" indent="-88900" algn="just">
                  <a:buFont typeface="Arial" panose="020B0604020202020204" pitchFamily="34" charset="0"/>
                  <a:buChar char="•"/>
                </a:pPr>
                <a:r>
                  <a:rPr lang="es-ES" sz="1200" b="1" dirty="0">
                    <a:solidFill>
                      <a:schemeClr val="bg1"/>
                    </a:solidFill>
                  </a:rPr>
                  <a:t>Soporte en bandas ISM de 2,4 y 5GHz simultáneamente.</a:t>
                </a:r>
              </a:p>
              <a:p>
                <a:pPr marL="88900" indent="-88900" algn="just">
                  <a:buFont typeface="Arial" panose="020B0604020202020204" pitchFamily="34" charset="0"/>
                  <a:buChar char="•"/>
                </a:pPr>
                <a:r>
                  <a:rPr lang="es-ES" sz="1200" b="1" dirty="0">
                    <a:solidFill>
                      <a:schemeClr val="bg1"/>
                    </a:solidFill>
                  </a:rPr>
                  <a:t>Consumo de energía más eficiente</a:t>
                </a:r>
                <a:r>
                  <a:rPr lang="es-ES" sz="1200" b="1" dirty="0" smtClean="0">
                    <a:solidFill>
                      <a:schemeClr val="bg1"/>
                    </a:solidFill>
                  </a:rPr>
                  <a:t>.</a:t>
                </a:r>
              </a:p>
              <a:p>
                <a:pPr marL="88900" indent="-88900" algn="just">
                  <a:buFont typeface="Arial" panose="020B0604020202020204" pitchFamily="34" charset="0"/>
                  <a:buChar char="•"/>
                </a:pPr>
                <a:endParaRPr lang="es-ES" sz="1200" b="1" dirty="0">
                  <a:solidFill>
                    <a:schemeClr val="bg1"/>
                  </a:solidFill>
                </a:endParaRPr>
              </a:p>
              <a:p>
                <a:pPr marL="88900" indent="-88900" algn="just">
                  <a:buFont typeface="Arial" panose="020B0604020202020204" pitchFamily="34" charset="0"/>
                  <a:buChar char="•"/>
                </a:pPr>
                <a:r>
                  <a:rPr lang="es-ES" sz="1200" b="1" dirty="0">
                    <a:solidFill>
                      <a:schemeClr val="bg1"/>
                    </a:solidFill>
                  </a:rPr>
                  <a:t>Tecnología de </a:t>
                </a:r>
                <a:r>
                  <a:rPr lang="es-ES" sz="1200" b="1" dirty="0" err="1">
                    <a:solidFill>
                      <a:schemeClr val="bg1"/>
                    </a:solidFill>
                  </a:rPr>
                  <a:t>Beamforming</a:t>
                </a:r>
                <a:r>
                  <a:rPr lang="es-ES" sz="1200" b="1" dirty="0">
                    <a:solidFill>
                      <a:schemeClr val="bg1"/>
                    </a:solidFill>
                  </a:rPr>
                  <a:t> y MU-MIMO en antena</a:t>
                </a:r>
                <a:endParaRPr lang="en-US" sz="1200" b="1" dirty="0">
                  <a:solidFill>
                    <a:schemeClr val="bg1"/>
                  </a:solidFill>
                </a:endParaRPr>
              </a:p>
            </p:txBody>
          </p:sp>
        </p:grpSp>
        <p:pic>
          <p:nvPicPr>
            <p:cNvPr id="28" name="Graphic 101" descr="Antena parabólica">
              <a:extLst>
                <a:ext uri="{FF2B5EF4-FFF2-40B4-BE49-F238E27FC236}">
                  <a16:creationId xmlns:a16="http://schemas.microsoft.com/office/drawing/2014/main" id="{A9D2779A-E0D8-43A0-8B5B-22755508E3E9}"/>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3389799" y="4247365"/>
              <a:ext cx="444928" cy="444928"/>
            </a:xfrm>
            <a:prstGeom prst="rect">
              <a:avLst/>
            </a:prstGeom>
          </p:spPr>
        </p:pic>
      </p:grpSp>
      <p:grpSp>
        <p:nvGrpSpPr>
          <p:cNvPr id="64" name="Group 107">
            <a:extLst>
              <a:ext uri="{FF2B5EF4-FFF2-40B4-BE49-F238E27FC236}">
                <a16:creationId xmlns:a16="http://schemas.microsoft.com/office/drawing/2014/main" id="{7E58A8DC-0323-4F53-A79A-2D668524ACDA}"/>
              </a:ext>
            </a:extLst>
          </p:cNvPr>
          <p:cNvGrpSpPr/>
          <p:nvPr/>
        </p:nvGrpSpPr>
        <p:grpSpPr>
          <a:xfrm>
            <a:off x="6935596" y="1822927"/>
            <a:ext cx="5751704" cy="6923842"/>
            <a:chOff x="6529196" y="3435827"/>
            <a:chExt cx="3936288" cy="4738463"/>
          </a:xfrm>
        </p:grpSpPr>
        <p:grpSp>
          <p:nvGrpSpPr>
            <p:cNvPr id="65" name="Group 82">
              <a:extLst>
                <a:ext uri="{FF2B5EF4-FFF2-40B4-BE49-F238E27FC236}">
                  <a16:creationId xmlns:a16="http://schemas.microsoft.com/office/drawing/2014/main" id="{3F818F2F-3871-4A6F-86E8-EE21923BDF63}"/>
                </a:ext>
              </a:extLst>
            </p:cNvPr>
            <p:cNvGrpSpPr/>
            <p:nvPr/>
          </p:nvGrpSpPr>
          <p:grpSpPr>
            <a:xfrm>
              <a:off x="6529196" y="3435827"/>
              <a:ext cx="3936288" cy="4738463"/>
              <a:chOff x="766132" y="291905"/>
              <a:chExt cx="3936288" cy="4738463"/>
            </a:xfrm>
          </p:grpSpPr>
          <p:sp>
            <p:nvSpPr>
              <p:cNvPr id="67" name="Rectangle 83">
                <a:extLst>
                  <a:ext uri="{FF2B5EF4-FFF2-40B4-BE49-F238E27FC236}">
                    <a16:creationId xmlns:a16="http://schemas.microsoft.com/office/drawing/2014/main" id="{F577598D-31C9-4FD3-8D19-29E7759957C2}"/>
                  </a:ext>
                </a:extLst>
              </p:cNvPr>
              <p:cNvSpPr/>
              <p:nvPr/>
            </p:nvSpPr>
            <p:spPr>
              <a:xfrm rot="18875151">
                <a:off x="1185618" y="1513567"/>
                <a:ext cx="4094569" cy="2939034"/>
              </a:xfrm>
              <a:prstGeom prst="rect">
                <a:avLst/>
              </a:prstGeom>
              <a:gradFill flip="none" rotWithShape="1">
                <a:gsLst>
                  <a:gs pos="0">
                    <a:srgbClr val="DDDDDD">
                      <a:alpha val="0"/>
                    </a:srgbClr>
                  </a:gs>
                  <a:gs pos="100000">
                    <a:schemeClr val="tx1">
                      <a:alpha val="42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8" name="Group 84">
                <a:extLst>
                  <a:ext uri="{FF2B5EF4-FFF2-40B4-BE49-F238E27FC236}">
                    <a16:creationId xmlns:a16="http://schemas.microsoft.com/office/drawing/2014/main" id="{BD56C483-A8D5-45F5-BAB1-12E021990E0D}"/>
                  </a:ext>
                </a:extLst>
              </p:cNvPr>
              <p:cNvGrpSpPr/>
              <p:nvPr/>
            </p:nvGrpSpPr>
            <p:grpSpPr>
              <a:xfrm>
                <a:off x="766132" y="291905"/>
                <a:ext cx="2939035" cy="3137095"/>
                <a:chOff x="428507" y="154745"/>
                <a:chExt cx="3480181" cy="3714708"/>
              </a:xfrm>
            </p:grpSpPr>
            <p:sp>
              <p:nvSpPr>
                <p:cNvPr id="71" name="Rectangle 87">
                  <a:extLst>
                    <a:ext uri="{FF2B5EF4-FFF2-40B4-BE49-F238E27FC236}">
                      <a16:creationId xmlns:a16="http://schemas.microsoft.com/office/drawing/2014/main" id="{C052833D-8667-4FF3-9843-7C1C83A9BA04}"/>
                    </a:ext>
                  </a:extLst>
                </p:cNvPr>
                <p:cNvSpPr/>
                <p:nvPr/>
              </p:nvSpPr>
              <p:spPr>
                <a:xfrm>
                  <a:off x="428509" y="389272"/>
                  <a:ext cx="3480179" cy="3480179"/>
                </a:xfrm>
                <a:prstGeom prst="rect">
                  <a:avLst/>
                </a:pr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Freeform: Shape 88">
                  <a:extLst>
                    <a:ext uri="{FF2B5EF4-FFF2-40B4-BE49-F238E27FC236}">
                      <a16:creationId xmlns:a16="http://schemas.microsoft.com/office/drawing/2014/main" id="{6FA7DCD1-D71C-4BFF-B3B8-0B609034EBD3}"/>
                    </a:ext>
                  </a:extLst>
                </p:cNvPr>
                <p:cNvSpPr/>
                <p:nvPr/>
              </p:nvSpPr>
              <p:spPr>
                <a:xfrm>
                  <a:off x="428509" y="389274"/>
                  <a:ext cx="3480179" cy="3480179"/>
                </a:xfrm>
                <a:custGeom>
                  <a:avLst/>
                  <a:gdLst>
                    <a:gd name="connsiteX0" fmla="*/ 1570381 w 3480179"/>
                    <a:gd name="connsiteY0" fmla="*/ 0 h 3480179"/>
                    <a:gd name="connsiteX1" fmla="*/ 3480179 w 3480179"/>
                    <a:gd name="connsiteY1" fmla="*/ 0 h 3480179"/>
                    <a:gd name="connsiteX2" fmla="*/ 3480179 w 3480179"/>
                    <a:gd name="connsiteY2" fmla="*/ 3480179 h 3480179"/>
                    <a:gd name="connsiteX3" fmla="*/ 0 w 3480179"/>
                    <a:gd name="connsiteY3" fmla="*/ 3480179 h 3480179"/>
                    <a:gd name="connsiteX4" fmla="*/ 0 w 3480179"/>
                    <a:gd name="connsiteY4" fmla="*/ 1423145 h 348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0179" h="3480179">
                      <a:moveTo>
                        <a:pt x="1570381" y="0"/>
                      </a:moveTo>
                      <a:lnTo>
                        <a:pt x="3480179" y="0"/>
                      </a:lnTo>
                      <a:lnTo>
                        <a:pt x="3480179" y="3480179"/>
                      </a:lnTo>
                      <a:lnTo>
                        <a:pt x="0" y="3480179"/>
                      </a:lnTo>
                      <a:lnTo>
                        <a:pt x="0" y="1423145"/>
                      </a:lnTo>
                      <a:close/>
                    </a:path>
                  </a:pathLst>
                </a:custGeom>
                <a:solidFill>
                  <a:srgbClr val="D60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Freeform: Shape 89">
                  <a:extLst>
                    <a:ext uri="{FF2B5EF4-FFF2-40B4-BE49-F238E27FC236}">
                      <a16:creationId xmlns:a16="http://schemas.microsoft.com/office/drawing/2014/main" id="{08815D50-131A-4DFA-AE19-C65BD24F287E}"/>
                    </a:ext>
                  </a:extLst>
                </p:cNvPr>
                <p:cNvSpPr/>
                <p:nvPr/>
              </p:nvSpPr>
              <p:spPr>
                <a:xfrm>
                  <a:off x="537690" y="498455"/>
                  <a:ext cx="3261815" cy="3261815"/>
                </a:xfrm>
                <a:custGeom>
                  <a:avLst/>
                  <a:gdLst>
                    <a:gd name="connsiteX0" fmla="*/ 1570381 w 3480179"/>
                    <a:gd name="connsiteY0" fmla="*/ 0 h 3480179"/>
                    <a:gd name="connsiteX1" fmla="*/ 3480179 w 3480179"/>
                    <a:gd name="connsiteY1" fmla="*/ 0 h 3480179"/>
                    <a:gd name="connsiteX2" fmla="*/ 3480179 w 3480179"/>
                    <a:gd name="connsiteY2" fmla="*/ 3480179 h 3480179"/>
                    <a:gd name="connsiteX3" fmla="*/ 0 w 3480179"/>
                    <a:gd name="connsiteY3" fmla="*/ 3480179 h 3480179"/>
                    <a:gd name="connsiteX4" fmla="*/ 0 w 3480179"/>
                    <a:gd name="connsiteY4" fmla="*/ 1423145 h 348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0179" h="3480179">
                      <a:moveTo>
                        <a:pt x="1570381" y="0"/>
                      </a:moveTo>
                      <a:lnTo>
                        <a:pt x="3480179" y="0"/>
                      </a:lnTo>
                      <a:lnTo>
                        <a:pt x="3480179" y="3480179"/>
                      </a:lnTo>
                      <a:lnTo>
                        <a:pt x="0" y="3480179"/>
                      </a:lnTo>
                      <a:lnTo>
                        <a:pt x="0" y="1423145"/>
                      </a:lnTo>
                      <a:close/>
                    </a:path>
                  </a:pathLst>
                </a:custGeom>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74" name="Freeform: Shape 90">
                  <a:extLst>
                    <a:ext uri="{FF2B5EF4-FFF2-40B4-BE49-F238E27FC236}">
                      <a16:creationId xmlns:a16="http://schemas.microsoft.com/office/drawing/2014/main" id="{012372C4-638C-4692-BF02-FF49FA5AF861}"/>
                    </a:ext>
                  </a:extLst>
                </p:cNvPr>
                <p:cNvSpPr/>
                <p:nvPr/>
              </p:nvSpPr>
              <p:spPr>
                <a:xfrm flipH="1" flipV="1">
                  <a:off x="844062" y="154745"/>
                  <a:ext cx="1451146" cy="731519"/>
                </a:xfrm>
                <a:custGeom>
                  <a:avLst/>
                  <a:gdLst>
                    <a:gd name="connsiteX0" fmla="*/ 0 w 1570380"/>
                    <a:gd name="connsiteY0" fmla="*/ 0 h 1423145"/>
                    <a:gd name="connsiteX1" fmla="*/ 1570380 w 1570380"/>
                    <a:gd name="connsiteY1" fmla="*/ 0 h 1423145"/>
                    <a:gd name="connsiteX2" fmla="*/ 0 w 1570380"/>
                    <a:gd name="connsiteY2" fmla="*/ 1423145 h 1423145"/>
                  </a:gdLst>
                  <a:ahLst/>
                  <a:cxnLst>
                    <a:cxn ang="0">
                      <a:pos x="connsiteX0" y="connsiteY0"/>
                    </a:cxn>
                    <a:cxn ang="0">
                      <a:pos x="connsiteX1" y="connsiteY1"/>
                    </a:cxn>
                    <a:cxn ang="0">
                      <a:pos x="connsiteX2" y="connsiteY2"/>
                    </a:cxn>
                  </a:cxnLst>
                  <a:rect l="l" t="t" r="r" b="b"/>
                  <a:pathLst>
                    <a:path w="1570380" h="1423145">
                      <a:moveTo>
                        <a:pt x="0" y="0"/>
                      </a:moveTo>
                      <a:lnTo>
                        <a:pt x="1570380" y="0"/>
                      </a:lnTo>
                      <a:lnTo>
                        <a:pt x="0" y="1423145"/>
                      </a:lnTo>
                      <a:close/>
                    </a:path>
                  </a:pathLst>
                </a:custGeom>
                <a:solidFill>
                  <a:schemeClr val="tx1">
                    <a:alpha val="42000"/>
                  </a:schemeClr>
                </a:solidFill>
                <a:ln>
                  <a:noFill/>
                </a:ln>
                <a:effectLst>
                  <a:softEdge rad="165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TextBox 91">
                  <a:extLst>
                    <a:ext uri="{FF2B5EF4-FFF2-40B4-BE49-F238E27FC236}">
                      <a16:creationId xmlns:a16="http://schemas.microsoft.com/office/drawing/2014/main" id="{389EEA51-AEBB-4167-AEEB-62508A06569C}"/>
                    </a:ext>
                  </a:extLst>
                </p:cNvPr>
                <p:cNvSpPr txBox="1"/>
                <p:nvPr/>
              </p:nvSpPr>
              <p:spPr>
                <a:xfrm>
                  <a:off x="428508" y="428113"/>
                  <a:ext cx="1037651" cy="523772"/>
                </a:xfrm>
                <a:prstGeom prst="rect">
                  <a:avLst/>
                </a:prstGeom>
                <a:noFill/>
              </p:spPr>
              <p:txBody>
                <a:bodyPr wrap="square" rtlCol="0">
                  <a:spAutoFit/>
                </a:bodyPr>
                <a:lstStyle/>
                <a:p>
                  <a:pPr algn="ctr"/>
                  <a:r>
                    <a:rPr lang="en-US" sz="3600" dirty="0">
                      <a:solidFill>
                        <a:schemeClr val="bg1"/>
                      </a:solidFill>
                      <a:latin typeface="Century Gothic" panose="020B0502020202020204" pitchFamily="34" charset="0"/>
                    </a:rPr>
                    <a:t>02</a:t>
                  </a:r>
                </a:p>
              </p:txBody>
            </p:sp>
            <p:sp>
              <p:nvSpPr>
                <p:cNvPr id="76" name="Freeform: Shape 92">
                  <a:extLst>
                    <a:ext uri="{FF2B5EF4-FFF2-40B4-BE49-F238E27FC236}">
                      <a16:creationId xmlns:a16="http://schemas.microsoft.com/office/drawing/2014/main" id="{E561541C-A8AD-4D79-8581-0E71D0880F46}"/>
                    </a:ext>
                  </a:extLst>
                </p:cNvPr>
                <p:cNvSpPr/>
                <p:nvPr/>
              </p:nvSpPr>
              <p:spPr>
                <a:xfrm flipH="1" flipV="1">
                  <a:off x="428507" y="389270"/>
                  <a:ext cx="1570380" cy="1423145"/>
                </a:xfrm>
                <a:custGeom>
                  <a:avLst/>
                  <a:gdLst>
                    <a:gd name="connsiteX0" fmla="*/ 0 w 1570380"/>
                    <a:gd name="connsiteY0" fmla="*/ 0 h 1423145"/>
                    <a:gd name="connsiteX1" fmla="*/ 1570380 w 1570380"/>
                    <a:gd name="connsiteY1" fmla="*/ 0 h 1423145"/>
                    <a:gd name="connsiteX2" fmla="*/ 0 w 1570380"/>
                    <a:gd name="connsiteY2" fmla="*/ 1423145 h 1423145"/>
                  </a:gdLst>
                  <a:ahLst/>
                  <a:cxnLst>
                    <a:cxn ang="0">
                      <a:pos x="connsiteX0" y="connsiteY0"/>
                    </a:cxn>
                    <a:cxn ang="0">
                      <a:pos x="connsiteX1" y="connsiteY1"/>
                    </a:cxn>
                    <a:cxn ang="0">
                      <a:pos x="connsiteX2" y="connsiteY2"/>
                    </a:cxn>
                  </a:cxnLst>
                  <a:rect l="l" t="t" r="r" b="b"/>
                  <a:pathLst>
                    <a:path w="1570380" h="1423145">
                      <a:moveTo>
                        <a:pt x="0" y="0"/>
                      </a:moveTo>
                      <a:lnTo>
                        <a:pt x="1570380" y="0"/>
                      </a:lnTo>
                      <a:lnTo>
                        <a:pt x="0" y="1423145"/>
                      </a:lnTo>
                      <a:close/>
                    </a:path>
                  </a:pathLst>
                </a:custGeom>
                <a:solidFill>
                  <a:srgbClr val="D60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Freeform: Shape 93">
                  <a:extLst>
                    <a:ext uri="{FF2B5EF4-FFF2-40B4-BE49-F238E27FC236}">
                      <a16:creationId xmlns:a16="http://schemas.microsoft.com/office/drawing/2014/main" id="{B395E47D-554D-482B-AF97-E6E46F1C80F0}"/>
                    </a:ext>
                  </a:extLst>
                </p:cNvPr>
                <p:cNvSpPr/>
                <p:nvPr/>
              </p:nvSpPr>
              <p:spPr>
                <a:xfrm flipH="1" flipV="1">
                  <a:off x="433118" y="378651"/>
                  <a:ext cx="1570380" cy="1423145"/>
                </a:xfrm>
                <a:custGeom>
                  <a:avLst/>
                  <a:gdLst>
                    <a:gd name="connsiteX0" fmla="*/ 0 w 1570380"/>
                    <a:gd name="connsiteY0" fmla="*/ 0 h 1423145"/>
                    <a:gd name="connsiteX1" fmla="*/ 1570380 w 1570380"/>
                    <a:gd name="connsiteY1" fmla="*/ 0 h 1423145"/>
                    <a:gd name="connsiteX2" fmla="*/ 0 w 1570380"/>
                    <a:gd name="connsiteY2" fmla="*/ 1423145 h 1423145"/>
                  </a:gdLst>
                  <a:ahLst/>
                  <a:cxnLst>
                    <a:cxn ang="0">
                      <a:pos x="connsiteX0" y="connsiteY0"/>
                    </a:cxn>
                    <a:cxn ang="0">
                      <a:pos x="connsiteX1" y="connsiteY1"/>
                    </a:cxn>
                    <a:cxn ang="0">
                      <a:pos x="connsiteX2" y="connsiteY2"/>
                    </a:cxn>
                  </a:cxnLst>
                  <a:rect l="l" t="t" r="r" b="b"/>
                  <a:pathLst>
                    <a:path w="1570380" h="1423145">
                      <a:moveTo>
                        <a:pt x="0" y="0"/>
                      </a:moveTo>
                      <a:lnTo>
                        <a:pt x="1570380" y="0"/>
                      </a:lnTo>
                      <a:lnTo>
                        <a:pt x="0" y="1423145"/>
                      </a:lnTo>
                      <a:close/>
                    </a:path>
                  </a:pathLst>
                </a:custGeom>
                <a:gradFill flip="none" rotWithShape="1">
                  <a:gsLst>
                    <a:gs pos="31000">
                      <a:srgbClr val="D60093">
                        <a:alpha val="0"/>
                      </a:srgbClr>
                    </a:gs>
                    <a:gs pos="54000">
                      <a:schemeClr val="bg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9" name="TextBox 85">
                <a:extLst>
                  <a:ext uri="{FF2B5EF4-FFF2-40B4-BE49-F238E27FC236}">
                    <a16:creationId xmlns:a16="http://schemas.microsoft.com/office/drawing/2014/main" id="{22F7A044-771E-4092-93E9-56A795A06ACA}"/>
                  </a:ext>
                </a:extLst>
              </p:cNvPr>
              <p:cNvSpPr txBox="1"/>
              <p:nvPr/>
            </p:nvSpPr>
            <p:spPr>
              <a:xfrm>
                <a:off x="2114191" y="721556"/>
                <a:ext cx="1445399" cy="400202"/>
              </a:xfrm>
              <a:prstGeom prst="rect">
                <a:avLst/>
              </a:prstGeom>
              <a:noFill/>
            </p:spPr>
            <p:txBody>
              <a:bodyPr wrap="square" rtlCol="0">
                <a:spAutoFit/>
              </a:bodyPr>
              <a:lstStyle/>
              <a:p>
                <a:pPr algn="ctr"/>
                <a:r>
                  <a:rPr lang="en-US" sz="3200" b="1" dirty="0">
                    <a:solidFill>
                      <a:srgbClr val="4D4D4D"/>
                    </a:solidFill>
                    <a:latin typeface="Century Gothic" panose="020B0502020202020204" pitchFamily="34" charset="0"/>
                  </a:rPr>
                  <a:t>REDES 5G</a:t>
                </a:r>
              </a:p>
            </p:txBody>
          </p:sp>
          <p:sp>
            <p:nvSpPr>
              <p:cNvPr id="70" name="TextBox 86">
                <a:extLst>
                  <a:ext uri="{FF2B5EF4-FFF2-40B4-BE49-F238E27FC236}">
                    <a16:creationId xmlns:a16="http://schemas.microsoft.com/office/drawing/2014/main" id="{82BAB4F7-B6C9-4AE7-9058-F0D0F545508E}"/>
                  </a:ext>
                </a:extLst>
              </p:cNvPr>
              <p:cNvSpPr txBox="1"/>
              <p:nvPr/>
            </p:nvSpPr>
            <p:spPr>
              <a:xfrm>
                <a:off x="879903" y="1700786"/>
                <a:ext cx="2711493" cy="1442834"/>
              </a:xfrm>
              <a:prstGeom prst="rect">
                <a:avLst/>
              </a:prstGeom>
              <a:noFill/>
            </p:spPr>
            <p:txBody>
              <a:bodyPr wrap="square" rtlCol="0">
                <a:spAutoFit/>
              </a:bodyPr>
              <a:lstStyle/>
              <a:p>
                <a:pPr marL="88900" indent="-88900" algn="just">
                  <a:buFont typeface="Arial" panose="020B0604020202020204" pitchFamily="34" charset="0"/>
                  <a:buChar char="•"/>
                </a:pPr>
                <a:r>
                  <a:rPr lang="es-ES" sz="1200" b="1" dirty="0">
                    <a:solidFill>
                      <a:schemeClr val="bg1"/>
                    </a:solidFill>
                    <a:cs typeface="Calibri" panose="020F0502020204030204" pitchFamily="34" charset="0"/>
                  </a:rPr>
                  <a:t>Ideal para trabajos online multiusuario en tiempo real </a:t>
                </a:r>
                <a:endParaRPr lang="es-ES" sz="1200" b="1" dirty="0" smtClean="0">
                  <a:solidFill>
                    <a:schemeClr val="bg1"/>
                  </a:solidFill>
                  <a:cs typeface="Calibri" panose="020F0502020204030204" pitchFamily="34" charset="0"/>
                </a:endParaRPr>
              </a:p>
              <a:p>
                <a:pPr marL="88900" indent="-88900" algn="just">
                  <a:buFont typeface="Arial" panose="020B0604020202020204" pitchFamily="34" charset="0"/>
                  <a:buChar char="•"/>
                </a:pPr>
                <a:endParaRPr lang="es-ES" sz="1200" b="1" dirty="0">
                  <a:solidFill>
                    <a:schemeClr val="bg1"/>
                  </a:solidFill>
                  <a:cs typeface="Calibri" panose="020F0502020204030204" pitchFamily="34" charset="0"/>
                </a:endParaRPr>
              </a:p>
              <a:p>
                <a:pPr marL="88900" indent="-88900" algn="just">
                  <a:buFont typeface="Arial" panose="020B0604020202020204" pitchFamily="34" charset="0"/>
                  <a:buChar char="•"/>
                </a:pPr>
                <a:r>
                  <a:rPr lang="es-ES" sz="1200" b="1" dirty="0">
                    <a:solidFill>
                      <a:schemeClr val="bg1"/>
                    </a:solidFill>
                    <a:cs typeface="Calibri" panose="020F0502020204030204" pitchFamily="34" charset="0"/>
                  </a:rPr>
                  <a:t>Necesario para entornos de realidad virtual, inmersiva y mixta en el </a:t>
                </a:r>
                <a:r>
                  <a:rPr lang="es-ES" sz="1200" b="1" dirty="0" smtClean="0">
                    <a:solidFill>
                      <a:schemeClr val="bg1"/>
                    </a:solidFill>
                    <a:cs typeface="Calibri" panose="020F0502020204030204" pitchFamily="34" charset="0"/>
                  </a:rPr>
                  <a:t>aula</a:t>
                </a:r>
              </a:p>
              <a:p>
                <a:pPr marL="88900" indent="-88900" algn="just">
                  <a:buFont typeface="Arial" panose="020B0604020202020204" pitchFamily="34" charset="0"/>
                  <a:buChar char="•"/>
                </a:pPr>
                <a:endParaRPr lang="es-ES" sz="1200" b="1" dirty="0">
                  <a:solidFill>
                    <a:schemeClr val="bg1"/>
                  </a:solidFill>
                  <a:cs typeface="Calibri" panose="020F0502020204030204" pitchFamily="34" charset="0"/>
                </a:endParaRPr>
              </a:p>
              <a:p>
                <a:pPr marL="88900" indent="-88900" algn="just">
                  <a:buFont typeface="Arial" panose="020B0604020202020204" pitchFamily="34" charset="0"/>
                  <a:buChar char="•"/>
                </a:pPr>
                <a:r>
                  <a:rPr lang="es-ES" sz="1200" b="1" dirty="0">
                    <a:solidFill>
                      <a:schemeClr val="bg1"/>
                    </a:solidFill>
                    <a:cs typeface="Calibri" panose="020F0502020204030204" pitchFamily="34" charset="0"/>
                  </a:rPr>
                  <a:t>Favorece el intercambio de servicios y conocimiento entre los estudiantes y </a:t>
                </a:r>
                <a:r>
                  <a:rPr lang="es-ES" sz="1200" b="1" dirty="0" smtClean="0">
                    <a:solidFill>
                      <a:schemeClr val="bg1"/>
                    </a:solidFill>
                    <a:cs typeface="Calibri" panose="020F0502020204030204" pitchFamily="34" charset="0"/>
                  </a:rPr>
                  <a:t>docentes</a:t>
                </a:r>
              </a:p>
              <a:p>
                <a:pPr marL="88900" indent="-88900" algn="just">
                  <a:buFont typeface="Arial" panose="020B0604020202020204" pitchFamily="34" charset="0"/>
                  <a:buChar char="•"/>
                </a:pPr>
                <a:endParaRPr lang="es-ES" sz="1200" b="1" dirty="0">
                  <a:solidFill>
                    <a:schemeClr val="bg1"/>
                  </a:solidFill>
                  <a:cs typeface="Calibri" panose="020F0502020204030204" pitchFamily="34" charset="0"/>
                </a:endParaRPr>
              </a:p>
              <a:p>
                <a:pPr marL="88900" indent="-88900" algn="just">
                  <a:buFont typeface="Arial" panose="020B0604020202020204" pitchFamily="34" charset="0"/>
                  <a:buChar char="•"/>
                </a:pPr>
                <a:r>
                  <a:rPr lang="es-ES" sz="1200" b="1" dirty="0">
                    <a:solidFill>
                      <a:schemeClr val="bg1"/>
                    </a:solidFill>
                    <a:cs typeface="Calibri" panose="020F0502020204030204" pitchFamily="34" charset="0"/>
                  </a:rPr>
                  <a:t> Ofrece mejores condiciones de conectividad</a:t>
                </a:r>
              </a:p>
              <a:p>
                <a:pPr marL="88900" indent="-88900" algn="just">
                  <a:buFont typeface="Arial" panose="020B0604020202020204" pitchFamily="34" charset="0"/>
                  <a:buChar char="•"/>
                </a:pPr>
                <a:endParaRPr lang="en-US" sz="1050" b="1" dirty="0">
                  <a:solidFill>
                    <a:schemeClr val="bg1"/>
                  </a:solidFill>
                  <a:cs typeface="Calibri" panose="020F0502020204030204" pitchFamily="34" charset="0"/>
                </a:endParaRPr>
              </a:p>
            </p:txBody>
          </p:sp>
        </p:grpSp>
        <p:pic>
          <p:nvPicPr>
            <p:cNvPr id="66" name="Graphic 103" descr="Call center">
              <a:extLst>
                <a:ext uri="{FF2B5EF4-FFF2-40B4-BE49-F238E27FC236}">
                  <a16:creationId xmlns:a16="http://schemas.microsoft.com/office/drawing/2014/main" id="{D46A3DCD-3705-42A7-A2AD-9297E8206B7F}"/>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7309117" y="4235982"/>
              <a:ext cx="412251" cy="412251"/>
            </a:xfrm>
            <a:prstGeom prst="rect">
              <a:avLst/>
            </a:prstGeom>
          </p:spPr>
        </p:pic>
      </p:grpSp>
      <p:sp>
        <p:nvSpPr>
          <p:cNvPr id="33" name="Marcador de número de diapositiva 1"/>
          <p:cNvSpPr>
            <a:spLocks noGrp="1"/>
          </p:cNvSpPr>
          <p:nvPr>
            <p:ph type="sldNum" sz="quarter" idx="12"/>
          </p:nvPr>
        </p:nvSpPr>
        <p:spPr>
          <a:xfrm>
            <a:off x="11777051" y="6458134"/>
            <a:ext cx="487378" cy="481343"/>
          </a:xfrm>
        </p:spPr>
        <p:txBody>
          <a:bodyPr/>
          <a:lstStyle/>
          <a:p>
            <a:r>
              <a:rPr lang="en-US" sz="2000" dirty="0" smtClean="0"/>
              <a:t>22</a:t>
            </a:r>
            <a:endParaRPr lang="en-US" sz="2000" dirty="0"/>
          </a:p>
        </p:txBody>
      </p:sp>
    </p:spTree>
    <p:extLst>
      <p:ext uri="{BB962C8B-B14F-4D97-AF65-F5344CB8AC3E}">
        <p14:creationId xmlns:p14="http://schemas.microsoft.com/office/powerpoint/2010/main" val="19164231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23FEED7-63F6-4545-95DD-474E69B1B82D}"/>
              </a:ext>
            </a:extLst>
          </p:cNvPr>
          <p:cNvSpPr/>
          <p:nvPr/>
        </p:nvSpPr>
        <p:spPr>
          <a:xfrm>
            <a:off x="163254" y="175343"/>
            <a:ext cx="10270760" cy="707886"/>
          </a:xfrm>
          <a:prstGeom prst="rect">
            <a:avLst/>
          </a:prstGeom>
          <a:noFill/>
        </p:spPr>
        <p:txBody>
          <a:bodyPr wrap="none" lIns="91440" tIns="45720" rIns="91440" bIns="45720">
            <a:spAutoFit/>
          </a:bodyPr>
          <a:lstStyle/>
          <a:p>
            <a:r>
              <a:rPr lang="es-ES" sz="4000" b="1"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Aula </a:t>
            </a:r>
            <a:r>
              <a:rPr lang="es-ES" sz="4000" b="1" dirty="0" err="1" smtClean="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A</a:t>
            </a:r>
            <a:r>
              <a:rPr lang="es-ES" sz="4000" b="1" dirty="0" err="1" smtClean="0">
                <a:ln w="9525">
                  <a:solidFill>
                    <a:schemeClr val="bg1"/>
                  </a:solidFill>
                  <a:prstDash val="solid"/>
                </a:ln>
                <a:solidFill>
                  <a:schemeClr val="bg1">
                    <a:lumMod val="65000"/>
                  </a:schemeClr>
                </a:solidFill>
                <a:effectLst>
                  <a:outerShdw blurRad="12700" dist="38100" dir="2700000" algn="tl" rotWithShape="0">
                    <a:schemeClr val="accent5">
                      <a:lumMod val="60000"/>
                      <a:lumOff val="40000"/>
                    </a:schemeClr>
                  </a:outerShdw>
                </a:effectLst>
              </a:rPr>
              <a:t>tec</a:t>
            </a:r>
            <a:r>
              <a:rPr lang="es-ES" sz="4000" b="1" dirty="0" err="1" smtClean="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A</a:t>
            </a:r>
            <a:r>
              <a:rPr lang="es-ES" sz="4000" b="1" dirty="0" smtClean="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 </a:t>
            </a:r>
            <a:r>
              <a:rPr lang="es-ES" sz="4000" b="1"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capas física y </a:t>
            </a:r>
            <a:r>
              <a:rPr lang="es-ES" sz="4000" b="1" dirty="0" smtClean="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emocional (I)</a:t>
            </a:r>
            <a:endParaRPr lang="es-ES" sz="4000" b="1"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endParaRPr>
          </a:p>
        </p:txBody>
      </p:sp>
      <p:sp>
        <p:nvSpPr>
          <p:cNvPr id="5" name="Rectángulo 4">
            <a:extLst>
              <a:ext uri="{FF2B5EF4-FFF2-40B4-BE49-F238E27FC236}">
                <a16:creationId xmlns:a16="http://schemas.microsoft.com/office/drawing/2014/main" id="{AB6BB749-4A8E-4FC8-B9D8-B3101C7BFAE8}"/>
              </a:ext>
            </a:extLst>
          </p:cNvPr>
          <p:cNvSpPr/>
          <p:nvPr/>
        </p:nvSpPr>
        <p:spPr>
          <a:xfrm>
            <a:off x="419022" y="1209479"/>
            <a:ext cx="5595354" cy="461665"/>
          </a:xfrm>
          <a:prstGeom prst="rect">
            <a:avLst/>
          </a:prstGeom>
          <a:noFill/>
        </p:spPr>
        <p:txBody>
          <a:bodyPr wrap="square" lIns="91440" tIns="45720" rIns="91440" bIns="45720">
            <a:spAutoFit/>
          </a:bodyPr>
          <a:lstStyle/>
          <a:p>
            <a:r>
              <a:rPr lang="es-ES" sz="2400" b="1" dirty="0">
                <a:ln w="9525">
                  <a:solidFill>
                    <a:schemeClr val="tx1"/>
                  </a:solidFill>
                  <a:prstDash val="solid"/>
                </a:ln>
                <a:solidFill>
                  <a:srgbClr val="FFFF00"/>
                </a:solidFill>
                <a:effectLst>
                  <a:outerShdw blurRad="63500" sx="102000" sy="102000" algn="ctr" rotWithShape="0">
                    <a:prstClr val="black">
                      <a:alpha val="40000"/>
                    </a:prstClr>
                  </a:outerShdw>
                </a:effectLst>
              </a:rPr>
              <a:t>Contexto:</a:t>
            </a:r>
          </a:p>
        </p:txBody>
      </p:sp>
      <p:grpSp>
        <p:nvGrpSpPr>
          <p:cNvPr id="6" name="Group 25">
            <a:extLst>
              <a:ext uri="{FF2B5EF4-FFF2-40B4-BE49-F238E27FC236}">
                <a16:creationId xmlns:a16="http://schemas.microsoft.com/office/drawing/2014/main" id="{3BE87DF0-55F6-4C31-9ADC-246E91FB26CC}"/>
              </a:ext>
            </a:extLst>
          </p:cNvPr>
          <p:cNvGrpSpPr/>
          <p:nvPr/>
        </p:nvGrpSpPr>
        <p:grpSpPr>
          <a:xfrm>
            <a:off x="1582425" y="1765637"/>
            <a:ext cx="4413430" cy="4408976"/>
            <a:chOff x="394007" y="1693282"/>
            <a:chExt cx="2846691" cy="3985926"/>
          </a:xfrm>
        </p:grpSpPr>
        <p:grpSp>
          <p:nvGrpSpPr>
            <p:cNvPr id="7" name="Group 26">
              <a:extLst>
                <a:ext uri="{FF2B5EF4-FFF2-40B4-BE49-F238E27FC236}">
                  <a16:creationId xmlns:a16="http://schemas.microsoft.com/office/drawing/2014/main" id="{91E6FF21-4BB9-4F35-B3F9-108FF28D5FD2}"/>
                </a:ext>
              </a:extLst>
            </p:cNvPr>
            <p:cNvGrpSpPr/>
            <p:nvPr/>
          </p:nvGrpSpPr>
          <p:grpSpPr>
            <a:xfrm>
              <a:off x="624115" y="1693282"/>
              <a:ext cx="2616583" cy="2875969"/>
              <a:chOff x="4318782" y="487953"/>
              <a:chExt cx="5267726" cy="5789924"/>
            </a:xfrm>
          </p:grpSpPr>
          <p:sp>
            <p:nvSpPr>
              <p:cNvPr id="12" name="Rectangle: Top Corners One Rounded and One Snipped 31">
                <a:extLst>
                  <a:ext uri="{FF2B5EF4-FFF2-40B4-BE49-F238E27FC236}">
                    <a16:creationId xmlns:a16="http://schemas.microsoft.com/office/drawing/2014/main" id="{347AF07C-60DF-4AEC-8DC4-BB6D8562E687}"/>
                  </a:ext>
                </a:extLst>
              </p:cNvPr>
              <p:cNvSpPr/>
              <p:nvPr/>
            </p:nvSpPr>
            <p:spPr>
              <a:xfrm flipH="1" flipV="1">
                <a:off x="5038065" y="1934197"/>
                <a:ext cx="4548443" cy="4343680"/>
              </a:xfrm>
              <a:prstGeom prst="snipRoundRect">
                <a:avLst>
                  <a:gd name="adj1" fmla="val 16667"/>
                  <a:gd name="adj2" fmla="val 0"/>
                </a:avLst>
              </a:prstGeom>
              <a:solidFill>
                <a:schemeClr val="tx1">
                  <a:alpha val="32000"/>
                </a:schemeClr>
              </a:solidFill>
              <a:ln>
                <a:noFill/>
              </a:ln>
              <a:effectLst>
                <a:softEdge rad="635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 name="Rectangle: Top Corners One Rounded and One Snipped 32">
                <a:extLst>
                  <a:ext uri="{FF2B5EF4-FFF2-40B4-BE49-F238E27FC236}">
                    <a16:creationId xmlns:a16="http://schemas.microsoft.com/office/drawing/2014/main" id="{DDA96630-A4B1-4702-989D-37DF57AB0BDE}"/>
                  </a:ext>
                </a:extLst>
              </p:cNvPr>
              <p:cNvSpPr/>
              <p:nvPr/>
            </p:nvSpPr>
            <p:spPr>
              <a:xfrm flipH="1" flipV="1">
                <a:off x="4318782" y="729253"/>
                <a:ext cx="3967089" cy="3826412"/>
              </a:xfrm>
              <a:prstGeom prst="snipRoundRect">
                <a:avLst>
                  <a:gd name="adj1" fmla="val 16667"/>
                  <a:gd name="adj2" fmla="val 0"/>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4" name="Right Triangle 11">
                <a:extLst>
                  <a:ext uri="{FF2B5EF4-FFF2-40B4-BE49-F238E27FC236}">
                    <a16:creationId xmlns:a16="http://schemas.microsoft.com/office/drawing/2014/main" id="{5C0FCE32-C66C-4D48-9C09-55818BA5EA88}"/>
                  </a:ext>
                </a:extLst>
              </p:cNvPr>
              <p:cNvSpPr/>
              <p:nvPr/>
            </p:nvSpPr>
            <p:spPr>
              <a:xfrm rot="21445862" flipH="1">
                <a:off x="6868397" y="4117319"/>
                <a:ext cx="1441109" cy="430666"/>
              </a:xfrm>
              <a:custGeom>
                <a:avLst/>
                <a:gdLst>
                  <a:gd name="connsiteX0" fmla="*/ 0 w 1383030"/>
                  <a:gd name="connsiteY0" fmla="*/ 531934 h 531934"/>
                  <a:gd name="connsiteX1" fmla="*/ 0 w 1383030"/>
                  <a:gd name="connsiteY1" fmla="*/ 0 h 531934"/>
                  <a:gd name="connsiteX2" fmla="*/ 1383030 w 1383030"/>
                  <a:gd name="connsiteY2" fmla="*/ 531934 h 531934"/>
                  <a:gd name="connsiteX3" fmla="*/ 0 w 1383030"/>
                  <a:gd name="connsiteY3" fmla="*/ 531934 h 531934"/>
                  <a:gd name="connsiteX0" fmla="*/ 0 w 1840230"/>
                  <a:gd name="connsiteY0" fmla="*/ 0 h 537882"/>
                  <a:gd name="connsiteX1" fmla="*/ 457200 w 1840230"/>
                  <a:gd name="connsiteY1" fmla="*/ 5948 h 537882"/>
                  <a:gd name="connsiteX2" fmla="*/ 1840230 w 1840230"/>
                  <a:gd name="connsiteY2" fmla="*/ 537882 h 537882"/>
                  <a:gd name="connsiteX3" fmla="*/ 0 w 1840230"/>
                  <a:gd name="connsiteY3" fmla="*/ 0 h 537882"/>
                  <a:gd name="connsiteX0" fmla="*/ 0 w 1840230"/>
                  <a:gd name="connsiteY0" fmla="*/ 0 h 537882"/>
                  <a:gd name="connsiteX1" fmla="*/ 457200 w 1840230"/>
                  <a:gd name="connsiteY1" fmla="*/ 5948 h 537882"/>
                  <a:gd name="connsiteX2" fmla="*/ 1840230 w 1840230"/>
                  <a:gd name="connsiteY2" fmla="*/ 537882 h 537882"/>
                  <a:gd name="connsiteX3" fmla="*/ 0 w 1840230"/>
                  <a:gd name="connsiteY3" fmla="*/ 0 h 537882"/>
                  <a:gd name="connsiteX0" fmla="*/ 0 w 1840230"/>
                  <a:gd name="connsiteY0" fmla="*/ 0 h 553000"/>
                  <a:gd name="connsiteX1" fmla="*/ 457200 w 1840230"/>
                  <a:gd name="connsiteY1" fmla="*/ 5948 h 553000"/>
                  <a:gd name="connsiteX2" fmla="*/ 1840230 w 1840230"/>
                  <a:gd name="connsiteY2" fmla="*/ 537882 h 553000"/>
                  <a:gd name="connsiteX3" fmla="*/ 0 w 1840230"/>
                  <a:gd name="connsiteY3" fmla="*/ 0 h 553000"/>
                  <a:gd name="connsiteX0" fmla="*/ 0 w 1840230"/>
                  <a:gd name="connsiteY0" fmla="*/ 0 h 550713"/>
                  <a:gd name="connsiteX1" fmla="*/ 457200 w 1840230"/>
                  <a:gd name="connsiteY1" fmla="*/ 5948 h 550713"/>
                  <a:gd name="connsiteX2" fmla="*/ 1840230 w 1840230"/>
                  <a:gd name="connsiteY2" fmla="*/ 537882 h 550713"/>
                  <a:gd name="connsiteX3" fmla="*/ 0 w 1840230"/>
                  <a:gd name="connsiteY3" fmla="*/ 0 h 550713"/>
                  <a:gd name="connsiteX0" fmla="*/ 0 w 1840230"/>
                  <a:gd name="connsiteY0" fmla="*/ 0 h 550713"/>
                  <a:gd name="connsiteX1" fmla="*/ 457200 w 1840230"/>
                  <a:gd name="connsiteY1" fmla="*/ 5948 h 550713"/>
                  <a:gd name="connsiteX2" fmla="*/ 1840230 w 1840230"/>
                  <a:gd name="connsiteY2" fmla="*/ 537882 h 550713"/>
                  <a:gd name="connsiteX3" fmla="*/ 0 w 1840230"/>
                  <a:gd name="connsiteY3" fmla="*/ 0 h 550713"/>
                  <a:gd name="connsiteX0" fmla="*/ 0 w 1840230"/>
                  <a:gd name="connsiteY0" fmla="*/ 0 h 550713"/>
                  <a:gd name="connsiteX1" fmla="*/ 457200 w 1840230"/>
                  <a:gd name="connsiteY1" fmla="*/ 5948 h 550713"/>
                  <a:gd name="connsiteX2" fmla="*/ 1840230 w 1840230"/>
                  <a:gd name="connsiteY2" fmla="*/ 537882 h 550713"/>
                  <a:gd name="connsiteX3" fmla="*/ 0 w 1840230"/>
                  <a:gd name="connsiteY3" fmla="*/ 0 h 550713"/>
                </a:gdLst>
                <a:ahLst/>
                <a:cxnLst>
                  <a:cxn ang="0">
                    <a:pos x="connsiteX0" y="connsiteY0"/>
                  </a:cxn>
                  <a:cxn ang="0">
                    <a:pos x="connsiteX1" y="connsiteY1"/>
                  </a:cxn>
                  <a:cxn ang="0">
                    <a:pos x="connsiteX2" y="connsiteY2"/>
                  </a:cxn>
                  <a:cxn ang="0">
                    <a:pos x="connsiteX3" y="connsiteY3"/>
                  </a:cxn>
                </a:cxnLst>
                <a:rect l="l" t="t" r="r" b="b"/>
                <a:pathLst>
                  <a:path w="1840230" h="550713">
                    <a:moveTo>
                      <a:pt x="0" y="0"/>
                    </a:moveTo>
                    <a:cubicBezTo>
                      <a:pt x="307041" y="277648"/>
                      <a:pt x="419100" y="-43099"/>
                      <a:pt x="457200" y="5948"/>
                    </a:cubicBezTo>
                    <a:lnTo>
                      <a:pt x="1840230" y="537882"/>
                    </a:lnTo>
                    <a:cubicBezTo>
                      <a:pt x="1549550" y="432546"/>
                      <a:pt x="142763" y="851647"/>
                      <a:pt x="0" y="0"/>
                    </a:cubicBezTo>
                    <a:close/>
                  </a:path>
                </a:pathLst>
              </a:custGeom>
              <a:solidFill>
                <a:srgbClr val="C800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nvGrpSpPr>
              <p:cNvPr id="15" name="Group 34">
                <a:extLst>
                  <a:ext uri="{FF2B5EF4-FFF2-40B4-BE49-F238E27FC236}">
                    <a16:creationId xmlns:a16="http://schemas.microsoft.com/office/drawing/2014/main" id="{DFC7E4A8-89D1-4A34-A0AE-629B1E5B49B4}"/>
                  </a:ext>
                </a:extLst>
              </p:cNvPr>
              <p:cNvGrpSpPr/>
              <p:nvPr/>
            </p:nvGrpSpPr>
            <p:grpSpPr>
              <a:xfrm>
                <a:off x="6292161" y="487953"/>
                <a:ext cx="552600" cy="1140997"/>
                <a:chOff x="2939143" y="1028541"/>
                <a:chExt cx="783329" cy="1617400"/>
              </a:xfrm>
              <a:effectLst>
                <a:outerShdw blurRad="76200" dir="18900000" sy="23000" kx="-1200000" algn="bl" rotWithShape="0">
                  <a:prstClr val="black">
                    <a:alpha val="20000"/>
                  </a:prstClr>
                </a:outerShdw>
              </a:effectLst>
            </p:grpSpPr>
            <p:sp>
              <p:nvSpPr>
                <p:cNvPr id="16" name="Rectangle: Rounded Corners 35">
                  <a:extLst>
                    <a:ext uri="{FF2B5EF4-FFF2-40B4-BE49-F238E27FC236}">
                      <a16:creationId xmlns:a16="http://schemas.microsoft.com/office/drawing/2014/main" id="{B73D2C1D-B4AF-421F-89CA-EA12F2E73DAA}"/>
                    </a:ext>
                  </a:extLst>
                </p:cNvPr>
                <p:cNvSpPr/>
                <p:nvPr/>
              </p:nvSpPr>
              <p:spPr>
                <a:xfrm rot="1098443" flipH="1">
                  <a:off x="3153025" y="1914421"/>
                  <a:ext cx="77804" cy="731520"/>
                </a:xfrm>
                <a:prstGeom prst="roundRect">
                  <a:avLst/>
                </a:prstGeom>
                <a:gradFill flip="none" rotWithShape="1">
                  <a:gsLst>
                    <a:gs pos="100000">
                      <a:schemeClr val="bg1">
                        <a:lumMod val="85000"/>
                      </a:schemeClr>
                    </a:gs>
                    <a:gs pos="57512">
                      <a:schemeClr val="tx1">
                        <a:lumMod val="65000"/>
                        <a:lumOff val="35000"/>
                      </a:schemeClr>
                    </a:gs>
                    <a:gs pos="24800">
                      <a:schemeClr val="bg1"/>
                    </a:gs>
                    <a:gs pos="0">
                      <a:schemeClr val="bg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7" name="Oval 36">
                  <a:extLst>
                    <a:ext uri="{FF2B5EF4-FFF2-40B4-BE49-F238E27FC236}">
                      <a16:creationId xmlns:a16="http://schemas.microsoft.com/office/drawing/2014/main" id="{5BAB4A49-AC60-4F83-A26A-9EDB70E41E0F}"/>
                    </a:ext>
                  </a:extLst>
                </p:cNvPr>
                <p:cNvSpPr/>
                <p:nvPr/>
              </p:nvSpPr>
              <p:spPr>
                <a:xfrm>
                  <a:off x="2939143" y="1538514"/>
                  <a:ext cx="740228" cy="740228"/>
                </a:xfrm>
                <a:prstGeom prst="ellipse">
                  <a:avLst/>
                </a:prstGeom>
                <a:solidFill>
                  <a:srgbClr val="0070C0"/>
                </a:solidFill>
                <a:ln>
                  <a:noFill/>
                </a:ln>
                <a:effectLst>
                  <a:innerShdw blurRad="3302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8" name="Trapezoid 37">
                  <a:extLst>
                    <a:ext uri="{FF2B5EF4-FFF2-40B4-BE49-F238E27FC236}">
                      <a16:creationId xmlns:a16="http://schemas.microsoft.com/office/drawing/2014/main" id="{B722E74A-677F-453B-B051-D413D537D7A3}"/>
                    </a:ext>
                  </a:extLst>
                </p:cNvPr>
                <p:cNvSpPr/>
                <p:nvPr/>
              </p:nvSpPr>
              <p:spPr>
                <a:xfrm rot="702551">
                  <a:off x="3193598" y="1216282"/>
                  <a:ext cx="418337" cy="707468"/>
                </a:xfrm>
                <a:prstGeom prst="trapezoid">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9" name="Oval 38">
                  <a:extLst>
                    <a:ext uri="{FF2B5EF4-FFF2-40B4-BE49-F238E27FC236}">
                      <a16:creationId xmlns:a16="http://schemas.microsoft.com/office/drawing/2014/main" id="{B7C52647-AC9B-4895-A1D3-A94E227391C8}"/>
                    </a:ext>
                  </a:extLst>
                </p:cNvPr>
                <p:cNvSpPr/>
                <p:nvPr/>
              </p:nvSpPr>
              <p:spPr>
                <a:xfrm>
                  <a:off x="3169263" y="1028541"/>
                  <a:ext cx="553209" cy="553209"/>
                </a:xfrm>
                <a:prstGeom prst="ellipse">
                  <a:avLst/>
                </a:prstGeom>
                <a:solidFill>
                  <a:srgbClr val="0070C0"/>
                </a:solidFill>
                <a:ln>
                  <a:noFill/>
                </a:ln>
                <a:effectLst>
                  <a:innerShdw blurRad="3302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sp>
          <p:nvSpPr>
            <p:cNvPr id="8" name="TextBox 27">
              <a:extLst>
                <a:ext uri="{FF2B5EF4-FFF2-40B4-BE49-F238E27FC236}">
                  <a16:creationId xmlns:a16="http://schemas.microsoft.com/office/drawing/2014/main" id="{6ADDDEAE-597C-4148-B9B0-87A33383B60C}"/>
                </a:ext>
              </a:extLst>
            </p:cNvPr>
            <p:cNvSpPr txBox="1"/>
            <p:nvPr/>
          </p:nvSpPr>
          <p:spPr>
            <a:xfrm rot="636792">
              <a:off x="394007" y="4218423"/>
              <a:ext cx="2218986" cy="1460785"/>
            </a:xfrm>
            <a:prstGeom prst="rect">
              <a:avLst/>
            </a:prstGeom>
            <a:solidFill>
              <a:schemeClr val="bg1"/>
            </a:solidFill>
            <a:effectLst>
              <a:outerShdw blurRad="139700" dist="38100" dir="2700000" algn="tl" rotWithShape="0">
                <a:prstClr val="black">
                  <a:alpha val="40000"/>
                </a:prstClr>
              </a:outerShdw>
            </a:effectLst>
          </p:spPr>
          <p:txBody>
            <a:bodyPr wrap="square" rtlCol="0">
              <a:spAutoFit/>
            </a:bodyPr>
            <a:lstStyle/>
            <a:p>
              <a:r>
                <a:rPr lang="es-ES" sz="1100" dirty="0" smtClean="0"/>
                <a:t>Para conseguir un </a:t>
              </a:r>
              <a:r>
                <a:rPr lang="es-ES" sz="1100" dirty="0" err="1" smtClean="0"/>
                <a:t>comfort</a:t>
              </a:r>
              <a:r>
                <a:rPr lang="es-ES" sz="1100" dirty="0" smtClean="0"/>
                <a:t> adecuado en el aula “</a:t>
              </a:r>
              <a:r>
                <a:rPr lang="es-ES" sz="1100" dirty="0" err="1" smtClean="0"/>
                <a:t>AtecA”y</a:t>
              </a:r>
              <a:r>
                <a:rPr lang="es-ES" sz="1100" dirty="0" smtClean="0"/>
                <a:t> adaptable a la situación en cada momento, sería conveniente </a:t>
              </a:r>
              <a:r>
                <a:rPr lang="es-ES" sz="1100" b="1" dirty="0" err="1" smtClean="0"/>
                <a:t>sensorizarla</a:t>
              </a:r>
              <a:r>
                <a:rPr lang="es-ES" sz="1100" dirty="0" smtClean="0"/>
                <a:t> para </a:t>
              </a:r>
              <a:r>
                <a:rPr lang="es-ES" sz="1100" dirty="0"/>
                <a:t>monitorizar </a:t>
              </a:r>
              <a:r>
                <a:rPr lang="es-ES" sz="1100" dirty="0" smtClean="0"/>
                <a:t>y gestionar aspectos como energía </a:t>
              </a:r>
              <a:r>
                <a:rPr lang="es-ES" sz="1100" dirty="0"/>
                <a:t>consumida, temperatura, cantidad de luz</a:t>
              </a:r>
              <a:r>
                <a:rPr lang="es-ES" sz="1100" dirty="0" smtClean="0"/>
                <a:t>…</a:t>
              </a:r>
              <a:endParaRPr lang="es-ES" sz="1100" dirty="0"/>
            </a:p>
            <a:p>
              <a:r>
                <a:rPr lang="es-ES" sz="1100" dirty="0" smtClean="0"/>
                <a:t>A su vez, hay </a:t>
              </a:r>
              <a:r>
                <a:rPr lang="es-ES" sz="1100" dirty="0"/>
                <a:t>que disponer de </a:t>
              </a:r>
              <a:r>
                <a:rPr lang="es-ES" sz="1100" b="1" dirty="0"/>
                <a:t>actuadores</a:t>
              </a:r>
              <a:r>
                <a:rPr lang="es-ES" sz="1100" dirty="0"/>
                <a:t> (persianas motorizadas, válvulas </a:t>
              </a:r>
              <a:r>
                <a:rPr lang="es-ES" sz="1100" dirty="0" err="1"/>
                <a:t>autoregulables</a:t>
              </a:r>
              <a:r>
                <a:rPr lang="es-ES" sz="1100" dirty="0"/>
                <a:t>…).</a:t>
              </a:r>
              <a:endParaRPr lang="en-US" sz="1100" dirty="0"/>
            </a:p>
          </p:txBody>
        </p:sp>
        <p:sp>
          <p:nvSpPr>
            <p:cNvPr id="9" name="Freeform: Shape 28">
              <a:extLst>
                <a:ext uri="{FF2B5EF4-FFF2-40B4-BE49-F238E27FC236}">
                  <a16:creationId xmlns:a16="http://schemas.microsoft.com/office/drawing/2014/main" id="{46296D09-5A50-442F-9AE9-FF30BD21DEC4}"/>
                </a:ext>
              </a:extLst>
            </p:cNvPr>
            <p:cNvSpPr/>
            <p:nvPr/>
          </p:nvSpPr>
          <p:spPr>
            <a:xfrm>
              <a:off x="1091340" y="3463255"/>
              <a:ext cx="513976" cy="663388"/>
            </a:xfrm>
            <a:custGeom>
              <a:avLst/>
              <a:gdLst>
                <a:gd name="connsiteX0" fmla="*/ 268941 w 513976"/>
                <a:gd name="connsiteY0" fmla="*/ 693271 h 729129"/>
                <a:gd name="connsiteX1" fmla="*/ 268941 w 513976"/>
                <a:gd name="connsiteY1" fmla="*/ 693271 h 729129"/>
                <a:gd name="connsiteX2" fmla="*/ 29882 w 513976"/>
                <a:gd name="connsiteY2" fmla="*/ 280894 h 729129"/>
                <a:gd name="connsiteX3" fmla="*/ 23906 w 513976"/>
                <a:gd name="connsiteY3" fmla="*/ 262965 h 729129"/>
                <a:gd name="connsiteX4" fmla="*/ 11953 w 513976"/>
                <a:gd name="connsiteY4" fmla="*/ 233082 h 729129"/>
                <a:gd name="connsiteX5" fmla="*/ 0 w 513976"/>
                <a:gd name="connsiteY5" fmla="*/ 203200 h 729129"/>
                <a:gd name="connsiteX6" fmla="*/ 89647 w 513976"/>
                <a:gd name="connsiteY6" fmla="*/ 239059 h 729129"/>
                <a:gd name="connsiteX7" fmla="*/ 59764 w 513976"/>
                <a:gd name="connsiteY7" fmla="*/ 155388 h 729129"/>
                <a:gd name="connsiteX8" fmla="*/ 131482 w 513976"/>
                <a:gd name="connsiteY8" fmla="*/ 227106 h 729129"/>
                <a:gd name="connsiteX9" fmla="*/ 107576 w 513976"/>
                <a:gd name="connsiteY9" fmla="*/ 143435 h 729129"/>
                <a:gd name="connsiteX10" fmla="*/ 179294 w 513976"/>
                <a:gd name="connsiteY10" fmla="*/ 215153 h 729129"/>
                <a:gd name="connsiteX11" fmla="*/ 167341 w 513976"/>
                <a:gd name="connsiteY11" fmla="*/ 125506 h 729129"/>
                <a:gd name="connsiteX12" fmla="*/ 245035 w 513976"/>
                <a:gd name="connsiteY12" fmla="*/ 215153 h 729129"/>
                <a:gd name="connsiteX13" fmla="*/ 203200 w 513976"/>
                <a:gd name="connsiteY13" fmla="*/ 0 h 729129"/>
                <a:gd name="connsiteX14" fmla="*/ 513976 w 513976"/>
                <a:gd name="connsiteY14" fmla="*/ 657412 h 729129"/>
                <a:gd name="connsiteX15" fmla="*/ 448235 w 513976"/>
                <a:gd name="connsiteY15" fmla="*/ 621553 h 729129"/>
                <a:gd name="connsiteX16" fmla="*/ 454211 w 513976"/>
                <a:gd name="connsiteY16" fmla="*/ 675341 h 729129"/>
                <a:gd name="connsiteX17" fmla="*/ 400423 w 513976"/>
                <a:gd name="connsiteY17" fmla="*/ 657412 h 729129"/>
                <a:gd name="connsiteX18" fmla="*/ 388470 w 513976"/>
                <a:gd name="connsiteY18" fmla="*/ 681318 h 729129"/>
                <a:gd name="connsiteX19" fmla="*/ 358588 w 513976"/>
                <a:gd name="connsiteY19" fmla="*/ 633506 h 729129"/>
                <a:gd name="connsiteX20" fmla="*/ 304800 w 513976"/>
                <a:gd name="connsiteY20" fmla="*/ 729129 h 729129"/>
                <a:gd name="connsiteX21" fmla="*/ 268941 w 513976"/>
                <a:gd name="connsiteY21" fmla="*/ 693271 h 729129"/>
                <a:gd name="connsiteX0" fmla="*/ 268941 w 513976"/>
                <a:gd name="connsiteY0" fmla="*/ 627530 h 663388"/>
                <a:gd name="connsiteX1" fmla="*/ 268941 w 513976"/>
                <a:gd name="connsiteY1" fmla="*/ 627530 h 663388"/>
                <a:gd name="connsiteX2" fmla="*/ 29882 w 513976"/>
                <a:gd name="connsiteY2" fmla="*/ 215153 h 663388"/>
                <a:gd name="connsiteX3" fmla="*/ 23906 w 513976"/>
                <a:gd name="connsiteY3" fmla="*/ 197224 h 663388"/>
                <a:gd name="connsiteX4" fmla="*/ 11953 w 513976"/>
                <a:gd name="connsiteY4" fmla="*/ 167341 h 663388"/>
                <a:gd name="connsiteX5" fmla="*/ 0 w 513976"/>
                <a:gd name="connsiteY5" fmla="*/ 137459 h 663388"/>
                <a:gd name="connsiteX6" fmla="*/ 89647 w 513976"/>
                <a:gd name="connsiteY6" fmla="*/ 173318 h 663388"/>
                <a:gd name="connsiteX7" fmla="*/ 59764 w 513976"/>
                <a:gd name="connsiteY7" fmla="*/ 89647 h 663388"/>
                <a:gd name="connsiteX8" fmla="*/ 131482 w 513976"/>
                <a:gd name="connsiteY8" fmla="*/ 161365 h 663388"/>
                <a:gd name="connsiteX9" fmla="*/ 107576 w 513976"/>
                <a:gd name="connsiteY9" fmla="*/ 77694 h 663388"/>
                <a:gd name="connsiteX10" fmla="*/ 179294 w 513976"/>
                <a:gd name="connsiteY10" fmla="*/ 149412 h 663388"/>
                <a:gd name="connsiteX11" fmla="*/ 167341 w 513976"/>
                <a:gd name="connsiteY11" fmla="*/ 59765 h 663388"/>
                <a:gd name="connsiteX12" fmla="*/ 245035 w 513976"/>
                <a:gd name="connsiteY12" fmla="*/ 149412 h 663388"/>
                <a:gd name="connsiteX13" fmla="*/ 221130 w 513976"/>
                <a:gd name="connsiteY13" fmla="*/ 0 h 663388"/>
                <a:gd name="connsiteX14" fmla="*/ 513976 w 513976"/>
                <a:gd name="connsiteY14" fmla="*/ 591671 h 663388"/>
                <a:gd name="connsiteX15" fmla="*/ 448235 w 513976"/>
                <a:gd name="connsiteY15" fmla="*/ 555812 h 663388"/>
                <a:gd name="connsiteX16" fmla="*/ 454211 w 513976"/>
                <a:gd name="connsiteY16" fmla="*/ 609600 h 663388"/>
                <a:gd name="connsiteX17" fmla="*/ 400423 w 513976"/>
                <a:gd name="connsiteY17" fmla="*/ 591671 h 663388"/>
                <a:gd name="connsiteX18" fmla="*/ 388470 w 513976"/>
                <a:gd name="connsiteY18" fmla="*/ 615577 h 663388"/>
                <a:gd name="connsiteX19" fmla="*/ 358588 w 513976"/>
                <a:gd name="connsiteY19" fmla="*/ 567765 h 663388"/>
                <a:gd name="connsiteX20" fmla="*/ 304800 w 513976"/>
                <a:gd name="connsiteY20" fmla="*/ 663388 h 663388"/>
                <a:gd name="connsiteX21" fmla="*/ 268941 w 513976"/>
                <a:gd name="connsiteY21" fmla="*/ 627530 h 66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3976" h="663388">
                  <a:moveTo>
                    <a:pt x="268941" y="627530"/>
                  </a:moveTo>
                  <a:lnTo>
                    <a:pt x="268941" y="627530"/>
                  </a:lnTo>
                  <a:cubicBezTo>
                    <a:pt x="189255" y="490071"/>
                    <a:pt x="108505" y="353223"/>
                    <a:pt x="29882" y="215153"/>
                  </a:cubicBezTo>
                  <a:cubicBezTo>
                    <a:pt x="26765" y="209679"/>
                    <a:pt x="26118" y="203122"/>
                    <a:pt x="23906" y="197224"/>
                  </a:cubicBezTo>
                  <a:cubicBezTo>
                    <a:pt x="20139" y="187179"/>
                    <a:pt x="15720" y="177386"/>
                    <a:pt x="11953" y="167341"/>
                  </a:cubicBezTo>
                  <a:cubicBezTo>
                    <a:pt x="876" y="137803"/>
                    <a:pt x="11403" y="160267"/>
                    <a:pt x="0" y="137459"/>
                  </a:cubicBezTo>
                  <a:lnTo>
                    <a:pt x="89647" y="173318"/>
                  </a:lnTo>
                  <a:lnTo>
                    <a:pt x="59764" y="89647"/>
                  </a:lnTo>
                  <a:lnTo>
                    <a:pt x="131482" y="161365"/>
                  </a:lnTo>
                  <a:lnTo>
                    <a:pt x="107576" y="77694"/>
                  </a:lnTo>
                  <a:lnTo>
                    <a:pt x="179294" y="149412"/>
                  </a:lnTo>
                  <a:lnTo>
                    <a:pt x="167341" y="59765"/>
                  </a:lnTo>
                  <a:lnTo>
                    <a:pt x="245035" y="149412"/>
                  </a:lnTo>
                  <a:lnTo>
                    <a:pt x="221130" y="0"/>
                  </a:lnTo>
                  <a:lnTo>
                    <a:pt x="513976" y="591671"/>
                  </a:lnTo>
                  <a:lnTo>
                    <a:pt x="448235" y="555812"/>
                  </a:lnTo>
                  <a:lnTo>
                    <a:pt x="454211" y="609600"/>
                  </a:lnTo>
                  <a:lnTo>
                    <a:pt x="400423" y="591671"/>
                  </a:lnTo>
                  <a:lnTo>
                    <a:pt x="388470" y="615577"/>
                  </a:lnTo>
                  <a:lnTo>
                    <a:pt x="358588" y="567765"/>
                  </a:lnTo>
                  <a:lnTo>
                    <a:pt x="304800" y="663388"/>
                  </a:lnTo>
                  <a:lnTo>
                    <a:pt x="268941" y="627530"/>
                  </a:lnTo>
                  <a:close/>
                </a:path>
              </a:pathLst>
            </a:custGeom>
            <a:solidFill>
              <a:srgbClr val="00206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0" name="TextBox 29">
              <a:extLst>
                <a:ext uri="{FF2B5EF4-FFF2-40B4-BE49-F238E27FC236}">
                  <a16:creationId xmlns:a16="http://schemas.microsoft.com/office/drawing/2014/main" id="{1F047D9F-FC81-42A3-BFCB-531DD711D12B}"/>
                </a:ext>
              </a:extLst>
            </p:cNvPr>
            <p:cNvSpPr txBox="1"/>
            <p:nvPr/>
          </p:nvSpPr>
          <p:spPr>
            <a:xfrm>
              <a:off x="624116" y="2253069"/>
              <a:ext cx="1933056" cy="333894"/>
            </a:xfrm>
            <a:prstGeom prst="rect">
              <a:avLst/>
            </a:prstGeom>
            <a:noFill/>
          </p:spPr>
          <p:txBody>
            <a:bodyPr wrap="square" rtlCol="0">
              <a:spAutoFit/>
            </a:bodyPr>
            <a:lstStyle/>
            <a:p>
              <a:pPr algn="ctr"/>
              <a:r>
                <a:rPr lang="en-US" b="1" dirty="0"/>
                <a:t>CAPA FÍSICA</a:t>
              </a:r>
            </a:p>
          </p:txBody>
        </p:sp>
        <p:pic>
          <p:nvPicPr>
            <p:cNvPr id="11" name="Graphic 30" descr="Termómetro">
              <a:extLst>
                <a:ext uri="{FF2B5EF4-FFF2-40B4-BE49-F238E27FC236}">
                  <a16:creationId xmlns:a16="http://schemas.microsoft.com/office/drawing/2014/main" id="{A1F0994D-B726-4572-BCCA-824864C8C088}"/>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234274" y="2799974"/>
              <a:ext cx="644545" cy="736510"/>
            </a:xfrm>
            <a:prstGeom prst="rect">
              <a:avLst/>
            </a:prstGeom>
          </p:spPr>
        </p:pic>
      </p:grpSp>
      <p:grpSp>
        <p:nvGrpSpPr>
          <p:cNvPr id="20" name="Group 39">
            <a:extLst>
              <a:ext uri="{FF2B5EF4-FFF2-40B4-BE49-F238E27FC236}">
                <a16:creationId xmlns:a16="http://schemas.microsoft.com/office/drawing/2014/main" id="{0F0A4F86-6DB3-4B9E-9985-F0FA0F69EC2A}"/>
              </a:ext>
            </a:extLst>
          </p:cNvPr>
          <p:cNvGrpSpPr/>
          <p:nvPr/>
        </p:nvGrpSpPr>
        <p:grpSpPr>
          <a:xfrm>
            <a:off x="6602554" y="1583797"/>
            <a:ext cx="4163769" cy="4143562"/>
            <a:chOff x="600756" y="1693282"/>
            <a:chExt cx="2639942" cy="3745980"/>
          </a:xfrm>
        </p:grpSpPr>
        <p:grpSp>
          <p:nvGrpSpPr>
            <p:cNvPr id="21" name="Group 40">
              <a:extLst>
                <a:ext uri="{FF2B5EF4-FFF2-40B4-BE49-F238E27FC236}">
                  <a16:creationId xmlns:a16="http://schemas.microsoft.com/office/drawing/2014/main" id="{9BE6016A-7488-45CC-9223-69C1391C8910}"/>
                </a:ext>
              </a:extLst>
            </p:cNvPr>
            <p:cNvGrpSpPr/>
            <p:nvPr/>
          </p:nvGrpSpPr>
          <p:grpSpPr>
            <a:xfrm>
              <a:off x="624115" y="1693282"/>
              <a:ext cx="2616583" cy="2875969"/>
              <a:chOff x="4318782" y="487953"/>
              <a:chExt cx="5267726" cy="5789924"/>
            </a:xfrm>
          </p:grpSpPr>
          <p:sp>
            <p:nvSpPr>
              <p:cNvPr id="26" name="Rectangle: Top Corners One Rounded and One Snipped 45">
                <a:extLst>
                  <a:ext uri="{FF2B5EF4-FFF2-40B4-BE49-F238E27FC236}">
                    <a16:creationId xmlns:a16="http://schemas.microsoft.com/office/drawing/2014/main" id="{B547C942-1642-4B14-BC3B-55A0CEF25D92}"/>
                  </a:ext>
                </a:extLst>
              </p:cNvPr>
              <p:cNvSpPr/>
              <p:nvPr/>
            </p:nvSpPr>
            <p:spPr>
              <a:xfrm flipH="1" flipV="1">
                <a:off x="5038065" y="1934197"/>
                <a:ext cx="4548443" cy="4343680"/>
              </a:xfrm>
              <a:prstGeom prst="snipRoundRect">
                <a:avLst>
                  <a:gd name="adj1" fmla="val 16667"/>
                  <a:gd name="adj2" fmla="val 0"/>
                </a:avLst>
              </a:prstGeom>
              <a:solidFill>
                <a:schemeClr val="tx1">
                  <a:alpha val="32000"/>
                </a:schemeClr>
              </a:solidFill>
              <a:ln>
                <a:noFill/>
              </a:ln>
              <a:effectLst>
                <a:softEdge rad="635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7" name="Rectangle: Top Corners One Rounded and One Snipped 46">
                <a:extLst>
                  <a:ext uri="{FF2B5EF4-FFF2-40B4-BE49-F238E27FC236}">
                    <a16:creationId xmlns:a16="http://schemas.microsoft.com/office/drawing/2014/main" id="{37CF107A-6DA6-48D9-BED1-FAC647737805}"/>
                  </a:ext>
                </a:extLst>
              </p:cNvPr>
              <p:cNvSpPr/>
              <p:nvPr/>
            </p:nvSpPr>
            <p:spPr>
              <a:xfrm flipH="1" flipV="1">
                <a:off x="4318782" y="1024515"/>
                <a:ext cx="3967089" cy="3826412"/>
              </a:xfrm>
              <a:prstGeom prst="snipRoundRect">
                <a:avLst>
                  <a:gd name="adj1" fmla="val 16667"/>
                  <a:gd name="adj2" fmla="val 0"/>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8" name="Right Triangle 11">
                <a:extLst>
                  <a:ext uri="{FF2B5EF4-FFF2-40B4-BE49-F238E27FC236}">
                    <a16:creationId xmlns:a16="http://schemas.microsoft.com/office/drawing/2014/main" id="{05337F47-4718-4018-BBD8-6C7953742ACA}"/>
                  </a:ext>
                </a:extLst>
              </p:cNvPr>
              <p:cNvSpPr/>
              <p:nvPr/>
            </p:nvSpPr>
            <p:spPr>
              <a:xfrm rot="21377153" flipH="1">
                <a:off x="6859276" y="4676350"/>
                <a:ext cx="1441109" cy="430668"/>
              </a:xfrm>
              <a:custGeom>
                <a:avLst/>
                <a:gdLst>
                  <a:gd name="connsiteX0" fmla="*/ 0 w 1383030"/>
                  <a:gd name="connsiteY0" fmla="*/ 531934 h 531934"/>
                  <a:gd name="connsiteX1" fmla="*/ 0 w 1383030"/>
                  <a:gd name="connsiteY1" fmla="*/ 0 h 531934"/>
                  <a:gd name="connsiteX2" fmla="*/ 1383030 w 1383030"/>
                  <a:gd name="connsiteY2" fmla="*/ 531934 h 531934"/>
                  <a:gd name="connsiteX3" fmla="*/ 0 w 1383030"/>
                  <a:gd name="connsiteY3" fmla="*/ 531934 h 531934"/>
                  <a:gd name="connsiteX0" fmla="*/ 0 w 1840230"/>
                  <a:gd name="connsiteY0" fmla="*/ 0 h 537882"/>
                  <a:gd name="connsiteX1" fmla="*/ 457200 w 1840230"/>
                  <a:gd name="connsiteY1" fmla="*/ 5948 h 537882"/>
                  <a:gd name="connsiteX2" fmla="*/ 1840230 w 1840230"/>
                  <a:gd name="connsiteY2" fmla="*/ 537882 h 537882"/>
                  <a:gd name="connsiteX3" fmla="*/ 0 w 1840230"/>
                  <a:gd name="connsiteY3" fmla="*/ 0 h 537882"/>
                  <a:gd name="connsiteX0" fmla="*/ 0 w 1840230"/>
                  <a:gd name="connsiteY0" fmla="*/ 0 h 537882"/>
                  <a:gd name="connsiteX1" fmla="*/ 457200 w 1840230"/>
                  <a:gd name="connsiteY1" fmla="*/ 5948 h 537882"/>
                  <a:gd name="connsiteX2" fmla="*/ 1840230 w 1840230"/>
                  <a:gd name="connsiteY2" fmla="*/ 537882 h 537882"/>
                  <a:gd name="connsiteX3" fmla="*/ 0 w 1840230"/>
                  <a:gd name="connsiteY3" fmla="*/ 0 h 537882"/>
                  <a:gd name="connsiteX0" fmla="*/ 0 w 1840230"/>
                  <a:gd name="connsiteY0" fmla="*/ 0 h 553000"/>
                  <a:gd name="connsiteX1" fmla="*/ 457200 w 1840230"/>
                  <a:gd name="connsiteY1" fmla="*/ 5948 h 553000"/>
                  <a:gd name="connsiteX2" fmla="*/ 1840230 w 1840230"/>
                  <a:gd name="connsiteY2" fmla="*/ 537882 h 553000"/>
                  <a:gd name="connsiteX3" fmla="*/ 0 w 1840230"/>
                  <a:gd name="connsiteY3" fmla="*/ 0 h 553000"/>
                  <a:gd name="connsiteX0" fmla="*/ 0 w 1840230"/>
                  <a:gd name="connsiteY0" fmla="*/ 0 h 550713"/>
                  <a:gd name="connsiteX1" fmla="*/ 457200 w 1840230"/>
                  <a:gd name="connsiteY1" fmla="*/ 5948 h 550713"/>
                  <a:gd name="connsiteX2" fmla="*/ 1840230 w 1840230"/>
                  <a:gd name="connsiteY2" fmla="*/ 537882 h 550713"/>
                  <a:gd name="connsiteX3" fmla="*/ 0 w 1840230"/>
                  <a:gd name="connsiteY3" fmla="*/ 0 h 550713"/>
                  <a:gd name="connsiteX0" fmla="*/ 0 w 1840230"/>
                  <a:gd name="connsiteY0" fmla="*/ 0 h 550713"/>
                  <a:gd name="connsiteX1" fmla="*/ 457200 w 1840230"/>
                  <a:gd name="connsiteY1" fmla="*/ 5948 h 550713"/>
                  <a:gd name="connsiteX2" fmla="*/ 1840230 w 1840230"/>
                  <a:gd name="connsiteY2" fmla="*/ 537882 h 550713"/>
                  <a:gd name="connsiteX3" fmla="*/ 0 w 1840230"/>
                  <a:gd name="connsiteY3" fmla="*/ 0 h 550713"/>
                  <a:gd name="connsiteX0" fmla="*/ 0 w 1840230"/>
                  <a:gd name="connsiteY0" fmla="*/ 0 h 550713"/>
                  <a:gd name="connsiteX1" fmla="*/ 457200 w 1840230"/>
                  <a:gd name="connsiteY1" fmla="*/ 5948 h 550713"/>
                  <a:gd name="connsiteX2" fmla="*/ 1840230 w 1840230"/>
                  <a:gd name="connsiteY2" fmla="*/ 537882 h 550713"/>
                  <a:gd name="connsiteX3" fmla="*/ 0 w 1840230"/>
                  <a:gd name="connsiteY3" fmla="*/ 0 h 550713"/>
                </a:gdLst>
                <a:ahLst/>
                <a:cxnLst>
                  <a:cxn ang="0">
                    <a:pos x="connsiteX0" y="connsiteY0"/>
                  </a:cxn>
                  <a:cxn ang="0">
                    <a:pos x="connsiteX1" y="connsiteY1"/>
                  </a:cxn>
                  <a:cxn ang="0">
                    <a:pos x="connsiteX2" y="connsiteY2"/>
                  </a:cxn>
                  <a:cxn ang="0">
                    <a:pos x="connsiteX3" y="connsiteY3"/>
                  </a:cxn>
                </a:cxnLst>
                <a:rect l="l" t="t" r="r" b="b"/>
                <a:pathLst>
                  <a:path w="1840230" h="550713">
                    <a:moveTo>
                      <a:pt x="0" y="0"/>
                    </a:moveTo>
                    <a:cubicBezTo>
                      <a:pt x="307041" y="277648"/>
                      <a:pt x="419100" y="-43099"/>
                      <a:pt x="457200" y="5948"/>
                    </a:cubicBezTo>
                    <a:lnTo>
                      <a:pt x="1840230" y="537882"/>
                    </a:lnTo>
                    <a:cubicBezTo>
                      <a:pt x="1549550" y="432546"/>
                      <a:pt x="142763" y="851647"/>
                      <a:pt x="0" y="0"/>
                    </a:cubicBez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nvGrpSpPr>
              <p:cNvPr id="29" name="Group 48">
                <a:extLst>
                  <a:ext uri="{FF2B5EF4-FFF2-40B4-BE49-F238E27FC236}">
                    <a16:creationId xmlns:a16="http://schemas.microsoft.com/office/drawing/2014/main" id="{DFFA1912-4391-4F40-AE0E-E67109CA90FA}"/>
                  </a:ext>
                </a:extLst>
              </p:cNvPr>
              <p:cNvGrpSpPr/>
              <p:nvPr/>
            </p:nvGrpSpPr>
            <p:grpSpPr>
              <a:xfrm>
                <a:off x="6292161" y="487953"/>
                <a:ext cx="552600" cy="1140997"/>
                <a:chOff x="2939143" y="1028541"/>
                <a:chExt cx="783329" cy="1617400"/>
              </a:xfrm>
              <a:effectLst>
                <a:outerShdw blurRad="76200" dir="18900000" sy="23000" kx="-1200000" algn="bl" rotWithShape="0">
                  <a:prstClr val="black">
                    <a:alpha val="20000"/>
                  </a:prstClr>
                </a:outerShdw>
              </a:effectLst>
            </p:grpSpPr>
            <p:sp>
              <p:nvSpPr>
                <p:cNvPr id="30" name="Rectangle: Rounded Corners 49">
                  <a:extLst>
                    <a:ext uri="{FF2B5EF4-FFF2-40B4-BE49-F238E27FC236}">
                      <a16:creationId xmlns:a16="http://schemas.microsoft.com/office/drawing/2014/main" id="{A1C2B4E5-568D-48DB-BB15-55D2D97022EA}"/>
                    </a:ext>
                  </a:extLst>
                </p:cNvPr>
                <p:cNvSpPr/>
                <p:nvPr/>
              </p:nvSpPr>
              <p:spPr>
                <a:xfrm rot="1098443" flipH="1">
                  <a:off x="3153025" y="1914421"/>
                  <a:ext cx="77804" cy="731520"/>
                </a:xfrm>
                <a:prstGeom prst="roundRect">
                  <a:avLst/>
                </a:prstGeom>
                <a:gradFill flip="none" rotWithShape="1">
                  <a:gsLst>
                    <a:gs pos="100000">
                      <a:schemeClr val="bg1">
                        <a:lumMod val="85000"/>
                      </a:schemeClr>
                    </a:gs>
                    <a:gs pos="57512">
                      <a:schemeClr val="tx1">
                        <a:lumMod val="65000"/>
                        <a:lumOff val="35000"/>
                      </a:schemeClr>
                    </a:gs>
                    <a:gs pos="24800">
                      <a:schemeClr val="bg1"/>
                    </a:gs>
                    <a:gs pos="0">
                      <a:schemeClr val="bg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1" name="Oval 50">
                  <a:extLst>
                    <a:ext uri="{FF2B5EF4-FFF2-40B4-BE49-F238E27FC236}">
                      <a16:creationId xmlns:a16="http://schemas.microsoft.com/office/drawing/2014/main" id="{639DB735-3D13-44F3-BF68-AE194041022E}"/>
                    </a:ext>
                  </a:extLst>
                </p:cNvPr>
                <p:cNvSpPr/>
                <p:nvPr/>
              </p:nvSpPr>
              <p:spPr>
                <a:xfrm>
                  <a:off x="2939143" y="1538514"/>
                  <a:ext cx="740228" cy="740228"/>
                </a:xfrm>
                <a:prstGeom prst="ellipse">
                  <a:avLst/>
                </a:prstGeom>
                <a:solidFill>
                  <a:srgbClr val="0070C0"/>
                </a:solidFill>
                <a:ln>
                  <a:noFill/>
                </a:ln>
                <a:effectLst>
                  <a:innerShdw blurRad="3302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2" name="Trapezoid 51">
                  <a:extLst>
                    <a:ext uri="{FF2B5EF4-FFF2-40B4-BE49-F238E27FC236}">
                      <a16:creationId xmlns:a16="http://schemas.microsoft.com/office/drawing/2014/main" id="{B2F8B221-38AC-4B68-87D5-0823A0B73379}"/>
                    </a:ext>
                  </a:extLst>
                </p:cNvPr>
                <p:cNvSpPr/>
                <p:nvPr/>
              </p:nvSpPr>
              <p:spPr>
                <a:xfrm rot="702551">
                  <a:off x="3193598" y="1216282"/>
                  <a:ext cx="418337" cy="707468"/>
                </a:xfrm>
                <a:prstGeom prst="trapezoid">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3" name="Oval 52">
                  <a:extLst>
                    <a:ext uri="{FF2B5EF4-FFF2-40B4-BE49-F238E27FC236}">
                      <a16:creationId xmlns:a16="http://schemas.microsoft.com/office/drawing/2014/main" id="{58A5C428-80F3-41FF-ABF2-A4769B5526C8}"/>
                    </a:ext>
                  </a:extLst>
                </p:cNvPr>
                <p:cNvSpPr/>
                <p:nvPr/>
              </p:nvSpPr>
              <p:spPr>
                <a:xfrm>
                  <a:off x="3169263" y="1028541"/>
                  <a:ext cx="553209" cy="553209"/>
                </a:xfrm>
                <a:prstGeom prst="ellipse">
                  <a:avLst/>
                </a:prstGeom>
                <a:solidFill>
                  <a:srgbClr val="0070C0"/>
                </a:solidFill>
                <a:ln>
                  <a:noFill/>
                </a:ln>
                <a:effectLst>
                  <a:innerShdw blurRad="3302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sp>
          <p:nvSpPr>
            <p:cNvPr id="22" name="TextBox 41">
              <a:extLst>
                <a:ext uri="{FF2B5EF4-FFF2-40B4-BE49-F238E27FC236}">
                  <a16:creationId xmlns:a16="http://schemas.microsoft.com/office/drawing/2014/main" id="{D40B3051-45ED-4BE0-86DB-59625B7F5C4B}"/>
                </a:ext>
              </a:extLst>
            </p:cNvPr>
            <p:cNvSpPr txBox="1"/>
            <p:nvPr/>
          </p:nvSpPr>
          <p:spPr>
            <a:xfrm rot="20528672">
              <a:off x="600756" y="4284546"/>
              <a:ext cx="2139520" cy="1154716"/>
            </a:xfrm>
            <a:prstGeom prst="rect">
              <a:avLst/>
            </a:prstGeom>
            <a:solidFill>
              <a:schemeClr val="bg1"/>
            </a:solidFill>
            <a:effectLst>
              <a:outerShdw blurRad="139700" dist="38100" dir="2700000" algn="tl" rotWithShape="0">
                <a:prstClr val="black">
                  <a:alpha val="40000"/>
                </a:prstClr>
              </a:outerShdw>
            </a:effectLst>
          </p:spPr>
          <p:txBody>
            <a:bodyPr wrap="square" rtlCol="0">
              <a:spAutoFit/>
            </a:bodyPr>
            <a:lstStyle/>
            <a:p>
              <a:r>
                <a:rPr lang="es-ES" sz="1100" dirty="0"/>
                <a:t>Se </a:t>
              </a:r>
              <a:r>
                <a:rPr lang="es-ES" sz="1100" dirty="0" smtClean="0"/>
                <a:t>trabajarían con </a:t>
              </a:r>
              <a:r>
                <a:rPr lang="es-ES" sz="1100" b="1" dirty="0"/>
                <a:t>variables emocionales </a:t>
              </a:r>
              <a:r>
                <a:rPr lang="es-ES" sz="1100" dirty="0" smtClean="0"/>
                <a:t>para detectar el estado anímico del alumnado y poder gestionarlos con herramientas adecuadas e incluso poder detectar posible acoso escolar y con </a:t>
              </a:r>
              <a:r>
                <a:rPr lang="es-ES" sz="1100" b="1" dirty="0"/>
                <a:t>variables académicas </a:t>
              </a:r>
              <a:r>
                <a:rPr lang="es-ES" sz="1100" dirty="0"/>
                <a:t>como la </a:t>
              </a:r>
              <a:r>
                <a:rPr lang="es-ES" sz="1100" dirty="0" smtClean="0"/>
                <a:t>generación </a:t>
              </a:r>
              <a:r>
                <a:rPr lang="es-ES" sz="1100" dirty="0"/>
                <a:t>de una evaluación </a:t>
              </a:r>
              <a:r>
                <a:rPr lang="es-ES" sz="1100" dirty="0" smtClean="0"/>
                <a:t>intermedia.</a:t>
              </a:r>
              <a:endParaRPr lang="en-US" sz="1100" dirty="0"/>
            </a:p>
          </p:txBody>
        </p:sp>
        <p:sp>
          <p:nvSpPr>
            <p:cNvPr id="23" name="Freeform: Shape 42">
              <a:extLst>
                <a:ext uri="{FF2B5EF4-FFF2-40B4-BE49-F238E27FC236}">
                  <a16:creationId xmlns:a16="http://schemas.microsoft.com/office/drawing/2014/main" id="{1F110EDF-346E-4358-89C0-F9D1368986D2}"/>
                </a:ext>
              </a:extLst>
            </p:cNvPr>
            <p:cNvSpPr/>
            <p:nvPr/>
          </p:nvSpPr>
          <p:spPr>
            <a:xfrm>
              <a:off x="981397" y="3554300"/>
              <a:ext cx="513976" cy="663388"/>
            </a:xfrm>
            <a:custGeom>
              <a:avLst/>
              <a:gdLst>
                <a:gd name="connsiteX0" fmla="*/ 268941 w 513976"/>
                <a:gd name="connsiteY0" fmla="*/ 693271 h 729129"/>
                <a:gd name="connsiteX1" fmla="*/ 268941 w 513976"/>
                <a:gd name="connsiteY1" fmla="*/ 693271 h 729129"/>
                <a:gd name="connsiteX2" fmla="*/ 29882 w 513976"/>
                <a:gd name="connsiteY2" fmla="*/ 280894 h 729129"/>
                <a:gd name="connsiteX3" fmla="*/ 23906 w 513976"/>
                <a:gd name="connsiteY3" fmla="*/ 262965 h 729129"/>
                <a:gd name="connsiteX4" fmla="*/ 11953 w 513976"/>
                <a:gd name="connsiteY4" fmla="*/ 233082 h 729129"/>
                <a:gd name="connsiteX5" fmla="*/ 0 w 513976"/>
                <a:gd name="connsiteY5" fmla="*/ 203200 h 729129"/>
                <a:gd name="connsiteX6" fmla="*/ 89647 w 513976"/>
                <a:gd name="connsiteY6" fmla="*/ 239059 h 729129"/>
                <a:gd name="connsiteX7" fmla="*/ 59764 w 513976"/>
                <a:gd name="connsiteY7" fmla="*/ 155388 h 729129"/>
                <a:gd name="connsiteX8" fmla="*/ 131482 w 513976"/>
                <a:gd name="connsiteY8" fmla="*/ 227106 h 729129"/>
                <a:gd name="connsiteX9" fmla="*/ 107576 w 513976"/>
                <a:gd name="connsiteY9" fmla="*/ 143435 h 729129"/>
                <a:gd name="connsiteX10" fmla="*/ 179294 w 513976"/>
                <a:gd name="connsiteY10" fmla="*/ 215153 h 729129"/>
                <a:gd name="connsiteX11" fmla="*/ 167341 w 513976"/>
                <a:gd name="connsiteY11" fmla="*/ 125506 h 729129"/>
                <a:gd name="connsiteX12" fmla="*/ 245035 w 513976"/>
                <a:gd name="connsiteY12" fmla="*/ 215153 h 729129"/>
                <a:gd name="connsiteX13" fmla="*/ 203200 w 513976"/>
                <a:gd name="connsiteY13" fmla="*/ 0 h 729129"/>
                <a:gd name="connsiteX14" fmla="*/ 513976 w 513976"/>
                <a:gd name="connsiteY14" fmla="*/ 657412 h 729129"/>
                <a:gd name="connsiteX15" fmla="*/ 448235 w 513976"/>
                <a:gd name="connsiteY15" fmla="*/ 621553 h 729129"/>
                <a:gd name="connsiteX16" fmla="*/ 454211 w 513976"/>
                <a:gd name="connsiteY16" fmla="*/ 675341 h 729129"/>
                <a:gd name="connsiteX17" fmla="*/ 400423 w 513976"/>
                <a:gd name="connsiteY17" fmla="*/ 657412 h 729129"/>
                <a:gd name="connsiteX18" fmla="*/ 388470 w 513976"/>
                <a:gd name="connsiteY18" fmla="*/ 681318 h 729129"/>
                <a:gd name="connsiteX19" fmla="*/ 358588 w 513976"/>
                <a:gd name="connsiteY19" fmla="*/ 633506 h 729129"/>
                <a:gd name="connsiteX20" fmla="*/ 304800 w 513976"/>
                <a:gd name="connsiteY20" fmla="*/ 729129 h 729129"/>
                <a:gd name="connsiteX21" fmla="*/ 268941 w 513976"/>
                <a:gd name="connsiteY21" fmla="*/ 693271 h 729129"/>
                <a:gd name="connsiteX0" fmla="*/ 268941 w 513976"/>
                <a:gd name="connsiteY0" fmla="*/ 627530 h 663388"/>
                <a:gd name="connsiteX1" fmla="*/ 268941 w 513976"/>
                <a:gd name="connsiteY1" fmla="*/ 627530 h 663388"/>
                <a:gd name="connsiteX2" fmla="*/ 29882 w 513976"/>
                <a:gd name="connsiteY2" fmla="*/ 215153 h 663388"/>
                <a:gd name="connsiteX3" fmla="*/ 23906 w 513976"/>
                <a:gd name="connsiteY3" fmla="*/ 197224 h 663388"/>
                <a:gd name="connsiteX4" fmla="*/ 11953 w 513976"/>
                <a:gd name="connsiteY4" fmla="*/ 167341 h 663388"/>
                <a:gd name="connsiteX5" fmla="*/ 0 w 513976"/>
                <a:gd name="connsiteY5" fmla="*/ 137459 h 663388"/>
                <a:gd name="connsiteX6" fmla="*/ 89647 w 513976"/>
                <a:gd name="connsiteY6" fmla="*/ 173318 h 663388"/>
                <a:gd name="connsiteX7" fmla="*/ 59764 w 513976"/>
                <a:gd name="connsiteY7" fmla="*/ 89647 h 663388"/>
                <a:gd name="connsiteX8" fmla="*/ 131482 w 513976"/>
                <a:gd name="connsiteY8" fmla="*/ 161365 h 663388"/>
                <a:gd name="connsiteX9" fmla="*/ 107576 w 513976"/>
                <a:gd name="connsiteY9" fmla="*/ 77694 h 663388"/>
                <a:gd name="connsiteX10" fmla="*/ 179294 w 513976"/>
                <a:gd name="connsiteY10" fmla="*/ 149412 h 663388"/>
                <a:gd name="connsiteX11" fmla="*/ 167341 w 513976"/>
                <a:gd name="connsiteY11" fmla="*/ 59765 h 663388"/>
                <a:gd name="connsiteX12" fmla="*/ 245035 w 513976"/>
                <a:gd name="connsiteY12" fmla="*/ 149412 h 663388"/>
                <a:gd name="connsiteX13" fmla="*/ 221130 w 513976"/>
                <a:gd name="connsiteY13" fmla="*/ 0 h 663388"/>
                <a:gd name="connsiteX14" fmla="*/ 513976 w 513976"/>
                <a:gd name="connsiteY14" fmla="*/ 591671 h 663388"/>
                <a:gd name="connsiteX15" fmla="*/ 448235 w 513976"/>
                <a:gd name="connsiteY15" fmla="*/ 555812 h 663388"/>
                <a:gd name="connsiteX16" fmla="*/ 454211 w 513976"/>
                <a:gd name="connsiteY16" fmla="*/ 609600 h 663388"/>
                <a:gd name="connsiteX17" fmla="*/ 400423 w 513976"/>
                <a:gd name="connsiteY17" fmla="*/ 591671 h 663388"/>
                <a:gd name="connsiteX18" fmla="*/ 388470 w 513976"/>
                <a:gd name="connsiteY18" fmla="*/ 615577 h 663388"/>
                <a:gd name="connsiteX19" fmla="*/ 358588 w 513976"/>
                <a:gd name="connsiteY19" fmla="*/ 567765 h 663388"/>
                <a:gd name="connsiteX20" fmla="*/ 304800 w 513976"/>
                <a:gd name="connsiteY20" fmla="*/ 663388 h 663388"/>
                <a:gd name="connsiteX21" fmla="*/ 268941 w 513976"/>
                <a:gd name="connsiteY21" fmla="*/ 627530 h 66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3976" h="663388">
                  <a:moveTo>
                    <a:pt x="268941" y="627530"/>
                  </a:moveTo>
                  <a:lnTo>
                    <a:pt x="268941" y="627530"/>
                  </a:lnTo>
                  <a:cubicBezTo>
                    <a:pt x="189255" y="490071"/>
                    <a:pt x="108505" y="353223"/>
                    <a:pt x="29882" y="215153"/>
                  </a:cubicBezTo>
                  <a:cubicBezTo>
                    <a:pt x="26765" y="209679"/>
                    <a:pt x="26118" y="203122"/>
                    <a:pt x="23906" y="197224"/>
                  </a:cubicBezTo>
                  <a:cubicBezTo>
                    <a:pt x="20139" y="187179"/>
                    <a:pt x="15720" y="177386"/>
                    <a:pt x="11953" y="167341"/>
                  </a:cubicBezTo>
                  <a:cubicBezTo>
                    <a:pt x="876" y="137803"/>
                    <a:pt x="11403" y="160267"/>
                    <a:pt x="0" y="137459"/>
                  </a:cubicBezTo>
                  <a:lnTo>
                    <a:pt x="89647" y="173318"/>
                  </a:lnTo>
                  <a:lnTo>
                    <a:pt x="59764" y="89647"/>
                  </a:lnTo>
                  <a:lnTo>
                    <a:pt x="131482" y="161365"/>
                  </a:lnTo>
                  <a:lnTo>
                    <a:pt x="107576" y="77694"/>
                  </a:lnTo>
                  <a:lnTo>
                    <a:pt x="179294" y="149412"/>
                  </a:lnTo>
                  <a:lnTo>
                    <a:pt x="167341" y="59765"/>
                  </a:lnTo>
                  <a:lnTo>
                    <a:pt x="245035" y="149412"/>
                  </a:lnTo>
                  <a:lnTo>
                    <a:pt x="221130" y="0"/>
                  </a:lnTo>
                  <a:lnTo>
                    <a:pt x="513976" y="591671"/>
                  </a:lnTo>
                  <a:lnTo>
                    <a:pt x="448235" y="555812"/>
                  </a:lnTo>
                  <a:lnTo>
                    <a:pt x="454211" y="609600"/>
                  </a:lnTo>
                  <a:lnTo>
                    <a:pt x="400423" y="591671"/>
                  </a:lnTo>
                  <a:lnTo>
                    <a:pt x="388470" y="615577"/>
                  </a:lnTo>
                  <a:lnTo>
                    <a:pt x="358588" y="567765"/>
                  </a:lnTo>
                  <a:lnTo>
                    <a:pt x="304800" y="663388"/>
                  </a:lnTo>
                  <a:lnTo>
                    <a:pt x="268941" y="627530"/>
                  </a:lnTo>
                  <a:close/>
                </a:path>
              </a:pathLst>
            </a:custGeom>
            <a:solidFill>
              <a:srgbClr val="00206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4" name="TextBox 43">
              <a:extLst>
                <a:ext uri="{FF2B5EF4-FFF2-40B4-BE49-F238E27FC236}">
                  <a16:creationId xmlns:a16="http://schemas.microsoft.com/office/drawing/2014/main" id="{7F216C8A-F9CE-45D4-A58E-3D7B02A799A8}"/>
                </a:ext>
              </a:extLst>
            </p:cNvPr>
            <p:cNvSpPr txBox="1"/>
            <p:nvPr/>
          </p:nvSpPr>
          <p:spPr>
            <a:xfrm>
              <a:off x="626963" y="2236457"/>
              <a:ext cx="1975417" cy="306069"/>
            </a:xfrm>
            <a:prstGeom prst="rect">
              <a:avLst/>
            </a:prstGeom>
            <a:noFill/>
          </p:spPr>
          <p:txBody>
            <a:bodyPr wrap="square" rtlCol="0">
              <a:spAutoFit/>
            </a:bodyPr>
            <a:lstStyle/>
            <a:p>
              <a:pPr algn="ctr"/>
              <a:r>
                <a:rPr lang="en-US" sz="1600" b="1" dirty="0"/>
                <a:t>CAPA EMOCIONAL</a:t>
              </a:r>
            </a:p>
          </p:txBody>
        </p:sp>
        <p:pic>
          <p:nvPicPr>
            <p:cNvPr id="25" name="Graphic 44" descr="Head with gears">
              <a:extLst>
                <a:ext uri="{FF2B5EF4-FFF2-40B4-BE49-F238E27FC236}">
                  <a16:creationId xmlns:a16="http://schemas.microsoft.com/office/drawing/2014/main" id="{967C94C8-8D4A-4018-8769-9DDB2C549A1A}"/>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1225579" y="2849728"/>
              <a:ext cx="653239" cy="794203"/>
            </a:xfrm>
            <a:prstGeom prst="rect">
              <a:avLst/>
            </a:prstGeom>
          </p:spPr>
        </p:pic>
      </p:grpSp>
      <p:sp>
        <p:nvSpPr>
          <p:cNvPr id="34" name="Marcador de número de diapositiva 1"/>
          <p:cNvSpPr>
            <a:spLocks noGrp="1"/>
          </p:cNvSpPr>
          <p:nvPr>
            <p:ph type="sldNum" sz="quarter" idx="12"/>
          </p:nvPr>
        </p:nvSpPr>
        <p:spPr>
          <a:xfrm>
            <a:off x="11777051" y="6458134"/>
            <a:ext cx="487378" cy="481343"/>
          </a:xfrm>
        </p:spPr>
        <p:txBody>
          <a:bodyPr/>
          <a:lstStyle/>
          <a:p>
            <a:r>
              <a:rPr lang="en-US" sz="2000" dirty="0" smtClean="0"/>
              <a:t>23</a:t>
            </a:r>
            <a:endParaRPr lang="en-US" sz="2000" dirty="0"/>
          </a:p>
        </p:txBody>
      </p:sp>
    </p:spTree>
    <p:extLst>
      <p:ext uri="{BB962C8B-B14F-4D97-AF65-F5344CB8AC3E}">
        <p14:creationId xmlns:p14="http://schemas.microsoft.com/office/powerpoint/2010/main" val="307010401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23FEED7-63F6-4545-95DD-474E69B1B82D}"/>
              </a:ext>
            </a:extLst>
          </p:cNvPr>
          <p:cNvSpPr/>
          <p:nvPr/>
        </p:nvSpPr>
        <p:spPr>
          <a:xfrm>
            <a:off x="163254" y="175343"/>
            <a:ext cx="10580140" cy="707886"/>
          </a:xfrm>
          <a:prstGeom prst="rect">
            <a:avLst/>
          </a:prstGeom>
          <a:noFill/>
        </p:spPr>
        <p:txBody>
          <a:bodyPr wrap="none" lIns="91440" tIns="45720" rIns="91440" bIns="45720">
            <a:spAutoFit/>
          </a:bodyPr>
          <a:lstStyle/>
          <a:p>
            <a:r>
              <a:rPr lang="es-ES" sz="4000" b="1"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Aula </a:t>
            </a:r>
            <a:r>
              <a:rPr lang="es-ES" sz="4000" b="1" dirty="0" err="1">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A</a:t>
            </a:r>
            <a:r>
              <a:rPr lang="es-ES" sz="4000" b="1" dirty="0" err="1">
                <a:ln w="9525">
                  <a:solidFill>
                    <a:schemeClr val="bg1"/>
                  </a:solidFill>
                  <a:prstDash val="solid"/>
                </a:ln>
                <a:solidFill>
                  <a:schemeClr val="bg1">
                    <a:lumMod val="65000"/>
                  </a:schemeClr>
                </a:solidFill>
                <a:effectLst>
                  <a:outerShdw blurRad="12700" dist="38100" dir="2700000" algn="tl" rotWithShape="0">
                    <a:schemeClr val="accent5">
                      <a:lumMod val="60000"/>
                      <a:lumOff val="40000"/>
                    </a:schemeClr>
                  </a:outerShdw>
                </a:effectLst>
              </a:rPr>
              <a:t>tec</a:t>
            </a:r>
            <a:r>
              <a:rPr lang="es-ES" sz="4000" b="1" dirty="0" err="1">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A</a:t>
            </a:r>
            <a:r>
              <a:rPr lang="es-ES" sz="4000" b="1"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 : capas física y </a:t>
            </a:r>
            <a:r>
              <a:rPr lang="es-ES" sz="4000" b="1" dirty="0" smtClean="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emocional (II)</a:t>
            </a:r>
            <a:endParaRPr lang="es-ES" sz="4000" b="1"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endParaRPr>
          </a:p>
        </p:txBody>
      </p:sp>
      <p:sp>
        <p:nvSpPr>
          <p:cNvPr id="5" name="Rectángulo 4">
            <a:extLst>
              <a:ext uri="{FF2B5EF4-FFF2-40B4-BE49-F238E27FC236}">
                <a16:creationId xmlns:a16="http://schemas.microsoft.com/office/drawing/2014/main" id="{AB6BB749-4A8E-4FC8-B9D8-B3101C7BFAE8}"/>
              </a:ext>
            </a:extLst>
          </p:cNvPr>
          <p:cNvSpPr/>
          <p:nvPr/>
        </p:nvSpPr>
        <p:spPr>
          <a:xfrm>
            <a:off x="419022" y="1209479"/>
            <a:ext cx="5595354" cy="523220"/>
          </a:xfrm>
          <a:prstGeom prst="rect">
            <a:avLst/>
          </a:prstGeom>
          <a:noFill/>
        </p:spPr>
        <p:txBody>
          <a:bodyPr wrap="square" lIns="91440" tIns="45720" rIns="91440" bIns="45720">
            <a:spAutoFit/>
          </a:bodyPr>
          <a:lstStyle/>
          <a:p>
            <a:r>
              <a:rPr lang="es-ES" sz="2800" b="1" dirty="0">
                <a:ln w="9525">
                  <a:solidFill>
                    <a:schemeClr val="tx1"/>
                  </a:solidFill>
                  <a:prstDash val="solid"/>
                </a:ln>
                <a:solidFill>
                  <a:srgbClr val="FFFF00"/>
                </a:solidFill>
                <a:effectLst>
                  <a:outerShdw blurRad="63500" sx="102000" sy="102000" algn="ctr" rotWithShape="0">
                    <a:prstClr val="black">
                      <a:alpha val="40000"/>
                    </a:prstClr>
                  </a:outerShdw>
                </a:effectLst>
              </a:rPr>
              <a:t>Descripción técnica:</a:t>
            </a:r>
          </a:p>
        </p:txBody>
      </p:sp>
      <p:grpSp>
        <p:nvGrpSpPr>
          <p:cNvPr id="4" name="Group 25">
            <a:extLst>
              <a:ext uri="{FF2B5EF4-FFF2-40B4-BE49-F238E27FC236}">
                <a16:creationId xmlns:a16="http://schemas.microsoft.com/office/drawing/2014/main" id="{D62F0717-A0DF-4374-8488-4F99B6A7ACA9}"/>
              </a:ext>
            </a:extLst>
          </p:cNvPr>
          <p:cNvGrpSpPr/>
          <p:nvPr/>
        </p:nvGrpSpPr>
        <p:grpSpPr>
          <a:xfrm>
            <a:off x="2721075" y="1430594"/>
            <a:ext cx="4029972" cy="4476560"/>
            <a:chOff x="427407" y="1693282"/>
            <a:chExt cx="2813291" cy="3429714"/>
          </a:xfrm>
        </p:grpSpPr>
        <p:grpSp>
          <p:nvGrpSpPr>
            <p:cNvPr id="6" name="Group 26">
              <a:extLst>
                <a:ext uri="{FF2B5EF4-FFF2-40B4-BE49-F238E27FC236}">
                  <a16:creationId xmlns:a16="http://schemas.microsoft.com/office/drawing/2014/main" id="{601CE169-4132-44D9-8A67-D4CB7733D755}"/>
                </a:ext>
              </a:extLst>
            </p:cNvPr>
            <p:cNvGrpSpPr/>
            <p:nvPr/>
          </p:nvGrpSpPr>
          <p:grpSpPr>
            <a:xfrm>
              <a:off x="624115" y="1693282"/>
              <a:ext cx="2616583" cy="2875969"/>
              <a:chOff x="4318782" y="487953"/>
              <a:chExt cx="5267726" cy="5789924"/>
            </a:xfrm>
          </p:grpSpPr>
          <p:sp>
            <p:nvSpPr>
              <p:cNvPr id="11" name="Rectangle: Top Corners One Rounded and One Snipped 31">
                <a:extLst>
                  <a:ext uri="{FF2B5EF4-FFF2-40B4-BE49-F238E27FC236}">
                    <a16:creationId xmlns:a16="http://schemas.microsoft.com/office/drawing/2014/main" id="{0AA4C012-1C36-4219-96FB-D578F6E3FCB1}"/>
                  </a:ext>
                </a:extLst>
              </p:cNvPr>
              <p:cNvSpPr/>
              <p:nvPr/>
            </p:nvSpPr>
            <p:spPr>
              <a:xfrm flipH="1" flipV="1">
                <a:off x="5038065" y="1934197"/>
                <a:ext cx="4548443" cy="4343680"/>
              </a:xfrm>
              <a:prstGeom prst="snipRoundRect">
                <a:avLst>
                  <a:gd name="adj1" fmla="val 16667"/>
                  <a:gd name="adj2" fmla="val 0"/>
                </a:avLst>
              </a:prstGeom>
              <a:solidFill>
                <a:schemeClr val="tx1">
                  <a:alpha val="32000"/>
                </a:schemeClr>
              </a:solidFill>
              <a:ln>
                <a:noFill/>
              </a:ln>
              <a:effectLst>
                <a:softEdge rad="635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2" name="Rectangle: Top Corners One Rounded and One Snipped 32">
                <a:extLst>
                  <a:ext uri="{FF2B5EF4-FFF2-40B4-BE49-F238E27FC236}">
                    <a16:creationId xmlns:a16="http://schemas.microsoft.com/office/drawing/2014/main" id="{F8AAB413-EC41-4373-BC66-98DCF102E7CF}"/>
                  </a:ext>
                </a:extLst>
              </p:cNvPr>
              <p:cNvSpPr/>
              <p:nvPr/>
            </p:nvSpPr>
            <p:spPr>
              <a:xfrm flipH="1" flipV="1">
                <a:off x="4318782" y="1266092"/>
                <a:ext cx="3967089" cy="3826412"/>
              </a:xfrm>
              <a:prstGeom prst="snipRoundRect">
                <a:avLst>
                  <a:gd name="adj1" fmla="val 16667"/>
                  <a:gd name="adj2" fmla="val 0"/>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3" name="Right Triangle 11">
                <a:extLst>
                  <a:ext uri="{FF2B5EF4-FFF2-40B4-BE49-F238E27FC236}">
                    <a16:creationId xmlns:a16="http://schemas.microsoft.com/office/drawing/2014/main" id="{22C7252E-01E6-47C6-8396-BE9EBD6E8B9D}"/>
                  </a:ext>
                </a:extLst>
              </p:cNvPr>
              <p:cNvSpPr/>
              <p:nvPr/>
            </p:nvSpPr>
            <p:spPr>
              <a:xfrm rot="21445862" flipH="1">
                <a:off x="6835834" y="4654199"/>
                <a:ext cx="1441109" cy="430667"/>
              </a:xfrm>
              <a:custGeom>
                <a:avLst/>
                <a:gdLst>
                  <a:gd name="connsiteX0" fmla="*/ 0 w 1383030"/>
                  <a:gd name="connsiteY0" fmla="*/ 531934 h 531934"/>
                  <a:gd name="connsiteX1" fmla="*/ 0 w 1383030"/>
                  <a:gd name="connsiteY1" fmla="*/ 0 h 531934"/>
                  <a:gd name="connsiteX2" fmla="*/ 1383030 w 1383030"/>
                  <a:gd name="connsiteY2" fmla="*/ 531934 h 531934"/>
                  <a:gd name="connsiteX3" fmla="*/ 0 w 1383030"/>
                  <a:gd name="connsiteY3" fmla="*/ 531934 h 531934"/>
                  <a:gd name="connsiteX0" fmla="*/ 0 w 1840230"/>
                  <a:gd name="connsiteY0" fmla="*/ 0 h 537882"/>
                  <a:gd name="connsiteX1" fmla="*/ 457200 w 1840230"/>
                  <a:gd name="connsiteY1" fmla="*/ 5948 h 537882"/>
                  <a:gd name="connsiteX2" fmla="*/ 1840230 w 1840230"/>
                  <a:gd name="connsiteY2" fmla="*/ 537882 h 537882"/>
                  <a:gd name="connsiteX3" fmla="*/ 0 w 1840230"/>
                  <a:gd name="connsiteY3" fmla="*/ 0 h 537882"/>
                  <a:gd name="connsiteX0" fmla="*/ 0 w 1840230"/>
                  <a:gd name="connsiteY0" fmla="*/ 0 h 537882"/>
                  <a:gd name="connsiteX1" fmla="*/ 457200 w 1840230"/>
                  <a:gd name="connsiteY1" fmla="*/ 5948 h 537882"/>
                  <a:gd name="connsiteX2" fmla="*/ 1840230 w 1840230"/>
                  <a:gd name="connsiteY2" fmla="*/ 537882 h 537882"/>
                  <a:gd name="connsiteX3" fmla="*/ 0 w 1840230"/>
                  <a:gd name="connsiteY3" fmla="*/ 0 h 537882"/>
                  <a:gd name="connsiteX0" fmla="*/ 0 w 1840230"/>
                  <a:gd name="connsiteY0" fmla="*/ 0 h 553000"/>
                  <a:gd name="connsiteX1" fmla="*/ 457200 w 1840230"/>
                  <a:gd name="connsiteY1" fmla="*/ 5948 h 553000"/>
                  <a:gd name="connsiteX2" fmla="*/ 1840230 w 1840230"/>
                  <a:gd name="connsiteY2" fmla="*/ 537882 h 553000"/>
                  <a:gd name="connsiteX3" fmla="*/ 0 w 1840230"/>
                  <a:gd name="connsiteY3" fmla="*/ 0 h 553000"/>
                  <a:gd name="connsiteX0" fmla="*/ 0 w 1840230"/>
                  <a:gd name="connsiteY0" fmla="*/ 0 h 550713"/>
                  <a:gd name="connsiteX1" fmla="*/ 457200 w 1840230"/>
                  <a:gd name="connsiteY1" fmla="*/ 5948 h 550713"/>
                  <a:gd name="connsiteX2" fmla="*/ 1840230 w 1840230"/>
                  <a:gd name="connsiteY2" fmla="*/ 537882 h 550713"/>
                  <a:gd name="connsiteX3" fmla="*/ 0 w 1840230"/>
                  <a:gd name="connsiteY3" fmla="*/ 0 h 550713"/>
                  <a:gd name="connsiteX0" fmla="*/ 0 w 1840230"/>
                  <a:gd name="connsiteY0" fmla="*/ 0 h 550713"/>
                  <a:gd name="connsiteX1" fmla="*/ 457200 w 1840230"/>
                  <a:gd name="connsiteY1" fmla="*/ 5948 h 550713"/>
                  <a:gd name="connsiteX2" fmla="*/ 1840230 w 1840230"/>
                  <a:gd name="connsiteY2" fmla="*/ 537882 h 550713"/>
                  <a:gd name="connsiteX3" fmla="*/ 0 w 1840230"/>
                  <a:gd name="connsiteY3" fmla="*/ 0 h 550713"/>
                  <a:gd name="connsiteX0" fmla="*/ 0 w 1840230"/>
                  <a:gd name="connsiteY0" fmla="*/ 0 h 550713"/>
                  <a:gd name="connsiteX1" fmla="*/ 457200 w 1840230"/>
                  <a:gd name="connsiteY1" fmla="*/ 5948 h 550713"/>
                  <a:gd name="connsiteX2" fmla="*/ 1840230 w 1840230"/>
                  <a:gd name="connsiteY2" fmla="*/ 537882 h 550713"/>
                  <a:gd name="connsiteX3" fmla="*/ 0 w 1840230"/>
                  <a:gd name="connsiteY3" fmla="*/ 0 h 550713"/>
                </a:gdLst>
                <a:ahLst/>
                <a:cxnLst>
                  <a:cxn ang="0">
                    <a:pos x="connsiteX0" y="connsiteY0"/>
                  </a:cxn>
                  <a:cxn ang="0">
                    <a:pos x="connsiteX1" y="connsiteY1"/>
                  </a:cxn>
                  <a:cxn ang="0">
                    <a:pos x="connsiteX2" y="connsiteY2"/>
                  </a:cxn>
                  <a:cxn ang="0">
                    <a:pos x="connsiteX3" y="connsiteY3"/>
                  </a:cxn>
                </a:cxnLst>
                <a:rect l="l" t="t" r="r" b="b"/>
                <a:pathLst>
                  <a:path w="1840230" h="550713">
                    <a:moveTo>
                      <a:pt x="0" y="0"/>
                    </a:moveTo>
                    <a:cubicBezTo>
                      <a:pt x="307041" y="277648"/>
                      <a:pt x="419100" y="-43099"/>
                      <a:pt x="457200" y="5948"/>
                    </a:cubicBezTo>
                    <a:lnTo>
                      <a:pt x="1840230" y="537882"/>
                    </a:lnTo>
                    <a:cubicBezTo>
                      <a:pt x="1549550" y="432546"/>
                      <a:pt x="142763" y="851647"/>
                      <a:pt x="0" y="0"/>
                    </a:cubicBezTo>
                    <a:close/>
                  </a:path>
                </a:pathLst>
              </a:custGeom>
              <a:solidFill>
                <a:srgbClr val="C800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nvGrpSpPr>
              <p:cNvPr id="14" name="Group 34">
                <a:extLst>
                  <a:ext uri="{FF2B5EF4-FFF2-40B4-BE49-F238E27FC236}">
                    <a16:creationId xmlns:a16="http://schemas.microsoft.com/office/drawing/2014/main" id="{7C7D34A3-9EC0-4F05-A1BB-242D32DAD3D2}"/>
                  </a:ext>
                </a:extLst>
              </p:cNvPr>
              <p:cNvGrpSpPr/>
              <p:nvPr/>
            </p:nvGrpSpPr>
            <p:grpSpPr>
              <a:xfrm>
                <a:off x="6292161" y="487953"/>
                <a:ext cx="552600" cy="1140997"/>
                <a:chOff x="2939143" y="1028541"/>
                <a:chExt cx="783329" cy="1617400"/>
              </a:xfrm>
              <a:effectLst>
                <a:outerShdw blurRad="76200" dir="18900000" sy="23000" kx="-1200000" algn="bl" rotWithShape="0">
                  <a:prstClr val="black">
                    <a:alpha val="20000"/>
                  </a:prstClr>
                </a:outerShdw>
              </a:effectLst>
            </p:grpSpPr>
            <p:sp>
              <p:nvSpPr>
                <p:cNvPr id="15" name="Rectangle: Rounded Corners 35">
                  <a:extLst>
                    <a:ext uri="{FF2B5EF4-FFF2-40B4-BE49-F238E27FC236}">
                      <a16:creationId xmlns:a16="http://schemas.microsoft.com/office/drawing/2014/main" id="{1EB0D619-BFD5-4486-98C1-888C5CBF9E28}"/>
                    </a:ext>
                  </a:extLst>
                </p:cNvPr>
                <p:cNvSpPr/>
                <p:nvPr/>
              </p:nvSpPr>
              <p:spPr>
                <a:xfrm rot="1098443" flipH="1">
                  <a:off x="3153025" y="1914421"/>
                  <a:ext cx="77804" cy="731520"/>
                </a:xfrm>
                <a:prstGeom prst="roundRect">
                  <a:avLst/>
                </a:prstGeom>
                <a:gradFill flip="none" rotWithShape="1">
                  <a:gsLst>
                    <a:gs pos="100000">
                      <a:schemeClr val="bg1">
                        <a:lumMod val="85000"/>
                      </a:schemeClr>
                    </a:gs>
                    <a:gs pos="57512">
                      <a:schemeClr val="tx1">
                        <a:lumMod val="65000"/>
                        <a:lumOff val="35000"/>
                      </a:schemeClr>
                    </a:gs>
                    <a:gs pos="24800">
                      <a:schemeClr val="bg1"/>
                    </a:gs>
                    <a:gs pos="0">
                      <a:schemeClr val="bg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6" name="Oval 36">
                  <a:extLst>
                    <a:ext uri="{FF2B5EF4-FFF2-40B4-BE49-F238E27FC236}">
                      <a16:creationId xmlns:a16="http://schemas.microsoft.com/office/drawing/2014/main" id="{F64C7FA8-F3A2-4C0C-9716-6555C7EF2A34}"/>
                    </a:ext>
                  </a:extLst>
                </p:cNvPr>
                <p:cNvSpPr/>
                <p:nvPr/>
              </p:nvSpPr>
              <p:spPr>
                <a:xfrm>
                  <a:off x="2939143" y="1538514"/>
                  <a:ext cx="740228" cy="740228"/>
                </a:xfrm>
                <a:prstGeom prst="ellipse">
                  <a:avLst/>
                </a:prstGeom>
                <a:solidFill>
                  <a:srgbClr val="0070C0"/>
                </a:solidFill>
                <a:ln>
                  <a:noFill/>
                </a:ln>
                <a:effectLst>
                  <a:innerShdw blurRad="3302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7" name="Trapezoid 37">
                  <a:extLst>
                    <a:ext uri="{FF2B5EF4-FFF2-40B4-BE49-F238E27FC236}">
                      <a16:creationId xmlns:a16="http://schemas.microsoft.com/office/drawing/2014/main" id="{0072F4D1-CD9E-4CF9-8988-C0AE3F0746BE}"/>
                    </a:ext>
                  </a:extLst>
                </p:cNvPr>
                <p:cNvSpPr/>
                <p:nvPr/>
              </p:nvSpPr>
              <p:spPr>
                <a:xfrm rot="702551">
                  <a:off x="3193598" y="1216282"/>
                  <a:ext cx="418337" cy="707468"/>
                </a:xfrm>
                <a:prstGeom prst="trapezoid">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8" name="Oval 38">
                  <a:extLst>
                    <a:ext uri="{FF2B5EF4-FFF2-40B4-BE49-F238E27FC236}">
                      <a16:creationId xmlns:a16="http://schemas.microsoft.com/office/drawing/2014/main" id="{56DE29A0-2A77-459E-A5DB-F33843CF985F}"/>
                    </a:ext>
                  </a:extLst>
                </p:cNvPr>
                <p:cNvSpPr/>
                <p:nvPr/>
              </p:nvSpPr>
              <p:spPr>
                <a:xfrm>
                  <a:off x="3169263" y="1028541"/>
                  <a:ext cx="553209" cy="553209"/>
                </a:xfrm>
                <a:prstGeom prst="ellipse">
                  <a:avLst/>
                </a:prstGeom>
                <a:solidFill>
                  <a:srgbClr val="0070C0"/>
                </a:solidFill>
                <a:ln>
                  <a:noFill/>
                </a:ln>
                <a:effectLst>
                  <a:innerShdw blurRad="3302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grpSp>
        <p:sp>
          <p:nvSpPr>
            <p:cNvPr id="7" name="TextBox 27">
              <a:extLst>
                <a:ext uri="{FF2B5EF4-FFF2-40B4-BE49-F238E27FC236}">
                  <a16:creationId xmlns:a16="http://schemas.microsoft.com/office/drawing/2014/main" id="{BEB5460E-8094-466D-B4EF-F19C1AB69DC8}"/>
                </a:ext>
              </a:extLst>
            </p:cNvPr>
            <p:cNvSpPr txBox="1"/>
            <p:nvPr/>
          </p:nvSpPr>
          <p:spPr>
            <a:xfrm rot="636792">
              <a:off x="427407" y="4344846"/>
              <a:ext cx="2218986" cy="778150"/>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r>
                <a:rPr lang="es-ES" sz="1200" dirty="0"/>
                <a:t>Necesario, al menos, un sensor y actuador por cada parámetro que se quisiera monitorizar y un software que permita el control y gestión de todos los nodos. </a:t>
              </a:r>
              <a:endParaRPr lang="en-US" sz="1200" dirty="0"/>
            </a:p>
          </p:txBody>
        </p:sp>
        <p:sp>
          <p:nvSpPr>
            <p:cNvPr id="8" name="Freeform: Shape 28">
              <a:extLst>
                <a:ext uri="{FF2B5EF4-FFF2-40B4-BE49-F238E27FC236}">
                  <a16:creationId xmlns:a16="http://schemas.microsoft.com/office/drawing/2014/main" id="{5807D970-17FC-4889-A046-2DB64398019A}"/>
                </a:ext>
              </a:extLst>
            </p:cNvPr>
            <p:cNvSpPr/>
            <p:nvPr/>
          </p:nvSpPr>
          <p:spPr>
            <a:xfrm>
              <a:off x="1267328" y="3709909"/>
              <a:ext cx="513976" cy="663388"/>
            </a:xfrm>
            <a:custGeom>
              <a:avLst/>
              <a:gdLst>
                <a:gd name="connsiteX0" fmla="*/ 268941 w 513976"/>
                <a:gd name="connsiteY0" fmla="*/ 693271 h 729129"/>
                <a:gd name="connsiteX1" fmla="*/ 268941 w 513976"/>
                <a:gd name="connsiteY1" fmla="*/ 693271 h 729129"/>
                <a:gd name="connsiteX2" fmla="*/ 29882 w 513976"/>
                <a:gd name="connsiteY2" fmla="*/ 280894 h 729129"/>
                <a:gd name="connsiteX3" fmla="*/ 23906 w 513976"/>
                <a:gd name="connsiteY3" fmla="*/ 262965 h 729129"/>
                <a:gd name="connsiteX4" fmla="*/ 11953 w 513976"/>
                <a:gd name="connsiteY4" fmla="*/ 233082 h 729129"/>
                <a:gd name="connsiteX5" fmla="*/ 0 w 513976"/>
                <a:gd name="connsiteY5" fmla="*/ 203200 h 729129"/>
                <a:gd name="connsiteX6" fmla="*/ 89647 w 513976"/>
                <a:gd name="connsiteY6" fmla="*/ 239059 h 729129"/>
                <a:gd name="connsiteX7" fmla="*/ 59764 w 513976"/>
                <a:gd name="connsiteY7" fmla="*/ 155388 h 729129"/>
                <a:gd name="connsiteX8" fmla="*/ 131482 w 513976"/>
                <a:gd name="connsiteY8" fmla="*/ 227106 h 729129"/>
                <a:gd name="connsiteX9" fmla="*/ 107576 w 513976"/>
                <a:gd name="connsiteY9" fmla="*/ 143435 h 729129"/>
                <a:gd name="connsiteX10" fmla="*/ 179294 w 513976"/>
                <a:gd name="connsiteY10" fmla="*/ 215153 h 729129"/>
                <a:gd name="connsiteX11" fmla="*/ 167341 w 513976"/>
                <a:gd name="connsiteY11" fmla="*/ 125506 h 729129"/>
                <a:gd name="connsiteX12" fmla="*/ 245035 w 513976"/>
                <a:gd name="connsiteY12" fmla="*/ 215153 h 729129"/>
                <a:gd name="connsiteX13" fmla="*/ 203200 w 513976"/>
                <a:gd name="connsiteY13" fmla="*/ 0 h 729129"/>
                <a:gd name="connsiteX14" fmla="*/ 513976 w 513976"/>
                <a:gd name="connsiteY14" fmla="*/ 657412 h 729129"/>
                <a:gd name="connsiteX15" fmla="*/ 448235 w 513976"/>
                <a:gd name="connsiteY15" fmla="*/ 621553 h 729129"/>
                <a:gd name="connsiteX16" fmla="*/ 454211 w 513976"/>
                <a:gd name="connsiteY16" fmla="*/ 675341 h 729129"/>
                <a:gd name="connsiteX17" fmla="*/ 400423 w 513976"/>
                <a:gd name="connsiteY17" fmla="*/ 657412 h 729129"/>
                <a:gd name="connsiteX18" fmla="*/ 388470 w 513976"/>
                <a:gd name="connsiteY18" fmla="*/ 681318 h 729129"/>
                <a:gd name="connsiteX19" fmla="*/ 358588 w 513976"/>
                <a:gd name="connsiteY19" fmla="*/ 633506 h 729129"/>
                <a:gd name="connsiteX20" fmla="*/ 304800 w 513976"/>
                <a:gd name="connsiteY20" fmla="*/ 729129 h 729129"/>
                <a:gd name="connsiteX21" fmla="*/ 268941 w 513976"/>
                <a:gd name="connsiteY21" fmla="*/ 693271 h 729129"/>
                <a:gd name="connsiteX0" fmla="*/ 268941 w 513976"/>
                <a:gd name="connsiteY0" fmla="*/ 627530 h 663388"/>
                <a:gd name="connsiteX1" fmla="*/ 268941 w 513976"/>
                <a:gd name="connsiteY1" fmla="*/ 627530 h 663388"/>
                <a:gd name="connsiteX2" fmla="*/ 29882 w 513976"/>
                <a:gd name="connsiteY2" fmla="*/ 215153 h 663388"/>
                <a:gd name="connsiteX3" fmla="*/ 23906 w 513976"/>
                <a:gd name="connsiteY3" fmla="*/ 197224 h 663388"/>
                <a:gd name="connsiteX4" fmla="*/ 11953 w 513976"/>
                <a:gd name="connsiteY4" fmla="*/ 167341 h 663388"/>
                <a:gd name="connsiteX5" fmla="*/ 0 w 513976"/>
                <a:gd name="connsiteY5" fmla="*/ 137459 h 663388"/>
                <a:gd name="connsiteX6" fmla="*/ 89647 w 513976"/>
                <a:gd name="connsiteY6" fmla="*/ 173318 h 663388"/>
                <a:gd name="connsiteX7" fmla="*/ 59764 w 513976"/>
                <a:gd name="connsiteY7" fmla="*/ 89647 h 663388"/>
                <a:gd name="connsiteX8" fmla="*/ 131482 w 513976"/>
                <a:gd name="connsiteY8" fmla="*/ 161365 h 663388"/>
                <a:gd name="connsiteX9" fmla="*/ 107576 w 513976"/>
                <a:gd name="connsiteY9" fmla="*/ 77694 h 663388"/>
                <a:gd name="connsiteX10" fmla="*/ 179294 w 513976"/>
                <a:gd name="connsiteY10" fmla="*/ 149412 h 663388"/>
                <a:gd name="connsiteX11" fmla="*/ 167341 w 513976"/>
                <a:gd name="connsiteY11" fmla="*/ 59765 h 663388"/>
                <a:gd name="connsiteX12" fmla="*/ 245035 w 513976"/>
                <a:gd name="connsiteY12" fmla="*/ 149412 h 663388"/>
                <a:gd name="connsiteX13" fmla="*/ 221130 w 513976"/>
                <a:gd name="connsiteY13" fmla="*/ 0 h 663388"/>
                <a:gd name="connsiteX14" fmla="*/ 513976 w 513976"/>
                <a:gd name="connsiteY14" fmla="*/ 591671 h 663388"/>
                <a:gd name="connsiteX15" fmla="*/ 448235 w 513976"/>
                <a:gd name="connsiteY15" fmla="*/ 555812 h 663388"/>
                <a:gd name="connsiteX16" fmla="*/ 454211 w 513976"/>
                <a:gd name="connsiteY16" fmla="*/ 609600 h 663388"/>
                <a:gd name="connsiteX17" fmla="*/ 400423 w 513976"/>
                <a:gd name="connsiteY17" fmla="*/ 591671 h 663388"/>
                <a:gd name="connsiteX18" fmla="*/ 388470 w 513976"/>
                <a:gd name="connsiteY18" fmla="*/ 615577 h 663388"/>
                <a:gd name="connsiteX19" fmla="*/ 358588 w 513976"/>
                <a:gd name="connsiteY19" fmla="*/ 567765 h 663388"/>
                <a:gd name="connsiteX20" fmla="*/ 304800 w 513976"/>
                <a:gd name="connsiteY20" fmla="*/ 663388 h 663388"/>
                <a:gd name="connsiteX21" fmla="*/ 268941 w 513976"/>
                <a:gd name="connsiteY21" fmla="*/ 627530 h 66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3976" h="663388">
                  <a:moveTo>
                    <a:pt x="268941" y="627530"/>
                  </a:moveTo>
                  <a:lnTo>
                    <a:pt x="268941" y="627530"/>
                  </a:lnTo>
                  <a:cubicBezTo>
                    <a:pt x="189255" y="490071"/>
                    <a:pt x="108505" y="353223"/>
                    <a:pt x="29882" y="215153"/>
                  </a:cubicBezTo>
                  <a:cubicBezTo>
                    <a:pt x="26765" y="209679"/>
                    <a:pt x="26118" y="203122"/>
                    <a:pt x="23906" y="197224"/>
                  </a:cubicBezTo>
                  <a:cubicBezTo>
                    <a:pt x="20139" y="187179"/>
                    <a:pt x="15720" y="177386"/>
                    <a:pt x="11953" y="167341"/>
                  </a:cubicBezTo>
                  <a:cubicBezTo>
                    <a:pt x="876" y="137803"/>
                    <a:pt x="11403" y="160267"/>
                    <a:pt x="0" y="137459"/>
                  </a:cubicBezTo>
                  <a:lnTo>
                    <a:pt x="89647" y="173318"/>
                  </a:lnTo>
                  <a:lnTo>
                    <a:pt x="59764" y="89647"/>
                  </a:lnTo>
                  <a:lnTo>
                    <a:pt x="131482" y="161365"/>
                  </a:lnTo>
                  <a:lnTo>
                    <a:pt x="107576" y="77694"/>
                  </a:lnTo>
                  <a:lnTo>
                    <a:pt x="179294" y="149412"/>
                  </a:lnTo>
                  <a:lnTo>
                    <a:pt x="167341" y="59765"/>
                  </a:lnTo>
                  <a:lnTo>
                    <a:pt x="245035" y="149412"/>
                  </a:lnTo>
                  <a:lnTo>
                    <a:pt x="221130" y="0"/>
                  </a:lnTo>
                  <a:lnTo>
                    <a:pt x="513976" y="591671"/>
                  </a:lnTo>
                  <a:lnTo>
                    <a:pt x="448235" y="555812"/>
                  </a:lnTo>
                  <a:lnTo>
                    <a:pt x="454211" y="609600"/>
                  </a:lnTo>
                  <a:lnTo>
                    <a:pt x="400423" y="591671"/>
                  </a:lnTo>
                  <a:lnTo>
                    <a:pt x="388470" y="615577"/>
                  </a:lnTo>
                  <a:lnTo>
                    <a:pt x="358588" y="567765"/>
                  </a:lnTo>
                  <a:lnTo>
                    <a:pt x="304800" y="663388"/>
                  </a:lnTo>
                  <a:lnTo>
                    <a:pt x="268941" y="627530"/>
                  </a:lnTo>
                  <a:close/>
                </a:path>
              </a:pathLst>
            </a:custGeom>
            <a:solidFill>
              <a:srgbClr val="00206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9" name="TextBox 29">
              <a:extLst>
                <a:ext uri="{FF2B5EF4-FFF2-40B4-BE49-F238E27FC236}">
                  <a16:creationId xmlns:a16="http://schemas.microsoft.com/office/drawing/2014/main" id="{27F29C69-52E4-4482-BC7B-C5811E5B6D61}"/>
                </a:ext>
              </a:extLst>
            </p:cNvPr>
            <p:cNvSpPr txBox="1"/>
            <p:nvPr/>
          </p:nvSpPr>
          <p:spPr>
            <a:xfrm>
              <a:off x="624116" y="2253069"/>
              <a:ext cx="1933056" cy="306544"/>
            </a:xfrm>
            <a:prstGeom prst="rect">
              <a:avLst/>
            </a:prstGeom>
            <a:noFill/>
          </p:spPr>
          <p:txBody>
            <a:bodyPr wrap="square" rtlCol="0">
              <a:spAutoFit/>
            </a:bodyPr>
            <a:lstStyle/>
            <a:p>
              <a:pPr algn="ctr"/>
              <a:r>
                <a:rPr lang="en-US" sz="2000" b="1" dirty="0"/>
                <a:t>CAPA FÍSICA</a:t>
              </a:r>
            </a:p>
          </p:txBody>
        </p:sp>
        <p:pic>
          <p:nvPicPr>
            <p:cNvPr id="10" name="Graphic 30" descr="Termómetro">
              <a:extLst>
                <a:ext uri="{FF2B5EF4-FFF2-40B4-BE49-F238E27FC236}">
                  <a16:creationId xmlns:a16="http://schemas.microsoft.com/office/drawing/2014/main" id="{F22F7113-3D84-4E88-85C2-972296B236BD}"/>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234274" y="2799974"/>
              <a:ext cx="736510" cy="736510"/>
            </a:xfrm>
            <a:prstGeom prst="rect">
              <a:avLst/>
            </a:prstGeom>
          </p:spPr>
        </p:pic>
      </p:grpSp>
      <p:grpSp>
        <p:nvGrpSpPr>
          <p:cNvPr id="19" name="Group 39">
            <a:extLst>
              <a:ext uri="{FF2B5EF4-FFF2-40B4-BE49-F238E27FC236}">
                <a16:creationId xmlns:a16="http://schemas.microsoft.com/office/drawing/2014/main" id="{6A25FC99-8248-4C82-93E8-BC155E405AE4}"/>
              </a:ext>
            </a:extLst>
          </p:cNvPr>
          <p:cNvGrpSpPr/>
          <p:nvPr/>
        </p:nvGrpSpPr>
        <p:grpSpPr>
          <a:xfrm>
            <a:off x="7646031" y="1436314"/>
            <a:ext cx="3636484" cy="4532106"/>
            <a:chOff x="624115" y="1693282"/>
            <a:chExt cx="2616583" cy="3735601"/>
          </a:xfrm>
        </p:grpSpPr>
        <p:grpSp>
          <p:nvGrpSpPr>
            <p:cNvPr id="20" name="Group 40">
              <a:extLst>
                <a:ext uri="{FF2B5EF4-FFF2-40B4-BE49-F238E27FC236}">
                  <a16:creationId xmlns:a16="http://schemas.microsoft.com/office/drawing/2014/main" id="{663EAF84-86EF-479A-92AC-D29DF64471B6}"/>
                </a:ext>
              </a:extLst>
            </p:cNvPr>
            <p:cNvGrpSpPr/>
            <p:nvPr/>
          </p:nvGrpSpPr>
          <p:grpSpPr>
            <a:xfrm>
              <a:off x="624115" y="1693282"/>
              <a:ext cx="2616583" cy="2875969"/>
              <a:chOff x="4318782" y="487953"/>
              <a:chExt cx="5267726" cy="5789924"/>
            </a:xfrm>
          </p:grpSpPr>
          <p:sp>
            <p:nvSpPr>
              <p:cNvPr id="25" name="Rectangle: Top Corners One Rounded and One Snipped 45">
                <a:extLst>
                  <a:ext uri="{FF2B5EF4-FFF2-40B4-BE49-F238E27FC236}">
                    <a16:creationId xmlns:a16="http://schemas.microsoft.com/office/drawing/2014/main" id="{9CF394E9-1E4E-4EC5-A529-00CE2FFBBBEE}"/>
                  </a:ext>
                </a:extLst>
              </p:cNvPr>
              <p:cNvSpPr/>
              <p:nvPr/>
            </p:nvSpPr>
            <p:spPr>
              <a:xfrm flipH="1" flipV="1">
                <a:off x="5038065" y="1934197"/>
                <a:ext cx="4548443" cy="4343680"/>
              </a:xfrm>
              <a:prstGeom prst="snipRoundRect">
                <a:avLst>
                  <a:gd name="adj1" fmla="val 16667"/>
                  <a:gd name="adj2" fmla="val 0"/>
                </a:avLst>
              </a:prstGeom>
              <a:solidFill>
                <a:schemeClr val="tx1">
                  <a:alpha val="32000"/>
                </a:schemeClr>
              </a:solidFill>
              <a:ln>
                <a:noFill/>
              </a:ln>
              <a:effectLst>
                <a:softEdge rad="635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6" name="Rectangle: Top Corners One Rounded and One Snipped 46">
                <a:extLst>
                  <a:ext uri="{FF2B5EF4-FFF2-40B4-BE49-F238E27FC236}">
                    <a16:creationId xmlns:a16="http://schemas.microsoft.com/office/drawing/2014/main" id="{F5336E17-D7E6-4986-AD57-59E8842F0632}"/>
                  </a:ext>
                </a:extLst>
              </p:cNvPr>
              <p:cNvSpPr/>
              <p:nvPr/>
            </p:nvSpPr>
            <p:spPr>
              <a:xfrm flipH="1" flipV="1">
                <a:off x="4318782" y="1266090"/>
                <a:ext cx="3967090" cy="4166121"/>
              </a:xfrm>
              <a:prstGeom prst="snipRoundRect">
                <a:avLst>
                  <a:gd name="adj1" fmla="val 16667"/>
                  <a:gd name="adj2" fmla="val 0"/>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7" name="Right Triangle 11">
                <a:extLst>
                  <a:ext uri="{FF2B5EF4-FFF2-40B4-BE49-F238E27FC236}">
                    <a16:creationId xmlns:a16="http://schemas.microsoft.com/office/drawing/2014/main" id="{2E285E57-0D28-462B-8231-7DC0B93BCBC7}"/>
                  </a:ext>
                </a:extLst>
              </p:cNvPr>
              <p:cNvSpPr/>
              <p:nvPr/>
            </p:nvSpPr>
            <p:spPr>
              <a:xfrm rot="21377153" flipH="1">
                <a:off x="6859276" y="4982258"/>
                <a:ext cx="1441109" cy="430669"/>
              </a:xfrm>
              <a:custGeom>
                <a:avLst/>
                <a:gdLst>
                  <a:gd name="connsiteX0" fmla="*/ 0 w 1383030"/>
                  <a:gd name="connsiteY0" fmla="*/ 531934 h 531934"/>
                  <a:gd name="connsiteX1" fmla="*/ 0 w 1383030"/>
                  <a:gd name="connsiteY1" fmla="*/ 0 h 531934"/>
                  <a:gd name="connsiteX2" fmla="*/ 1383030 w 1383030"/>
                  <a:gd name="connsiteY2" fmla="*/ 531934 h 531934"/>
                  <a:gd name="connsiteX3" fmla="*/ 0 w 1383030"/>
                  <a:gd name="connsiteY3" fmla="*/ 531934 h 531934"/>
                  <a:gd name="connsiteX0" fmla="*/ 0 w 1840230"/>
                  <a:gd name="connsiteY0" fmla="*/ 0 h 537882"/>
                  <a:gd name="connsiteX1" fmla="*/ 457200 w 1840230"/>
                  <a:gd name="connsiteY1" fmla="*/ 5948 h 537882"/>
                  <a:gd name="connsiteX2" fmla="*/ 1840230 w 1840230"/>
                  <a:gd name="connsiteY2" fmla="*/ 537882 h 537882"/>
                  <a:gd name="connsiteX3" fmla="*/ 0 w 1840230"/>
                  <a:gd name="connsiteY3" fmla="*/ 0 h 537882"/>
                  <a:gd name="connsiteX0" fmla="*/ 0 w 1840230"/>
                  <a:gd name="connsiteY0" fmla="*/ 0 h 537882"/>
                  <a:gd name="connsiteX1" fmla="*/ 457200 w 1840230"/>
                  <a:gd name="connsiteY1" fmla="*/ 5948 h 537882"/>
                  <a:gd name="connsiteX2" fmla="*/ 1840230 w 1840230"/>
                  <a:gd name="connsiteY2" fmla="*/ 537882 h 537882"/>
                  <a:gd name="connsiteX3" fmla="*/ 0 w 1840230"/>
                  <a:gd name="connsiteY3" fmla="*/ 0 h 537882"/>
                  <a:gd name="connsiteX0" fmla="*/ 0 w 1840230"/>
                  <a:gd name="connsiteY0" fmla="*/ 0 h 553000"/>
                  <a:gd name="connsiteX1" fmla="*/ 457200 w 1840230"/>
                  <a:gd name="connsiteY1" fmla="*/ 5948 h 553000"/>
                  <a:gd name="connsiteX2" fmla="*/ 1840230 w 1840230"/>
                  <a:gd name="connsiteY2" fmla="*/ 537882 h 553000"/>
                  <a:gd name="connsiteX3" fmla="*/ 0 w 1840230"/>
                  <a:gd name="connsiteY3" fmla="*/ 0 h 553000"/>
                  <a:gd name="connsiteX0" fmla="*/ 0 w 1840230"/>
                  <a:gd name="connsiteY0" fmla="*/ 0 h 550713"/>
                  <a:gd name="connsiteX1" fmla="*/ 457200 w 1840230"/>
                  <a:gd name="connsiteY1" fmla="*/ 5948 h 550713"/>
                  <a:gd name="connsiteX2" fmla="*/ 1840230 w 1840230"/>
                  <a:gd name="connsiteY2" fmla="*/ 537882 h 550713"/>
                  <a:gd name="connsiteX3" fmla="*/ 0 w 1840230"/>
                  <a:gd name="connsiteY3" fmla="*/ 0 h 550713"/>
                  <a:gd name="connsiteX0" fmla="*/ 0 w 1840230"/>
                  <a:gd name="connsiteY0" fmla="*/ 0 h 550713"/>
                  <a:gd name="connsiteX1" fmla="*/ 457200 w 1840230"/>
                  <a:gd name="connsiteY1" fmla="*/ 5948 h 550713"/>
                  <a:gd name="connsiteX2" fmla="*/ 1840230 w 1840230"/>
                  <a:gd name="connsiteY2" fmla="*/ 537882 h 550713"/>
                  <a:gd name="connsiteX3" fmla="*/ 0 w 1840230"/>
                  <a:gd name="connsiteY3" fmla="*/ 0 h 550713"/>
                  <a:gd name="connsiteX0" fmla="*/ 0 w 1840230"/>
                  <a:gd name="connsiteY0" fmla="*/ 0 h 550713"/>
                  <a:gd name="connsiteX1" fmla="*/ 457200 w 1840230"/>
                  <a:gd name="connsiteY1" fmla="*/ 5948 h 550713"/>
                  <a:gd name="connsiteX2" fmla="*/ 1840230 w 1840230"/>
                  <a:gd name="connsiteY2" fmla="*/ 537882 h 550713"/>
                  <a:gd name="connsiteX3" fmla="*/ 0 w 1840230"/>
                  <a:gd name="connsiteY3" fmla="*/ 0 h 550713"/>
                </a:gdLst>
                <a:ahLst/>
                <a:cxnLst>
                  <a:cxn ang="0">
                    <a:pos x="connsiteX0" y="connsiteY0"/>
                  </a:cxn>
                  <a:cxn ang="0">
                    <a:pos x="connsiteX1" y="connsiteY1"/>
                  </a:cxn>
                  <a:cxn ang="0">
                    <a:pos x="connsiteX2" y="connsiteY2"/>
                  </a:cxn>
                  <a:cxn ang="0">
                    <a:pos x="connsiteX3" y="connsiteY3"/>
                  </a:cxn>
                </a:cxnLst>
                <a:rect l="l" t="t" r="r" b="b"/>
                <a:pathLst>
                  <a:path w="1840230" h="550713">
                    <a:moveTo>
                      <a:pt x="0" y="0"/>
                    </a:moveTo>
                    <a:cubicBezTo>
                      <a:pt x="307041" y="277648"/>
                      <a:pt x="419100" y="-43099"/>
                      <a:pt x="457200" y="5948"/>
                    </a:cubicBezTo>
                    <a:lnTo>
                      <a:pt x="1840230" y="537882"/>
                    </a:lnTo>
                    <a:cubicBezTo>
                      <a:pt x="1549550" y="432546"/>
                      <a:pt x="142763" y="851647"/>
                      <a:pt x="0" y="0"/>
                    </a:cubicBez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nvGrpSpPr>
              <p:cNvPr id="28" name="Group 48">
                <a:extLst>
                  <a:ext uri="{FF2B5EF4-FFF2-40B4-BE49-F238E27FC236}">
                    <a16:creationId xmlns:a16="http://schemas.microsoft.com/office/drawing/2014/main" id="{D7AFCB00-4BC2-4FA4-B199-FF81C24E3011}"/>
                  </a:ext>
                </a:extLst>
              </p:cNvPr>
              <p:cNvGrpSpPr/>
              <p:nvPr/>
            </p:nvGrpSpPr>
            <p:grpSpPr>
              <a:xfrm>
                <a:off x="6292161" y="487953"/>
                <a:ext cx="552600" cy="1140997"/>
                <a:chOff x="2939143" y="1028541"/>
                <a:chExt cx="783329" cy="1617400"/>
              </a:xfrm>
              <a:effectLst>
                <a:outerShdw blurRad="76200" dir="18900000" sy="23000" kx="-1200000" algn="bl" rotWithShape="0">
                  <a:prstClr val="black">
                    <a:alpha val="20000"/>
                  </a:prstClr>
                </a:outerShdw>
              </a:effectLst>
            </p:grpSpPr>
            <p:sp>
              <p:nvSpPr>
                <p:cNvPr id="29" name="Rectangle: Rounded Corners 49">
                  <a:extLst>
                    <a:ext uri="{FF2B5EF4-FFF2-40B4-BE49-F238E27FC236}">
                      <a16:creationId xmlns:a16="http://schemas.microsoft.com/office/drawing/2014/main" id="{D7324B63-09D9-4A7A-A40B-7C983361885E}"/>
                    </a:ext>
                  </a:extLst>
                </p:cNvPr>
                <p:cNvSpPr/>
                <p:nvPr/>
              </p:nvSpPr>
              <p:spPr>
                <a:xfrm rot="1098443" flipH="1">
                  <a:off x="3153025" y="1914421"/>
                  <a:ext cx="77804" cy="731520"/>
                </a:xfrm>
                <a:prstGeom prst="roundRect">
                  <a:avLst/>
                </a:prstGeom>
                <a:gradFill flip="none" rotWithShape="1">
                  <a:gsLst>
                    <a:gs pos="100000">
                      <a:schemeClr val="bg1">
                        <a:lumMod val="85000"/>
                      </a:schemeClr>
                    </a:gs>
                    <a:gs pos="57512">
                      <a:schemeClr val="tx1">
                        <a:lumMod val="65000"/>
                        <a:lumOff val="35000"/>
                      </a:schemeClr>
                    </a:gs>
                    <a:gs pos="24800">
                      <a:schemeClr val="bg1"/>
                    </a:gs>
                    <a:gs pos="0">
                      <a:schemeClr val="bg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0" name="Oval 50">
                  <a:extLst>
                    <a:ext uri="{FF2B5EF4-FFF2-40B4-BE49-F238E27FC236}">
                      <a16:creationId xmlns:a16="http://schemas.microsoft.com/office/drawing/2014/main" id="{4F92A156-41D3-4816-93AB-B437ED55FD1A}"/>
                    </a:ext>
                  </a:extLst>
                </p:cNvPr>
                <p:cNvSpPr/>
                <p:nvPr/>
              </p:nvSpPr>
              <p:spPr>
                <a:xfrm>
                  <a:off x="2939143" y="1538514"/>
                  <a:ext cx="740228" cy="740228"/>
                </a:xfrm>
                <a:prstGeom prst="ellipse">
                  <a:avLst/>
                </a:prstGeom>
                <a:solidFill>
                  <a:srgbClr val="0070C0"/>
                </a:solidFill>
                <a:ln>
                  <a:noFill/>
                </a:ln>
                <a:effectLst>
                  <a:innerShdw blurRad="3302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1" name="Trapezoid 51">
                  <a:extLst>
                    <a:ext uri="{FF2B5EF4-FFF2-40B4-BE49-F238E27FC236}">
                      <a16:creationId xmlns:a16="http://schemas.microsoft.com/office/drawing/2014/main" id="{7C7608F9-791A-4DD7-88CF-6B5D6942E15A}"/>
                    </a:ext>
                  </a:extLst>
                </p:cNvPr>
                <p:cNvSpPr/>
                <p:nvPr/>
              </p:nvSpPr>
              <p:spPr>
                <a:xfrm rot="702551">
                  <a:off x="3193598" y="1216282"/>
                  <a:ext cx="418337" cy="707468"/>
                </a:xfrm>
                <a:prstGeom prst="trapezoid">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2" name="Oval 52">
                  <a:extLst>
                    <a:ext uri="{FF2B5EF4-FFF2-40B4-BE49-F238E27FC236}">
                      <a16:creationId xmlns:a16="http://schemas.microsoft.com/office/drawing/2014/main" id="{F791A09A-1ACA-4D4C-8667-F9FEF9310BB7}"/>
                    </a:ext>
                  </a:extLst>
                </p:cNvPr>
                <p:cNvSpPr/>
                <p:nvPr/>
              </p:nvSpPr>
              <p:spPr>
                <a:xfrm>
                  <a:off x="3169263" y="1028541"/>
                  <a:ext cx="553209" cy="553209"/>
                </a:xfrm>
                <a:prstGeom prst="ellipse">
                  <a:avLst/>
                </a:prstGeom>
                <a:solidFill>
                  <a:srgbClr val="0070C0"/>
                </a:solidFill>
                <a:ln>
                  <a:noFill/>
                </a:ln>
                <a:effectLst>
                  <a:innerShdw blurRad="3302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grpSp>
        <p:sp>
          <p:nvSpPr>
            <p:cNvPr id="21" name="TextBox 41">
              <a:extLst>
                <a:ext uri="{FF2B5EF4-FFF2-40B4-BE49-F238E27FC236}">
                  <a16:creationId xmlns:a16="http://schemas.microsoft.com/office/drawing/2014/main" id="{8B60B0DA-F14B-4AFC-8963-EEEDEC4EBBC5}"/>
                </a:ext>
              </a:extLst>
            </p:cNvPr>
            <p:cNvSpPr txBox="1"/>
            <p:nvPr/>
          </p:nvSpPr>
          <p:spPr>
            <a:xfrm rot="20528672">
              <a:off x="697933" y="4439508"/>
              <a:ext cx="2264891" cy="989375"/>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marL="92075" indent="-92075">
                <a:buFontTx/>
                <a:buChar char="-"/>
              </a:pPr>
              <a:r>
                <a:rPr lang="es-ES" sz="1200" dirty="0"/>
                <a:t>Cuatro cámaras con tecnología </a:t>
              </a:r>
              <a:r>
                <a:rPr lang="es-ES" sz="1200" b="1" i="1" dirty="0" err="1"/>
                <a:t>computer</a:t>
              </a:r>
              <a:r>
                <a:rPr lang="es-ES" sz="1200" b="1" i="1" dirty="0"/>
                <a:t> </a:t>
              </a:r>
              <a:r>
                <a:rPr lang="es-ES" sz="1200" b="1" i="1" dirty="0" err="1"/>
                <a:t>vision</a:t>
              </a:r>
              <a:r>
                <a:rPr lang="es-ES" sz="1200" b="1" i="1" dirty="0"/>
                <a:t> </a:t>
              </a:r>
              <a:r>
                <a:rPr lang="es-ES" sz="1200" dirty="0"/>
                <a:t>que permitieran identificar rasgos faciales y movimientos</a:t>
              </a:r>
            </a:p>
            <a:p>
              <a:pPr marL="92075" indent="-92075">
                <a:buFontTx/>
                <a:buChar char="-"/>
              </a:pPr>
              <a:r>
                <a:rPr lang="es-ES" sz="1200" dirty="0"/>
                <a:t>4 dispositivos con </a:t>
              </a:r>
              <a:r>
                <a:rPr lang="es-ES" sz="1200" b="1" i="1" dirty="0"/>
                <a:t>tecnología NLP </a:t>
              </a:r>
            </a:p>
            <a:p>
              <a:pPr marL="92075" indent="-92075">
                <a:buFontTx/>
                <a:buChar char="-"/>
              </a:pPr>
              <a:r>
                <a:rPr lang="es-ES" sz="1200" dirty="0"/>
                <a:t>Software</a:t>
              </a:r>
              <a:endParaRPr lang="en-US" sz="1200" dirty="0"/>
            </a:p>
          </p:txBody>
        </p:sp>
        <p:sp>
          <p:nvSpPr>
            <p:cNvPr id="22" name="Freeform: Shape 42">
              <a:extLst>
                <a:ext uri="{FF2B5EF4-FFF2-40B4-BE49-F238E27FC236}">
                  <a16:creationId xmlns:a16="http://schemas.microsoft.com/office/drawing/2014/main" id="{81092907-B7E4-4C59-AF18-56C3C18D5F38}"/>
                </a:ext>
              </a:extLst>
            </p:cNvPr>
            <p:cNvSpPr/>
            <p:nvPr/>
          </p:nvSpPr>
          <p:spPr>
            <a:xfrm>
              <a:off x="1267328" y="3874015"/>
              <a:ext cx="513976" cy="663388"/>
            </a:xfrm>
            <a:custGeom>
              <a:avLst/>
              <a:gdLst>
                <a:gd name="connsiteX0" fmla="*/ 268941 w 513976"/>
                <a:gd name="connsiteY0" fmla="*/ 693271 h 729129"/>
                <a:gd name="connsiteX1" fmla="*/ 268941 w 513976"/>
                <a:gd name="connsiteY1" fmla="*/ 693271 h 729129"/>
                <a:gd name="connsiteX2" fmla="*/ 29882 w 513976"/>
                <a:gd name="connsiteY2" fmla="*/ 280894 h 729129"/>
                <a:gd name="connsiteX3" fmla="*/ 23906 w 513976"/>
                <a:gd name="connsiteY3" fmla="*/ 262965 h 729129"/>
                <a:gd name="connsiteX4" fmla="*/ 11953 w 513976"/>
                <a:gd name="connsiteY4" fmla="*/ 233082 h 729129"/>
                <a:gd name="connsiteX5" fmla="*/ 0 w 513976"/>
                <a:gd name="connsiteY5" fmla="*/ 203200 h 729129"/>
                <a:gd name="connsiteX6" fmla="*/ 89647 w 513976"/>
                <a:gd name="connsiteY6" fmla="*/ 239059 h 729129"/>
                <a:gd name="connsiteX7" fmla="*/ 59764 w 513976"/>
                <a:gd name="connsiteY7" fmla="*/ 155388 h 729129"/>
                <a:gd name="connsiteX8" fmla="*/ 131482 w 513976"/>
                <a:gd name="connsiteY8" fmla="*/ 227106 h 729129"/>
                <a:gd name="connsiteX9" fmla="*/ 107576 w 513976"/>
                <a:gd name="connsiteY9" fmla="*/ 143435 h 729129"/>
                <a:gd name="connsiteX10" fmla="*/ 179294 w 513976"/>
                <a:gd name="connsiteY10" fmla="*/ 215153 h 729129"/>
                <a:gd name="connsiteX11" fmla="*/ 167341 w 513976"/>
                <a:gd name="connsiteY11" fmla="*/ 125506 h 729129"/>
                <a:gd name="connsiteX12" fmla="*/ 245035 w 513976"/>
                <a:gd name="connsiteY12" fmla="*/ 215153 h 729129"/>
                <a:gd name="connsiteX13" fmla="*/ 203200 w 513976"/>
                <a:gd name="connsiteY13" fmla="*/ 0 h 729129"/>
                <a:gd name="connsiteX14" fmla="*/ 513976 w 513976"/>
                <a:gd name="connsiteY14" fmla="*/ 657412 h 729129"/>
                <a:gd name="connsiteX15" fmla="*/ 448235 w 513976"/>
                <a:gd name="connsiteY15" fmla="*/ 621553 h 729129"/>
                <a:gd name="connsiteX16" fmla="*/ 454211 w 513976"/>
                <a:gd name="connsiteY16" fmla="*/ 675341 h 729129"/>
                <a:gd name="connsiteX17" fmla="*/ 400423 w 513976"/>
                <a:gd name="connsiteY17" fmla="*/ 657412 h 729129"/>
                <a:gd name="connsiteX18" fmla="*/ 388470 w 513976"/>
                <a:gd name="connsiteY18" fmla="*/ 681318 h 729129"/>
                <a:gd name="connsiteX19" fmla="*/ 358588 w 513976"/>
                <a:gd name="connsiteY19" fmla="*/ 633506 h 729129"/>
                <a:gd name="connsiteX20" fmla="*/ 304800 w 513976"/>
                <a:gd name="connsiteY20" fmla="*/ 729129 h 729129"/>
                <a:gd name="connsiteX21" fmla="*/ 268941 w 513976"/>
                <a:gd name="connsiteY21" fmla="*/ 693271 h 729129"/>
                <a:gd name="connsiteX0" fmla="*/ 268941 w 513976"/>
                <a:gd name="connsiteY0" fmla="*/ 627530 h 663388"/>
                <a:gd name="connsiteX1" fmla="*/ 268941 w 513976"/>
                <a:gd name="connsiteY1" fmla="*/ 627530 h 663388"/>
                <a:gd name="connsiteX2" fmla="*/ 29882 w 513976"/>
                <a:gd name="connsiteY2" fmla="*/ 215153 h 663388"/>
                <a:gd name="connsiteX3" fmla="*/ 23906 w 513976"/>
                <a:gd name="connsiteY3" fmla="*/ 197224 h 663388"/>
                <a:gd name="connsiteX4" fmla="*/ 11953 w 513976"/>
                <a:gd name="connsiteY4" fmla="*/ 167341 h 663388"/>
                <a:gd name="connsiteX5" fmla="*/ 0 w 513976"/>
                <a:gd name="connsiteY5" fmla="*/ 137459 h 663388"/>
                <a:gd name="connsiteX6" fmla="*/ 89647 w 513976"/>
                <a:gd name="connsiteY6" fmla="*/ 173318 h 663388"/>
                <a:gd name="connsiteX7" fmla="*/ 59764 w 513976"/>
                <a:gd name="connsiteY7" fmla="*/ 89647 h 663388"/>
                <a:gd name="connsiteX8" fmla="*/ 131482 w 513976"/>
                <a:gd name="connsiteY8" fmla="*/ 161365 h 663388"/>
                <a:gd name="connsiteX9" fmla="*/ 107576 w 513976"/>
                <a:gd name="connsiteY9" fmla="*/ 77694 h 663388"/>
                <a:gd name="connsiteX10" fmla="*/ 179294 w 513976"/>
                <a:gd name="connsiteY10" fmla="*/ 149412 h 663388"/>
                <a:gd name="connsiteX11" fmla="*/ 167341 w 513976"/>
                <a:gd name="connsiteY11" fmla="*/ 59765 h 663388"/>
                <a:gd name="connsiteX12" fmla="*/ 245035 w 513976"/>
                <a:gd name="connsiteY12" fmla="*/ 149412 h 663388"/>
                <a:gd name="connsiteX13" fmla="*/ 221130 w 513976"/>
                <a:gd name="connsiteY13" fmla="*/ 0 h 663388"/>
                <a:gd name="connsiteX14" fmla="*/ 513976 w 513976"/>
                <a:gd name="connsiteY14" fmla="*/ 591671 h 663388"/>
                <a:gd name="connsiteX15" fmla="*/ 448235 w 513976"/>
                <a:gd name="connsiteY15" fmla="*/ 555812 h 663388"/>
                <a:gd name="connsiteX16" fmla="*/ 454211 w 513976"/>
                <a:gd name="connsiteY16" fmla="*/ 609600 h 663388"/>
                <a:gd name="connsiteX17" fmla="*/ 400423 w 513976"/>
                <a:gd name="connsiteY17" fmla="*/ 591671 h 663388"/>
                <a:gd name="connsiteX18" fmla="*/ 388470 w 513976"/>
                <a:gd name="connsiteY18" fmla="*/ 615577 h 663388"/>
                <a:gd name="connsiteX19" fmla="*/ 358588 w 513976"/>
                <a:gd name="connsiteY19" fmla="*/ 567765 h 663388"/>
                <a:gd name="connsiteX20" fmla="*/ 304800 w 513976"/>
                <a:gd name="connsiteY20" fmla="*/ 663388 h 663388"/>
                <a:gd name="connsiteX21" fmla="*/ 268941 w 513976"/>
                <a:gd name="connsiteY21" fmla="*/ 627530 h 66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3976" h="663388">
                  <a:moveTo>
                    <a:pt x="268941" y="627530"/>
                  </a:moveTo>
                  <a:lnTo>
                    <a:pt x="268941" y="627530"/>
                  </a:lnTo>
                  <a:cubicBezTo>
                    <a:pt x="189255" y="490071"/>
                    <a:pt x="108505" y="353223"/>
                    <a:pt x="29882" y="215153"/>
                  </a:cubicBezTo>
                  <a:cubicBezTo>
                    <a:pt x="26765" y="209679"/>
                    <a:pt x="26118" y="203122"/>
                    <a:pt x="23906" y="197224"/>
                  </a:cubicBezTo>
                  <a:cubicBezTo>
                    <a:pt x="20139" y="187179"/>
                    <a:pt x="15720" y="177386"/>
                    <a:pt x="11953" y="167341"/>
                  </a:cubicBezTo>
                  <a:cubicBezTo>
                    <a:pt x="876" y="137803"/>
                    <a:pt x="11403" y="160267"/>
                    <a:pt x="0" y="137459"/>
                  </a:cubicBezTo>
                  <a:lnTo>
                    <a:pt x="89647" y="173318"/>
                  </a:lnTo>
                  <a:lnTo>
                    <a:pt x="59764" y="89647"/>
                  </a:lnTo>
                  <a:lnTo>
                    <a:pt x="131482" y="161365"/>
                  </a:lnTo>
                  <a:lnTo>
                    <a:pt x="107576" y="77694"/>
                  </a:lnTo>
                  <a:lnTo>
                    <a:pt x="179294" y="149412"/>
                  </a:lnTo>
                  <a:lnTo>
                    <a:pt x="167341" y="59765"/>
                  </a:lnTo>
                  <a:lnTo>
                    <a:pt x="245035" y="149412"/>
                  </a:lnTo>
                  <a:lnTo>
                    <a:pt x="221130" y="0"/>
                  </a:lnTo>
                  <a:lnTo>
                    <a:pt x="513976" y="591671"/>
                  </a:lnTo>
                  <a:lnTo>
                    <a:pt x="448235" y="555812"/>
                  </a:lnTo>
                  <a:lnTo>
                    <a:pt x="454211" y="609600"/>
                  </a:lnTo>
                  <a:lnTo>
                    <a:pt x="400423" y="591671"/>
                  </a:lnTo>
                  <a:lnTo>
                    <a:pt x="388470" y="615577"/>
                  </a:lnTo>
                  <a:lnTo>
                    <a:pt x="358588" y="567765"/>
                  </a:lnTo>
                  <a:lnTo>
                    <a:pt x="304800" y="663388"/>
                  </a:lnTo>
                  <a:lnTo>
                    <a:pt x="268941" y="627530"/>
                  </a:lnTo>
                  <a:close/>
                </a:path>
              </a:pathLst>
            </a:custGeom>
            <a:solidFill>
              <a:srgbClr val="00206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3" name="TextBox 43">
              <a:extLst>
                <a:ext uri="{FF2B5EF4-FFF2-40B4-BE49-F238E27FC236}">
                  <a16:creationId xmlns:a16="http://schemas.microsoft.com/office/drawing/2014/main" id="{05A55F13-4134-4E4C-9450-8876B8979899}"/>
                </a:ext>
              </a:extLst>
            </p:cNvPr>
            <p:cNvSpPr txBox="1"/>
            <p:nvPr/>
          </p:nvSpPr>
          <p:spPr>
            <a:xfrm>
              <a:off x="626963" y="2236457"/>
              <a:ext cx="1975417" cy="304423"/>
            </a:xfrm>
            <a:prstGeom prst="rect">
              <a:avLst/>
            </a:prstGeom>
            <a:noFill/>
          </p:spPr>
          <p:txBody>
            <a:bodyPr wrap="square" rtlCol="0">
              <a:spAutoFit/>
            </a:bodyPr>
            <a:lstStyle/>
            <a:p>
              <a:pPr algn="ctr"/>
              <a:r>
                <a:rPr lang="en-US" b="1" dirty="0"/>
                <a:t>CAPA EMOCIONAL</a:t>
              </a:r>
            </a:p>
          </p:txBody>
        </p:sp>
        <p:pic>
          <p:nvPicPr>
            <p:cNvPr id="24" name="Graphic 44" descr="Head with gears">
              <a:extLst>
                <a:ext uri="{FF2B5EF4-FFF2-40B4-BE49-F238E27FC236}">
                  <a16:creationId xmlns:a16="http://schemas.microsoft.com/office/drawing/2014/main" id="{CD400EBD-F393-4D4C-B2DD-E801A8B27E3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1225579" y="2849728"/>
              <a:ext cx="794203" cy="794203"/>
            </a:xfrm>
            <a:prstGeom prst="rect">
              <a:avLst/>
            </a:prstGeom>
          </p:spPr>
        </p:pic>
      </p:grpSp>
      <p:sp>
        <p:nvSpPr>
          <p:cNvPr id="33" name="Marcador de número de diapositiva 1"/>
          <p:cNvSpPr>
            <a:spLocks noGrp="1"/>
          </p:cNvSpPr>
          <p:nvPr>
            <p:ph type="sldNum" sz="quarter" idx="12"/>
          </p:nvPr>
        </p:nvSpPr>
        <p:spPr>
          <a:xfrm>
            <a:off x="11777051" y="6458134"/>
            <a:ext cx="487378" cy="481343"/>
          </a:xfrm>
        </p:spPr>
        <p:txBody>
          <a:bodyPr/>
          <a:lstStyle/>
          <a:p>
            <a:r>
              <a:rPr lang="en-US" sz="2000" dirty="0" smtClean="0"/>
              <a:t>24</a:t>
            </a:r>
            <a:endParaRPr lang="en-US" sz="2000" dirty="0"/>
          </a:p>
        </p:txBody>
      </p:sp>
    </p:spTree>
    <p:extLst>
      <p:ext uri="{BB962C8B-B14F-4D97-AF65-F5344CB8AC3E}">
        <p14:creationId xmlns:p14="http://schemas.microsoft.com/office/powerpoint/2010/main" val="335588553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23FEED7-63F6-4545-95DD-474E69B1B82D}"/>
              </a:ext>
            </a:extLst>
          </p:cNvPr>
          <p:cNvSpPr/>
          <p:nvPr/>
        </p:nvSpPr>
        <p:spPr>
          <a:xfrm>
            <a:off x="163254" y="175343"/>
            <a:ext cx="9658413" cy="646331"/>
          </a:xfrm>
          <a:prstGeom prst="rect">
            <a:avLst/>
          </a:prstGeom>
          <a:noFill/>
        </p:spPr>
        <p:txBody>
          <a:bodyPr wrap="none" lIns="91440" tIns="45720" rIns="91440" bIns="45720">
            <a:spAutoFit/>
          </a:bodyPr>
          <a:lstStyle/>
          <a:p>
            <a:r>
              <a:rPr lang="es-ES" sz="3600" b="1"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Aula </a:t>
            </a:r>
            <a:r>
              <a:rPr lang="es-ES" sz="3600" b="1" dirty="0" err="1">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A</a:t>
            </a:r>
            <a:r>
              <a:rPr lang="es-ES" sz="3600" b="1" dirty="0" err="1">
                <a:ln w="9525">
                  <a:solidFill>
                    <a:schemeClr val="bg1"/>
                  </a:solidFill>
                  <a:prstDash val="solid"/>
                </a:ln>
                <a:solidFill>
                  <a:schemeClr val="bg1">
                    <a:lumMod val="65000"/>
                  </a:schemeClr>
                </a:solidFill>
                <a:effectLst>
                  <a:outerShdw blurRad="12700" dist="38100" dir="2700000" algn="tl" rotWithShape="0">
                    <a:schemeClr val="accent5">
                      <a:lumMod val="60000"/>
                      <a:lumOff val="40000"/>
                    </a:schemeClr>
                  </a:outerShdw>
                </a:effectLst>
              </a:rPr>
              <a:t>tec</a:t>
            </a:r>
            <a:r>
              <a:rPr lang="es-ES" sz="3600" b="1" dirty="0" err="1">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A</a:t>
            </a:r>
            <a:r>
              <a:rPr lang="es-ES" sz="3600" b="1"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 : capas física y </a:t>
            </a:r>
            <a:r>
              <a:rPr lang="es-ES" sz="3600" b="1" dirty="0" smtClean="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emocional (III)</a:t>
            </a:r>
            <a:endParaRPr lang="es-ES" sz="3600" b="1"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endParaRPr>
          </a:p>
        </p:txBody>
      </p:sp>
      <p:sp>
        <p:nvSpPr>
          <p:cNvPr id="5" name="Rectángulo 4">
            <a:extLst>
              <a:ext uri="{FF2B5EF4-FFF2-40B4-BE49-F238E27FC236}">
                <a16:creationId xmlns:a16="http://schemas.microsoft.com/office/drawing/2014/main" id="{AB6BB749-4A8E-4FC8-B9D8-B3101C7BFAE8}"/>
              </a:ext>
            </a:extLst>
          </p:cNvPr>
          <p:cNvSpPr/>
          <p:nvPr/>
        </p:nvSpPr>
        <p:spPr>
          <a:xfrm>
            <a:off x="419022" y="1209479"/>
            <a:ext cx="5595354" cy="461665"/>
          </a:xfrm>
          <a:prstGeom prst="rect">
            <a:avLst/>
          </a:prstGeom>
          <a:noFill/>
        </p:spPr>
        <p:txBody>
          <a:bodyPr wrap="square" lIns="91440" tIns="45720" rIns="91440" bIns="45720">
            <a:spAutoFit/>
          </a:bodyPr>
          <a:lstStyle/>
          <a:p>
            <a:r>
              <a:rPr lang="es-ES" sz="2400" b="1" dirty="0">
                <a:ln w="9525">
                  <a:solidFill>
                    <a:schemeClr val="tx1"/>
                  </a:solidFill>
                  <a:prstDash val="solid"/>
                </a:ln>
                <a:solidFill>
                  <a:srgbClr val="FFFF00"/>
                </a:solidFill>
                <a:effectLst>
                  <a:outerShdw blurRad="63500" sx="102000" sy="102000" algn="ctr" rotWithShape="0">
                    <a:prstClr val="black">
                      <a:alpha val="40000"/>
                    </a:prstClr>
                  </a:outerShdw>
                </a:effectLst>
              </a:rPr>
              <a:t>Utilidad en el aula:</a:t>
            </a:r>
          </a:p>
        </p:txBody>
      </p:sp>
      <p:grpSp>
        <p:nvGrpSpPr>
          <p:cNvPr id="4" name="Group 25">
            <a:extLst>
              <a:ext uri="{FF2B5EF4-FFF2-40B4-BE49-F238E27FC236}">
                <a16:creationId xmlns:a16="http://schemas.microsoft.com/office/drawing/2014/main" id="{98547450-32B9-42E2-ABAA-4C64F6B4F6D8}"/>
              </a:ext>
            </a:extLst>
          </p:cNvPr>
          <p:cNvGrpSpPr/>
          <p:nvPr/>
        </p:nvGrpSpPr>
        <p:grpSpPr>
          <a:xfrm>
            <a:off x="2609460" y="1483685"/>
            <a:ext cx="3817121" cy="4644156"/>
            <a:chOff x="426670" y="1693282"/>
            <a:chExt cx="2814029" cy="3779194"/>
          </a:xfrm>
        </p:grpSpPr>
        <p:grpSp>
          <p:nvGrpSpPr>
            <p:cNvPr id="6" name="Group 26">
              <a:extLst>
                <a:ext uri="{FF2B5EF4-FFF2-40B4-BE49-F238E27FC236}">
                  <a16:creationId xmlns:a16="http://schemas.microsoft.com/office/drawing/2014/main" id="{E8FA7DCA-AF7B-472C-96C1-2F6210AD907C}"/>
                </a:ext>
              </a:extLst>
            </p:cNvPr>
            <p:cNvGrpSpPr/>
            <p:nvPr/>
          </p:nvGrpSpPr>
          <p:grpSpPr>
            <a:xfrm>
              <a:off x="624116" y="1693282"/>
              <a:ext cx="2616583" cy="2875969"/>
              <a:chOff x="4318783" y="487953"/>
              <a:chExt cx="5267725" cy="5789924"/>
            </a:xfrm>
          </p:grpSpPr>
          <p:sp>
            <p:nvSpPr>
              <p:cNvPr id="11" name="Rectangle: Top Corners One Rounded and One Snipped 31">
                <a:extLst>
                  <a:ext uri="{FF2B5EF4-FFF2-40B4-BE49-F238E27FC236}">
                    <a16:creationId xmlns:a16="http://schemas.microsoft.com/office/drawing/2014/main" id="{B1599AFB-54B1-4FA6-A3F8-1B3F20AD4125}"/>
                  </a:ext>
                </a:extLst>
              </p:cNvPr>
              <p:cNvSpPr/>
              <p:nvPr/>
            </p:nvSpPr>
            <p:spPr>
              <a:xfrm flipH="1" flipV="1">
                <a:off x="5038065" y="1934197"/>
                <a:ext cx="4548443" cy="4343680"/>
              </a:xfrm>
              <a:prstGeom prst="snipRoundRect">
                <a:avLst>
                  <a:gd name="adj1" fmla="val 16667"/>
                  <a:gd name="adj2" fmla="val 0"/>
                </a:avLst>
              </a:prstGeom>
              <a:solidFill>
                <a:schemeClr val="tx1">
                  <a:alpha val="32000"/>
                </a:schemeClr>
              </a:solidFill>
              <a:ln>
                <a:noFill/>
              </a:ln>
              <a:effectLst>
                <a:softEdge rad="635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2" name="Rectangle: Top Corners One Rounded and One Snipped 32">
                <a:extLst>
                  <a:ext uri="{FF2B5EF4-FFF2-40B4-BE49-F238E27FC236}">
                    <a16:creationId xmlns:a16="http://schemas.microsoft.com/office/drawing/2014/main" id="{B1D69087-4647-4C83-9924-AB2A8D28F37F}"/>
                  </a:ext>
                </a:extLst>
              </p:cNvPr>
              <p:cNvSpPr/>
              <p:nvPr/>
            </p:nvSpPr>
            <p:spPr>
              <a:xfrm flipH="1" flipV="1">
                <a:off x="4318783" y="1266092"/>
                <a:ext cx="3967088" cy="3826412"/>
              </a:xfrm>
              <a:prstGeom prst="snipRoundRect">
                <a:avLst>
                  <a:gd name="adj1" fmla="val 16667"/>
                  <a:gd name="adj2" fmla="val 0"/>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 name="Right Triangle 11">
                <a:extLst>
                  <a:ext uri="{FF2B5EF4-FFF2-40B4-BE49-F238E27FC236}">
                    <a16:creationId xmlns:a16="http://schemas.microsoft.com/office/drawing/2014/main" id="{50052BEE-4509-444B-BC71-82BF43669594}"/>
                  </a:ext>
                </a:extLst>
              </p:cNvPr>
              <p:cNvSpPr/>
              <p:nvPr/>
            </p:nvSpPr>
            <p:spPr>
              <a:xfrm rot="21445862" flipH="1">
                <a:off x="6835834" y="4654199"/>
                <a:ext cx="1441109" cy="430667"/>
              </a:xfrm>
              <a:custGeom>
                <a:avLst/>
                <a:gdLst>
                  <a:gd name="connsiteX0" fmla="*/ 0 w 1383030"/>
                  <a:gd name="connsiteY0" fmla="*/ 531934 h 531934"/>
                  <a:gd name="connsiteX1" fmla="*/ 0 w 1383030"/>
                  <a:gd name="connsiteY1" fmla="*/ 0 h 531934"/>
                  <a:gd name="connsiteX2" fmla="*/ 1383030 w 1383030"/>
                  <a:gd name="connsiteY2" fmla="*/ 531934 h 531934"/>
                  <a:gd name="connsiteX3" fmla="*/ 0 w 1383030"/>
                  <a:gd name="connsiteY3" fmla="*/ 531934 h 531934"/>
                  <a:gd name="connsiteX0" fmla="*/ 0 w 1840230"/>
                  <a:gd name="connsiteY0" fmla="*/ 0 h 537882"/>
                  <a:gd name="connsiteX1" fmla="*/ 457200 w 1840230"/>
                  <a:gd name="connsiteY1" fmla="*/ 5948 h 537882"/>
                  <a:gd name="connsiteX2" fmla="*/ 1840230 w 1840230"/>
                  <a:gd name="connsiteY2" fmla="*/ 537882 h 537882"/>
                  <a:gd name="connsiteX3" fmla="*/ 0 w 1840230"/>
                  <a:gd name="connsiteY3" fmla="*/ 0 h 537882"/>
                  <a:gd name="connsiteX0" fmla="*/ 0 w 1840230"/>
                  <a:gd name="connsiteY0" fmla="*/ 0 h 537882"/>
                  <a:gd name="connsiteX1" fmla="*/ 457200 w 1840230"/>
                  <a:gd name="connsiteY1" fmla="*/ 5948 h 537882"/>
                  <a:gd name="connsiteX2" fmla="*/ 1840230 w 1840230"/>
                  <a:gd name="connsiteY2" fmla="*/ 537882 h 537882"/>
                  <a:gd name="connsiteX3" fmla="*/ 0 w 1840230"/>
                  <a:gd name="connsiteY3" fmla="*/ 0 h 537882"/>
                  <a:gd name="connsiteX0" fmla="*/ 0 w 1840230"/>
                  <a:gd name="connsiteY0" fmla="*/ 0 h 553000"/>
                  <a:gd name="connsiteX1" fmla="*/ 457200 w 1840230"/>
                  <a:gd name="connsiteY1" fmla="*/ 5948 h 553000"/>
                  <a:gd name="connsiteX2" fmla="*/ 1840230 w 1840230"/>
                  <a:gd name="connsiteY2" fmla="*/ 537882 h 553000"/>
                  <a:gd name="connsiteX3" fmla="*/ 0 w 1840230"/>
                  <a:gd name="connsiteY3" fmla="*/ 0 h 553000"/>
                  <a:gd name="connsiteX0" fmla="*/ 0 w 1840230"/>
                  <a:gd name="connsiteY0" fmla="*/ 0 h 550713"/>
                  <a:gd name="connsiteX1" fmla="*/ 457200 w 1840230"/>
                  <a:gd name="connsiteY1" fmla="*/ 5948 h 550713"/>
                  <a:gd name="connsiteX2" fmla="*/ 1840230 w 1840230"/>
                  <a:gd name="connsiteY2" fmla="*/ 537882 h 550713"/>
                  <a:gd name="connsiteX3" fmla="*/ 0 w 1840230"/>
                  <a:gd name="connsiteY3" fmla="*/ 0 h 550713"/>
                  <a:gd name="connsiteX0" fmla="*/ 0 w 1840230"/>
                  <a:gd name="connsiteY0" fmla="*/ 0 h 550713"/>
                  <a:gd name="connsiteX1" fmla="*/ 457200 w 1840230"/>
                  <a:gd name="connsiteY1" fmla="*/ 5948 h 550713"/>
                  <a:gd name="connsiteX2" fmla="*/ 1840230 w 1840230"/>
                  <a:gd name="connsiteY2" fmla="*/ 537882 h 550713"/>
                  <a:gd name="connsiteX3" fmla="*/ 0 w 1840230"/>
                  <a:gd name="connsiteY3" fmla="*/ 0 h 550713"/>
                  <a:gd name="connsiteX0" fmla="*/ 0 w 1840230"/>
                  <a:gd name="connsiteY0" fmla="*/ 0 h 550713"/>
                  <a:gd name="connsiteX1" fmla="*/ 457200 w 1840230"/>
                  <a:gd name="connsiteY1" fmla="*/ 5948 h 550713"/>
                  <a:gd name="connsiteX2" fmla="*/ 1840230 w 1840230"/>
                  <a:gd name="connsiteY2" fmla="*/ 537882 h 550713"/>
                  <a:gd name="connsiteX3" fmla="*/ 0 w 1840230"/>
                  <a:gd name="connsiteY3" fmla="*/ 0 h 550713"/>
                </a:gdLst>
                <a:ahLst/>
                <a:cxnLst>
                  <a:cxn ang="0">
                    <a:pos x="connsiteX0" y="connsiteY0"/>
                  </a:cxn>
                  <a:cxn ang="0">
                    <a:pos x="connsiteX1" y="connsiteY1"/>
                  </a:cxn>
                  <a:cxn ang="0">
                    <a:pos x="connsiteX2" y="connsiteY2"/>
                  </a:cxn>
                  <a:cxn ang="0">
                    <a:pos x="connsiteX3" y="connsiteY3"/>
                  </a:cxn>
                </a:cxnLst>
                <a:rect l="l" t="t" r="r" b="b"/>
                <a:pathLst>
                  <a:path w="1840230" h="550713">
                    <a:moveTo>
                      <a:pt x="0" y="0"/>
                    </a:moveTo>
                    <a:cubicBezTo>
                      <a:pt x="307041" y="277648"/>
                      <a:pt x="419100" y="-43099"/>
                      <a:pt x="457200" y="5948"/>
                    </a:cubicBezTo>
                    <a:lnTo>
                      <a:pt x="1840230" y="537882"/>
                    </a:lnTo>
                    <a:cubicBezTo>
                      <a:pt x="1549550" y="432546"/>
                      <a:pt x="142763" y="851647"/>
                      <a:pt x="0" y="0"/>
                    </a:cubicBezTo>
                    <a:close/>
                  </a:path>
                </a:pathLst>
              </a:custGeom>
              <a:solidFill>
                <a:srgbClr val="C800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nvGrpSpPr>
              <p:cNvPr id="14" name="Group 34">
                <a:extLst>
                  <a:ext uri="{FF2B5EF4-FFF2-40B4-BE49-F238E27FC236}">
                    <a16:creationId xmlns:a16="http://schemas.microsoft.com/office/drawing/2014/main" id="{0F96D30F-5E87-4596-9BBA-7AD33328E309}"/>
                  </a:ext>
                </a:extLst>
              </p:cNvPr>
              <p:cNvGrpSpPr/>
              <p:nvPr/>
            </p:nvGrpSpPr>
            <p:grpSpPr>
              <a:xfrm>
                <a:off x="6292161" y="487953"/>
                <a:ext cx="552600" cy="1140997"/>
                <a:chOff x="2939143" y="1028541"/>
                <a:chExt cx="783329" cy="1617400"/>
              </a:xfrm>
              <a:effectLst>
                <a:outerShdw blurRad="76200" dir="18900000" sy="23000" kx="-1200000" algn="bl" rotWithShape="0">
                  <a:prstClr val="black">
                    <a:alpha val="20000"/>
                  </a:prstClr>
                </a:outerShdw>
              </a:effectLst>
            </p:grpSpPr>
            <p:sp>
              <p:nvSpPr>
                <p:cNvPr id="15" name="Rectangle: Rounded Corners 35">
                  <a:extLst>
                    <a:ext uri="{FF2B5EF4-FFF2-40B4-BE49-F238E27FC236}">
                      <a16:creationId xmlns:a16="http://schemas.microsoft.com/office/drawing/2014/main" id="{43F1ECB3-6B7A-4E37-9EA7-27A8577A496D}"/>
                    </a:ext>
                  </a:extLst>
                </p:cNvPr>
                <p:cNvSpPr/>
                <p:nvPr/>
              </p:nvSpPr>
              <p:spPr>
                <a:xfrm rot="1098443" flipH="1">
                  <a:off x="3153025" y="1914421"/>
                  <a:ext cx="77804" cy="731520"/>
                </a:xfrm>
                <a:prstGeom prst="roundRect">
                  <a:avLst/>
                </a:prstGeom>
                <a:gradFill flip="none" rotWithShape="1">
                  <a:gsLst>
                    <a:gs pos="100000">
                      <a:schemeClr val="bg1">
                        <a:lumMod val="85000"/>
                      </a:schemeClr>
                    </a:gs>
                    <a:gs pos="57512">
                      <a:schemeClr val="tx1">
                        <a:lumMod val="65000"/>
                        <a:lumOff val="35000"/>
                      </a:schemeClr>
                    </a:gs>
                    <a:gs pos="24800">
                      <a:schemeClr val="bg1"/>
                    </a:gs>
                    <a:gs pos="0">
                      <a:schemeClr val="bg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6" name="Oval 36">
                  <a:extLst>
                    <a:ext uri="{FF2B5EF4-FFF2-40B4-BE49-F238E27FC236}">
                      <a16:creationId xmlns:a16="http://schemas.microsoft.com/office/drawing/2014/main" id="{65B8A7FF-3AE6-4F63-838E-9C9C3CCEF0AF}"/>
                    </a:ext>
                  </a:extLst>
                </p:cNvPr>
                <p:cNvSpPr/>
                <p:nvPr/>
              </p:nvSpPr>
              <p:spPr>
                <a:xfrm>
                  <a:off x="2939143" y="1538514"/>
                  <a:ext cx="740228" cy="740228"/>
                </a:xfrm>
                <a:prstGeom prst="ellipse">
                  <a:avLst/>
                </a:prstGeom>
                <a:solidFill>
                  <a:srgbClr val="0070C0"/>
                </a:solidFill>
                <a:ln>
                  <a:noFill/>
                </a:ln>
                <a:effectLst>
                  <a:innerShdw blurRad="3302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7" name="Trapezoid 37">
                  <a:extLst>
                    <a:ext uri="{FF2B5EF4-FFF2-40B4-BE49-F238E27FC236}">
                      <a16:creationId xmlns:a16="http://schemas.microsoft.com/office/drawing/2014/main" id="{CB310FBE-4D8A-429D-8FBF-0E7A870A111E}"/>
                    </a:ext>
                  </a:extLst>
                </p:cNvPr>
                <p:cNvSpPr/>
                <p:nvPr/>
              </p:nvSpPr>
              <p:spPr>
                <a:xfrm rot="702551">
                  <a:off x="3193598" y="1216282"/>
                  <a:ext cx="418337" cy="707468"/>
                </a:xfrm>
                <a:prstGeom prst="trapezoid">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8" name="Oval 38">
                  <a:extLst>
                    <a:ext uri="{FF2B5EF4-FFF2-40B4-BE49-F238E27FC236}">
                      <a16:creationId xmlns:a16="http://schemas.microsoft.com/office/drawing/2014/main" id="{3E66500C-B4A9-48DD-ABAC-786FA9FAAC28}"/>
                    </a:ext>
                  </a:extLst>
                </p:cNvPr>
                <p:cNvSpPr/>
                <p:nvPr/>
              </p:nvSpPr>
              <p:spPr>
                <a:xfrm>
                  <a:off x="3169263" y="1028541"/>
                  <a:ext cx="553209" cy="553209"/>
                </a:xfrm>
                <a:prstGeom prst="ellipse">
                  <a:avLst/>
                </a:prstGeom>
                <a:solidFill>
                  <a:srgbClr val="0070C0"/>
                </a:solidFill>
                <a:ln>
                  <a:noFill/>
                </a:ln>
                <a:effectLst>
                  <a:innerShdw blurRad="3302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sp>
          <p:nvSpPr>
            <p:cNvPr id="7" name="TextBox 27">
              <a:extLst>
                <a:ext uri="{FF2B5EF4-FFF2-40B4-BE49-F238E27FC236}">
                  <a16:creationId xmlns:a16="http://schemas.microsoft.com/office/drawing/2014/main" id="{BB5C6C31-26DB-4B60-85A0-66E2C024C86F}"/>
                </a:ext>
              </a:extLst>
            </p:cNvPr>
            <p:cNvSpPr txBox="1"/>
            <p:nvPr/>
          </p:nvSpPr>
          <p:spPr>
            <a:xfrm rot="636792">
              <a:off x="426670" y="4295342"/>
              <a:ext cx="2305135" cy="1177134"/>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marL="92075" indent="-92075">
                <a:buFontTx/>
                <a:buChar char="-"/>
              </a:pPr>
              <a:r>
                <a:rPr lang="es-ES" sz="1100" dirty="0"/>
                <a:t>Control automatizado de la asistencia diaria a clase</a:t>
              </a:r>
              <a:r>
                <a:rPr lang="es-ES" sz="1100" dirty="0" smtClean="0"/>
                <a:t>.</a:t>
              </a:r>
            </a:p>
            <a:p>
              <a:pPr marL="92075" indent="-92075">
                <a:buFontTx/>
                <a:buChar char="-"/>
              </a:pPr>
              <a:endParaRPr lang="es-ES" sz="1100" dirty="0"/>
            </a:p>
            <a:p>
              <a:pPr marL="92075" indent="-92075">
                <a:buFontTx/>
                <a:buChar char="-"/>
              </a:pPr>
              <a:r>
                <a:rPr lang="es-ES" sz="1100" dirty="0"/>
                <a:t>Reducción de la energía consumida en el aula</a:t>
              </a:r>
              <a:r>
                <a:rPr lang="es-ES" sz="1100" dirty="0" smtClean="0"/>
                <a:t>.</a:t>
              </a:r>
            </a:p>
            <a:p>
              <a:pPr marL="92075" indent="-92075">
                <a:buFontTx/>
                <a:buChar char="-"/>
              </a:pPr>
              <a:endParaRPr lang="es-ES" sz="1100" dirty="0"/>
            </a:p>
            <a:p>
              <a:pPr marL="92075" indent="-92075">
                <a:buFontTx/>
                <a:buChar char="-"/>
              </a:pPr>
              <a:r>
                <a:rPr lang="es-ES" sz="1100" dirty="0"/>
                <a:t>Control del confort del aula (temperatura, humedad, luminosidad…).</a:t>
              </a:r>
            </a:p>
          </p:txBody>
        </p:sp>
        <p:sp>
          <p:nvSpPr>
            <p:cNvPr id="8" name="Freeform: Shape 28">
              <a:extLst>
                <a:ext uri="{FF2B5EF4-FFF2-40B4-BE49-F238E27FC236}">
                  <a16:creationId xmlns:a16="http://schemas.microsoft.com/office/drawing/2014/main" id="{20C70EAD-B421-40F7-B2DA-3A5971D63D11}"/>
                </a:ext>
              </a:extLst>
            </p:cNvPr>
            <p:cNvSpPr/>
            <p:nvPr/>
          </p:nvSpPr>
          <p:spPr>
            <a:xfrm>
              <a:off x="1267328" y="3637903"/>
              <a:ext cx="513976" cy="663388"/>
            </a:xfrm>
            <a:custGeom>
              <a:avLst/>
              <a:gdLst>
                <a:gd name="connsiteX0" fmla="*/ 268941 w 513976"/>
                <a:gd name="connsiteY0" fmla="*/ 693271 h 729129"/>
                <a:gd name="connsiteX1" fmla="*/ 268941 w 513976"/>
                <a:gd name="connsiteY1" fmla="*/ 693271 h 729129"/>
                <a:gd name="connsiteX2" fmla="*/ 29882 w 513976"/>
                <a:gd name="connsiteY2" fmla="*/ 280894 h 729129"/>
                <a:gd name="connsiteX3" fmla="*/ 23906 w 513976"/>
                <a:gd name="connsiteY3" fmla="*/ 262965 h 729129"/>
                <a:gd name="connsiteX4" fmla="*/ 11953 w 513976"/>
                <a:gd name="connsiteY4" fmla="*/ 233082 h 729129"/>
                <a:gd name="connsiteX5" fmla="*/ 0 w 513976"/>
                <a:gd name="connsiteY5" fmla="*/ 203200 h 729129"/>
                <a:gd name="connsiteX6" fmla="*/ 89647 w 513976"/>
                <a:gd name="connsiteY6" fmla="*/ 239059 h 729129"/>
                <a:gd name="connsiteX7" fmla="*/ 59764 w 513976"/>
                <a:gd name="connsiteY7" fmla="*/ 155388 h 729129"/>
                <a:gd name="connsiteX8" fmla="*/ 131482 w 513976"/>
                <a:gd name="connsiteY8" fmla="*/ 227106 h 729129"/>
                <a:gd name="connsiteX9" fmla="*/ 107576 w 513976"/>
                <a:gd name="connsiteY9" fmla="*/ 143435 h 729129"/>
                <a:gd name="connsiteX10" fmla="*/ 179294 w 513976"/>
                <a:gd name="connsiteY10" fmla="*/ 215153 h 729129"/>
                <a:gd name="connsiteX11" fmla="*/ 167341 w 513976"/>
                <a:gd name="connsiteY11" fmla="*/ 125506 h 729129"/>
                <a:gd name="connsiteX12" fmla="*/ 245035 w 513976"/>
                <a:gd name="connsiteY12" fmla="*/ 215153 h 729129"/>
                <a:gd name="connsiteX13" fmla="*/ 203200 w 513976"/>
                <a:gd name="connsiteY13" fmla="*/ 0 h 729129"/>
                <a:gd name="connsiteX14" fmla="*/ 513976 w 513976"/>
                <a:gd name="connsiteY14" fmla="*/ 657412 h 729129"/>
                <a:gd name="connsiteX15" fmla="*/ 448235 w 513976"/>
                <a:gd name="connsiteY15" fmla="*/ 621553 h 729129"/>
                <a:gd name="connsiteX16" fmla="*/ 454211 w 513976"/>
                <a:gd name="connsiteY16" fmla="*/ 675341 h 729129"/>
                <a:gd name="connsiteX17" fmla="*/ 400423 w 513976"/>
                <a:gd name="connsiteY17" fmla="*/ 657412 h 729129"/>
                <a:gd name="connsiteX18" fmla="*/ 388470 w 513976"/>
                <a:gd name="connsiteY18" fmla="*/ 681318 h 729129"/>
                <a:gd name="connsiteX19" fmla="*/ 358588 w 513976"/>
                <a:gd name="connsiteY19" fmla="*/ 633506 h 729129"/>
                <a:gd name="connsiteX20" fmla="*/ 304800 w 513976"/>
                <a:gd name="connsiteY20" fmla="*/ 729129 h 729129"/>
                <a:gd name="connsiteX21" fmla="*/ 268941 w 513976"/>
                <a:gd name="connsiteY21" fmla="*/ 693271 h 729129"/>
                <a:gd name="connsiteX0" fmla="*/ 268941 w 513976"/>
                <a:gd name="connsiteY0" fmla="*/ 627530 h 663388"/>
                <a:gd name="connsiteX1" fmla="*/ 268941 w 513976"/>
                <a:gd name="connsiteY1" fmla="*/ 627530 h 663388"/>
                <a:gd name="connsiteX2" fmla="*/ 29882 w 513976"/>
                <a:gd name="connsiteY2" fmla="*/ 215153 h 663388"/>
                <a:gd name="connsiteX3" fmla="*/ 23906 w 513976"/>
                <a:gd name="connsiteY3" fmla="*/ 197224 h 663388"/>
                <a:gd name="connsiteX4" fmla="*/ 11953 w 513976"/>
                <a:gd name="connsiteY4" fmla="*/ 167341 h 663388"/>
                <a:gd name="connsiteX5" fmla="*/ 0 w 513976"/>
                <a:gd name="connsiteY5" fmla="*/ 137459 h 663388"/>
                <a:gd name="connsiteX6" fmla="*/ 89647 w 513976"/>
                <a:gd name="connsiteY6" fmla="*/ 173318 h 663388"/>
                <a:gd name="connsiteX7" fmla="*/ 59764 w 513976"/>
                <a:gd name="connsiteY7" fmla="*/ 89647 h 663388"/>
                <a:gd name="connsiteX8" fmla="*/ 131482 w 513976"/>
                <a:gd name="connsiteY8" fmla="*/ 161365 h 663388"/>
                <a:gd name="connsiteX9" fmla="*/ 107576 w 513976"/>
                <a:gd name="connsiteY9" fmla="*/ 77694 h 663388"/>
                <a:gd name="connsiteX10" fmla="*/ 179294 w 513976"/>
                <a:gd name="connsiteY10" fmla="*/ 149412 h 663388"/>
                <a:gd name="connsiteX11" fmla="*/ 167341 w 513976"/>
                <a:gd name="connsiteY11" fmla="*/ 59765 h 663388"/>
                <a:gd name="connsiteX12" fmla="*/ 245035 w 513976"/>
                <a:gd name="connsiteY12" fmla="*/ 149412 h 663388"/>
                <a:gd name="connsiteX13" fmla="*/ 221130 w 513976"/>
                <a:gd name="connsiteY13" fmla="*/ 0 h 663388"/>
                <a:gd name="connsiteX14" fmla="*/ 513976 w 513976"/>
                <a:gd name="connsiteY14" fmla="*/ 591671 h 663388"/>
                <a:gd name="connsiteX15" fmla="*/ 448235 w 513976"/>
                <a:gd name="connsiteY15" fmla="*/ 555812 h 663388"/>
                <a:gd name="connsiteX16" fmla="*/ 454211 w 513976"/>
                <a:gd name="connsiteY16" fmla="*/ 609600 h 663388"/>
                <a:gd name="connsiteX17" fmla="*/ 400423 w 513976"/>
                <a:gd name="connsiteY17" fmla="*/ 591671 h 663388"/>
                <a:gd name="connsiteX18" fmla="*/ 388470 w 513976"/>
                <a:gd name="connsiteY18" fmla="*/ 615577 h 663388"/>
                <a:gd name="connsiteX19" fmla="*/ 358588 w 513976"/>
                <a:gd name="connsiteY19" fmla="*/ 567765 h 663388"/>
                <a:gd name="connsiteX20" fmla="*/ 304800 w 513976"/>
                <a:gd name="connsiteY20" fmla="*/ 663388 h 663388"/>
                <a:gd name="connsiteX21" fmla="*/ 268941 w 513976"/>
                <a:gd name="connsiteY21" fmla="*/ 627530 h 66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3976" h="663388">
                  <a:moveTo>
                    <a:pt x="268941" y="627530"/>
                  </a:moveTo>
                  <a:lnTo>
                    <a:pt x="268941" y="627530"/>
                  </a:lnTo>
                  <a:cubicBezTo>
                    <a:pt x="189255" y="490071"/>
                    <a:pt x="108505" y="353223"/>
                    <a:pt x="29882" y="215153"/>
                  </a:cubicBezTo>
                  <a:cubicBezTo>
                    <a:pt x="26765" y="209679"/>
                    <a:pt x="26118" y="203122"/>
                    <a:pt x="23906" y="197224"/>
                  </a:cubicBezTo>
                  <a:cubicBezTo>
                    <a:pt x="20139" y="187179"/>
                    <a:pt x="15720" y="177386"/>
                    <a:pt x="11953" y="167341"/>
                  </a:cubicBezTo>
                  <a:cubicBezTo>
                    <a:pt x="876" y="137803"/>
                    <a:pt x="11403" y="160267"/>
                    <a:pt x="0" y="137459"/>
                  </a:cubicBezTo>
                  <a:lnTo>
                    <a:pt x="89647" y="173318"/>
                  </a:lnTo>
                  <a:lnTo>
                    <a:pt x="59764" y="89647"/>
                  </a:lnTo>
                  <a:lnTo>
                    <a:pt x="131482" y="161365"/>
                  </a:lnTo>
                  <a:lnTo>
                    <a:pt x="107576" y="77694"/>
                  </a:lnTo>
                  <a:lnTo>
                    <a:pt x="179294" y="149412"/>
                  </a:lnTo>
                  <a:lnTo>
                    <a:pt x="167341" y="59765"/>
                  </a:lnTo>
                  <a:lnTo>
                    <a:pt x="245035" y="149412"/>
                  </a:lnTo>
                  <a:lnTo>
                    <a:pt x="221130" y="0"/>
                  </a:lnTo>
                  <a:lnTo>
                    <a:pt x="513976" y="591671"/>
                  </a:lnTo>
                  <a:lnTo>
                    <a:pt x="448235" y="555812"/>
                  </a:lnTo>
                  <a:lnTo>
                    <a:pt x="454211" y="609600"/>
                  </a:lnTo>
                  <a:lnTo>
                    <a:pt x="400423" y="591671"/>
                  </a:lnTo>
                  <a:lnTo>
                    <a:pt x="388470" y="615577"/>
                  </a:lnTo>
                  <a:lnTo>
                    <a:pt x="358588" y="567765"/>
                  </a:lnTo>
                  <a:lnTo>
                    <a:pt x="304800" y="663388"/>
                  </a:lnTo>
                  <a:lnTo>
                    <a:pt x="268941" y="627530"/>
                  </a:lnTo>
                  <a:close/>
                </a:path>
              </a:pathLst>
            </a:custGeom>
            <a:solidFill>
              <a:srgbClr val="00206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9" name="TextBox 29">
              <a:extLst>
                <a:ext uri="{FF2B5EF4-FFF2-40B4-BE49-F238E27FC236}">
                  <a16:creationId xmlns:a16="http://schemas.microsoft.com/office/drawing/2014/main" id="{D70E950D-3169-479B-A595-29512A1D5858}"/>
                </a:ext>
              </a:extLst>
            </p:cNvPr>
            <p:cNvSpPr txBox="1"/>
            <p:nvPr/>
          </p:nvSpPr>
          <p:spPr>
            <a:xfrm>
              <a:off x="624116" y="2253069"/>
              <a:ext cx="1933056" cy="300545"/>
            </a:xfrm>
            <a:prstGeom prst="rect">
              <a:avLst/>
            </a:prstGeom>
            <a:noFill/>
          </p:spPr>
          <p:txBody>
            <a:bodyPr wrap="square" rtlCol="0">
              <a:spAutoFit/>
            </a:bodyPr>
            <a:lstStyle/>
            <a:p>
              <a:pPr algn="ctr"/>
              <a:r>
                <a:rPr lang="en-US" b="1" dirty="0"/>
                <a:t>CAPA FÍSICA</a:t>
              </a:r>
            </a:p>
          </p:txBody>
        </p:sp>
        <p:pic>
          <p:nvPicPr>
            <p:cNvPr id="10" name="Graphic 30" descr="Termómetro">
              <a:extLst>
                <a:ext uri="{FF2B5EF4-FFF2-40B4-BE49-F238E27FC236}">
                  <a16:creationId xmlns:a16="http://schemas.microsoft.com/office/drawing/2014/main" id="{F77FF119-815E-4026-958D-14D380A47AB9}"/>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234274" y="2799974"/>
              <a:ext cx="736510" cy="736510"/>
            </a:xfrm>
            <a:prstGeom prst="rect">
              <a:avLst/>
            </a:prstGeom>
          </p:spPr>
        </p:pic>
      </p:grpSp>
      <p:grpSp>
        <p:nvGrpSpPr>
          <p:cNvPr id="19" name="Group 39">
            <a:extLst>
              <a:ext uri="{FF2B5EF4-FFF2-40B4-BE49-F238E27FC236}">
                <a16:creationId xmlns:a16="http://schemas.microsoft.com/office/drawing/2014/main" id="{49E21AAD-6CBA-4C65-BBB3-462CBF28CA34}"/>
              </a:ext>
            </a:extLst>
          </p:cNvPr>
          <p:cNvGrpSpPr/>
          <p:nvPr/>
        </p:nvGrpSpPr>
        <p:grpSpPr>
          <a:xfrm>
            <a:off x="7699565" y="1141352"/>
            <a:ext cx="3531332" cy="4750031"/>
            <a:chOff x="619178" y="1693282"/>
            <a:chExt cx="2621519" cy="4142287"/>
          </a:xfrm>
        </p:grpSpPr>
        <p:grpSp>
          <p:nvGrpSpPr>
            <p:cNvPr id="20" name="Group 40">
              <a:extLst>
                <a:ext uri="{FF2B5EF4-FFF2-40B4-BE49-F238E27FC236}">
                  <a16:creationId xmlns:a16="http://schemas.microsoft.com/office/drawing/2014/main" id="{556C94B3-9C56-4673-BB26-8042634C2D0A}"/>
                </a:ext>
              </a:extLst>
            </p:cNvPr>
            <p:cNvGrpSpPr/>
            <p:nvPr/>
          </p:nvGrpSpPr>
          <p:grpSpPr>
            <a:xfrm>
              <a:off x="624114" y="1693282"/>
              <a:ext cx="2616583" cy="2875969"/>
              <a:chOff x="4318781" y="487953"/>
              <a:chExt cx="5267727" cy="5789924"/>
            </a:xfrm>
          </p:grpSpPr>
          <p:sp>
            <p:nvSpPr>
              <p:cNvPr id="25" name="Rectangle: Top Corners One Rounded and One Snipped 45">
                <a:extLst>
                  <a:ext uri="{FF2B5EF4-FFF2-40B4-BE49-F238E27FC236}">
                    <a16:creationId xmlns:a16="http://schemas.microsoft.com/office/drawing/2014/main" id="{E52C6E08-819A-47C9-AEE6-FEB54391C345}"/>
                  </a:ext>
                </a:extLst>
              </p:cNvPr>
              <p:cNvSpPr/>
              <p:nvPr/>
            </p:nvSpPr>
            <p:spPr>
              <a:xfrm flipH="1" flipV="1">
                <a:off x="5038065" y="1934197"/>
                <a:ext cx="4548443" cy="4343680"/>
              </a:xfrm>
              <a:prstGeom prst="snipRoundRect">
                <a:avLst>
                  <a:gd name="adj1" fmla="val 16667"/>
                  <a:gd name="adj2" fmla="val 0"/>
                </a:avLst>
              </a:prstGeom>
              <a:solidFill>
                <a:schemeClr val="tx1">
                  <a:alpha val="32000"/>
                </a:schemeClr>
              </a:solidFill>
              <a:ln>
                <a:noFill/>
              </a:ln>
              <a:effectLst>
                <a:softEdge rad="635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6" name="Rectangle: Top Corners One Rounded and One Snipped 46">
                <a:extLst>
                  <a:ext uri="{FF2B5EF4-FFF2-40B4-BE49-F238E27FC236}">
                    <a16:creationId xmlns:a16="http://schemas.microsoft.com/office/drawing/2014/main" id="{3B5BB59C-53D9-49B9-8269-5E6D9F579D72}"/>
                  </a:ext>
                </a:extLst>
              </p:cNvPr>
              <p:cNvSpPr/>
              <p:nvPr/>
            </p:nvSpPr>
            <p:spPr>
              <a:xfrm flipH="1" flipV="1">
                <a:off x="4318781" y="1266091"/>
                <a:ext cx="3967089" cy="4282205"/>
              </a:xfrm>
              <a:prstGeom prst="snipRoundRect">
                <a:avLst>
                  <a:gd name="adj1" fmla="val 16667"/>
                  <a:gd name="adj2" fmla="val 0"/>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7" name="Right Triangle 11">
                <a:extLst>
                  <a:ext uri="{FF2B5EF4-FFF2-40B4-BE49-F238E27FC236}">
                    <a16:creationId xmlns:a16="http://schemas.microsoft.com/office/drawing/2014/main" id="{FCDAFDE8-5AA2-4C00-B89C-C536BBD767B4}"/>
                  </a:ext>
                </a:extLst>
              </p:cNvPr>
              <p:cNvSpPr/>
              <p:nvPr/>
            </p:nvSpPr>
            <p:spPr>
              <a:xfrm rot="21377153" flipH="1">
                <a:off x="6859276" y="5181252"/>
                <a:ext cx="1441109" cy="430668"/>
              </a:xfrm>
              <a:custGeom>
                <a:avLst/>
                <a:gdLst>
                  <a:gd name="connsiteX0" fmla="*/ 0 w 1383030"/>
                  <a:gd name="connsiteY0" fmla="*/ 531934 h 531934"/>
                  <a:gd name="connsiteX1" fmla="*/ 0 w 1383030"/>
                  <a:gd name="connsiteY1" fmla="*/ 0 h 531934"/>
                  <a:gd name="connsiteX2" fmla="*/ 1383030 w 1383030"/>
                  <a:gd name="connsiteY2" fmla="*/ 531934 h 531934"/>
                  <a:gd name="connsiteX3" fmla="*/ 0 w 1383030"/>
                  <a:gd name="connsiteY3" fmla="*/ 531934 h 531934"/>
                  <a:gd name="connsiteX0" fmla="*/ 0 w 1840230"/>
                  <a:gd name="connsiteY0" fmla="*/ 0 h 537882"/>
                  <a:gd name="connsiteX1" fmla="*/ 457200 w 1840230"/>
                  <a:gd name="connsiteY1" fmla="*/ 5948 h 537882"/>
                  <a:gd name="connsiteX2" fmla="*/ 1840230 w 1840230"/>
                  <a:gd name="connsiteY2" fmla="*/ 537882 h 537882"/>
                  <a:gd name="connsiteX3" fmla="*/ 0 w 1840230"/>
                  <a:gd name="connsiteY3" fmla="*/ 0 h 537882"/>
                  <a:gd name="connsiteX0" fmla="*/ 0 w 1840230"/>
                  <a:gd name="connsiteY0" fmla="*/ 0 h 537882"/>
                  <a:gd name="connsiteX1" fmla="*/ 457200 w 1840230"/>
                  <a:gd name="connsiteY1" fmla="*/ 5948 h 537882"/>
                  <a:gd name="connsiteX2" fmla="*/ 1840230 w 1840230"/>
                  <a:gd name="connsiteY2" fmla="*/ 537882 h 537882"/>
                  <a:gd name="connsiteX3" fmla="*/ 0 w 1840230"/>
                  <a:gd name="connsiteY3" fmla="*/ 0 h 537882"/>
                  <a:gd name="connsiteX0" fmla="*/ 0 w 1840230"/>
                  <a:gd name="connsiteY0" fmla="*/ 0 h 553000"/>
                  <a:gd name="connsiteX1" fmla="*/ 457200 w 1840230"/>
                  <a:gd name="connsiteY1" fmla="*/ 5948 h 553000"/>
                  <a:gd name="connsiteX2" fmla="*/ 1840230 w 1840230"/>
                  <a:gd name="connsiteY2" fmla="*/ 537882 h 553000"/>
                  <a:gd name="connsiteX3" fmla="*/ 0 w 1840230"/>
                  <a:gd name="connsiteY3" fmla="*/ 0 h 553000"/>
                  <a:gd name="connsiteX0" fmla="*/ 0 w 1840230"/>
                  <a:gd name="connsiteY0" fmla="*/ 0 h 550713"/>
                  <a:gd name="connsiteX1" fmla="*/ 457200 w 1840230"/>
                  <a:gd name="connsiteY1" fmla="*/ 5948 h 550713"/>
                  <a:gd name="connsiteX2" fmla="*/ 1840230 w 1840230"/>
                  <a:gd name="connsiteY2" fmla="*/ 537882 h 550713"/>
                  <a:gd name="connsiteX3" fmla="*/ 0 w 1840230"/>
                  <a:gd name="connsiteY3" fmla="*/ 0 h 550713"/>
                  <a:gd name="connsiteX0" fmla="*/ 0 w 1840230"/>
                  <a:gd name="connsiteY0" fmla="*/ 0 h 550713"/>
                  <a:gd name="connsiteX1" fmla="*/ 457200 w 1840230"/>
                  <a:gd name="connsiteY1" fmla="*/ 5948 h 550713"/>
                  <a:gd name="connsiteX2" fmla="*/ 1840230 w 1840230"/>
                  <a:gd name="connsiteY2" fmla="*/ 537882 h 550713"/>
                  <a:gd name="connsiteX3" fmla="*/ 0 w 1840230"/>
                  <a:gd name="connsiteY3" fmla="*/ 0 h 550713"/>
                  <a:gd name="connsiteX0" fmla="*/ 0 w 1840230"/>
                  <a:gd name="connsiteY0" fmla="*/ 0 h 550713"/>
                  <a:gd name="connsiteX1" fmla="*/ 457200 w 1840230"/>
                  <a:gd name="connsiteY1" fmla="*/ 5948 h 550713"/>
                  <a:gd name="connsiteX2" fmla="*/ 1840230 w 1840230"/>
                  <a:gd name="connsiteY2" fmla="*/ 537882 h 550713"/>
                  <a:gd name="connsiteX3" fmla="*/ 0 w 1840230"/>
                  <a:gd name="connsiteY3" fmla="*/ 0 h 550713"/>
                </a:gdLst>
                <a:ahLst/>
                <a:cxnLst>
                  <a:cxn ang="0">
                    <a:pos x="connsiteX0" y="connsiteY0"/>
                  </a:cxn>
                  <a:cxn ang="0">
                    <a:pos x="connsiteX1" y="connsiteY1"/>
                  </a:cxn>
                  <a:cxn ang="0">
                    <a:pos x="connsiteX2" y="connsiteY2"/>
                  </a:cxn>
                  <a:cxn ang="0">
                    <a:pos x="connsiteX3" y="connsiteY3"/>
                  </a:cxn>
                </a:cxnLst>
                <a:rect l="l" t="t" r="r" b="b"/>
                <a:pathLst>
                  <a:path w="1840230" h="550713">
                    <a:moveTo>
                      <a:pt x="0" y="0"/>
                    </a:moveTo>
                    <a:cubicBezTo>
                      <a:pt x="307041" y="277648"/>
                      <a:pt x="419100" y="-43099"/>
                      <a:pt x="457200" y="5948"/>
                    </a:cubicBezTo>
                    <a:lnTo>
                      <a:pt x="1840230" y="537882"/>
                    </a:lnTo>
                    <a:cubicBezTo>
                      <a:pt x="1549550" y="432546"/>
                      <a:pt x="142763" y="851647"/>
                      <a:pt x="0" y="0"/>
                    </a:cubicBez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nvGrpSpPr>
              <p:cNvPr id="28" name="Group 48">
                <a:extLst>
                  <a:ext uri="{FF2B5EF4-FFF2-40B4-BE49-F238E27FC236}">
                    <a16:creationId xmlns:a16="http://schemas.microsoft.com/office/drawing/2014/main" id="{3D28A21E-8739-4D08-B883-BD7ECB39B4CB}"/>
                  </a:ext>
                </a:extLst>
              </p:cNvPr>
              <p:cNvGrpSpPr/>
              <p:nvPr/>
            </p:nvGrpSpPr>
            <p:grpSpPr>
              <a:xfrm>
                <a:off x="6292161" y="487953"/>
                <a:ext cx="552600" cy="1140997"/>
                <a:chOff x="2939143" y="1028541"/>
                <a:chExt cx="783329" cy="1617400"/>
              </a:xfrm>
              <a:effectLst>
                <a:outerShdw blurRad="76200" dir="18900000" sy="23000" kx="-1200000" algn="bl" rotWithShape="0">
                  <a:prstClr val="black">
                    <a:alpha val="20000"/>
                  </a:prstClr>
                </a:outerShdw>
              </a:effectLst>
            </p:grpSpPr>
            <p:sp>
              <p:nvSpPr>
                <p:cNvPr id="29" name="Rectangle: Rounded Corners 49">
                  <a:extLst>
                    <a:ext uri="{FF2B5EF4-FFF2-40B4-BE49-F238E27FC236}">
                      <a16:creationId xmlns:a16="http://schemas.microsoft.com/office/drawing/2014/main" id="{EA1BD0F0-F9C7-486C-906D-D38E59E97D55}"/>
                    </a:ext>
                  </a:extLst>
                </p:cNvPr>
                <p:cNvSpPr/>
                <p:nvPr/>
              </p:nvSpPr>
              <p:spPr>
                <a:xfrm rot="1098443" flipH="1">
                  <a:off x="3153025" y="1914421"/>
                  <a:ext cx="77804" cy="731520"/>
                </a:xfrm>
                <a:prstGeom prst="roundRect">
                  <a:avLst/>
                </a:prstGeom>
                <a:gradFill flip="none" rotWithShape="1">
                  <a:gsLst>
                    <a:gs pos="100000">
                      <a:schemeClr val="bg1">
                        <a:lumMod val="85000"/>
                      </a:schemeClr>
                    </a:gs>
                    <a:gs pos="57512">
                      <a:schemeClr val="tx1">
                        <a:lumMod val="65000"/>
                        <a:lumOff val="35000"/>
                      </a:schemeClr>
                    </a:gs>
                    <a:gs pos="24800">
                      <a:schemeClr val="bg1"/>
                    </a:gs>
                    <a:gs pos="0">
                      <a:schemeClr val="bg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0" name="Oval 50">
                  <a:extLst>
                    <a:ext uri="{FF2B5EF4-FFF2-40B4-BE49-F238E27FC236}">
                      <a16:creationId xmlns:a16="http://schemas.microsoft.com/office/drawing/2014/main" id="{AFA5EDA1-60AD-4002-BE84-69AE1048F19F}"/>
                    </a:ext>
                  </a:extLst>
                </p:cNvPr>
                <p:cNvSpPr/>
                <p:nvPr/>
              </p:nvSpPr>
              <p:spPr>
                <a:xfrm>
                  <a:off x="2939143" y="1538514"/>
                  <a:ext cx="740228" cy="740228"/>
                </a:xfrm>
                <a:prstGeom prst="ellipse">
                  <a:avLst/>
                </a:prstGeom>
                <a:solidFill>
                  <a:srgbClr val="0070C0"/>
                </a:solidFill>
                <a:ln>
                  <a:noFill/>
                </a:ln>
                <a:effectLst>
                  <a:innerShdw blurRad="3302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1" name="Trapezoid 51">
                  <a:extLst>
                    <a:ext uri="{FF2B5EF4-FFF2-40B4-BE49-F238E27FC236}">
                      <a16:creationId xmlns:a16="http://schemas.microsoft.com/office/drawing/2014/main" id="{19558268-1B57-49E0-91B6-E4191C249654}"/>
                    </a:ext>
                  </a:extLst>
                </p:cNvPr>
                <p:cNvSpPr/>
                <p:nvPr/>
              </p:nvSpPr>
              <p:spPr>
                <a:xfrm rot="702551">
                  <a:off x="3193598" y="1216282"/>
                  <a:ext cx="418337" cy="707468"/>
                </a:xfrm>
                <a:prstGeom prst="trapezoid">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2" name="Oval 52">
                  <a:extLst>
                    <a:ext uri="{FF2B5EF4-FFF2-40B4-BE49-F238E27FC236}">
                      <a16:creationId xmlns:a16="http://schemas.microsoft.com/office/drawing/2014/main" id="{5D7F1681-E9C5-485F-A48B-3A38D2011293}"/>
                    </a:ext>
                  </a:extLst>
                </p:cNvPr>
                <p:cNvSpPr/>
                <p:nvPr/>
              </p:nvSpPr>
              <p:spPr>
                <a:xfrm>
                  <a:off x="3169263" y="1028541"/>
                  <a:ext cx="553209" cy="553209"/>
                </a:xfrm>
                <a:prstGeom prst="ellipse">
                  <a:avLst/>
                </a:prstGeom>
                <a:solidFill>
                  <a:srgbClr val="0070C0"/>
                </a:solidFill>
                <a:ln>
                  <a:noFill/>
                </a:ln>
                <a:effectLst>
                  <a:innerShdw blurRad="3302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sp>
          <p:nvSpPr>
            <p:cNvPr id="21" name="TextBox 41">
              <a:extLst>
                <a:ext uri="{FF2B5EF4-FFF2-40B4-BE49-F238E27FC236}">
                  <a16:creationId xmlns:a16="http://schemas.microsoft.com/office/drawing/2014/main" id="{FC4F2C45-CE78-44D4-842A-5800494B30AA}"/>
                </a:ext>
              </a:extLst>
            </p:cNvPr>
            <p:cNvSpPr txBox="1"/>
            <p:nvPr/>
          </p:nvSpPr>
          <p:spPr>
            <a:xfrm rot="20528672">
              <a:off x="619178" y="4426479"/>
              <a:ext cx="2414624" cy="1409090"/>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marL="92075" indent="-92075">
                <a:buFontTx/>
                <a:buChar char="-"/>
              </a:pPr>
              <a:r>
                <a:rPr lang="es-ES" sz="1100" dirty="0"/>
                <a:t>Detección de casos de acoso escolar, estrés</a:t>
              </a:r>
              <a:r>
                <a:rPr lang="es-ES" sz="1100" dirty="0" smtClean="0"/>
                <a:t>…</a:t>
              </a:r>
            </a:p>
            <a:p>
              <a:pPr marL="92075" indent="-92075">
                <a:buFontTx/>
                <a:buChar char="-"/>
              </a:pPr>
              <a:endParaRPr lang="es-ES" sz="1100" dirty="0"/>
            </a:p>
            <a:p>
              <a:pPr marL="92075" indent="-92075">
                <a:buFontTx/>
                <a:buChar char="-"/>
              </a:pPr>
              <a:r>
                <a:rPr lang="es-ES" sz="1100" dirty="0"/>
                <a:t>Realización de una evaluación en base a la forma de comunicarse, la expresión facial y corporal</a:t>
              </a:r>
              <a:r>
                <a:rPr lang="es-ES" sz="1100" dirty="0" smtClean="0"/>
                <a:t>…).</a:t>
              </a:r>
            </a:p>
            <a:p>
              <a:pPr marL="92075" indent="-92075">
                <a:buFontTx/>
                <a:buChar char="-"/>
              </a:pPr>
              <a:endParaRPr lang="es-ES" sz="1100" dirty="0"/>
            </a:p>
            <a:p>
              <a:pPr marL="92075" indent="-92075">
                <a:buFontTx/>
                <a:buChar char="-"/>
              </a:pPr>
              <a:r>
                <a:rPr lang="es-ES" sz="1100" dirty="0"/>
                <a:t>Supervisión del comportamiento del alumnado (en base al lenguaje utilizado…)</a:t>
              </a:r>
            </a:p>
          </p:txBody>
        </p:sp>
        <p:sp>
          <p:nvSpPr>
            <p:cNvPr id="22" name="Freeform: Shape 42">
              <a:extLst>
                <a:ext uri="{FF2B5EF4-FFF2-40B4-BE49-F238E27FC236}">
                  <a16:creationId xmlns:a16="http://schemas.microsoft.com/office/drawing/2014/main" id="{093717F4-FA76-47B6-AD30-33950548A85F}"/>
                </a:ext>
              </a:extLst>
            </p:cNvPr>
            <p:cNvSpPr/>
            <p:nvPr/>
          </p:nvSpPr>
          <p:spPr>
            <a:xfrm>
              <a:off x="1267328" y="3709909"/>
              <a:ext cx="513976" cy="663388"/>
            </a:xfrm>
            <a:custGeom>
              <a:avLst/>
              <a:gdLst>
                <a:gd name="connsiteX0" fmla="*/ 268941 w 513976"/>
                <a:gd name="connsiteY0" fmla="*/ 693271 h 729129"/>
                <a:gd name="connsiteX1" fmla="*/ 268941 w 513976"/>
                <a:gd name="connsiteY1" fmla="*/ 693271 h 729129"/>
                <a:gd name="connsiteX2" fmla="*/ 29882 w 513976"/>
                <a:gd name="connsiteY2" fmla="*/ 280894 h 729129"/>
                <a:gd name="connsiteX3" fmla="*/ 23906 w 513976"/>
                <a:gd name="connsiteY3" fmla="*/ 262965 h 729129"/>
                <a:gd name="connsiteX4" fmla="*/ 11953 w 513976"/>
                <a:gd name="connsiteY4" fmla="*/ 233082 h 729129"/>
                <a:gd name="connsiteX5" fmla="*/ 0 w 513976"/>
                <a:gd name="connsiteY5" fmla="*/ 203200 h 729129"/>
                <a:gd name="connsiteX6" fmla="*/ 89647 w 513976"/>
                <a:gd name="connsiteY6" fmla="*/ 239059 h 729129"/>
                <a:gd name="connsiteX7" fmla="*/ 59764 w 513976"/>
                <a:gd name="connsiteY7" fmla="*/ 155388 h 729129"/>
                <a:gd name="connsiteX8" fmla="*/ 131482 w 513976"/>
                <a:gd name="connsiteY8" fmla="*/ 227106 h 729129"/>
                <a:gd name="connsiteX9" fmla="*/ 107576 w 513976"/>
                <a:gd name="connsiteY9" fmla="*/ 143435 h 729129"/>
                <a:gd name="connsiteX10" fmla="*/ 179294 w 513976"/>
                <a:gd name="connsiteY10" fmla="*/ 215153 h 729129"/>
                <a:gd name="connsiteX11" fmla="*/ 167341 w 513976"/>
                <a:gd name="connsiteY11" fmla="*/ 125506 h 729129"/>
                <a:gd name="connsiteX12" fmla="*/ 245035 w 513976"/>
                <a:gd name="connsiteY12" fmla="*/ 215153 h 729129"/>
                <a:gd name="connsiteX13" fmla="*/ 203200 w 513976"/>
                <a:gd name="connsiteY13" fmla="*/ 0 h 729129"/>
                <a:gd name="connsiteX14" fmla="*/ 513976 w 513976"/>
                <a:gd name="connsiteY14" fmla="*/ 657412 h 729129"/>
                <a:gd name="connsiteX15" fmla="*/ 448235 w 513976"/>
                <a:gd name="connsiteY15" fmla="*/ 621553 h 729129"/>
                <a:gd name="connsiteX16" fmla="*/ 454211 w 513976"/>
                <a:gd name="connsiteY16" fmla="*/ 675341 h 729129"/>
                <a:gd name="connsiteX17" fmla="*/ 400423 w 513976"/>
                <a:gd name="connsiteY17" fmla="*/ 657412 h 729129"/>
                <a:gd name="connsiteX18" fmla="*/ 388470 w 513976"/>
                <a:gd name="connsiteY18" fmla="*/ 681318 h 729129"/>
                <a:gd name="connsiteX19" fmla="*/ 358588 w 513976"/>
                <a:gd name="connsiteY19" fmla="*/ 633506 h 729129"/>
                <a:gd name="connsiteX20" fmla="*/ 304800 w 513976"/>
                <a:gd name="connsiteY20" fmla="*/ 729129 h 729129"/>
                <a:gd name="connsiteX21" fmla="*/ 268941 w 513976"/>
                <a:gd name="connsiteY21" fmla="*/ 693271 h 729129"/>
                <a:gd name="connsiteX0" fmla="*/ 268941 w 513976"/>
                <a:gd name="connsiteY0" fmla="*/ 627530 h 663388"/>
                <a:gd name="connsiteX1" fmla="*/ 268941 w 513976"/>
                <a:gd name="connsiteY1" fmla="*/ 627530 h 663388"/>
                <a:gd name="connsiteX2" fmla="*/ 29882 w 513976"/>
                <a:gd name="connsiteY2" fmla="*/ 215153 h 663388"/>
                <a:gd name="connsiteX3" fmla="*/ 23906 w 513976"/>
                <a:gd name="connsiteY3" fmla="*/ 197224 h 663388"/>
                <a:gd name="connsiteX4" fmla="*/ 11953 w 513976"/>
                <a:gd name="connsiteY4" fmla="*/ 167341 h 663388"/>
                <a:gd name="connsiteX5" fmla="*/ 0 w 513976"/>
                <a:gd name="connsiteY5" fmla="*/ 137459 h 663388"/>
                <a:gd name="connsiteX6" fmla="*/ 89647 w 513976"/>
                <a:gd name="connsiteY6" fmla="*/ 173318 h 663388"/>
                <a:gd name="connsiteX7" fmla="*/ 59764 w 513976"/>
                <a:gd name="connsiteY7" fmla="*/ 89647 h 663388"/>
                <a:gd name="connsiteX8" fmla="*/ 131482 w 513976"/>
                <a:gd name="connsiteY8" fmla="*/ 161365 h 663388"/>
                <a:gd name="connsiteX9" fmla="*/ 107576 w 513976"/>
                <a:gd name="connsiteY9" fmla="*/ 77694 h 663388"/>
                <a:gd name="connsiteX10" fmla="*/ 179294 w 513976"/>
                <a:gd name="connsiteY10" fmla="*/ 149412 h 663388"/>
                <a:gd name="connsiteX11" fmla="*/ 167341 w 513976"/>
                <a:gd name="connsiteY11" fmla="*/ 59765 h 663388"/>
                <a:gd name="connsiteX12" fmla="*/ 245035 w 513976"/>
                <a:gd name="connsiteY12" fmla="*/ 149412 h 663388"/>
                <a:gd name="connsiteX13" fmla="*/ 221130 w 513976"/>
                <a:gd name="connsiteY13" fmla="*/ 0 h 663388"/>
                <a:gd name="connsiteX14" fmla="*/ 513976 w 513976"/>
                <a:gd name="connsiteY14" fmla="*/ 591671 h 663388"/>
                <a:gd name="connsiteX15" fmla="*/ 448235 w 513976"/>
                <a:gd name="connsiteY15" fmla="*/ 555812 h 663388"/>
                <a:gd name="connsiteX16" fmla="*/ 454211 w 513976"/>
                <a:gd name="connsiteY16" fmla="*/ 609600 h 663388"/>
                <a:gd name="connsiteX17" fmla="*/ 400423 w 513976"/>
                <a:gd name="connsiteY17" fmla="*/ 591671 h 663388"/>
                <a:gd name="connsiteX18" fmla="*/ 388470 w 513976"/>
                <a:gd name="connsiteY18" fmla="*/ 615577 h 663388"/>
                <a:gd name="connsiteX19" fmla="*/ 358588 w 513976"/>
                <a:gd name="connsiteY19" fmla="*/ 567765 h 663388"/>
                <a:gd name="connsiteX20" fmla="*/ 304800 w 513976"/>
                <a:gd name="connsiteY20" fmla="*/ 663388 h 663388"/>
                <a:gd name="connsiteX21" fmla="*/ 268941 w 513976"/>
                <a:gd name="connsiteY21" fmla="*/ 627530 h 66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3976" h="663388">
                  <a:moveTo>
                    <a:pt x="268941" y="627530"/>
                  </a:moveTo>
                  <a:lnTo>
                    <a:pt x="268941" y="627530"/>
                  </a:lnTo>
                  <a:cubicBezTo>
                    <a:pt x="189255" y="490071"/>
                    <a:pt x="108505" y="353223"/>
                    <a:pt x="29882" y="215153"/>
                  </a:cubicBezTo>
                  <a:cubicBezTo>
                    <a:pt x="26765" y="209679"/>
                    <a:pt x="26118" y="203122"/>
                    <a:pt x="23906" y="197224"/>
                  </a:cubicBezTo>
                  <a:cubicBezTo>
                    <a:pt x="20139" y="187179"/>
                    <a:pt x="15720" y="177386"/>
                    <a:pt x="11953" y="167341"/>
                  </a:cubicBezTo>
                  <a:cubicBezTo>
                    <a:pt x="876" y="137803"/>
                    <a:pt x="11403" y="160267"/>
                    <a:pt x="0" y="137459"/>
                  </a:cubicBezTo>
                  <a:lnTo>
                    <a:pt x="89647" y="173318"/>
                  </a:lnTo>
                  <a:lnTo>
                    <a:pt x="59764" y="89647"/>
                  </a:lnTo>
                  <a:lnTo>
                    <a:pt x="131482" y="161365"/>
                  </a:lnTo>
                  <a:lnTo>
                    <a:pt x="107576" y="77694"/>
                  </a:lnTo>
                  <a:lnTo>
                    <a:pt x="179294" y="149412"/>
                  </a:lnTo>
                  <a:lnTo>
                    <a:pt x="167341" y="59765"/>
                  </a:lnTo>
                  <a:lnTo>
                    <a:pt x="245035" y="149412"/>
                  </a:lnTo>
                  <a:lnTo>
                    <a:pt x="221130" y="0"/>
                  </a:lnTo>
                  <a:lnTo>
                    <a:pt x="513976" y="591671"/>
                  </a:lnTo>
                  <a:lnTo>
                    <a:pt x="448235" y="555812"/>
                  </a:lnTo>
                  <a:lnTo>
                    <a:pt x="454211" y="609600"/>
                  </a:lnTo>
                  <a:lnTo>
                    <a:pt x="400423" y="591671"/>
                  </a:lnTo>
                  <a:lnTo>
                    <a:pt x="388470" y="615577"/>
                  </a:lnTo>
                  <a:lnTo>
                    <a:pt x="358588" y="567765"/>
                  </a:lnTo>
                  <a:lnTo>
                    <a:pt x="304800" y="663388"/>
                  </a:lnTo>
                  <a:lnTo>
                    <a:pt x="268941" y="627530"/>
                  </a:lnTo>
                  <a:close/>
                </a:path>
              </a:pathLst>
            </a:custGeom>
            <a:solidFill>
              <a:srgbClr val="00206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3" name="TextBox 43">
              <a:extLst>
                <a:ext uri="{FF2B5EF4-FFF2-40B4-BE49-F238E27FC236}">
                  <a16:creationId xmlns:a16="http://schemas.microsoft.com/office/drawing/2014/main" id="{602723B0-0931-4642-8295-A6F451F73AB8}"/>
                </a:ext>
              </a:extLst>
            </p:cNvPr>
            <p:cNvSpPr txBox="1"/>
            <p:nvPr/>
          </p:nvSpPr>
          <p:spPr>
            <a:xfrm>
              <a:off x="626963" y="2332915"/>
              <a:ext cx="1975417" cy="295238"/>
            </a:xfrm>
            <a:prstGeom prst="rect">
              <a:avLst/>
            </a:prstGeom>
            <a:noFill/>
          </p:spPr>
          <p:txBody>
            <a:bodyPr wrap="square" rtlCol="0">
              <a:spAutoFit/>
            </a:bodyPr>
            <a:lstStyle/>
            <a:p>
              <a:pPr algn="ctr"/>
              <a:r>
                <a:rPr lang="en-US" sz="1600" b="1" dirty="0"/>
                <a:t>CAPA EMOCIONAL</a:t>
              </a:r>
            </a:p>
          </p:txBody>
        </p:sp>
        <p:pic>
          <p:nvPicPr>
            <p:cNvPr id="24" name="Graphic 44" descr="Head with gears">
              <a:extLst>
                <a:ext uri="{FF2B5EF4-FFF2-40B4-BE49-F238E27FC236}">
                  <a16:creationId xmlns:a16="http://schemas.microsoft.com/office/drawing/2014/main" id="{17728A8D-FDA1-4069-9DB5-5F8DEE0E203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1225579" y="2849728"/>
              <a:ext cx="794203" cy="794203"/>
            </a:xfrm>
            <a:prstGeom prst="rect">
              <a:avLst/>
            </a:prstGeom>
          </p:spPr>
        </p:pic>
      </p:grpSp>
      <p:sp>
        <p:nvSpPr>
          <p:cNvPr id="33" name="Marcador de número de diapositiva 1"/>
          <p:cNvSpPr>
            <a:spLocks noGrp="1"/>
          </p:cNvSpPr>
          <p:nvPr>
            <p:ph type="sldNum" sz="quarter" idx="12"/>
          </p:nvPr>
        </p:nvSpPr>
        <p:spPr>
          <a:xfrm>
            <a:off x="11777051" y="6458134"/>
            <a:ext cx="487378" cy="481343"/>
          </a:xfrm>
        </p:spPr>
        <p:txBody>
          <a:bodyPr/>
          <a:lstStyle/>
          <a:p>
            <a:r>
              <a:rPr lang="en-US" sz="2000" dirty="0" smtClean="0"/>
              <a:t>25</a:t>
            </a:r>
            <a:endParaRPr lang="en-US" sz="2000" dirty="0"/>
          </a:p>
        </p:txBody>
      </p:sp>
    </p:spTree>
    <p:extLst>
      <p:ext uri="{BB962C8B-B14F-4D97-AF65-F5344CB8AC3E}">
        <p14:creationId xmlns:p14="http://schemas.microsoft.com/office/powerpoint/2010/main" val="166836117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1D20DCE3-7BE5-4209-98C7-197AF0752484}"/>
              </a:ext>
            </a:extLst>
          </p:cNvPr>
          <p:cNvSpPr/>
          <p:nvPr/>
        </p:nvSpPr>
        <p:spPr>
          <a:xfrm>
            <a:off x="1872631" y="2359187"/>
            <a:ext cx="5907386" cy="1323439"/>
          </a:xfrm>
          <a:prstGeom prst="rect">
            <a:avLst/>
          </a:prstGeom>
          <a:noFill/>
        </p:spPr>
        <p:txBody>
          <a:bodyPr wrap="none" lIns="91440" tIns="45720" rIns="91440" bIns="45720">
            <a:spAutoFit/>
          </a:bodyPr>
          <a:lstStyle/>
          <a:p>
            <a:pPr algn="ctr"/>
            <a:r>
              <a:rPr lang="es-ES" sz="8000" b="1" cap="none" spc="0"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Aula </a:t>
            </a:r>
            <a:r>
              <a:rPr lang="es-ES" sz="8000" b="1" cap="none" spc="0" dirty="0" err="1">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A</a:t>
            </a:r>
            <a:r>
              <a:rPr lang="es-ES" sz="8000" b="1" cap="none" spc="0" dirty="0" err="1">
                <a:ln w="9525">
                  <a:solidFill>
                    <a:schemeClr val="bg1"/>
                  </a:solidFill>
                  <a:prstDash val="solid"/>
                </a:ln>
                <a:solidFill>
                  <a:schemeClr val="bg1">
                    <a:lumMod val="65000"/>
                  </a:schemeClr>
                </a:solidFill>
                <a:effectLst>
                  <a:outerShdw blurRad="12700" dist="38100" dir="2700000" algn="tl" rotWithShape="0">
                    <a:schemeClr val="accent5">
                      <a:lumMod val="60000"/>
                      <a:lumOff val="40000"/>
                    </a:schemeClr>
                  </a:outerShdw>
                </a:effectLst>
              </a:rPr>
              <a:t>tec</a:t>
            </a:r>
            <a:r>
              <a:rPr lang="es-ES" sz="8000" b="1" cap="none" spc="0" dirty="0" err="1">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A</a:t>
            </a:r>
            <a:endParaRPr lang="es-ES" sz="8000" b="1" cap="none" spc="0"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endParaRPr>
          </a:p>
        </p:txBody>
      </p:sp>
      <p:pic>
        <p:nvPicPr>
          <p:cNvPr id="6" name="Imagen 5">
            <a:extLst>
              <a:ext uri="{FF2B5EF4-FFF2-40B4-BE49-F238E27FC236}">
                <a16:creationId xmlns:a16="http://schemas.microsoft.com/office/drawing/2014/main" id="{E2636776-4CBA-4379-96C4-55F4D1B25C2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38729" y="1841428"/>
            <a:ext cx="2764343" cy="2764343"/>
          </a:xfrm>
          <a:prstGeom prst="rect">
            <a:avLst/>
          </a:prstGeom>
        </p:spPr>
      </p:pic>
      <p:sp>
        <p:nvSpPr>
          <p:cNvPr id="4" name="Marcador de número de diapositiva 1"/>
          <p:cNvSpPr>
            <a:spLocks noGrp="1"/>
          </p:cNvSpPr>
          <p:nvPr>
            <p:ph type="sldNum" sz="quarter" idx="12"/>
          </p:nvPr>
        </p:nvSpPr>
        <p:spPr>
          <a:xfrm>
            <a:off x="11777051" y="6458134"/>
            <a:ext cx="487378" cy="481343"/>
          </a:xfrm>
        </p:spPr>
        <p:txBody>
          <a:bodyPr/>
          <a:lstStyle/>
          <a:p>
            <a:r>
              <a:rPr lang="en-US" sz="2000" dirty="0" smtClean="0"/>
              <a:t>26</a:t>
            </a:r>
            <a:endParaRPr lang="en-US" sz="2000" dirty="0"/>
          </a:p>
        </p:txBody>
      </p:sp>
    </p:spTree>
    <p:extLst>
      <p:ext uri="{BB962C8B-B14F-4D97-AF65-F5344CB8AC3E}">
        <p14:creationId xmlns:p14="http://schemas.microsoft.com/office/powerpoint/2010/main" val="330533315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ítulo 1"/>
          <p:cNvSpPr>
            <a:spLocks noGrp="1"/>
          </p:cNvSpPr>
          <p:nvPr>
            <p:ph type="ctrTitle"/>
          </p:nvPr>
        </p:nvSpPr>
        <p:spPr>
          <a:xfrm>
            <a:off x="999396" y="1334676"/>
            <a:ext cx="8001000" cy="1084729"/>
          </a:xfrm>
        </p:spPr>
        <p:txBody>
          <a:bodyPr/>
          <a:lstStyle/>
          <a:p>
            <a:r>
              <a:rPr lang="es-ES" dirty="0" smtClean="0"/>
              <a:t>AULAS TECNOLÓGICAS</a:t>
            </a:r>
            <a:endParaRPr lang="es-ES" dirty="0"/>
          </a:p>
        </p:txBody>
      </p:sp>
      <p:sp>
        <p:nvSpPr>
          <p:cNvPr id="3" name="Subtítulo 2"/>
          <p:cNvSpPr>
            <a:spLocks noGrp="1"/>
          </p:cNvSpPr>
          <p:nvPr>
            <p:ph type="subTitle" idx="1"/>
          </p:nvPr>
        </p:nvSpPr>
        <p:spPr>
          <a:xfrm>
            <a:off x="3155454" y="2702155"/>
            <a:ext cx="6400800" cy="692274"/>
          </a:xfrm>
        </p:spPr>
        <p:txBody>
          <a:bodyPr>
            <a:normAutofit/>
          </a:bodyPr>
          <a:lstStyle/>
          <a:p>
            <a:pPr algn="ctr"/>
            <a:r>
              <a:rPr lang="es-ES" sz="2800" b="1" dirty="0" smtClean="0">
                <a:solidFill>
                  <a:schemeClr val="tx1"/>
                </a:solidFill>
              </a:rPr>
              <a:t>VISIÓN DE LA EMPRESA</a:t>
            </a:r>
            <a:endParaRPr lang="es-ES" sz="2800" b="1" dirty="0">
              <a:solidFill>
                <a:schemeClr val="tx1"/>
              </a:solidFill>
            </a:endParaRPr>
          </a:p>
        </p:txBody>
      </p:sp>
      <p:sp>
        <p:nvSpPr>
          <p:cNvPr id="4" name="Marcador de número de diapositiva 1"/>
          <p:cNvSpPr>
            <a:spLocks noGrp="1"/>
          </p:cNvSpPr>
          <p:nvPr>
            <p:ph type="sldNum" sz="quarter" idx="12"/>
          </p:nvPr>
        </p:nvSpPr>
        <p:spPr>
          <a:xfrm>
            <a:off x="11777051" y="6458134"/>
            <a:ext cx="487378" cy="481343"/>
          </a:xfrm>
        </p:spPr>
        <p:txBody>
          <a:bodyPr/>
          <a:lstStyle/>
          <a:p>
            <a:r>
              <a:rPr lang="en-US" sz="2000" dirty="0" smtClean="0"/>
              <a:t>27</a:t>
            </a:r>
            <a:endParaRPr lang="en-US" sz="2000" dirty="0"/>
          </a:p>
        </p:txBody>
      </p:sp>
    </p:spTree>
    <p:extLst>
      <p:ext uri="{BB962C8B-B14F-4D97-AF65-F5344CB8AC3E}">
        <p14:creationId xmlns:p14="http://schemas.microsoft.com/office/powerpoint/2010/main" val="406869488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7" name="Grupo 16"/>
          <p:cNvGrpSpPr/>
          <p:nvPr/>
        </p:nvGrpSpPr>
        <p:grpSpPr>
          <a:xfrm>
            <a:off x="4523420" y="2026411"/>
            <a:ext cx="2528757" cy="4431723"/>
            <a:chOff x="3944471" y="1561657"/>
            <a:chExt cx="1875274" cy="3286474"/>
          </a:xfrm>
        </p:grpSpPr>
        <p:pic>
          <p:nvPicPr>
            <p:cNvPr id="9" name="Imagen 8" descr="Imagen que contiene Icono&#10;&#10;Descripción generada automáticamente">
              <a:hlinkClick r:id="rId2" action="ppaction://hlinksldjump"/>
              <a:extLst>
                <a:ext uri="{FF2B5EF4-FFF2-40B4-BE49-F238E27FC236}">
                  <a16:creationId xmlns:a16="http://schemas.microsoft.com/office/drawing/2014/main" id="{371C3341-34EA-7748-B2FB-62B2DFB9A9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77342" y="2804763"/>
              <a:ext cx="524933" cy="601133"/>
            </a:xfrm>
            <a:prstGeom prst="rect">
              <a:avLst/>
            </a:prstGeom>
          </p:spPr>
        </p:pic>
        <p:pic>
          <p:nvPicPr>
            <p:cNvPr id="10" name="Imagen 9" descr="Icono&#10;&#10;Descripción generada automáticamente">
              <a:hlinkClick r:id="rId4" action="ppaction://hlinksldjump"/>
              <a:extLst>
                <a:ext uri="{FF2B5EF4-FFF2-40B4-BE49-F238E27FC236}">
                  <a16:creationId xmlns:a16="http://schemas.microsoft.com/office/drawing/2014/main" id="{2BC9558F-A593-644B-B03D-6ACF107F1DB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77342" y="2184028"/>
              <a:ext cx="558800" cy="516467"/>
            </a:xfrm>
            <a:prstGeom prst="rect">
              <a:avLst/>
            </a:prstGeom>
          </p:spPr>
        </p:pic>
        <p:pic>
          <p:nvPicPr>
            <p:cNvPr id="11" name="Imagen 10">
              <a:hlinkClick r:id="rId6" action="ppaction://hlinksldjump"/>
              <a:extLst>
                <a:ext uri="{FF2B5EF4-FFF2-40B4-BE49-F238E27FC236}">
                  <a16:creationId xmlns:a16="http://schemas.microsoft.com/office/drawing/2014/main" id="{83A4A921-F6D5-A143-9F3E-082269DF2D6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44471" y="3457104"/>
              <a:ext cx="1595718" cy="408660"/>
            </a:xfrm>
            <a:prstGeom prst="rect">
              <a:avLst/>
            </a:prstGeom>
          </p:spPr>
        </p:pic>
        <p:pic>
          <p:nvPicPr>
            <p:cNvPr id="12" name="Imagen 11" descr="Imagen que contiene dibujo&#10;&#10;Descripción generada automáticamente">
              <a:hlinkClick r:id="rId8" action="ppaction://hlinksldjump"/>
              <a:extLst>
                <a:ext uri="{FF2B5EF4-FFF2-40B4-BE49-F238E27FC236}">
                  <a16:creationId xmlns:a16="http://schemas.microsoft.com/office/drawing/2014/main" id="{F7EC41C6-7B2C-F848-9E8A-EFEFC581942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962400" y="1612215"/>
              <a:ext cx="1857345" cy="395828"/>
            </a:xfrm>
            <a:prstGeom prst="rect">
              <a:avLst/>
            </a:prstGeom>
          </p:spPr>
        </p:pic>
        <p:pic>
          <p:nvPicPr>
            <p:cNvPr id="13" name="Imagen 12" descr="Imagen que contiene Texto&#10;&#10;Descripción generada automáticamente">
              <a:hlinkClick r:id="rId10" action="ppaction://hlinksldjump"/>
              <a:extLst>
                <a:ext uri="{FF2B5EF4-FFF2-40B4-BE49-F238E27FC236}">
                  <a16:creationId xmlns:a16="http://schemas.microsoft.com/office/drawing/2014/main" id="{6656D112-7036-CD42-9CC8-3F7AE9C0980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953436" y="3992645"/>
              <a:ext cx="1586753" cy="634701"/>
            </a:xfrm>
            <a:prstGeom prst="rect">
              <a:avLst/>
            </a:prstGeom>
          </p:spPr>
        </p:pic>
        <p:cxnSp>
          <p:nvCxnSpPr>
            <p:cNvPr id="14" name="Conector recto 13"/>
            <p:cNvCxnSpPr/>
            <p:nvPr/>
          </p:nvCxnSpPr>
          <p:spPr>
            <a:xfrm>
              <a:off x="3944471" y="1561657"/>
              <a:ext cx="17929" cy="3286474"/>
            </a:xfrm>
            <a:prstGeom prst="line">
              <a:avLst/>
            </a:prstGeom>
          </p:spPr>
          <p:style>
            <a:lnRef idx="2">
              <a:schemeClr val="accent6"/>
            </a:lnRef>
            <a:fillRef idx="0">
              <a:schemeClr val="accent6"/>
            </a:fillRef>
            <a:effectRef idx="1">
              <a:schemeClr val="accent6"/>
            </a:effectRef>
            <a:fontRef idx="minor">
              <a:schemeClr val="tx1"/>
            </a:fontRef>
          </p:style>
        </p:cxnSp>
      </p:grpSp>
      <p:sp>
        <p:nvSpPr>
          <p:cNvPr id="15" name="Marcador de número de diapositiva 1"/>
          <p:cNvSpPr>
            <a:spLocks noGrp="1"/>
          </p:cNvSpPr>
          <p:nvPr>
            <p:ph type="sldNum" sz="quarter" idx="12"/>
          </p:nvPr>
        </p:nvSpPr>
        <p:spPr>
          <a:xfrm>
            <a:off x="11777051" y="6458134"/>
            <a:ext cx="487378" cy="481343"/>
          </a:xfrm>
        </p:spPr>
        <p:txBody>
          <a:bodyPr/>
          <a:lstStyle/>
          <a:p>
            <a:r>
              <a:rPr lang="en-US" sz="2000" dirty="0" smtClean="0"/>
              <a:t>28</a:t>
            </a:r>
            <a:endParaRPr lang="en-US" sz="2000" dirty="0"/>
          </a:p>
        </p:txBody>
      </p:sp>
      <p:sp>
        <p:nvSpPr>
          <p:cNvPr id="16" name="CuadroTexto 15">
            <a:extLst>
              <a:ext uri="{FF2B5EF4-FFF2-40B4-BE49-F238E27FC236}">
                <a16:creationId xmlns:a16="http://schemas.microsoft.com/office/drawing/2014/main" id="{2DDEEE8F-3B1D-0E46-B812-C9C031D9577D}"/>
              </a:ext>
            </a:extLst>
          </p:cNvPr>
          <p:cNvSpPr txBox="1"/>
          <p:nvPr/>
        </p:nvSpPr>
        <p:spPr>
          <a:xfrm>
            <a:off x="3409949" y="1064891"/>
            <a:ext cx="5419725" cy="461665"/>
          </a:xfrm>
          <a:prstGeom prst="rect">
            <a:avLst/>
          </a:prstGeom>
          <a:noFill/>
        </p:spPr>
        <p:txBody>
          <a:bodyPr wrap="square" rtlCol="0">
            <a:spAutoFit/>
          </a:bodyPr>
          <a:lstStyle/>
          <a:p>
            <a:r>
              <a:rPr lang="es-ES" sz="2400" b="1" i="1" dirty="0" smtClean="0"/>
              <a:t>Han colaborado en este proyecto</a:t>
            </a:r>
            <a:endParaRPr lang="es-ES" sz="2400" b="1" i="1" dirty="0"/>
          </a:p>
        </p:txBody>
      </p:sp>
      <p:sp>
        <p:nvSpPr>
          <p:cNvPr id="18" name="CuadroTexto 17">
            <a:extLst>
              <a:ext uri="{FF2B5EF4-FFF2-40B4-BE49-F238E27FC236}">
                <a16:creationId xmlns:a16="http://schemas.microsoft.com/office/drawing/2014/main" id="{1873BB86-2178-114D-8843-FFC62B106347}"/>
              </a:ext>
            </a:extLst>
          </p:cNvPr>
          <p:cNvSpPr txBox="1"/>
          <p:nvPr/>
        </p:nvSpPr>
        <p:spPr>
          <a:xfrm>
            <a:off x="1650905" y="693360"/>
            <a:ext cx="8937812" cy="400110"/>
          </a:xfrm>
          <a:prstGeom prst="rect">
            <a:avLst/>
          </a:prstGeom>
          <a:noFill/>
        </p:spPr>
        <p:txBody>
          <a:bodyPr wrap="square" rtlCol="0">
            <a:spAutoFit/>
          </a:bodyPr>
          <a:lstStyle/>
          <a:p>
            <a:pPr algn="ctr"/>
            <a:r>
              <a:rPr lang="es-ES" sz="2000" b="1" u="sng" dirty="0">
                <a:ea typeface="UD Digi Kyokasho NP-B" panose="020B0400000000000000" pitchFamily="34" charset="-128"/>
              </a:rPr>
              <a:t>ESPACIOS DIGITALES PARA LA FORMACIÓN PROFESIONAL </a:t>
            </a:r>
          </a:p>
        </p:txBody>
      </p:sp>
      <p:pic>
        <p:nvPicPr>
          <p:cNvPr id="19" name="Imagen 18">
            <a:extLst>
              <a:ext uri="{FF2B5EF4-FFF2-40B4-BE49-F238E27FC236}">
                <a16:creationId xmlns:a16="http://schemas.microsoft.com/office/drawing/2014/main" id="{007C7BC6-2E71-423C-8BF2-020B7B068479}"/>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r="78750"/>
          <a:stretch/>
        </p:blipFill>
        <p:spPr>
          <a:xfrm>
            <a:off x="93546" y="-55899"/>
            <a:ext cx="3018327" cy="889181"/>
          </a:xfrm>
          <a:prstGeom prst="rect">
            <a:avLst/>
          </a:prstGeom>
        </p:spPr>
      </p:pic>
    </p:spTree>
    <p:extLst>
      <p:ext uri="{BB962C8B-B14F-4D97-AF65-F5344CB8AC3E}">
        <p14:creationId xmlns:p14="http://schemas.microsoft.com/office/powerpoint/2010/main" val="382771062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3" name="Group 3"/>
          <p:cNvGrpSpPr/>
          <p:nvPr/>
        </p:nvGrpSpPr>
        <p:grpSpPr>
          <a:xfrm>
            <a:off x="2721646" y="2029647"/>
            <a:ext cx="6748704" cy="3104496"/>
            <a:chOff x="2893847" y="611578"/>
            <a:chExt cx="13497407" cy="6208991"/>
          </a:xfrm>
        </p:grpSpPr>
        <p:sp>
          <p:nvSpPr>
            <p:cNvPr id="5" name="TextBox 5"/>
            <p:cNvSpPr txBox="1"/>
            <p:nvPr/>
          </p:nvSpPr>
          <p:spPr>
            <a:xfrm>
              <a:off x="2984673" y="611578"/>
              <a:ext cx="13315757" cy="666850"/>
            </a:xfrm>
            <a:prstGeom prst="rect">
              <a:avLst/>
            </a:prstGeom>
          </p:spPr>
          <p:txBody>
            <a:bodyPr lIns="0" tIns="0" rIns="0" bIns="0" rtlCol="0" anchor="t">
              <a:spAutoFit/>
            </a:bodyPr>
            <a:lstStyle/>
            <a:p>
              <a:pPr algn="ctr">
                <a:lnSpc>
                  <a:spcPts val="2613"/>
                </a:lnSpc>
              </a:pPr>
              <a:r>
                <a:rPr lang="en-US" sz="1600" dirty="0">
                  <a:latin typeface="Montserrat Classic"/>
                </a:rPr>
                <a:t>ASOCIACIÓN ESPAÑOLA PARA LA DIGITALIZACIÓN</a:t>
              </a:r>
            </a:p>
          </p:txBody>
        </p:sp>
        <p:sp>
          <p:nvSpPr>
            <p:cNvPr id="6" name="AutoShape 6"/>
            <p:cNvSpPr/>
            <p:nvPr/>
          </p:nvSpPr>
          <p:spPr>
            <a:xfrm>
              <a:off x="3140155" y="5747084"/>
              <a:ext cx="13004798" cy="1073485"/>
            </a:xfrm>
            <a:prstGeom prst="rect">
              <a:avLst/>
            </a:prstGeom>
            <a:solidFill>
              <a:srgbClr val="00A29C"/>
            </a:solidFill>
          </p:spPr>
        </p:sp>
        <p:sp>
          <p:nvSpPr>
            <p:cNvPr id="7" name="TextBox 7"/>
            <p:cNvSpPr txBox="1"/>
            <p:nvPr/>
          </p:nvSpPr>
          <p:spPr>
            <a:xfrm>
              <a:off x="2893847" y="6026019"/>
              <a:ext cx="13497407" cy="564258"/>
            </a:xfrm>
            <a:prstGeom prst="rect">
              <a:avLst/>
            </a:prstGeom>
          </p:spPr>
          <p:txBody>
            <a:bodyPr wrap="square" lIns="0" tIns="0" rIns="0" bIns="0" rtlCol="0" anchor="t">
              <a:spAutoFit/>
            </a:bodyPr>
            <a:lstStyle/>
            <a:p>
              <a:pPr algn="ctr">
                <a:lnSpc>
                  <a:spcPts val="2239"/>
                </a:lnSpc>
              </a:pPr>
              <a:r>
                <a:rPr lang="en-US" sz="1600" spc="22" dirty="0">
                  <a:solidFill>
                    <a:schemeClr val="bg1"/>
                  </a:solidFill>
                  <a:latin typeface="Montserrat Classic"/>
                </a:rPr>
                <a:t>Las </a:t>
              </a:r>
              <a:r>
                <a:rPr lang="en-US" sz="1600" spc="22" dirty="0" err="1">
                  <a:solidFill>
                    <a:schemeClr val="bg1"/>
                  </a:solidFill>
                  <a:latin typeface="Montserrat Classic"/>
                </a:rPr>
                <a:t>empresas</a:t>
              </a:r>
              <a:r>
                <a:rPr lang="en-US" sz="1600" spc="22" dirty="0">
                  <a:solidFill>
                    <a:schemeClr val="bg1"/>
                  </a:solidFill>
                  <a:latin typeface="Montserrat Classic"/>
                </a:rPr>
                <a:t> </a:t>
              </a:r>
              <a:r>
                <a:rPr lang="en-US" sz="1600" spc="22" dirty="0" err="1">
                  <a:solidFill>
                    <a:schemeClr val="bg1"/>
                  </a:solidFill>
                  <a:latin typeface="Montserrat Classic"/>
                </a:rPr>
                <a:t>líderes</a:t>
              </a:r>
              <a:r>
                <a:rPr lang="en-US" sz="1600" spc="22" dirty="0">
                  <a:solidFill>
                    <a:schemeClr val="bg1"/>
                  </a:solidFill>
                  <a:latin typeface="Montserrat Classic"/>
                </a:rPr>
                <a:t> que </a:t>
              </a:r>
              <a:r>
                <a:rPr lang="en-US" sz="1600" spc="22" dirty="0" err="1">
                  <a:solidFill>
                    <a:schemeClr val="bg1"/>
                  </a:solidFill>
                  <a:latin typeface="Montserrat Classic"/>
                </a:rPr>
                <a:t>facilitan</a:t>
              </a:r>
              <a:r>
                <a:rPr lang="en-US" sz="1600" spc="22" dirty="0">
                  <a:solidFill>
                    <a:schemeClr val="bg1"/>
                  </a:solidFill>
                  <a:latin typeface="Montserrat Classic"/>
                </a:rPr>
                <a:t> hoy el </a:t>
              </a:r>
              <a:r>
                <a:rPr lang="en-US" sz="1600" spc="22" dirty="0" err="1">
                  <a:solidFill>
                    <a:schemeClr val="bg1"/>
                  </a:solidFill>
                  <a:latin typeface="Montserrat Classic"/>
                </a:rPr>
                <a:t>mundo</a:t>
              </a:r>
              <a:r>
                <a:rPr lang="en-US" sz="1600" spc="22" dirty="0">
                  <a:solidFill>
                    <a:schemeClr val="bg1"/>
                  </a:solidFill>
                  <a:latin typeface="Montserrat Classic"/>
                </a:rPr>
                <a:t> del </a:t>
              </a:r>
              <a:r>
                <a:rPr lang="en-US" sz="1600" spc="22" dirty="0" err="1">
                  <a:solidFill>
                    <a:schemeClr val="bg1"/>
                  </a:solidFill>
                  <a:latin typeface="Montserrat Classic"/>
                </a:rPr>
                <a:t>mañana</a:t>
              </a:r>
              <a:endParaRPr lang="en-US" sz="1600" spc="22" dirty="0">
                <a:solidFill>
                  <a:schemeClr val="bg1"/>
                </a:solidFill>
                <a:latin typeface="Montserrat Classic"/>
              </a:endParaRPr>
            </a:p>
          </p:txBody>
        </p:sp>
      </p:grpSp>
      <p:pic>
        <p:nvPicPr>
          <p:cNvPr id="18" name="Imagen 17">
            <a:extLst>
              <a:ext uri="{FF2B5EF4-FFF2-40B4-BE49-F238E27FC236}">
                <a16:creationId xmlns:a16="http://schemas.microsoft.com/office/drawing/2014/main" id="{007C7BC6-2E71-423C-8BF2-020B7B06847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78750"/>
          <a:stretch/>
        </p:blipFill>
        <p:spPr>
          <a:xfrm>
            <a:off x="379296" y="15885"/>
            <a:ext cx="3018327" cy="889181"/>
          </a:xfrm>
          <a:prstGeom prst="rect">
            <a:avLst/>
          </a:prstGeom>
        </p:spPr>
      </p:pic>
      <p:sp>
        <p:nvSpPr>
          <p:cNvPr id="20" name="TextBox 4">
            <a:extLst>
              <a:ext uri="{FF2B5EF4-FFF2-40B4-BE49-F238E27FC236}">
                <a16:creationId xmlns:a16="http://schemas.microsoft.com/office/drawing/2014/main" id="{A52E7C22-A169-4D26-A72B-B720970E399B}"/>
              </a:ext>
            </a:extLst>
          </p:cNvPr>
          <p:cNvSpPr txBox="1"/>
          <p:nvPr/>
        </p:nvSpPr>
        <p:spPr>
          <a:xfrm>
            <a:off x="1274721" y="2567985"/>
            <a:ext cx="9642555" cy="1641731"/>
          </a:xfrm>
          <a:prstGeom prst="rect">
            <a:avLst/>
          </a:prstGeom>
        </p:spPr>
        <p:txBody>
          <a:bodyPr lIns="0" tIns="0" rIns="0" bIns="0" rtlCol="0" anchor="t">
            <a:spAutoFit/>
          </a:bodyPr>
          <a:lstStyle/>
          <a:p>
            <a:pPr algn="ctr"/>
            <a:r>
              <a:rPr lang="en-US" sz="5334" b="1" spc="234" dirty="0">
                <a:latin typeface="Montserrat Classic"/>
              </a:rPr>
              <a:t>ESTAMOS PRESENTES PARA CREAR EL FUTURO</a:t>
            </a:r>
          </a:p>
        </p:txBody>
      </p:sp>
      <p:sp>
        <p:nvSpPr>
          <p:cNvPr id="9" name="Marcador de número de diapositiva 1"/>
          <p:cNvSpPr>
            <a:spLocks noGrp="1"/>
          </p:cNvSpPr>
          <p:nvPr>
            <p:ph type="sldNum" sz="quarter" idx="12"/>
          </p:nvPr>
        </p:nvSpPr>
        <p:spPr>
          <a:xfrm>
            <a:off x="11777051" y="6458134"/>
            <a:ext cx="487378" cy="481343"/>
          </a:xfrm>
        </p:spPr>
        <p:txBody>
          <a:bodyPr/>
          <a:lstStyle/>
          <a:p>
            <a:r>
              <a:rPr lang="en-US" sz="2000" dirty="0" smtClean="0"/>
              <a:t>29</a:t>
            </a:r>
            <a:endParaRPr lang="en-US" sz="2000" dirty="0"/>
          </a:p>
        </p:txBody>
      </p:sp>
    </p:spTree>
    <p:extLst>
      <p:ext uri="{BB962C8B-B14F-4D97-AF65-F5344CB8AC3E}">
        <p14:creationId xmlns:p14="http://schemas.microsoft.com/office/powerpoint/2010/main" val="377634220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uadroTexto 2"/>
          <p:cNvSpPr txBox="1"/>
          <p:nvPr/>
        </p:nvSpPr>
        <p:spPr>
          <a:xfrm>
            <a:off x="1210234" y="1021976"/>
            <a:ext cx="9502589" cy="1477328"/>
          </a:xfrm>
          <a:prstGeom prst="rect">
            <a:avLst/>
          </a:prstGeom>
          <a:noFill/>
        </p:spPr>
        <p:txBody>
          <a:bodyPr wrap="square" rtlCol="0">
            <a:spAutoFit/>
          </a:bodyPr>
          <a:lstStyle/>
          <a:p>
            <a:r>
              <a:rPr lang="es-ES" b="1" dirty="0" smtClean="0"/>
              <a:t> </a:t>
            </a:r>
          </a:p>
          <a:p>
            <a:r>
              <a:rPr lang="es-ES" b="1" dirty="0" smtClean="0"/>
              <a:t>A Sergio San Martín Pinedo del Centro </a:t>
            </a:r>
            <a:r>
              <a:rPr lang="es-ES" b="1" dirty="0" err="1" smtClean="0"/>
              <a:t>Somorrostro</a:t>
            </a:r>
            <a:r>
              <a:rPr lang="es-ES" b="1" dirty="0" smtClean="0"/>
              <a:t> </a:t>
            </a:r>
            <a:r>
              <a:rPr lang="es-ES" dirty="0" smtClean="0"/>
              <a:t>(Aula ATECA)</a:t>
            </a:r>
          </a:p>
          <a:p>
            <a:r>
              <a:rPr lang="es-ES" b="1" dirty="0" smtClean="0"/>
              <a:t>A Javier Miranda de </a:t>
            </a:r>
            <a:r>
              <a:rPr lang="es-ES" dirty="0" smtClean="0"/>
              <a:t>DigitalEs, </a:t>
            </a:r>
            <a:r>
              <a:rPr lang="es-ES" dirty="0"/>
              <a:t>Asociación Española para la </a:t>
            </a:r>
            <a:r>
              <a:rPr lang="es-ES" dirty="0" smtClean="0"/>
              <a:t>Digitalización (COORDINADOR DE LAS EMPRESAS)</a:t>
            </a:r>
          </a:p>
          <a:p>
            <a:endParaRPr lang="es-ES" b="1" dirty="0"/>
          </a:p>
        </p:txBody>
      </p:sp>
      <p:sp>
        <p:nvSpPr>
          <p:cNvPr id="4" name="CuadroTexto 3"/>
          <p:cNvSpPr txBox="1"/>
          <p:nvPr/>
        </p:nvSpPr>
        <p:spPr>
          <a:xfrm>
            <a:off x="1210234" y="2303930"/>
            <a:ext cx="7942730" cy="2585323"/>
          </a:xfrm>
          <a:prstGeom prst="rect">
            <a:avLst/>
          </a:prstGeom>
          <a:noFill/>
        </p:spPr>
        <p:txBody>
          <a:bodyPr wrap="square" rtlCol="0">
            <a:spAutoFit/>
          </a:bodyPr>
          <a:lstStyle/>
          <a:p>
            <a:pPr marL="285750" indent="-285750">
              <a:buFont typeface="Arial" panose="020B0604020202020204" pitchFamily="34" charset="0"/>
              <a:buChar char="•"/>
            </a:pPr>
            <a:r>
              <a:rPr lang="es-ES" dirty="0" smtClean="0"/>
              <a:t>A </a:t>
            </a:r>
            <a:r>
              <a:rPr lang="es-ES" dirty="0" err="1" smtClean="0"/>
              <a:t>DigitalES</a:t>
            </a:r>
            <a:r>
              <a:rPr lang="es-ES" dirty="0"/>
              <a:t>, Asociación Española para la </a:t>
            </a:r>
            <a:r>
              <a:rPr lang="es-ES" dirty="0" smtClean="0"/>
              <a:t>Digitalización</a:t>
            </a:r>
          </a:p>
          <a:p>
            <a:pPr marL="285750" indent="-285750">
              <a:buFont typeface="Arial" panose="020B0604020202020204" pitchFamily="34" charset="0"/>
              <a:buChar char="•"/>
            </a:pPr>
            <a:endParaRPr lang="es-ES" dirty="0" smtClean="0"/>
          </a:p>
          <a:p>
            <a:pPr marL="285750" indent="-285750">
              <a:buFont typeface="Arial" panose="020B0604020202020204" pitchFamily="34" charset="0"/>
              <a:buChar char="•"/>
            </a:pPr>
            <a:r>
              <a:rPr lang="es-ES" dirty="0" smtClean="0"/>
              <a:t>A </a:t>
            </a:r>
            <a:r>
              <a:rPr lang="es-ES" dirty="0" err="1" smtClean="0"/>
              <a:t>Hewlet</a:t>
            </a:r>
            <a:r>
              <a:rPr lang="es-ES" dirty="0" smtClean="0"/>
              <a:t> Packard</a:t>
            </a:r>
          </a:p>
          <a:p>
            <a:pPr marL="285750" indent="-285750">
              <a:buFont typeface="Arial" panose="020B0604020202020204" pitchFamily="34" charset="0"/>
              <a:buChar char="•"/>
            </a:pPr>
            <a:endParaRPr lang="es-ES" dirty="0" smtClean="0"/>
          </a:p>
          <a:p>
            <a:pPr marL="285750" indent="-285750">
              <a:buFont typeface="Arial" panose="020B0604020202020204" pitchFamily="34" charset="0"/>
              <a:buChar char="•"/>
            </a:pPr>
            <a:r>
              <a:rPr lang="es-ES" dirty="0" smtClean="0"/>
              <a:t>A Vodafone</a:t>
            </a:r>
          </a:p>
          <a:p>
            <a:pPr marL="285750" indent="-285750">
              <a:buFont typeface="Arial" panose="020B0604020202020204" pitchFamily="34" charset="0"/>
              <a:buChar char="•"/>
            </a:pPr>
            <a:endParaRPr lang="es-ES" dirty="0" smtClean="0"/>
          </a:p>
          <a:p>
            <a:pPr marL="285750" indent="-285750">
              <a:buFont typeface="Arial" panose="020B0604020202020204" pitchFamily="34" charset="0"/>
              <a:buChar char="•"/>
            </a:pPr>
            <a:r>
              <a:rPr lang="es-ES" dirty="0" smtClean="0"/>
              <a:t>A </a:t>
            </a:r>
            <a:r>
              <a:rPr lang="es-ES" dirty="0" err="1" smtClean="0"/>
              <a:t>Huawei</a:t>
            </a:r>
            <a:endParaRPr lang="es-ES" dirty="0" smtClean="0"/>
          </a:p>
          <a:p>
            <a:pPr marL="285750" indent="-285750">
              <a:buFont typeface="Arial" panose="020B0604020202020204" pitchFamily="34" charset="0"/>
              <a:buChar char="•"/>
            </a:pPr>
            <a:endParaRPr lang="es-ES" dirty="0" smtClean="0"/>
          </a:p>
          <a:p>
            <a:pPr marL="285750" indent="-285750">
              <a:buFont typeface="Arial" panose="020B0604020202020204" pitchFamily="34" charset="0"/>
              <a:buChar char="•"/>
            </a:pPr>
            <a:r>
              <a:rPr lang="es-ES" dirty="0" smtClean="0"/>
              <a:t>A Telefónica </a:t>
            </a:r>
            <a:endParaRPr lang="es-ES" dirty="0"/>
          </a:p>
        </p:txBody>
      </p:sp>
      <p:sp>
        <p:nvSpPr>
          <p:cNvPr id="6" name="CuadroTexto 5"/>
          <p:cNvSpPr txBox="1"/>
          <p:nvPr/>
        </p:nvSpPr>
        <p:spPr>
          <a:xfrm>
            <a:off x="4012234" y="6185358"/>
            <a:ext cx="6922088" cy="461665"/>
          </a:xfrm>
          <a:prstGeom prst="rect">
            <a:avLst/>
          </a:prstGeom>
          <a:noFill/>
        </p:spPr>
        <p:txBody>
          <a:bodyPr wrap="none" rtlCol="0">
            <a:spAutoFit/>
          </a:bodyPr>
          <a:lstStyle/>
          <a:p>
            <a:r>
              <a:rPr lang="es-ES" sz="2400" b="1" dirty="0" smtClean="0">
                <a:effectLst>
                  <a:outerShdw blurRad="38100" dist="38100" dir="2700000" algn="tl">
                    <a:srgbClr val="000000">
                      <a:alpha val="43137"/>
                    </a:srgbClr>
                  </a:outerShdw>
                </a:effectLst>
              </a:rPr>
              <a:t>¡¡ Muchas Gracias por vuestra colaboración!!</a:t>
            </a:r>
            <a:endParaRPr lang="es-ES" sz="2400" b="1" dirty="0">
              <a:effectLst>
                <a:outerShdw blurRad="38100" dist="38100" dir="2700000" algn="tl">
                  <a:srgbClr val="000000">
                    <a:alpha val="43137"/>
                  </a:srgbClr>
                </a:outerShdw>
              </a:effectLst>
            </a:endParaRPr>
          </a:p>
        </p:txBody>
      </p:sp>
      <p:pic>
        <p:nvPicPr>
          <p:cNvPr id="7" name="Imagen 6" descr="Imagen que contiene Icono&#10;&#10;Descripción generada automáticamente">
            <a:extLst>
              <a:ext uri="{FF2B5EF4-FFF2-40B4-BE49-F238E27FC236}">
                <a16:creationId xmlns:a16="http://schemas.microsoft.com/office/drawing/2014/main" id="{371C3341-34EA-7748-B2FB-62B2DFB9A9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59577" y="3439464"/>
            <a:ext cx="524933" cy="601133"/>
          </a:xfrm>
          <a:prstGeom prst="rect">
            <a:avLst/>
          </a:prstGeom>
        </p:spPr>
      </p:pic>
      <p:pic>
        <p:nvPicPr>
          <p:cNvPr id="8" name="Imagen 7" descr="Icono&#10;&#10;Descripción generada automáticamente">
            <a:extLst>
              <a:ext uri="{FF2B5EF4-FFF2-40B4-BE49-F238E27FC236}">
                <a16:creationId xmlns:a16="http://schemas.microsoft.com/office/drawing/2014/main" id="{2BC9558F-A593-644B-B03D-6ACF107F1D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59577" y="2818729"/>
            <a:ext cx="558800" cy="516467"/>
          </a:xfrm>
          <a:prstGeom prst="rect">
            <a:avLst/>
          </a:prstGeom>
        </p:spPr>
      </p:pic>
      <p:pic>
        <p:nvPicPr>
          <p:cNvPr id="9" name="Imagen 8">
            <a:extLst>
              <a:ext uri="{FF2B5EF4-FFF2-40B4-BE49-F238E27FC236}">
                <a16:creationId xmlns:a16="http://schemas.microsoft.com/office/drawing/2014/main" id="{83A4A921-F6D5-A143-9F3E-082269DF2D6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26706" y="4091805"/>
            <a:ext cx="1595718" cy="408660"/>
          </a:xfrm>
          <a:prstGeom prst="rect">
            <a:avLst/>
          </a:prstGeom>
        </p:spPr>
      </p:pic>
      <p:pic>
        <p:nvPicPr>
          <p:cNvPr id="10" name="Imagen 9" descr="Imagen que contiene dibujo&#10;&#10;Descripción generada automáticamente">
            <a:extLst>
              <a:ext uri="{FF2B5EF4-FFF2-40B4-BE49-F238E27FC236}">
                <a16:creationId xmlns:a16="http://schemas.microsoft.com/office/drawing/2014/main" id="{F7EC41C6-7B2C-F848-9E8A-EFEFC581942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44635" y="2246916"/>
            <a:ext cx="1857345" cy="395828"/>
          </a:xfrm>
          <a:prstGeom prst="rect">
            <a:avLst/>
          </a:prstGeom>
        </p:spPr>
      </p:pic>
      <p:pic>
        <p:nvPicPr>
          <p:cNvPr id="11" name="Imagen 10" descr="Imagen que contiene Texto&#10;&#10;Descripción generada automáticamente">
            <a:extLst>
              <a:ext uri="{FF2B5EF4-FFF2-40B4-BE49-F238E27FC236}">
                <a16:creationId xmlns:a16="http://schemas.microsoft.com/office/drawing/2014/main" id="{6656D112-7036-CD42-9CC8-3F7AE9C0980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735671" y="4627346"/>
            <a:ext cx="1586753" cy="634701"/>
          </a:xfrm>
          <a:prstGeom prst="rect">
            <a:avLst/>
          </a:prstGeom>
        </p:spPr>
      </p:pic>
      <p:cxnSp>
        <p:nvCxnSpPr>
          <p:cNvPr id="13" name="Conector recto 12"/>
          <p:cNvCxnSpPr/>
          <p:nvPr/>
        </p:nvCxnSpPr>
        <p:spPr>
          <a:xfrm>
            <a:off x="9726706" y="2196358"/>
            <a:ext cx="17929" cy="3286474"/>
          </a:xfrm>
          <a:prstGeom prst="line">
            <a:avLst/>
          </a:prstGeom>
        </p:spPr>
        <p:style>
          <a:lnRef idx="2">
            <a:schemeClr val="accent6"/>
          </a:lnRef>
          <a:fillRef idx="0">
            <a:schemeClr val="accent6"/>
          </a:fillRef>
          <a:effectRef idx="1">
            <a:schemeClr val="accent6"/>
          </a:effectRef>
          <a:fontRef idx="minor">
            <a:schemeClr val="tx1"/>
          </a:fontRef>
        </p:style>
      </p:cxnSp>
      <p:sp>
        <p:nvSpPr>
          <p:cNvPr id="12" name="Marcador de número de diapositiva 1"/>
          <p:cNvSpPr>
            <a:spLocks noGrp="1"/>
          </p:cNvSpPr>
          <p:nvPr>
            <p:ph type="sldNum" sz="quarter" idx="12"/>
          </p:nvPr>
        </p:nvSpPr>
        <p:spPr>
          <a:xfrm>
            <a:off x="11777051" y="6458134"/>
            <a:ext cx="487378" cy="481343"/>
          </a:xfrm>
        </p:spPr>
        <p:txBody>
          <a:bodyPr/>
          <a:lstStyle/>
          <a:p>
            <a:r>
              <a:rPr lang="en-US" sz="2000" dirty="0" smtClean="0"/>
              <a:t>3</a:t>
            </a:r>
            <a:endParaRPr lang="en-US" sz="2000" dirty="0"/>
          </a:p>
        </p:txBody>
      </p:sp>
    </p:spTree>
    <p:extLst>
      <p:ext uri="{BB962C8B-B14F-4D97-AF65-F5344CB8AC3E}">
        <p14:creationId xmlns:p14="http://schemas.microsoft.com/office/powerpoint/2010/main" val="19399608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uadroTexto 2">
            <a:extLst>
              <a:ext uri="{FF2B5EF4-FFF2-40B4-BE49-F238E27FC236}">
                <a16:creationId xmlns:a16="http://schemas.microsoft.com/office/drawing/2014/main" id="{06CE3840-7652-7643-B25C-60EAA9A14ECE}"/>
              </a:ext>
            </a:extLst>
          </p:cNvPr>
          <p:cNvSpPr txBox="1"/>
          <p:nvPr/>
        </p:nvSpPr>
        <p:spPr>
          <a:xfrm>
            <a:off x="3957259" y="1019932"/>
            <a:ext cx="4358065" cy="400110"/>
          </a:xfrm>
          <a:prstGeom prst="rect">
            <a:avLst/>
          </a:prstGeom>
          <a:noFill/>
        </p:spPr>
        <p:txBody>
          <a:bodyPr wrap="square" rtlCol="0">
            <a:spAutoFit/>
          </a:bodyPr>
          <a:lstStyle/>
          <a:p>
            <a:r>
              <a:rPr lang="es-ES" sz="2000" b="1" i="1" dirty="0" smtClean="0"/>
              <a:t>a) Pasos del Proyecto</a:t>
            </a:r>
            <a:endParaRPr lang="es-ES" sz="2000" b="1" i="1" dirty="0"/>
          </a:p>
        </p:txBody>
      </p:sp>
      <p:graphicFrame>
        <p:nvGraphicFramePr>
          <p:cNvPr id="4" name="Diagrama 3">
            <a:extLst>
              <a:ext uri="{FF2B5EF4-FFF2-40B4-BE49-F238E27FC236}">
                <a16:creationId xmlns:a16="http://schemas.microsoft.com/office/drawing/2014/main" id="{AA11FCB0-AF9A-D04D-B056-4852B75FA290}"/>
              </a:ext>
            </a:extLst>
          </p:cNvPr>
          <p:cNvGraphicFramePr/>
          <p:nvPr>
            <p:extLst>
              <p:ext uri="{D42A27DB-BD31-4B8C-83A1-F6EECF244321}">
                <p14:modId xmlns:p14="http://schemas.microsoft.com/office/powerpoint/2010/main" val="3841286665"/>
              </p:ext>
            </p:extLst>
          </p:nvPr>
        </p:nvGraphicFramePr>
        <p:xfrm>
          <a:off x="3452808" y="1898091"/>
          <a:ext cx="4984377" cy="389257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Imagen 4">
            <a:extLst>
              <a:ext uri="{FF2B5EF4-FFF2-40B4-BE49-F238E27FC236}">
                <a16:creationId xmlns:a16="http://schemas.microsoft.com/office/drawing/2014/main" id="{007C7BC6-2E71-423C-8BF2-020B7B068479}"/>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78750"/>
          <a:stretch/>
        </p:blipFill>
        <p:spPr>
          <a:xfrm>
            <a:off x="379296" y="15885"/>
            <a:ext cx="3018327" cy="889181"/>
          </a:xfrm>
          <a:prstGeom prst="rect">
            <a:avLst/>
          </a:prstGeom>
        </p:spPr>
      </p:pic>
      <p:sp>
        <p:nvSpPr>
          <p:cNvPr id="7" name="Marcador de número de diapositiva 1"/>
          <p:cNvSpPr>
            <a:spLocks noGrp="1"/>
          </p:cNvSpPr>
          <p:nvPr>
            <p:ph type="sldNum" sz="quarter" idx="12"/>
          </p:nvPr>
        </p:nvSpPr>
        <p:spPr>
          <a:xfrm>
            <a:off x="11777051" y="6458134"/>
            <a:ext cx="487378" cy="481343"/>
          </a:xfrm>
        </p:spPr>
        <p:txBody>
          <a:bodyPr/>
          <a:lstStyle/>
          <a:p>
            <a:r>
              <a:rPr lang="en-US" sz="2000" dirty="0" smtClean="0"/>
              <a:t>30</a:t>
            </a:r>
            <a:endParaRPr lang="en-US" sz="2000" dirty="0"/>
          </a:p>
        </p:txBody>
      </p:sp>
    </p:spTree>
    <p:extLst>
      <p:ext uri="{BB962C8B-B14F-4D97-AF65-F5344CB8AC3E}">
        <p14:creationId xmlns:p14="http://schemas.microsoft.com/office/powerpoint/2010/main" val="268076920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CuadroTexto 8">
            <a:extLst>
              <a:ext uri="{FF2B5EF4-FFF2-40B4-BE49-F238E27FC236}">
                <a16:creationId xmlns:a16="http://schemas.microsoft.com/office/drawing/2014/main" id="{7E2FE810-81AC-F443-A7C8-79190ED85FE0}"/>
              </a:ext>
            </a:extLst>
          </p:cNvPr>
          <p:cNvSpPr txBox="1"/>
          <p:nvPr/>
        </p:nvSpPr>
        <p:spPr>
          <a:xfrm>
            <a:off x="1704975" y="1125809"/>
            <a:ext cx="9382125" cy="523220"/>
          </a:xfrm>
          <a:prstGeom prst="rect">
            <a:avLst/>
          </a:prstGeom>
          <a:noFill/>
        </p:spPr>
        <p:txBody>
          <a:bodyPr wrap="square" rtlCol="0">
            <a:spAutoFit/>
          </a:bodyPr>
          <a:lstStyle/>
          <a:p>
            <a:r>
              <a:rPr lang="es-ES" sz="2800" b="1" i="1" dirty="0" smtClean="0"/>
              <a:t>b) </a:t>
            </a:r>
            <a:r>
              <a:rPr lang="es-ES" sz="2800" b="1" i="1" dirty="0"/>
              <a:t>La tecnología en los nuevos espacios </a:t>
            </a:r>
            <a:r>
              <a:rPr lang="es-ES" sz="2800" b="1" i="1" dirty="0" smtClean="0"/>
              <a:t>tiene </a:t>
            </a:r>
            <a:r>
              <a:rPr lang="es-ES" sz="2800" b="1" i="1" dirty="0"/>
              <a:t>QUE</a:t>
            </a:r>
            <a:r>
              <a:rPr lang="es-ES" sz="2000" i="1" dirty="0"/>
              <a:t>:</a:t>
            </a:r>
          </a:p>
        </p:txBody>
      </p:sp>
      <p:graphicFrame>
        <p:nvGraphicFramePr>
          <p:cNvPr id="12" name="Diagrama 11">
            <a:extLst>
              <a:ext uri="{FF2B5EF4-FFF2-40B4-BE49-F238E27FC236}">
                <a16:creationId xmlns:a16="http://schemas.microsoft.com/office/drawing/2014/main" id="{27694070-70A4-3C41-B76B-C0AF0E57C584}"/>
              </a:ext>
            </a:extLst>
          </p:cNvPr>
          <p:cNvGraphicFramePr/>
          <p:nvPr>
            <p:extLst>
              <p:ext uri="{D42A27DB-BD31-4B8C-83A1-F6EECF244321}">
                <p14:modId xmlns:p14="http://schemas.microsoft.com/office/powerpoint/2010/main" val="3734171047"/>
              </p:ext>
            </p:extLst>
          </p:nvPr>
        </p:nvGraphicFramePr>
        <p:xfrm>
          <a:off x="3121648" y="905066"/>
          <a:ext cx="5488952" cy="54276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9" name="Marcador de número de diapositiva 1"/>
          <p:cNvSpPr>
            <a:spLocks noGrp="1"/>
          </p:cNvSpPr>
          <p:nvPr>
            <p:ph type="sldNum" sz="quarter" idx="12"/>
          </p:nvPr>
        </p:nvSpPr>
        <p:spPr>
          <a:xfrm>
            <a:off x="11777051" y="6458134"/>
            <a:ext cx="487378" cy="481343"/>
          </a:xfrm>
        </p:spPr>
        <p:txBody>
          <a:bodyPr/>
          <a:lstStyle/>
          <a:p>
            <a:r>
              <a:rPr lang="en-US" sz="2000" dirty="0" smtClean="0"/>
              <a:t>31</a:t>
            </a:r>
            <a:endParaRPr lang="en-US" sz="2000" dirty="0"/>
          </a:p>
        </p:txBody>
      </p:sp>
      <p:pic>
        <p:nvPicPr>
          <p:cNvPr id="16" name="Imagen 15">
            <a:extLst>
              <a:ext uri="{FF2B5EF4-FFF2-40B4-BE49-F238E27FC236}">
                <a16:creationId xmlns:a16="http://schemas.microsoft.com/office/drawing/2014/main" id="{007C7BC6-2E71-423C-8BF2-020B7B068479}"/>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r="78750"/>
          <a:stretch/>
        </p:blipFill>
        <p:spPr>
          <a:xfrm>
            <a:off x="379296" y="15885"/>
            <a:ext cx="3018327" cy="889181"/>
          </a:xfrm>
          <a:prstGeom prst="rect">
            <a:avLst/>
          </a:prstGeom>
        </p:spPr>
      </p:pic>
    </p:spTree>
    <p:extLst>
      <p:ext uri="{BB962C8B-B14F-4D97-AF65-F5344CB8AC3E}">
        <p14:creationId xmlns:p14="http://schemas.microsoft.com/office/powerpoint/2010/main" val="283284025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uadroTexto 2">
            <a:extLst>
              <a:ext uri="{FF2B5EF4-FFF2-40B4-BE49-F238E27FC236}">
                <a16:creationId xmlns:a16="http://schemas.microsoft.com/office/drawing/2014/main" id="{BA82B887-B4D8-9C4D-B17E-B578A89C2D90}"/>
              </a:ext>
            </a:extLst>
          </p:cNvPr>
          <p:cNvSpPr txBox="1"/>
          <p:nvPr/>
        </p:nvSpPr>
        <p:spPr>
          <a:xfrm>
            <a:off x="2390775" y="636415"/>
            <a:ext cx="9801225" cy="461665"/>
          </a:xfrm>
          <a:prstGeom prst="rect">
            <a:avLst/>
          </a:prstGeom>
          <a:noFill/>
        </p:spPr>
        <p:txBody>
          <a:bodyPr wrap="square" rtlCol="0">
            <a:spAutoFit/>
          </a:bodyPr>
          <a:lstStyle/>
          <a:p>
            <a:r>
              <a:rPr lang="es-ES" sz="2400" i="1" dirty="0" smtClean="0"/>
              <a:t>c) Para </a:t>
            </a:r>
            <a:r>
              <a:rPr lang="es-ES" sz="2400" i="1" dirty="0"/>
              <a:t>conseguirlo los  espacios tienen que </a:t>
            </a:r>
            <a:r>
              <a:rPr lang="es-ES" sz="2400" i="1" dirty="0" smtClean="0"/>
              <a:t>tener: </a:t>
            </a:r>
            <a:endParaRPr lang="es-ES" sz="2400" i="1" dirty="0"/>
          </a:p>
        </p:txBody>
      </p:sp>
      <p:graphicFrame>
        <p:nvGraphicFramePr>
          <p:cNvPr id="4" name="Diagrama 3">
            <a:extLst>
              <a:ext uri="{FF2B5EF4-FFF2-40B4-BE49-F238E27FC236}">
                <a16:creationId xmlns:a16="http://schemas.microsoft.com/office/drawing/2014/main" id="{8A257833-8932-6A46-A4FF-F35C637503F5}"/>
              </a:ext>
            </a:extLst>
          </p:cNvPr>
          <p:cNvGraphicFramePr/>
          <p:nvPr>
            <p:extLst>
              <p:ext uri="{D42A27DB-BD31-4B8C-83A1-F6EECF244321}">
                <p14:modId xmlns:p14="http://schemas.microsoft.com/office/powerpoint/2010/main" val="3462248508"/>
              </p:ext>
            </p:extLst>
          </p:nvPr>
        </p:nvGraphicFramePr>
        <p:xfrm>
          <a:off x="4409741" y="1371600"/>
          <a:ext cx="5601547" cy="4876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Imagen 5">
            <a:extLst>
              <a:ext uri="{FF2B5EF4-FFF2-40B4-BE49-F238E27FC236}">
                <a16:creationId xmlns:a16="http://schemas.microsoft.com/office/drawing/2014/main" id="{007C7BC6-2E71-423C-8BF2-020B7B068479}"/>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78750"/>
          <a:stretch/>
        </p:blipFill>
        <p:spPr>
          <a:xfrm>
            <a:off x="112596" y="-21933"/>
            <a:ext cx="3018327" cy="889181"/>
          </a:xfrm>
          <a:prstGeom prst="rect">
            <a:avLst/>
          </a:prstGeom>
        </p:spPr>
      </p:pic>
      <p:sp>
        <p:nvSpPr>
          <p:cNvPr id="7" name="Marcador de número de diapositiva 1"/>
          <p:cNvSpPr>
            <a:spLocks noGrp="1"/>
          </p:cNvSpPr>
          <p:nvPr>
            <p:ph type="sldNum" sz="quarter" idx="12"/>
          </p:nvPr>
        </p:nvSpPr>
        <p:spPr>
          <a:xfrm>
            <a:off x="11777051" y="6458134"/>
            <a:ext cx="487378" cy="481343"/>
          </a:xfrm>
        </p:spPr>
        <p:txBody>
          <a:bodyPr/>
          <a:lstStyle/>
          <a:p>
            <a:r>
              <a:rPr lang="en-US" sz="2000" dirty="0" smtClean="0"/>
              <a:t>32</a:t>
            </a:r>
            <a:endParaRPr lang="en-US" sz="2000" dirty="0"/>
          </a:p>
        </p:txBody>
      </p:sp>
    </p:spTree>
    <p:extLst>
      <p:ext uri="{BB962C8B-B14F-4D97-AF65-F5344CB8AC3E}">
        <p14:creationId xmlns:p14="http://schemas.microsoft.com/office/powerpoint/2010/main" val="308973823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Diagrama 3">
            <a:extLst>
              <a:ext uri="{FF2B5EF4-FFF2-40B4-BE49-F238E27FC236}">
                <a16:creationId xmlns:a16="http://schemas.microsoft.com/office/drawing/2014/main" id="{FB93D33A-D5B6-994C-BC6C-8710DF57C7C0}"/>
              </a:ext>
            </a:extLst>
          </p:cNvPr>
          <p:cNvGraphicFramePr/>
          <p:nvPr>
            <p:extLst>
              <p:ext uri="{D42A27DB-BD31-4B8C-83A1-F6EECF244321}">
                <p14:modId xmlns:p14="http://schemas.microsoft.com/office/powerpoint/2010/main" val="2088926545"/>
              </p:ext>
            </p:extLst>
          </p:nvPr>
        </p:nvGraphicFramePr>
        <p:xfrm>
          <a:off x="152400" y="1346200"/>
          <a:ext cx="3683000" cy="47630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CuadroTexto 5">
            <a:extLst>
              <a:ext uri="{FF2B5EF4-FFF2-40B4-BE49-F238E27FC236}">
                <a16:creationId xmlns:a16="http://schemas.microsoft.com/office/drawing/2014/main" id="{79F658F1-C3D3-EC40-BC02-16191BBD3C14}"/>
              </a:ext>
            </a:extLst>
          </p:cNvPr>
          <p:cNvSpPr txBox="1"/>
          <p:nvPr/>
        </p:nvSpPr>
        <p:spPr>
          <a:xfrm>
            <a:off x="5232400" y="895260"/>
            <a:ext cx="3302000" cy="430887"/>
          </a:xfrm>
          <a:prstGeom prst="rect">
            <a:avLst/>
          </a:prstGeom>
          <a:noFill/>
          <a:ln>
            <a:solidFill>
              <a:schemeClr val="accent1"/>
            </a:solidFill>
          </a:ln>
        </p:spPr>
        <p:txBody>
          <a:bodyPr wrap="square" rtlCol="0">
            <a:spAutoFit/>
          </a:bodyPr>
          <a:lstStyle/>
          <a:p>
            <a:r>
              <a:rPr lang="es-ES" sz="1050" dirty="0">
                <a:solidFill>
                  <a:schemeClr val="accent1">
                    <a:lumMod val="75000"/>
                  </a:schemeClr>
                </a:solidFill>
              </a:rPr>
              <a:t>El nuevo espacio debe estar conectado con banda ancha ultra rápida y WIFI</a:t>
            </a:r>
          </a:p>
        </p:txBody>
      </p:sp>
      <p:cxnSp>
        <p:nvCxnSpPr>
          <p:cNvPr id="11" name="Conector angular 10">
            <a:extLst>
              <a:ext uri="{FF2B5EF4-FFF2-40B4-BE49-F238E27FC236}">
                <a16:creationId xmlns:a16="http://schemas.microsoft.com/office/drawing/2014/main" id="{9C8F1B47-8DE0-E945-B702-83D53158E1A2}"/>
              </a:ext>
            </a:extLst>
          </p:cNvPr>
          <p:cNvCxnSpPr>
            <a:cxnSpLocks/>
            <a:endCxn id="6" idx="1"/>
          </p:cNvCxnSpPr>
          <p:nvPr/>
        </p:nvCxnSpPr>
        <p:spPr>
          <a:xfrm flipV="1">
            <a:off x="3848100" y="1110704"/>
            <a:ext cx="1384300" cy="1193225"/>
          </a:xfrm>
          <a:prstGeom prst="bentConnector3">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2" name="CuadroTexto 11">
            <a:extLst>
              <a:ext uri="{FF2B5EF4-FFF2-40B4-BE49-F238E27FC236}">
                <a16:creationId xmlns:a16="http://schemas.microsoft.com/office/drawing/2014/main" id="{66F53451-F87E-924E-AA44-940239D9A71A}"/>
              </a:ext>
            </a:extLst>
          </p:cNvPr>
          <p:cNvSpPr txBox="1"/>
          <p:nvPr/>
        </p:nvSpPr>
        <p:spPr>
          <a:xfrm>
            <a:off x="6350000" y="1701800"/>
            <a:ext cx="3302000" cy="738664"/>
          </a:xfrm>
          <a:prstGeom prst="rect">
            <a:avLst/>
          </a:prstGeom>
          <a:noFill/>
          <a:ln>
            <a:solidFill>
              <a:schemeClr val="accent1"/>
            </a:solidFill>
          </a:ln>
        </p:spPr>
        <p:txBody>
          <a:bodyPr wrap="square" rtlCol="0">
            <a:spAutoFit/>
          </a:bodyPr>
          <a:lstStyle/>
          <a:p>
            <a:r>
              <a:rPr lang="es-ES" sz="1050" dirty="0">
                <a:solidFill>
                  <a:schemeClr val="accent1">
                    <a:lumMod val="75000"/>
                  </a:schemeClr>
                </a:solidFill>
              </a:rPr>
              <a:t>La configuración del espacio debe adaptarse a la actividad y al número de alumnos para poder aprender a través de diferentes experiencias </a:t>
            </a:r>
          </a:p>
        </p:txBody>
      </p:sp>
      <p:cxnSp>
        <p:nvCxnSpPr>
          <p:cNvPr id="14" name="Conector angular 13">
            <a:extLst>
              <a:ext uri="{FF2B5EF4-FFF2-40B4-BE49-F238E27FC236}">
                <a16:creationId xmlns:a16="http://schemas.microsoft.com/office/drawing/2014/main" id="{AFB31B21-D1E2-0048-B62A-F55C3AFEC734}"/>
              </a:ext>
            </a:extLst>
          </p:cNvPr>
          <p:cNvCxnSpPr>
            <a:cxnSpLocks/>
            <a:endCxn id="12" idx="1"/>
          </p:cNvCxnSpPr>
          <p:nvPr/>
        </p:nvCxnSpPr>
        <p:spPr>
          <a:xfrm flipV="1">
            <a:off x="3848100" y="2071132"/>
            <a:ext cx="2501900" cy="434167"/>
          </a:xfrm>
          <a:prstGeom prst="bentConnector3">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5" name="CuadroTexto 14">
            <a:extLst>
              <a:ext uri="{FF2B5EF4-FFF2-40B4-BE49-F238E27FC236}">
                <a16:creationId xmlns:a16="http://schemas.microsoft.com/office/drawing/2014/main" id="{75EECA83-8E3F-D647-AC0B-7A6E1F3256F6}"/>
              </a:ext>
            </a:extLst>
          </p:cNvPr>
          <p:cNvSpPr txBox="1"/>
          <p:nvPr/>
        </p:nvSpPr>
        <p:spPr>
          <a:xfrm>
            <a:off x="7315200" y="2565400"/>
            <a:ext cx="3302000" cy="430887"/>
          </a:xfrm>
          <a:prstGeom prst="rect">
            <a:avLst/>
          </a:prstGeom>
          <a:noFill/>
          <a:ln>
            <a:solidFill>
              <a:schemeClr val="accent1"/>
            </a:solidFill>
          </a:ln>
        </p:spPr>
        <p:txBody>
          <a:bodyPr wrap="square" rtlCol="0">
            <a:spAutoFit/>
          </a:bodyPr>
          <a:lstStyle/>
          <a:p>
            <a:r>
              <a:rPr lang="es-ES" sz="1050" dirty="0">
                <a:solidFill>
                  <a:schemeClr val="accent1">
                    <a:lumMod val="75000"/>
                  </a:schemeClr>
                </a:solidFill>
              </a:rPr>
              <a:t>La tecnología debe romper las barreras de acceso al conocimiento y la información</a:t>
            </a:r>
          </a:p>
        </p:txBody>
      </p:sp>
      <p:cxnSp>
        <p:nvCxnSpPr>
          <p:cNvPr id="17" name="Conector angular 16">
            <a:extLst>
              <a:ext uri="{FF2B5EF4-FFF2-40B4-BE49-F238E27FC236}">
                <a16:creationId xmlns:a16="http://schemas.microsoft.com/office/drawing/2014/main" id="{12D70EBF-98B9-1D41-922F-1DA90650B601}"/>
              </a:ext>
            </a:extLst>
          </p:cNvPr>
          <p:cNvCxnSpPr>
            <a:cxnSpLocks/>
            <a:endCxn id="15" idx="1"/>
          </p:cNvCxnSpPr>
          <p:nvPr/>
        </p:nvCxnSpPr>
        <p:spPr>
          <a:xfrm flipV="1">
            <a:off x="3848100" y="2780844"/>
            <a:ext cx="3467100" cy="182912"/>
          </a:xfrm>
          <a:prstGeom prst="bentConnector3">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8" name="CuadroTexto 17">
            <a:extLst>
              <a:ext uri="{FF2B5EF4-FFF2-40B4-BE49-F238E27FC236}">
                <a16:creationId xmlns:a16="http://schemas.microsoft.com/office/drawing/2014/main" id="{2C592110-EA58-C04B-8BFF-5310BD4ED707}"/>
              </a:ext>
            </a:extLst>
          </p:cNvPr>
          <p:cNvSpPr txBox="1"/>
          <p:nvPr/>
        </p:nvSpPr>
        <p:spPr>
          <a:xfrm>
            <a:off x="5092700" y="3131556"/>
            <a:ext cx="3302000" cy="430887"/>
          </a:xfrm>
          <a:prstGeom prst="rect">
            <a:avLst/>
          </a:prstGeom>
          <a:noFill/>
          <a:ln>
            <a:solidFill>
              <a:schemeClr val="accent1"/>
            </a:solidFill>
          </a:ln>
        </p:spPr>
        <p:txBody>
          <a:bodyPr wrap="square" rtlCol="0">
            <a:spAutoFit/>
          </a:bodyPr>
          <a:lstStyle/>
          <a:p>
            <a:r>
              <a:rPr lang="es-ES" sz="1050" dirty="0">
                <a:solidFill>
                  <a:schemeClr val="accent1">
                    <a:lumMod val="75000"/>
                  </a:schemeClr>
                </a:solidFill>
              </a:rPr>
              <a:t>Capacidad para generar información, gestionarla y usarla</a:t>
            </a:r>
          </a:p>
        </p:txBody>
      </p:sp>
      <p:cxnSp>
        <p:nvCxnSpPr>
          <p:cNvPr id="20" name="Conector angular 19">
            <a:extLst>
              <a:ext uri="{FF2B5EF4-FFF2-40B4-BE49-F238E27FC236}">
                <a16:creationId xmlns:a16="http://schemas.microsoft.com/office/drawing/2014/main" id="{306D7B4B-7A17-594A-94D5-2DAFBC92FD19}"/>
              </a:ext>
            </a:extLst>
          </p:cNvPr>
          <p:cNvCxnSpPr>
            <a:cxnSpLocks/>
            <a:endCxn id="18" idx="1"/>
          </p:cNvCxnSpPr>
          <p:nvPr/>
        </p:nvCxnSpPr>
        <p:spPr>
          <a:xfrm flipV="1">
            <a:off x="3835400" y="3347000"/>
            <a:ext cx="1257300" cy="24219"/>
          </a:xfrm>
          <a:prstGeom prst="bentConnector3">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1" name="CuadroTexto 20">
            <a:extLst>
              <a:ext uri="{FF2B5EF4-FFF2-40B4-BE49-F238E27FC236}">
                <a16:creationId xmlns:a16="http://schemas.microsoft.com/office/drawing/2014/main" id="{255DDA8C-7183-B84E-B2F2-70DFE23B38F2}"/>
              </a:ext>
            </a:extLst>
          </p:cNvPr>
          <p:cNvSpPr txBox="1"/>
          <p:nvPr/>
        </p:nvSpPr>
        <p:spPr>
          <a:xfrm>
            <a:off x="7569200" y="3625992"/>
            <a:ext cx="3302000" cy="415498"/>
          </a:xfrm>
          <a:prstGeom prst="rect">
            <a:avLst/>
          </a:prstGeom>
          <a:noFill/>
          <a:ln>
            <a:solidFill>
              <a:schemeClr val="accent1"/>
            </a:solidFill>
          </a:ln>
        </p:spPr>
        <p:txBody>
          <a:bodyPr wrap="square" rtlCol="0">
            <a:spAutoFit/>
          </a:bodyPr>
          <a:lstStyle/>
          <a:p>
            <a:r>
              <a:rPr lang="es-ES" sz="1050" dirty="0">
                <a:solidFill>
                  <a:schemeClr val="accent1">
                    <a:lumMod val="75000"/>
                  </a:schemeClr>
                </a:solidFill>
              </a:rPr>
              <a:t>Los nuevos espacios tienen que convertirse en puntos de producción de contenidos y recursos</a:t>
            </a:r>
          </a:p>
        </p:txBody>
      </p:sp>
      <p:cxnSp>
        <p:nvCxnSpPr>
          <p:cNvPr id="22" name="Conector angular 21">
            <a:extLst>
              <a:ext uri="{FF2B5EF4-FFF2-40B4-BE49-F238E27FC236}">
                <a16:creationId xmlns:a16="http://schemas.microsoft.com/office/drawing/2014/main" id="{B6DD6655-062F-0D44-89A2-431D5008BEAF}"/>
              </a:ext>
            </a:extLst>
          </p:cNvPr>
          <p:cNvCxnSpPr>
            <a:cxnSpLocks/>
            <a:endCxn id="21" idx="1"/>
          </p:cNvCxnSpPr>
          <p:nvPr/>
        </p:nvCxnSpPr>
        <p:spPr>
          <a:xfrm>
            <a:off x="3848100" y="3769599"/>
            <a:ext cx="3721100" cy="64142"/>
          </a:xfrm>
          <a:prstGeom prst="bentConnector3">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4" name="CuadroTexto 23">
            <a:extLst>
              <a:ext uri="{FF2B5EF4-FFF2-40B4-BE49-F238E27FC236}">
                <a16:creationId xmlns:a16="http://schemas.microsoft.com/office/drawing/2014/main" id="{C7131DFA-6A9C-6E4D-8D61-B46F2676CFFD}"/>
              </a:ext>
            </a:extLst>
          </p:cNvPr>
          <p:cNvSpPr txBox="1"/>
          <p:nvPr/>
        </p:nvSpPr>
        <p:spPr>
          <a:xfrm>
            <a:off x="5918200" y="4105314"/>
            <a:ext cx="3302000" cy="577081"/>
          </a:xfrm>
          <a:prstGeom prst="rect">
            <a:avLst/>
          </a:prstGeom>
          <a:noFill/>
          <a:ln>
            <a:solidFill>
              <a:schemeClr val="accent1"/>
            </a:solidFill>
          </a:ln>
        </p:spPr>
        <p:txBody>
          <a:bodyPr wrap="square" rtlCol="0">
            <a:spAutoFit/>
          </a:bodyPr>
          <a:lstStyle/>
          <a:p>
            <a:r>
              <a:rPr lang="es-ES" sz="1050" dirty="0">
                <a:solidFill>
                  <a:schemeClr val="accent1">
                    <a:lumMod val="75000"/>
                  </a:schemeClr>
                </a:solidFill>
              </a:rPr>
              <a:t>Deben soportar la capacidad de intercambiar escenarios virtuales y presenciales y cualquier otra modalidad.</a:t>
            </a:r>
          </a:p>
        </p:txBody>
      </p:sp>
      <p:cxnSp>
        <p:nvCxnSpPr>
          <p:cNvPr id="25" name="Conector angular 24">
            <a:extLst>
              <a:ext uri="{FF2B5EF4-FFF2-40B4-BE49-F238E27FC236}">
                <a16:creationId xmlns:a16="http://schemas.microsoft.com/office/drawing/2014/main" id="{BCFA013E-171C-9241-A7C3-F763D52DFFDC}"/>
              </a:ext>
            </a:extLst>
          </p:cNvPr>
          <p:cNvCxnSpPr>
            <a:cxnSpLocks/>
          </p:cNvCxnSpPr>
          <p:nvPr/>
        </p:nvCxnSpPr>
        <p:spPr>
          <a:xfrm>
            <a:off x="3835400" y="4183110"/>
            <a:ext cx="1993900" cy="298634"/>
          </a:xfrm>
          <a:prstGeom prst="bentConnector3">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3" name="CuadroTexto 32">
            <a:extLst>
              <a:ext uri="{FF2B5EF4-FFF2-40B4-BE49-F238E27FC236}">
                <a16:creationId xmlns:a16="http://schemas.microsoft.com/office/drawing/2014/main" id="{CB56170F-3E87-6F49-94B7-3049435D576B}"/>
              </a:ext>
            </a:extLst>
          </p:cNvPr>
          <p:cNvSpPr txBox="1"/>
          <p:nvPr/>
        </p:nvSpPr>
        <p:spPr>
          <a:xfrm>
            <a:off x="6553200" y="4848424"/>
            <a:ext cx="3302000" cy="430887"/>
          </a:xfrm>
          <a:prstGeom prst="rect">
            <a:avLst/>
          </a:prstGeom>
          <a:noFill/>
          <a:ln>
            <a:solidFill>
              <a:schemeClr val="accent1"/>
            </a:solidFill>
          </a:ln>
        </p:spPr>
        <p:txBody>
          <a:bodyPr wrap="square" rtlCol="0">
            <a:spAutoFit/>
          </a:bodyPr>
          <a:lstStyle/>
          <a:p>
            <a:r>
              <a:rPr lang="es-ES" sz="1050" dirty="0">
                <a:solidFill>
                  <a:schemeClr val="accent1">
                    <a:lumMod val="75000"/>
                  </a:schemeClr>
                </a:solidFill>
              </a:rPr>
              <a:t>Dotadas de dispositivos para experimentar todas las situaciones presentes y futuras.</a:t>
            </a:r>
          </a:p>
        </p:txBody>
      </p:sp>
      <p:cxnSp>
        <p:nvCxnSpPr>
          <p:cNvPr id="34" name="Conector angular 33">
            <a:extLst>
              <a:ext uri="{FF2B5EF4-FFF2-40B4-BE49-F238E27FC236}">
                <a16:creationId xmlns:a16="http://schemas.microsoft.com/office/drawing/2014/main" id="{39DA1D91-7DA6-D84C-B017-3F4D20F8ACCE}"/>
              </a:ext>
            </a:extLst>
          </p:cNvPr>
          <p:cNvCxnSpPr>
            <a:cxnSpLocks/>
            <a:endCxn id="33" idx="1"/>
          </p:cNvCxnSpPr>
          <p:nvPr/>
        </p:nvCxnSpPr>
        <p:spPr>
          <a:xfrm>
            <a:off x="3848100" y="4630062"/>
            <a:ext cx="2705100" cy="433806"/>
          </a:xfrm>
          <a:prstGeom prst="bentConnector3">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6" name="CuadroTexto 35">
            <a:extLst>
              <a:ext uri="{FF2B5EF4-FFF2-40B4-BE49-F238E27FC236}">
                <a16:creationId xmlns:a16="http://schemas.microsoft.com/office/drawing/2014/main" id="{0112F7B0-2C30-9647-AB6B-3E2A908B083E}"/>
              </a:ext>
            </a:extLst>
          </p:cNvPr>
          <p:cNvSpPr txBox="1"/>
          <p:nvPr/>
        </p:nvSpPr>
        <p:spPr>
          <a:xfrm>
            <a:off x="6197600" y="5377978"/>
            <a:ext cx="3302000" cy="577081"/>
          </a:xfrm>
          <a:prstGeom prst="rect">
            <a:avLst/>
          </a:prstGeom>
          <a:noFill/>
          <a:ln>
            <a:solidFill>
              <a:schemeClr val="accent1"/>
            </a:solidFill>
          </a:ln>
        </p:spPr>
        <p:txBody>
          <a:bodyPr wrap="square" rtlCol="0">
            <a:spAutoFit/>
          </a:bodyPr>
          <a:lstStyle/>
          <a:p>
            <a:r>
              <a:rPr lang="es-ES" sz="1050" dirty="0">
                <a:solidFill>
                  <a:schemeClr val="accent1">
                    <a:lumMod val="75000"/>
                  </a:schemeClr>
                </a:solidFill>
              </a:rPr>
              <a:t>Establecer un modelo de datos para potenciar el desarrollo personal y profesional de los alumnos.</a:t>
            </a:r>
          </a:p>
        </p:txBody>
      </p:sp>
      <p:cxnSp>
        <p:nvCxnSpPr>
          <p:cNvPr id="37" name="Conector angular 36">
            <a:extLst>
              <a:ext uri="{FF2B5EF4-FFF2-40B4-BE49-F238E27FC236}">
                <a16:creationId xmlns:a16="http://schemas.microsoft.com/office/drawing/2014/main" id="{5C15A889-BE00-E542-AA33-BDE0A278E495}"/>
              </a:ext>
            </a:extLst>
          </p:cNvPr>
          <p:cNvCxnSpPr>
            <a:cxnSpLocks/>
            <a:endCxn id="36" idx="1"/>
          </p:cNvCxnSpPr>
          <p:nvPr/>
        </p:nvCxnSpPr>
        <p:spPr>
          <a:xfrm>
            <a:off x="3835400" y="4848424"/>
            <a:ext cx="2362200" cy="818095"/>
          </a:xfrm>
          <a:prstGeom prst="bentConnector3">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9" name="CuadroTexto 38">
            <a:extLst>
              <a:ext uri="{FF2B5EF4-FFF2-40B4-BE49-F238E27FC236}">
                <a16:creationId xmlns:a16="http://schemas.microsoft.com/office/drawing/2014/main" id="{344F13A7-BE18-B349-A0A1-0A605203BE79}"/>
              </a:ext>
            </a:extLst>
          </p:cNvPr>
          <p:cNvSpPr txBox="1"/>
          <p:nvPr/>
        </p:nvSpPr>
        <p:spPr>
          <a:xfrm>
            <a:off x="7569200" y="6034586"/>
            <a:ext cx="3302000" cy="738664"/>
          </a:xfrm>
          <a:prstGeom prst="rect">
            <a:avLst/>
          </a:prstGeom>
          <a:noFill/>
          <a:ln>
            <a:solidFill>
              <a:schemeClr val="accent1"/>
            </a:solidFill>
          </a:ln>
        </p:spPr>
        <p:txBody>
          <a:bodyPr wrap="square" rtlCol="0">
            <a:spAutoFit/>
          </a:bodyPr>
          <a:lstStyle/>
          <a:p>
            <a:r>
              <a:rPr lang="es-ES" sz="1050" dirty="0">
                <a:solidFill>
                  <a:schemeClr val="accent1">
                    <a:lumMod val="75000"/>
                  </a:schemeClr>
                </a:solidFill>
              </a:rPr>
              <a:t>Generar conciencia </a:t>
            </a:r>
            <a:r>
              <a:rPr lang="es-ES" sz="1050" dirty="0" smtClean="0">
                <a:solidFill>
                  <a:schemeClr val="accent1">
                    <a:lumMod val="75000"/>
                  </a:schemeClr>
                </a:solidFill>
              </a:rPr>
              <a:t>emprendedora  </a:t>
            </a:r>
            <a:r>
              <a:rPr lang="es-ES" sz="1050" dirty="0">
                <a:solidFill>
                  <a:schemeClr val="accent1">
                    <a:lumMod val="75000"/>
                  </a:schemeClr>
                </a:solidFill>
              </a:rPr>
              <a:t>y creativa a través de modelos de </a:t>
            </a:r>
            <a:r>
              <a:rPr lang="es-ES" sz="1050" dirty="0" err="1">
                <a:solidFill>
                  <a:schemeClr val="accent1">
                    <a:lumMod val="75000"/>
                  </a:schemeClr>
                </a:solidFill>
              </a:rPr>
              <a:t>gamificación</a:t>
            </a:r>
            <a:r>
              <a:rPr lang="es-ES" sz="1050" dirty="0">
                <a:solidFill>
                  <a:schemeClr val="accent1">
                    <a:lumMod val="75000"/>
                  </a:schemeClr>
                </a:solidFill>
              </a:rPr>
              <a:t> y metodologías de desarrollo de productos y servicios.</a:t>
            </a:r>
          </a:p>
        </p:txBody>
      </p:sp>
      <p:cxnSp>
        <p:nvCxnSpPr>
          <p:cNvPr id="40" name="Conector angular 39">
            <a:extLst>
              <a:ext uri="{FF2B5EF4-FFF2-40B4-BE49-F238E27FC236}">
                <a16:creationId xmlns:a16="http://schemas.microsoft.com/office/drawing/2014/main" id="{D30CFA85-A8EE-9A41-AB06-4A0CEB21AC54}"/>
              </a:ext>
            </a:extLst>
          </p:cNvPr>
          <p:cNvCxnSpPr>
            <a:cxnSpLocks/>
          </p:cNvCxnSpPr>
          <p:nvPr/>
        </p:nvCxnSpPr>
        <p:spPr>
          <a:xfrm>
            <a:off x="3835400" y="5244353"/>
            <a:ext cx="3746500" cy="1028771"/>
          </a:xfrm>
          <a:prstGeom prst="bentConnector3">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6" name="Marcador de número de diapositiva 1"/>
          <p:cNvSpPr>
            <a:spLocks noGrp="1"/>
          </p:cNvSpPr>
          <p:nvPr>
            <p:ph type="sldNum" sz="quarter" idx="12"/>
          </p:nvPr>
        </p:nvSpPr>
        <p:spPr>
          <a:xfrm>
            <a:off x="11777051" y="6458134"/>
            <a:ext cx="487378" cy="481343"/>
          </a:xfrm>
        </p:spPr>
        <p:txBody>
          <a:bodyPr/>
          <a:lstStyle/>
          <a:p>
            <a:r>
              <a:rPr lang="en-US" sz="2000" dirty="0" smtClean="0"/>
              <a:t>33</a:t>
            </a:r>
            <a:endParaRPr lang="en-US" sz="2000" dirty="0"/>
          </a:p>
        </p:txBody>
      </p:sp>
      <p:pic>
        <p:nvPicPr>
          <p:cNvPr id="23" name="Imagen 22">
            <a:extLst>
              <a:ext uri="{FF2B5EF4-FFF2-40B4-BE49-F238E27FC236}">
                <a16:creationId xmlns:a16="http://schemas.microsoft.com/office/drawing/2014/main" id="{007C7BC6-2E71-423C-8BF2-020B7B068479}"/>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r="78750"/>
          <a:stretch/>
        </p:blipFill>
        <p:spPr>
          <a:xfrm>
            <a:off x="84021" y="6079"/>
            <a:ext cx="3018327" cy="889181"/>
          </a:xfrm>
          <a:prstGeom prst="rect">
            <a:avLst/>
          </a:prstGeom>
        </p:spPr>
      </p:pic>
    </p:spTree>
    <p:extLst>
      <p:ext uri="{BB962C8B-B14F-4D97-AF65-F5344CB8AC3E}">
        <p14:creationId xmlns:p14="http://schemas.microsoft.com/office/powerpoint/2010/main" val="101347166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8" name="Imagen 17">
            <a:extLst>
              <a:ext uri="{FF2B5EF4-FFF2-40B4-BE49-F238E27FC236}">
                <a16:creationId xmlns:a16="http://schemas.microsoft.com/office/drawing/2014/main" id="{007C7BC6-2E71-423C-8BF2-020B7B06847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78750"/>
          <a:stretch/>
        </p:blipFill>
        <p:spPr>
          <a:xfrm>
            <a:off x="10132896" y="6240421"/>
            <a:ext cx="1568759" cy="462147"/>
          </a:xfrm>
          <a:prstGeom prst="rect">
            <a:avLst/>
          </a:prstGeom>
        </p:spPr>
      </p:pic>
      <p:sp>
        <p:nvSpPr>
          <p:cNvPr id="20" name="TextBox 4">
            <a:extLst>
              <a:ext uri="{FF2B5EF4-FFF2-40B4-BE49-F238E27FC236}">
                <a16:creationId xmlns:a16="http://schemas.microsoft.com/office/drawing/2014/main" id="{A52E7C22-A169-4D26-A72B-B720970E399B}"/>
              </a:ext>
            </a:extLst>
          </p:cNvPr>
          <p:cNvSpPr txBox="1"/>
          <p:nvPr/>
        </p:nvSpPr>
        <p:spPr>
          <a:xfrm>
            <a:off x="1625600" y="2108201"/>
            <a:ext cx="9642555" cy="2462597"/>
          </a:xfrm>
          <a:prstGeom prst="rect">
            <a:avLst/>
          </a:prstGeom>
        </p:spPr>
        <p:txBody>
          <a:bodyPr lIns="0" tIns="0" rIns="0" bIns="0" rtlCol="0" anchor="t">
            <a:spAutoFit/>
          </a:bodyPr>
          <a:lstStyle/>
          <a:p>
            <a:pPr algn="ctr"/>
            <a:r>
              <a:rPr lang="en-US" sz="5334" b="1" spc="234" dirty="0" err="1">
                <a:latin typeface="Montserrat Classic"/>
              </a:rPr>
              <a:t>Soluciones</a:t>
            </a:r>
            <a:r>
              <a:rPr lang="en-US" sz="5334" b="1" spc="234" dirty="0">
                <a:latin typeface="Montserrat Classic"/>
              </a:rPr>
              <a:t> y </a:t>
            </a:r>
            <a:r>
              <a:rPr lang="en-US" sz="5334" b="1" spc="234" dirty="0" err="1">
                <a:latin typeface="Montserrat Classic"/>
              </a:rPr>
              <a:t>experiencia</a:t>
            </a:r>
            <a:r>
              <a:rPr lang="en-US" sz="5334" b="1" spc="234" dirty="0">
                <a:latin typeface="Montserrat Classic"/>
              </a:rPr>
              <a:t> para </a:t>
            </a:r>
            <a:r>
              <a:rPr lang="en-US" sz="5334" b="1" spc="234" dirty="0" err="1">
                <a:latin typeface="Montserrat Classic"/>
              </a:rPr>
              <a:t>desarrollar</a:t>
            </a:r>
            <a:r>
              <a:rPr lang="en-US" sz="5334" b="1" spc="234" dirty="0">
                <a:latin typeface="Montserrat Classic"/>
              </a:rPr>
              <a:t> e </a:t>
            </a:r>
            <a:r>
              <a:rPr lang="en-US" sz="5334" b="1" spc="234" dirty="0" err="1">
                <a:latin typeface="Montserrat Classic"/>
              </a:rPr>
              <a:t>implantar</a:t>
            </a:r>
            <a:r>
              <a:rPr lang="en-US" sz="5334" b="1" spc="234" dirty="0">
                <a:latin typeface="Montserrat Classic"/>
              </a:rPr>
              <a:t> las aulas</a:t>
            </a:r>
          </a:p>
        </p:txBody>
      </p:sp>
      <p:sp>
        <p:nvSpPr>
          <p:cNvPr id="5" name="Marcador de número de diapositiva 1"/>
          <p:cNvSpPr>
            <a:spLocks noGrp="1"/>
          </p:cNvSpPr>
          <p:nvPr>
            <p:ph type="sldNum" sz="quarter" idx="12"/>
          </p:nvPr>
        </p:nvSpPr>
        <p:spPr>
          <a:xfrm>
            <a:off x="11777051" y="6458134"/>
            <a:ext cx="487378" cy="481343"/>
          </a:xfrm>
        </p:spPr>
        <p:txBody>
          <a:bodyPr/>
          <a:lstStyle/>
          <a:p>
            <a:r>
              <a:rPr lang="en-US" sz="2000" dirty="0" smtClean="0"/>
              <a:t>34</a:t>
            </a:r>
            <a:endParaRPr lang="en-US" sz="2000" dirty="0"/>
          </a:p>
        </p:txBody>
      </p:sp>
    </p:spTree>
    <p:extLst>
      <p:ext uri="{BB962C8B-B14F-4D97-AF65-F5344CB8AC3E}">
        <p14:creationId xmlns:p14="http://schemas.microsoft.com/office/powerpoint/2010/main" val="370892674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4" name="Rectángulo 3"/>
          <p:cNvSpPr/>
          <p:nvPr/>
        </p:nvSpPr>
        <p:spPr>
          <a:xfrm>
            <a:off x="3760264" y="770166"/>
            <a:ext cx="6091948" cy="1200329"/>
          </a:xfrm>
          <a:prstGeom prst="rect">
            <a:avLst/>
          </a:prstGeom>
        </p:spPr>
        <p:txBody>
          <a:bodyPr wrap="square">
            <a:spAutoFit/>
          </a:bodyPr>
          <a:lstStyle/>
          <a:p>
            <a:pPr algn="ctr"/>
            <a:r>
              <a:rPr lang="es-ES" sz="3600" b="1" dirty="0">
                <a:solidFill>
                  <a:schemeClr val="bg1"/>
                </a:solidFill>
              </a:rPr>
              <a:t>programa impulsado por HP y Microsoft </a:t>
            </a:r>
            <a:endParaRPr lang="es-ES" sz="3600" dirty="0">
              <a:solidFill>
                <a:schemeClr val="bg1"/>
              </a:solidFill>
            </a:endParaRPr>
          </a:p>
        </p:txBody>
      </p:sp>
      <p:pic>
        <p:nvPicPr>
          <p:cNvPr id="5" name="Imagen 4" descr="Icono&#10;&#10;Descripción generada automáticamente">
            <a:extLst>
              <a:ext uri="{FF2B5EF4-FFF2-40B4-BE49-F238E27FC236}">
                <a16:creationId xmlns:a16="http://schemas.microsoft.com/office/drawing/2014/main" id="{FB9637C6-6C2B-6547-A21D-38825918EC1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41908" y="2109458"/>
            <a:ext cx="960748" cy="887964"/>
          </a:xfrm>
          <a:prstGeom prst="rect">
            <a:avLst/>
          </a:prstGeom>
        </p:spPr>
      </p:pic>
      <p:sp>
        <p:nvSpPr>
          <p:cNvPr id="6" name="Marcador de número de diapositiva 1"/>
          <p:cNvSpPr>
            <a:spLocks noGrp="1"/>
          </p:cNvSpPr>
          <p:nvPr>
            <p:ph type="sldNum" sz="quarter" idx="12"/>
          </p:nvPr>
        </p:nvSpPr>
        <p:spPr>
          <a:xfrm>
            <a:off x="11777051" y="6458134"/>
            <a:ext cx="487378" cy="481343"/>
          </a:xfrm>
        </p:spPr>
        <p:txBody>
          <a:bodyPr/>
          <a:lstStyle/>
          <a:p>
            <a:r>
              <a:rPr lang="en-US" sz="2000" dirty="0" smtClean="0"/>
              <a:t>35</a:t>
            </a:r>
            <a:endParaRPr lang="en-US" sz="2000" dirty="0"/>
          </a:p>
        </p:txBody>
      </p:sp>
      <p:pic>
        <p:nvPicPr>
          <p:cNvPr id="7" name="Imagen 6"/>
          <p:cNvPicPr>
            <a:picLocks noChangeAspect="1"/>
          </p:cNvPicPr>
          <p:nvPr/>
        </p:nvPicPr>
        <p:blipFill>
          <a:blip r:embed="rId3"/>
          <a:stretch>
            <a:fillRect/>
          </a:stretch>
        </p:blipFill>
        <p:spPr>
          <a:xfrm>
            <a:off x="3947688" y="2222767"/>
            <a:ext cx="6324600" cy="2828925"/>
          </a:xfrm>
          <a:prstGeom prst="rect">
            <a:avLst/>
          </a:prstGeom>
        </p:spPr>
      </p:pic>
    </p:spTree>
    <p:extLst>
      <p:ext uri="{BB962C8B-B14F-4D97-AF65-F5344CB8AC3E}">
        <p14:creationId xmlns:p14="http://schemas.microsoft.com/office/powerpoint/2010/main" val="384737758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FB1094BC-49D1-4563-BADC-1481F6C4CC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593514"/>
            <a:ext cx="12192000" cy="4309601"/>
          </a:xfrm>
          <a:prstGeom prst="rect">
            <a:avLst/>
          </a:prstGeom>
        </p:spPr>
      </p:pic>
      <p:pic>
        <p:nvPicPr>
          <p:cNvPr id="4" name="Imagen 3" descr="Icono&#10;&#10;Descripción generada automáticamente">
            <a:extLst>
              <a:ext uri="{FF2B5EF4-FFF2-40B4-BE49-F238E27FC236}">
                <a16:creationId xmlns:a16="http://schemas.microsoft.com/office/drawing/2014/main" id="{FB9637C6-6C2B-6547-A21D-38825918EC1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5600" y="330200"/>
            <a:ext cx="989351" cy="914400"/>
          </a:xfrm>
          <a:prstGeom prst="rect">
            <a:avLst/>
          </a:prstGeom>
        </p:spPr>
      </p:pic>
      <p:sp>
        <p:nvSpPr>
          <p:cNvPr id="7" name="CuadroTexto 6">
            <a:extLst>
              <a:ext uri="{FF2B5EF4-FFF2-40B4-BE49-F238E27FC236}">
                <a16:creationId xmlns:a16="http://schemas.microsoft.com/office/drawing/2014/main" id="{88CCC03E-CCDF-F449-9550-DABAF80883A5}"/>
              </a:ext>
            </a:extLst>
          </p:cNvPr>
          <p:cNvSpPr txBox="1"/>
          <p:nvPr/>
        </p:nvSpPr>
        <p:spPr>
          <a:xfrm>
            <a:off x="1344951" y="566579"/>
            <a:ext cx="7315200" cy="461665"/>
          </a:xfrm>
          <a:prstGeom prst="rect">
            <a:avLst/>
          </a:prstGeom>
          <a:noFill/>
        </p:spPr>
        <p:txBody>
          <a:bodyPr wrap="square" rtlCol="0">
            <a:spAutoFit/>
          </a:bodyPr>
          <a:lstStyle/>
          <a:p>
            <a:r>
              <a:rPr lang="es-ES" sz="1200" b="1" dirty="0"/>
              <a:t>Concepto reinventar las aulas, es un programa impulsado por HP y Microsoft para fomentar el desarrollo de las competencias STEAM e impulsar el cambio metodológico en el aprendizaje </a:t>
            </a:r>
          </a:p>
        </p:txBody>
      </p:sp>
      <p:sp>
        <p:nvSpPr>
          <p:cNvPr id="6" name="Marcador de número de diapositiva 1"/>
          <p:cNvSpPr>
            <a:spLocks noGrp="1"/>
          </p:cNvSpPr>
          <p:nvPr>
            <p:ph type="sldNum" sz="quarter" idx="12"/>
          </p:nvPr>
        </p:nvSpPr>
        <p:spPr>
          <a:xfrm>
            <a:off x="11777051" y="6458134"/>
            <a:ext cx="487378" cy="481343"/>
          </a:xfrm>
        </p:spPr>
        <p:txBody>
          <a:bodyPr/>
          <a:lstStyle/>
          <a:p>
            <a:r>
              <a:rPr lang="en-US" sz="2000" dirty="0" smtClean="0"/>
              <a:t>36</a:t>
            </a:r>
            <a:endParaRPr lang="en-US" sz="2000" dirty="0"/>
          </a:p>
        </p:txBody>
      </p:sp>
    </p:spTree>
    <p:extLst>
      <p:ext uri="{BB962C8B-B14F-4D97-AF65-F5344CB8AC3E}">
        <p14:creationId xmlns:p14="http://schemas.microsoft.com/office/powerpoint/2010/main" val="323390867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0" name="Rectángulo 12">
            <a:extLst>
              <a:ext uri="{FF2B5EF4-FFF2-40B4-BE49-F238E27FC236}">
                <a16:creationId xmlns:a16="http://schemas.microsoft.com/office/drawing/2014/main" id="{C29648D3-938B-4D14-B038-66071DA833BE}"/>
              </a:ext>
            </a:extLst>
          </p:cNvPr>
          <p:cNvSpPr/>
          <p:nvPr/>
        </p:nvSpPr>
        <p:spPr>
          <a:xfrm>
            <a:off x="2847836" y="3606798"/>
            <a:ext cx="7425355" cy="247650"/>
          </a:xfrm>
          <a:prstGeom prst="rect">
            <a:avLst/>
          </a:prstGeom>
          <a:pattFill prst="wdUpDiag">
            <a:fgClr>
              <a:schemeClr val="tx1">
                <a:lumMod val="50000"/>
                <a:lumOff val="5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1" name="Rectángulo 13">
            <a:extLst>
              <a:ext uri="{FF2B5EF4-FFF2-40B4-BE49-F238E27FC236}">
                <a16:creationId xmlns:a16="http://schemas.microsoft.com/office/drawing/2014/main" id="{0CD79AF6-B1F2-4C37-BDA8-EE250DC7A55D}"/>
              </a:ext>
            </a:extLst>
          </p:cNvPr>
          <p:cNvSpPr/>
          <p:nvPr/>
        </p:nvSpPr>
        <p:spPr>
          <a:xfrm>
            <a:off x="3376974" y="1609268"/>
            <a:ext cx="2835628" cy="4715869"/>
          </a:xfrm>
          <a:prstGeom prst="rect">
            <a:avLst/>
          </a:prstGeom>
          <a:solidFill>
            <a:srgbClr val="00A7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2" name="Rectángulo 14">
            <a:extLst>
              <a:ext uri="{FF2B5EF4-FFF2-40B4-BE49-F238E27FC236}">
                <a16:creationId xmlns:a16="http://schemas.microsoft.com/office/drawing/2014/main" id="{A7785A2F-592A-4FD0-9226-FED2BCE43E0C}"/>
              </a:ext>
            </a:extLst>
          </p:cNvPr>
          <p:cNvSpPr/>
          <p:nvPr/>
        </p:nvSpPr>
        <p:spPr>
          <a:xfrm>
            <a:off x="6471948" y="1609267"/>
            <a:ext cx="5322356" cy="4789684"/>
          </a:xfrm>
          <a:prstGeom prst="rect">
            <a:avLst/>
          </a:prstGeom>
          <a:solidFill>
            <a:srgbClr val="05C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3" name="Rectángulo 15">
            <a:extLst>
              <a:ext uri="{FF2B5EF4-FFF2-40B4-BE49-F238E27FC236}">
                <a16:creationId xmlns:a16="http://schemas.microsoft.com/office/drawing/2014/main" id="{23B3FC71-88CC-4A0D-9A4D-FC0BB98BBC52}"/>
              </a:ext>
            </a:extLst>
          </p:cNvPr>
          <p:cNvSpPr/>
          <p:nvPr/>
        </p:nvSpPr>
        <p:spPr>
          <a:xfrm>
            <a:off x="315762" y="1609267"/>
            <a:ext cx="2782081" cy="4382841"/>
          </a:xfrm>
          <a:prstGeom prst="rect">
            <a:avLst/>
          </a:prstGeom>
          <a:solidFill>
            <a:srgbClr val="F35F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4" name="Rectángulo 17">
            <a:extLst>
              <a:ext uri="{FF2B5EF4-FFF2-40B4-BE49-F238E27FC236}">
                <a16:creationId xmlns:a16="http://schemas.microsoft.com/office/drawing/2014/main" id="{F9D154E8-9BC1-47DD-ACDF-1765AAE616BA}"/>
              </a:ext>
            </a:extLst>
          </p:cNvPr>
          <p:cNvSpPr/>
          <p:nvPr/>
        </p:nvSpPr>
        <p:spPr>
          <a:xfrm>
            <a:off x="705688" y="1577376"/>
            <a:ext cx="1946875" cy="415498"/>
          </a:xfrm>
          <a:prstGeom prst="rect">
            <a:avLst/>
          </a:prstGeom>
        </p:spPr>
        <p:txBody>
          <a:bodyPr wrap="square">
            <a:spAutoFit/>
          </a:bodyPr>
          <a:lstStyle/>
          <a:p>
            <a:pPr algn="ctr">
              <a:lnSpc>
                <a:spcPct val="150000"/>
              </a:lnSpc>
            </a:pPr>
            <a:r>
              <a:rPr lang="es-ES" sz="1400" b="1" dirty="0">
                <a:solidFill>
                  <a:schemeClr val="bg1"/>
                </a:solidFill>
                <a:latin typeface="Trebuchet MS" panose="020B0603020202020204" pitchFamily="34" charset="0"/>
                <a:ea typeface="Roboto" panose="02000000000000000000" pitchFamily="2" charset="0"/>
                <a:cs typeface="Poppins" panose="00000500000000000000" pitchFamily="50" charset="0"/>
              </a:rPr>
              <a:t>Diseño del Espacio</a:t>
            </a:r>
          </a:p>
        </p:txBody>
      </p:sp>
      <p:sp>
        <p:nvSpPr>
          <p:cNvPr id="25" name="Rectángulo 20">
            <a:extLst>
              <a:ext uri="{FF2B5EF4-FFF2-40B4-BE49-F238E27FC236}">
                <a16:creationId xmlns:a16="http://schemas.microsoft.com/office/drawing/2014/main" id="{B3288F00-727E-4B2C-AE9B-A4C57F335B04}"/>
              </a:ext>
            </a:extLst>
          </p:cNvPr>
          <p:cNvSpPr/>
          <p:nvPr/>
        </p:nvSpPr>
        <p:spPr>
          <a:xfrm>
            <a:off x="806647" y="3322705"/>
            <a:ext cx="2161703" cy="415498"/>
          </a:xfrm>
          <a:prstGeom prst="rect">
            <a:avLst/>
          </a:prstGeom>
        </p:spPr>
        <p:txBody>
          <a:bodyPr wrap="square">
            <a:spAutoFit/>
          </a:bodyPr>
          <a:lstStyle/>
          <a:p>
            <a:pPr>
              <a:lnSpc>
                <a:spcPct val="150000"/>
              </a:lnSpc>
            </a:pPr>
            <a:r>
              <a:rPr lang="es-ES" sz="1400" b="1" dirty="0">
                <a:solidFill>
                  <a:schemeClr val="bg1"/>
                </a:solidFill>
                <a:latin typeface="Trebuchet MS" panose="020B0603020202020204" pitchFamily="34" charset="0"/>
                <a:ea typeface="Roboto" panose="02000000000000000000" pitchFamily="2" charset="0"/>
                <a:cs typeface="Poppins" panose="00000500000000000000" pitchFamily="50" charset="0"/>
              </a:rPr>
              <a:t>Análisis Tecnológico</a:t>
            </a:r>
          </a:p>
        </p:txBody>
      </p:sp>
      <p:sp>
        <p:nvSpPr>
          <p:cNvPr id="26" name="Rectángulo 29">
            <a:extLst>
              <a:ext uri="{FF2B5EF4-FFF2-40B4-BE49-F238E27FC236}">
                <a16:creationId xmlns:a16="http://schemas.microsoft.com/office/drawing/2014/main" id="{3DDE37B4-B3AF-40A3-97BC-7AA93F04F69D}"/>
              </a:ext>
            </a:extLst>
          </p:cNvPr>
          <p:cNvSpPr/>
          <p:nvPr/>
        </p:nvSpPr>
        <p:spPr>
          <a:xfrm>
            <a:off x="309435" y="1194114"/>
            <a:ext cx="2782080" cy="420628"/>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latin typeface="Trebuchet MS" panose="020B0603020202020204" pitchFamily="34" charset="0"/>
              </a:rPr>
              <a:t>FASE 1* (Planos)</a:t>
            </a:r>
          </a:p>
        </p:txBody>
      </p:sp>
      <p:sp>
        <p:nvSpPr>
          <p:cNvPr id="27" name="Rectángulo 30">
            <a:extLst>
              <a:ext uri="{FF2B5EF4-FFF2-40B4-BE49-F238E27FC236}">
                <a16:creationId xmlns:a16="http://schemas.microsoft.com/office/drawing/2014/main" id="{D3FE64B2-DD45-489F-A2C7-AD2A014A60AA}"/>
              </a:ext>
            </a:extLst>
          </p:cNvPr>
          <p:cNvSpPr/>
          <p:nvPr/>
        </p:nvSpPr>
        <p:spPr>
          <a:xfrm>
            <a:off x="3371648" y="1196779"/>
            <a:ext cx="2832268" cy="41248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latin typeface="Trebuchet MS" panose="020B0603020202020204" pitchFamily="34" charset="0"/>
              </a:rPr>
              <a:t>FASE 2 – Implantación</a:t>
            </a:r>
          </a:p>
        </p:txBody>
      </p:sp>
      <p:sp>
        <p:nvSpPr>
          <p:cNvPr id="28" name="Rectángulo 41">
            <a:extLst>
              <a:ext uri="{FF2B5EF4-FFF2-40B4-BE49-F238E27FC236}">
                <a16:creationId xmlns:a16="http://schemas.microsoft.com/office/drawing/2014/main" id="{BBA8431B-A539-4E5E-90B2-5352FC1426DF}"/>
              </a:ext>
            </a:extLst>
          </p:cNvPr>
          <p:cNvSpPr/>
          <p:nvPr/>
        </p:nvSpPr>
        <p:spPr>
          <a:xfrm>
            <a:off x="6471945" y="1215595"/>
            <a:ext cx="5322356" cy="420628"/>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latin typeface="Trebuchet MS" panose="020B0603020202020204" pitchFamily="34" charset="0"/>
              </a:rPr>
              <a:t>TIMING – GESTION INTEGRAL DEL PROYECTO</a:t>
            </a:r>
          </a:p>
        </p:txBody>
      </p:sp>
      <p:sp>
        <p:nvSpPr>
          <p:cNvPr id="29" name="CuadroTexto 62">
            <a:extLst>
              <a:ext uri="{FF2B5EF4-FFF2-40B4-BE49-F238E27FC236}">
                <a16:creationId xmlns:a16="http://schemas.microsoft.com/office/drawing/2014/main" id="{83810374-6C90-4FAE-BAE8-1BE0C774965E}"/>
              </a:ext>
            </a:extLst>
          </p:cNvPr>
          <p:cNvSpPr txBox="1"/>
          <p:nvPr/>
        </p:nvSpPr>
        <p:spPr>
          <a:xfrm>
            <a:off x="8406986" y="1774834"/>
            <a:ext cx="1452275" cy="369332"/>
          </a:xfrm>
          <a:prstGeom prst="rect">
            <a:avLst/>
          </a:prstGeom>
          <a:noFill/>
        </p:spPr>
        <p:txBody>
          <a:bodyPr wrap="square" rtlCol="0">
            <a:spAutoFit/>
          </a:bodyPr>
          <a:lstStyle/>
          <a:p>
            <a:pPr algn="ctr"/>
            <a:r>
              <a:rPr lang="es-ES" dirty="0">
                <a:solidFill>
                  <a:schemeClr val="bg1"/>
                </a:solidFill>
                <a:latin typeface="Trebuchet MS" panose="020B0603020202020204" pitchFamily="34" charset="0"/>
              </a:rPr>
              <a:t>FASE 1</a:t>
            </a:r>
          </a:p>
        </p:txBody>
      </p:sp>
      <p:cxnSp>
        <p:nvCxnSpPr>
          <p:cNvPr id="30" name="Conector recto 64">
            <a:extLst>
              <a:ext uri="{FF2B5EF4-FFF2-40B4-BE49-F238E27FC236}">
                <a16:creationId xmlns:a16="http://schemas.microsoft.com/office/drawing/2014/main" id="{40B7AB24-1598-4EF0-A7FF-6523F3750C64}"/>
              </a:ext>
            </a:extLst>
          </p:cNvPr>
          <p:cNvCxnSpPr/>
          <p:nvPr/>
        </p:nvCxnSpPr>
        <p:spPr>
          <a:xfrm>
            <a:off x="6817344" y="2156619"/>
            <a:ext cx="4608000"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1" name="CuadroTexto 65">
            <a:extLst>
              <a:ext uri="{FF2B5EF4-FFF2-40B4-BE49-F238E27FC236}">
                <a16:creationId xmlns:a16="http://schemas.microsoft.com/office/drawing/2014/main" id="{FCCF0F05-0280-4960-B4D6-D10559CEA2FF}"/>
              </a:ext>
            </a:extLst>
          </p:cNvPr>
          <p:cNvSpPr txBox="1"/>
          <p:nvPr/>
        </p:nvSpPr>
        <p:spPr>
          <a:xfrm>
            <a:off x="8407723" y="3410913"/>
            <a:ext cx="1452275" cy="369332"/>
          </a:xfrm>
          <a:prstGeom prst="rect">
            <a:avLst/>
          </a:prstGeom>
          <a:noFill/>
        </p:spPr>
        <p:txBody>
          <a:bodyPr wrap="square" rtlCol="0">
            <a:spAutoFit/>
          </a:bodyPr>
          <a:lstStyle/>
          <a:p>
            <a:pPr algn="ctr"/>
            <a:r>
              <a:rPr lang="es-ES" dirty="0">
                <a:solidFill>
                  <a:schemeClr val="bg1"/>
                </a:solidFill>
                <a:latin typeface="Trebuchet MS" panose="020B0603020202020204" pitchFamily="34" charset="0"/>
              </a:rPr>
              <a:t>FASE 2</a:t>
            </a:r>
          </a:p>
        </p:txBody>
      </p:sp>
      <p:cxnSp>
        <p:nvCxnSpPr>
          <p:cNvPr id="32" name="Conector recto 66">
            <a:extLst>
              <a:ext uri="{FF2B5EF4-FFF2-40B4-BE49-F238E27FC236}">
                <a16:creationId xmlns:a16="http://schemas.microsoft.com/office/drawing/2014/main" id="{52C80E94-BF91-46DD-A81C-84A67114102A}"/>
              </a:ext>
            </a:extLst>
          </p:cNvPr>
          <p:cNvCxnSpPr/>
          <p:nvPr/>
        </p:nvCxnSpPr>
        <p:spPr>
          <a:xfrm>
            <a:off x="6818081" y="3792698"/>
            <a:ext cx="4608000"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3" name="Rectángulo 67">
            <a:extLst>
              <a:ext uri="{FF2B5EF4-FFF2-40B4-BE49-F238E27FC236}">
                <a16:creationId xmlns:a16="http://schemas.microsoft.com/office/drawing/2014/main" id="{E2090343-F8D0-4DD3-8AB1-1F8EE466D43D}"/>
              </a:ext>
            </a:extLst>
          </p:cNvPr>
          <p:cNvSpPr/>
          <p:nvPr/>
        </p:nvSpPr>
        <p:spPr>
          <a:xfrm>
            <a:off x="6817344" y="2218396"/>
            <a:ext cx="1440000" cy="60944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latin typeface="Trebuchet MS" panose="020B0603020202020204" pitchFamily="34" charset="0"/>
              </a:rPr>
              <a:t>Diseño</a:t>
            </a:r>
          </a:p>
        </p:txBody>
      </p:sp>
      <p:sp>
        <p:nvSpPr>
          <p:cNvPr id="34" name="Rectángulo 68">
            <a:extLst>
              <a:ext uri="{FF2B5EF4-FFF2-40B4-BE49-F238E27FC236}">
                <a16:creationId xmlns:a16="http://schemas.microsoft.com/office/drawing/2014/main" id="{66260DED-7CDA-415B-B975-22CDC9A78711}"/>
              </a:ext>
            </a:extLst>
          </p:cNvPr>
          <p:cNvSpPr/>
          <p:nvPr/>
        </p:nvSpPr>
        <p:spPr>
          <a:xfrm>
            <a:off x="8394453" y="2219599"/>
            <a:ext cx="1440000" cy="60824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latin typeface="Trebuchet MS" panose="020B0603020202020204" pitchFamily="34" charset="0"/>
              </a:rPr>
              <a:t>Análisis Tecnológico</a:t>
            </a:r>
          </a:p>
        </p:txBody>
      </p:sp>
      <p:sp>
        <p:nvSpPr>
          <p:cNvPr id="35" name="Rectángulo 69">
            <a:extLst>
              <a:ext uri="{FF2B5EF4-FFF2-40B4-BE49-F238E27FC236}">
                <a16:creationId xmlns:a16="http://schemas.microsoft.com/office/drawing/2014/main" id="{280FA8A9-3328-42EE-AC68-C2F77C7DCEE6}"/>
              </a:ext>
            </a:extLst>
          </p:cNvPr>
          <p:cNvSpPr/>
          <p:nvPr/>
        </p:nvSpPr>
        <p:spPr>
          <a:xfrm>
            <a:off x="9989120" y="2210550"/>
            <a:ext cx="1440000" cy="59918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latin typeface="Trebuchet MS" panose="020B0603020202020204" pitchFamily="34" charset="0"/>
              </a:rPr>
              <a:t>Análisis</a:t>
            </a:r>
          </a:p>
          <a:p>
            <a:pPr algn="ctr"/>
            <a:r>
              <a:rPr lang="es-ES" dirty="0">
                <a:latin typeface="Trebuchet MS" panose="020B0603020202020204" pitchFamily="34" charset="0"/>
              </a:rPr>
              <a:t>Pedagógico</a:t>
            </a:r>
          </a:p>
        </p:txBody>
      </p:sp>
      <p:sp>
        <p:nvSpPr>
          <p:cNvPr id="36" name="Rectángulo 70">
            <a:extLst>
              <a:ext uri="{FF2B5EF4-FFF2-40B4-BE49-F238E27FC236}">
                <a16:creationId xmlns:a16="http://schemas.microsoft.com/office/drawing/2014/main" id="{D85B9871-47CE-46BE-9C46-95ABAA2F7D06}"/>
              </a:ext>
            </a:extLst>
          </p:cNvPr>
          <p:cNvSpPr/>
          <p:nvPr/>
        </p:nvSpPr>
        <p:spPr>
          <a:xfrm>
            <a:off x="6817344" y="3856726"/>
            <a:ext cx="1440000" cy="70680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Trebuchet MS" panose="020B0603020202020204" pitchFamily="34" charset="0"/>
              </a:rPr>
              <a:t>A</a:t>
            </a:r>
            <a:r>
              <a:rPr lang="es-ES" dirty="0">
                <a:latin typeface="Trebuchet MS" panose="020B0603020202020204" pitchFamily="34" charset="0"/>
              </a:rPr>
              <a:t>ula RTC montada</a:t>
            </a:r>
          </a:p>
        </p:txBody>
      </p:sp>
      <p:sp>
        <p:nvSpPr>
          <p:cNvPr id="37" name="Rectángulo 72">
            <a:extLst>
              <a:ext uri="{FF2B5EF4-FFF2-40B4-BE49-F238E27FC236}">
                <a16:creationId xmlns:a16="http://schemas.microsoft.com/office/drawing/2014/main" id="{298981F4-D595-470B-B82F-6DAEFB7C74F5}"/>
              </a:ext>
            </a:extLst>
          </p:cNvPr>
          <p:cNvSpPr/>
          <p:nvPr/>
        </p:nvSpPr>
        <p:spPr>
          <a:xfrm>
            <a:off x="8394454" y="3848880"/>
            <a:ext cx="3034667" cy="420254"/>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latin typeface="Trebuchet MS" panose="020B0603020202020204" pitchFamily="34" charset="0"/>
              </a:rPr>
              <a:t>Formación</a:t>
            </a:r>
          </a:p>
        </p:txBody>
      </p:sp>
      <p:sp>
        <p:nvSpPr>
          <p:cNvPr id="38" name="Rectángulo: esquinas redondeadas 73">
            <a:extLst>
              <a:ext uri="{FF2B5EF4-FFF2-40B4-BE49-F238E27FC236}">
                <a16:creationId xmlns:a16="http://schemas.microsoft.com/office/drawing/2014/main" id="{3BA1BF4C-F3A4-47AE-BDDF-52583CC52C7C}"/>
              </a:ext>
            </a:extLst>
          </p:cNvPr>
          <p:cNvSpPr/>
          <p:nvPr/>
        </p:nvSpPr>
        <p:spPr>
          <a:xfrm>
            <a:off x="6817343" y="2915076"/>
            <a:ext cx="4615665" cy="508180"/>
          </a:xfrm>
          <a:prstGeom prst="roundRect">
            <a:avLst>
              <a:gd name="adj" fmla="val 0"/>
            </a:avLst>
          </a:prstGeom>
          <a:solidFill>
            <a:srgbClr val="E91F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latin typeface="Trebuchet MS" panose="020B0603020202020204" pitchFamily="34" charset="0"/>
                <a:ea typeface="Roboto" panose="02000000000000000000" pitchFamily="2" charset="0"/>
                <a:cs typeface="Poppins" panose="00000500000000000000" pitchFamily="50" charset="0"/>
              </a:rPr>
              <a:t>1 Mes</a:t>
            </a:r>
          </a:p>
        </p:txBody>
      </p:sp>
      <p:sp>
        <p:nvSpPr>
          <p:cNvPr id="39" name="Rectángulo: esquinas redondeadas 90">
            <a:extLst>
              <a:ext uri="{FF2B5EF4-FFF2-40B4-BE49-F238E27FC236}">
                <a16:creationId xmlns:a16="http://schemas.microsoft.com/office/drawing/2014/main" id="{5CA417F7-51F0-46E1-948E-B5B9C5B73BB3}"/>
              </a:ext>
            </a:extLst>
          </p:cNvPr>
          <p:cNvSpPr/>
          <p:nvPr/>
        </p:nvSpPr>
        <p:spPr>
          <a:xfrm>
            <a:off x="8406985" y="4332319"/>
            <a:ext cx="1449491" cy="252477"/>
          </a:xfrm>
          <a:prstGeom prst="roundRect">
            <a:avLst>
              <a:gd name="adj" fmla="val 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Trebuchet MS" panose="020B0603020202020204" pitchFamily="34" charset="0"/>
                <a:ea typeface="Roboto" panose="02000000000000000000" pitchFamily="2" charset="0"/>
                <a:cs typeface="Poppins" panose="00000500000000000000" pitchFamily="50" charset="0"/>
              </a:rPr>
              <a:t>A</a:t>
            </a:r>
            <a:r>
              <a:rPr lang="es-ES" sz="1400" dirty="0">
                <a:latin typeface="Trebuchet MS" panose="020B0603020202020204" pitchFamily="34" charset="0"/>
                <a:ea typeface="Roboto" panose="02000000000000000000" pitchFamily="2" charset="0"/>
                <a:cs typeface="Poppins" panose="00000500000000000000" pitchFamily="50" charset="0"/>
              </a:rPr>
              <a:t>ño 1</a:t>
            </a:r>
          </a:p>
        </p:txBody>
      </p:sp>
      <p:sp>
        <p:nvSpPr>
          <p:cNvPr id="40" name="Rectángulo 26">
            <a:extLst>
              <a:ext uri="{FF2B5EF4-FFF2-40B4-BE49-F238E27FC236}">
                <a16:creationId xmlns:a16="http://schemas.microsoft.com/office/drawing/2014/main" id="{E7F5FBBC-9027-4615-B6B1-88E7B549558D}"/>
              </a:ext>
            </a:extLst>
          </p:cNvPr>
          <p:cNvSpPr/>
          <p:nvPr/>
        </p:nvSpPr>
        <p:spPr>
          <a:xfrm>
            <a:off x="831908" y="1910461"/>
            <a:ext cx="2247782" cy="1015663"/>
          </a:xfrm>
          <a:prstGeom prst="rect">
            <a:avLst/>
          </a:prstGeom>
        </p:spPr>
        <p:txBody>
          <a:bodyPr wrap="square">
            <a:spAutoFit/>
          </a:bodyPr>
          <a:lstStyle/>
          <a:p>
            <a:r>
              <a:rPr lang="es-ES" sz="1000" dirty="0">
                <a:solidFill>
                  <a:schemeClr val="bg1"/>
                </a:solidFill>
                <a:latin typeface="Trebuchet MS" panose="020B0603020202020204" pitchFamily="34" charset="0"/>
                <a:ea typeface="Roboto" panose="02000000000000000000" pitchFamily="2" charset="0"/>
                <a:cs typeface="Poppins" panose="00000500000000000000" pitchFamily="50" charset="0"/>
              </a:rPr>
              <a:t>Estudio del espacio a intervenir, propuesta de mobiliario por zonas de trabajo y diseño Wall-Art. Incluye recomendaciones en acústica e iluminación. Se entregan 3 Infografías en 3D.</a:t>
            </a:r>
          </a:p>
        </p:txBody>
      </p:sp>
      <p:sp>
        <p:nvSpPr>
          <p:cNvPr id="41" name="Rectángulo 20">
            <a:extLst>
              <a:ext uri="{FF2B5EF4-FFF2-40B4-BE49-F238E27FC236}">
                <a16:creationId xmlns:a16="http://schemas.microsoft.com/office/drawing/2014/main" id="{186C720B-7CA1-4BE5-A7EC-FA9921FD910C}"/>
              </a:ext>
            </a:extLst>
          </p:cNvPr>
          <p:cNvSpPr/>
          <p:nvPr/>
        </p:nvSpPr>
        <p:spPr>
          <a:xfrm>
            <a:off x="827925" y="4604649"/>
            <a:ext cx="2161703" cy="415498"/>
          </a:xfrm>
          <a:prstGeom prst="rect">
            <a:avLst/>
          </a:prstGeom>
        </p:spPr>
        <p:txBody>
          <a:bodyPr wrap="square">
            <a:spAutoFit/>
          </a:bodyPr>
          <a:lstStyle/>
          <a:p>
            <a:pPr>
              <a:lnSpc>
                <a:spcPct val="150000"/>
              </a:lnSpc>
            </a:pPr>
            <a:r>
              <a:rPr lang="es-ES" sz="1400" b="1" dirty="0">
                <a:solidFill>
                  <a:schemeClr val="bg1"/>
                </a:solidFill>
                <a:latin typeface="Trebuchet MS" panose="020B0603020202020204" pitchFamily="34" charset="0"/>
                <a:ea typeface="Roboto" panose="02000000000000000000" pitchFamily="2" charset="0"/>
                <a:cs typeface="Poppins" panose="00000500000000000000" pitchFamily="50" charset="0"/>
              </a:rPr>
              <a:t>Análisis Pedagógico</a:t>
            </a:r>
          </a:p>
        </p:txBody>
      </p:sp>
      <p:sp>
        <p:nvSpPr>
          <p:cNvPr id="42" name="Rectángulo 29">
            <a:extLst>
              <a:ext uri="{FF2B5EF4-FFF2-40B4-BE49-F238E27FC236}">
                <a16:creationId xmlns:a16="http://schemas.microsoft.com/office/drawing/2014/main" id="{1C22A7EB-2E25-4D21-92B3-D12B8B4693DA}"/>
              </a:ext>
            </a:extLst>
          </p:cNvPr>
          <p:cNvSpPr/>
          <p:nvPr/>
        </p:nvSpPr>
        <p:spPr>
          <a:xfrm>
            <a:off x="309436" y="5992108"/>
            <a:ext cx="2793734" cy="420628"/>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latin typeface="Trebuchet MS" panose="020B0603020202020204" pitchFamily="34" charset="0"/>
              </a:rPr>
              <a:t>Coste: TBD</a:t>
            </a:r>
          </a:p>
        </p:txBody>
      </p:sp>
      <p:sp>
        <p:nvSpPr>
          <p:cNvPr id="43" name="Rectángulo 29">
            <a:extLst>
              <a:ext uri="{FF2B5EF4-FFF2-40B4-BE49-F238E27FC236}">
                <a16:creationId xmlns:a16="http://schemas.microsoft.com/office/drawing/2014/main" id="{1E8F56B7-C122-44F6-BDF3-B7A406ECD26A}"/>
              </a:ext>
            </a:extLst>
          </p:cNvPr>
          <p:cNvSpPr/>
          <p:nvPr/>
        </p:nvSpPr>
        <p:spPr>
          <a:xfrm>
            <a:off x="3371138" y="5978323"/>
            <a:ext cx="2841464" cy="420628"/>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latin typeface="Trebuchet MS" panose="020B0603020202020204" pitchFamily="34" charset="0"/>
              </a:rPr>
              <a:t>Coste:TBD </a:t>
            </a:r>
          </a:p>
        </p:txBody>
      </p:sp>
      <p:sp>
        <p:nvSpPr>
          <p:cNvPr id="44" name="Rectángulo 20">
            <a:extLst>
              <a:ext uri="{FF2B5EF4-FFF2-40B4-BE49-F238E27FC236}">
                <a16:creationId xmlns:a16="http://schemas.microsoft.com/office/drawing/2014/main" id="{91D124D5-7F10-470F-8006-3B00BE203D77}"/>
              </a:ext>
            </a:extLst>
          </p:cNvPr>
          <p:cNvSpPr/>
          <p:nvPr/>
        </p:nvSpPr>
        <p:spPr>
          <a:xfrm>
            <a:off x="4032485" y="2864238"/>
            <a:ext cx="2161703" cy="415498"/>
          </a:xfrm>
          <a:prstGeom prst="rect">
            <a:avLst/>
          </a:prstGeom>
        </p:spPr>
        <p:txBody>
          <a:bodyPr wrap="square">
            <a:spAutoFit/>
          </a:bodyPr>
          <a:lstStyle/>
          <a:p>
            <a:pPr>
              <a:lnSpc>
                <a:spcPct val="150000"/>
              </a:lnSpc>
            </a:pPr>
            <a:r>
              <a:rPr lang="es-ES" sz="1400" b="1" dirty="0">
                <a:solidFill>
                  <a:schemeClr val="bg1"/>
                </a:solidFill>
                <a:latin typeface="Trebuchet MS" panose="020B0603020202020204" pitchFamily="34" charset="0"/>
                <a:ea typeface="Roboto" panose="02000000000000000000" pitchFamily="2" charset="0"/>
                <a:cs typeface="Poppins" panose="00000500000000000000" pitchFamily="50" charset="0"/>
              </a:rPr>
              <a:t>Integración Tecnológica</a:t>
            </a:r>
          </a:p>
        </p:txBody>
      </p:sp>
      <p:sp>
        <p:nvSpPr>
          <p:cNvPr id="45" name="Rectángulo 20">
            <a:extLst>
              <a:ext uri="{FF2B5EF4-FFF2-40B4-BE49-F238E27FC236}">
                <a16:creationId xmlns:a16="http://schemas.microsoft.com/office/drawing/2014/main" id="{DD186F0B-5130-4F71-844B-CACA9DD2D784}"/>
              </a:ext>
            </a:extLst>
          </p:cNvPr>
          <p:cNvSpPr/>
          <p:nvPr/>
        </p:nvSpPr>
        <p:spPr>
          <a:xfrm>
            <a:off x="3999394" y="3882085"/>
            <a:ext cx="2161703" cy="415498"/>
          </a:xfrm>
          <a:prstGeom prst="rect">
            <a:avLst/>
          </a:prstGeom>
        </p:spPr>
        <p:txBody>
          <a:bodyPr wrap="square">
            <a:spAutoFit/>
          </a:bodyPr>
          <a:lstStyle/>
          <a:p>
            <a:pPr>
              <a:lnSpc>
                <a:spcPct val="150000"/>
              </a:lnSpc>
            </a:pPr>
            <a:r>
              <a:rPr lang="es-ES" sz="1400" b="1" dirty="0">
                <a:solidFill>
                  <a:schemeClr val="bg1"/>
                </a:solidFill>
                <a:latin typeface="Trebuchet MS" panose="020B0603020202020204" pitchFamily="34" charset="0"/>
                <a:ea typeface="Roboto" panose="02000000000000000000" pitchFamily="2" charset="0"/>
                <a:cs typeface="Poppins" panose="00000500000000000000" pitchFamily="50" charset="0"/>
              </a:rPr>
              <a:t>Formación a medida</a:t>
            </a:r>
          </a:p>
        </p:txBody>
      </p:sp>
      <p:sp>
        <p:nvSpPr>
          <p:cNvPr id="46" name="TextBox 45">
            <a:extLst>
              <a:ext uri="{FF2B5EF4-FFF2-40B4-BE49-F238E27FC236}">
                <a16:creationId xmlns:a16="http://schemas.microsoft.com/office/drawing/2014/main" id="{276F7B61-40C8-4B12-9087-294AEB6E63B9}"/>
              </a:ext>
            </a:extLst>
          </p:cNvPr>
          <p:cNvSpPr txBox="1"/>
          <p:nvPr/>
        </p:nvSpPr>
        <p:spPr>
          <a:xfrm>
            <a:off x="832182" y="2878599"/>
            <a:ext cx="2197306" cy="415498"/>
          </a:xfrm>
          <a:prstGeom prst="rect">
            <a:avLst/>
          </a:prstGeom>
          <a:noFill/>
        </p:spPr>
        <p:txBody>
          <a:bodyPr wrap="square" rtlCol="0">
            <a:spAutoFit/>
          </a:bodyPr>
          <a:lstStyle/>
          <a:p>
            <a:r>
              <a:rPr lang="es-ES" sz="1050" i="1" dirty="0">
                <a:solidFill>
                  <a:schemeClr val="tx1">
                    <a:lumMod val="75000"/>
                    <a:lumOff val="25000"/>
                  </a:schemeClr>
                </a:solidFill>
              </a:rPr>
              <a:t>NO Incluye Obra Civil del espacio. </a:t>
            </a:r>
          </a:p>
          <a:p>
            <a:r>
              <a:rPr lang="es-ES" sz="1050" i="1" dirty="0">
                <a:solidFill>
                  <a:schemeClr val="tx1">
                    <a:lumMod val="75000"/>
                    <a:lumOff val="25000"/>
                  </a:schemeClr>
                </a:solidFill>
              </a:rPr>
              <a:t>Disponible en caso necesario</a:t>
            </a:r>
          </a:p>
        </p:txBody>
      </p:sp>
      <p:pic>
        <p:nvPicPr>
          <p:cNvPr id="47" name="Picture 46" descr="A close up of a logo&#10;&#10;Description automatically generated">
            <a:extLst>
              <a:ext uri="{FF2B5EF4-FFF2-40B4-BE49-F238E27FC236}">
                <a16:creationId xmlns:a16="http://schemas.microsoft.com/office/drawing/2014/main" id="{8CDC4AAF-140A-4D65-AA9E-0AC059F7932C}"/>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418945" y="3416726"/>
            <a:ext cx="375937" cy="375937"/>
          </a:xfrm>
          <a:prstGeom prst="rect">
            <a:avLst/>
          </a:prstGeom>
        </p:spPr>
      </p:pic>
      <p:pic>
        <p:nvPicPr>
          <p:cNvPr id="48" name="Picture 47" descr="A close up of graphics&#10;&#10;Description automatically generated">
            <a:extLst>
              <a:ext uri="{FF2B5EF4-FFF2-40B4-BE49-F238E27FC236}">
                <a16:creationId xmlns:a16="http://schemas.microsoft.com/office/drawing/2014/main" id="{610422B1-BEDC-4AA3-A020-E0FEEE881876}"/>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97696" y="1689180"/>
            <a:ext cx="408950" cy="408950"/>
          </a:xfrm>
          <a:prstGeom prst="rect">
            <a:avLst/>
          </a:prstGeom>
        </p:spPr>
      </p:pic>
      <p:sp>
        <p:nvSpPr>
          <p:cNvPr id="49" name="Rectángulo 26">
            <a:extLst>
              <a:ext uri="{FF2B5EF4-FFF2-40B4-BE49-F238E27FC236}">
                <a16:creationId xmlns:a16="http://schemas.microsoft.com/office/drawing/2014/main" id="{5EA0835B-A1A0-4226-8791-97C876ACB9E2}"/>
              </a:ext>
            </a:extLst>
          </p:cNvPr>
          <p:cNvSpPr/>
          <p:nvPr/>
        </p:nvSpPr>
        <p:spPr>
          <a:xfrm>
            <a:off x="814964" y="3684867"/>
            <a:ext cx="2264725" cy="861774"/>
          </a:xfrm>
          <a:prstGeom prst="rect">
            <a:avLst/>
          </a:prstGeom>
        </p:spPr>
        <p:txBody>
          <a:bodyPr wrap="square">
            <a:spAutoFit/>
          </a:bodyPr>
          <a:lstStyle/>
          <a:p>
            <a:r>
              <a:rPr lang="es-ES" sz="1000" dirty="0">
                <a:solidFill>
                  <a:schemeClr val="bg1"/>
                </a:solidFill>
                <a:latin typeface="Trebuchet MS" panose="020B0603020202020204" pitchFamily="34" charset="0"/>
                <a:ea typeface="Roboto" panose="02000000000000000000" pitchFamily="2" charset="0"/>
                <a:cs typeface="Poppins" panose="00000500000000000000" pitchFamily="50" charset="0"/>
              </a:rPr>
              <a:t>Conocer las tecnologías actuales del centro tanto a nivel HW como a nivel de herramientas SW para validar su integración en el aula RTC en caso sea necesario.</a:t>
            </a:r>
          </a:p>
        </p:txBody>
      </p:sp>
      <p:pic>
        <p:nvPicPr>
          <p:cNvPr id="50" name="Picture 49" descr="A picture containing clock&#10;&#10;Description automatically generated">
            <a:extLst>
              <a:ext uri="{FF2B5EF4-FFF2-40B4-BE49-F238E27FC236}">
                <a16:creationId xmlns:a16="http://schemas.microsoft.com/office/drawing/2014/main" id="{3059BF54-69EB-4B76-974E-4C5933EB7B2F}"/>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97697" y="4650217"/>
            <a:ext cx="375937" cy="375937"/>
          </a:xfrm>
          <a:prstGeom prst="rect">
            <a:avLst/>
          </a:prstGeom>
        </p:spPr>
      </p:pic>
      <p:sp>
        <p:nvSpPr>
          <p:cNvPr id="51" name="Rectángulo 26">
            <a:extLst>
              <a:ext uri="{FF2B5EF4-FFF2-40B4-BE49-F238E27FC236}">
                <a16:creationId xmlns:a16="http://schemas.microsoft.com/office/drawing/2014/main" id="{044833C0-F9F2-4982-AAA7-9A2A2F11F64A}"/>
              </a:ext>
            </a:extLst>
          </p:cNvPr>
          <p:cNvSpPr/>
          <p:nvPr/>
        </p:nvSpPr>
        <p:spPr>
          <a:xfrm>
            <a:off x="814962" y="4964853"/>
            <a:ext cx="2264726" cy="861774"/>
          </a:xfrm>
          <a:prstGeom prst="rect">
            <a:avLst/>
          </a:prstGeom>
        </p:spPr>
        <p:txBody>
          <a:bodyPr wrap="square">
            <a:spAutoFit/>
          </a:bodyPr>
          <a:lstStyle/>
          <a:p>
            <a:r>
              <a:rPr lang="es-ES" sz="1000" dirty="0">
                <a:solidFill>
                  <a:schemeClr val="bg1"/>
                </a:solidFill>
                <a:latin typeface="Trebuchet MS" panose="020B0603020202020204" pitchFamily="34" charset="0"/>
                <a:ea typeface="Roboto" panose="02000000000000000000" pitchFamily="2" charset="0"/>
                <a:cs typeface="Poppins" panose="00000500000000000000" pitchFamily="50" charset="0"/>
              </a:rPr>
              <a:t>Conocer las metodologías actuales que está utilizando el centro, competencia digital docente y capacidad de liderazgo e innovación para el diseño del plan formativo.</a:t>
            </a:r>
          </a:p>
        </p:txBody>
      </p:sp>
      <p:pic>
        <p:nvPicPr>
          <p:cNvPr id="52" name="Picture 51" descr="A close up of graphics&#10;&#10;Description automatically generated">
            <a:extLst>
              <a:ext uri="{FF2B5EF4-FFF2-40B4-BE49-F238E27FC236}">
                <a16:creationId xmlns:a16="http://schemas.microsoft.com/office/drawing/2014/main" id="{C315EE78-9C11-4A41-9EB9-2A423C41E90A}"/>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566522" y="1683082"/>
            <a:ext cx="408950" cy="408950"/>
          </a:xfrm>
          <a:prstGeom prst="rect">
            <a:avLst/>
          </a:prstGeom>
        </p:spPr>
      </p:pic>
      <p:pic>
        <p:nvPicPr>
          <p:cNvPr id="53" name="Picture 52" descr="A close up of a logo&#10;&#10;Description automatically generated">
            <a:extLst>
              <a:ext uri="{FF2B5EF4-FFF2-40B4-BE49-F238E27FC236}">
                <a16:creationId xmlns:a16="http://schemas.microsoft.com/office/drawing/2014/main" id="{A9933FFA-6344-47F9-8F51-17301FE331C8}"/>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3613591" y="2887786"/>
            <a:ext cx="375937" cy="375937"/>
          </a:xfrm>
          <a:prstGeom prst="rect">
            <a:avLst/>
          </a:prstGeom>
        </p:spPr>
      </p:pic>
      <p:pic>
        <p:nvPicPr>
          <p:cNvPr id="54" name="Picture 53" descr="A picture containing clock&#10;&#10;Description automatically generated">
            <a:extLst>
              <a:ext uri="{FF2B5EF4-FFF2-40B4-BE49-F238E27FC236}">
                <a16:creationId xmlns:a16="http://schemas.microsoft.com/office/drawing/2014/main" id="{C6A90541-613B-4873-B1B3-40CDD7316BBD}"/>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558513" y="3919772"/>
            <a:ext cx="375937" cy="375937"/>
          </a:xfrm>
          <a:prstGeom prst="rect">
            <a:avLst/>
          </a:prstGeom>
        </p:spPr>
      </p:pic>
      <p:sp>
        <p:nvSpPr>
          <p:cNvPr id="55" name="Rectángulo 17">
            <a:extLst>
              <a:ext uri="{FF2B5EF4-FFF2-40B4-BE49-F238E27FC236}">
                <a16:creationId xmlns:a16="http://schemas.microsoft.com/office/drawing/2014/main" id="{17FE9A49-6B04-4DC1-BCC8-FA545C398B97}"/>
              </a:ext>
            </a:extLst>
          </p:cNvPr>
          <p:cNvSpPr/>
          <p:nvPr/>
        </p:nvSpPr>
        <p:spPr>
          <a:xfrm>
            <a:off x="3900750" y="1666300"/>
            <a:ext cx="2260346" cy="415498"/>
          </a:xfrm>
          <a:prstGeom prst="rect">
            <a:avLst/>
          </a:prstGeom>
        </p:spPr>
        <p:txBody>
          <a:bodyPr wrap="square">
            <a:spAutoFit/>
          </a:bodyPr>
          <a:lstStyle/>
          <a:p>
            <a:pPr algn="ctr">
              <a:lnSpc>
                <a:spcPct val="150000"/>
              </a:lnSpc>
            </a:pPr>
            <a:r>
              <a:rPr lang="es-ES" sz="1400" b="1" dirty="0">
                <a:solidFill>
                  <a:schemeClr val="bg1"/>
                </a:solidFill>
                <a:latin typeface="Trebuchet MS" panose="020B0603020202020204" pitchFamily="34" charset="0"/>
                <a:ea typeface="Roboto" panose="02000000000000000000" pitchFamily="2" charset="0"/>
                <a:cs typeface="Poppins" panose="00000500000000000000" pitchFamily="50" charset="0"/>
              </a:rPr>
              <a:t>Implantación del Espacio</a:t>
            </a:r>
          </a:p>
        </p:txBody>
      </p:sp>
      <p:sp>
        <p:nvSpPr>
          <p:cNvPr id="56" name="Rectángulo 26">
            <a:extLst>
              <a:ext uri="{FF2B5EF4-FFF2-40B4-BE49-F238E27FC236}">
                <a16:creationId xmlns:a16="http://schemas.microsoft.com/office/drawing/2014/main" id="{3674BA89-5FF5-42DA-8B7E-DC7657F1FCAB}"/>
              </a:ext>
            </a:extLst>
          </p:cNvPr>
          <p:cNvSpPr/>
          <p:nvPr/>
        </p:nvSpPr>
        <p:spPr>
          <a:xfrm>
            <a:off x="3368288" y="2068358"/>
            <a:ext cx="2835628" cy="707886"/>
          </a:xfrm>
          <a:prstGeom prst="rect">
            <a:avLst/>
          </a:prstGeom>
        </p:spPr>
        <p:txBody>
          <a:bodyPr wrap="square">
            <a:spAutoFit/>
          </a:bodyPr>
          <a:lstStyle/>
          <a:p>
            <a:r>
              <a:rPr lang="en-US" sz="1000" dirty="0">
                <a:solidFill>
                  <a:schemeClr val="bg1"/>
                </a:solidFill>
                <a:latin typeface="Trebuchet MS" panose="020B0603020202020204" pitchFamily="34" charset="0"/>
                <a:ea typeface="Roboto" panose="02000000000000000000" pitchFamily="2" charset="0"/>
                <a:cs typeface="Poppins" panose="00000500000000000000" pitchFamily="50" charset="0"/>
              </a:rPr>
              <a:t>E</a:t>
            </a:r>
            <a:r>
              <a:rPr lang="es-ES" sz="1000" dirty="0">
                <a:solidFill>
                  <a:schemeClr val="bg1"/>
                </a:solidFill>
                <a:latin typeface="Trebuchet MS" panose="020B0603020202020204" pitchFamily="34" charset="0"/>
                <a:ea typeface="Roboto" panose="02000000000000000000" pitchFamily="2" charset="0"/>
                <a:cs typeface="Poppins" panose="00000500000000000000" pitchFamily="50" charset="0"/>
              </a:rPr>
              <a:t>jecución integral del diseño realizado en la FASE 1. Disposición del mobiliario según las zonas de trabajo e impresión e instalación de los vinilos decorativos ( Wall-Art) </a:t>
            </a:r>
          </a:p>
        </p:txBody>
      </p:sp>
      <p:pic>
        <p:nvPicPr>
          <p:cNvPr id="57" name="Picture 56" descr="A picture containing graphics, room&#10;&#10;Description automatically generated">
            <a:extLst>
              <a:ext uri="{FF2B5EF4-FFF2-40B4-BE49-F238E27FC236}">
                <a16:creationId xmlns:a16="http://schemas.microsoft.com/office/drawing/2014/main" id="{0393517F-5952-41A5-9B13-52B5A0AAEBE3}"/>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3599535" y="5071310"/>
            <a:ext cx="375937" cy="375937"/>
          </a:xfrm>
          <a:prstGeom prst="rect">
            <a:avLst/>
          </a:prstGeom>
        </p:spPr>
      </p:pic>
      <p:sp>
        <p:nvSpPr>
          <p:cNvPr id="58" name="Rectángulo: esquinas redondeadas 85">
            <a:extLst>
              <a:ext uri="{FF2B5EF4-FFF2-40B4-BE49-F238E27FC236}">
                <a16:creationId xmlns:a16="http://schemas.microsoft.com/office/drawing/2014/main" id="{0B414250-CDC6-4D2A-8F4E-9B2AF98438F8}"/>
              </a:ext>
            </a:extLst>
          </p:cNvPr>
          <p:cNvSpPr/>
          <p:nvPr/>
        </p:nvSpPr>
        <p:spPr>
          <a:xfrm>
            <a:off x="6817344" y="5223709"/>
            <a:ext cx="4615665" cy="508180"/>
          </a:xfrm>
          <a:prstGeom prst="roundRect">
            <a:avLst>
              <a:gd name="adj" fmla="val 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Trebuchet MS" panose="020B0603020202020204" pitchFamily="34" charset="0"/>
                <a:ea typeface="Roboto" panose="02000000000000000000" pitchFamily="2" charset="0"/>
                <a:cs typeface="Poppins" panose="00000500000000000000" pitchFamily="50" charset="0"/>
              </a:rPr>
              <a:t>A</a:t>
            </a:r>
            <a:r>
              <a:rPr lang="es-ES" dirty="0">
                <a:latin typeface="Trebuchet MS" panose="020B0603020202020204" pitchFamily="34" charset="0"/>
                <a:ea typeface="Roboto" panose="02000000000000000000" pitchFamily="2" charset="0"/>
                <a:cs typeface="Poppins" panose="00000500000000000000" pitchFamily="50" charset="0"/>
              </a:rPr>
              <a:t>compañamiento: 20 Horas / Año</a:t>
            </a:r>
          </a:p>
        </p:txBody>
      </p:sp>
      <p:pic>
        <p:nvPicPr>
          <p:cNvPr id="59" name="Picture 58" descr="A picture containing graphics, drawing&#10;&#10;Description automatically generated">
            <a:extLst>
              <a:ext uri="{FF2B5EF4-FFF2-40B4-BE49-F238E27FC236}">
                <a16:creationId xmlns:a16="http://schemas.microsoft.com/office/drawing/2014/main" id="{92CEFF77-8F8C-4DCE-A492-BDA24411FD82}"/>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11506351" y="1147853"/>
            <a:ext cx="529159" cy="529159"/>
          </a:xfrm>
          <a:prstGeom prst="rect">
            <a:avLst/>
          </a:prstGeom>
        </p:spPr>
      </p:pic>
      <p:sp>
        <p:nvSpPr>
          <p:cNvPr id="60" name="Rectángulo: esquinas redondeadas 73">
            <a:extLst>
              <a:ext uri="{FF2B5EF4-FFF2-40B4-BE49-F238E27FC236}">
                <a16:creationId xmlns:a16="http://schemas.microsoft.com/office/drawing/2014/main" id="{3E78D1CF-0E53-4772-9E5C-7265499000B0}"/>
              </a:ext>
            </a:extLst>
          </p:cNvPr>
          <p:cNvSpPr/>
          <p:nvPr/>
        </p:nvSpPr>
        <p:spPr>
          <a:xfrm>
            <a:off x="6817344" y="4679350"/>
            <a:ext cx="1440001" cy="508180"/>
          </a:xfrm>
          <a:prstGeom prst="roundRect">
            <a:avLst>
              <a:gd name="adj" fmla="val 0"/>
            </a:avLst>
          </a:prstGeom>
          <a:solidFill>
            <a:srgbClr val="E91F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latin typeface="Trebuchet MS" panose="020B0603020202020204" pitchFamily="34" charset="0"/>
                <a:ea typeface="Roboto" panose="02000000000000000000" pitchFamily="2" charset="0"/>
                <a:cs typeface="Poppins" panose="00000500000000000000" pitchFamily="50" charset="0"/>
              </a:rPr>
              <a:t>2 Meses</a:t>
            </a:r>
          </a:p>
        </p:txBody>
      </p:sp>
      <p:sp>
        <p:nvSpPr>
          <p:cNvPr id="61" name="Rectángulo: esquinas redondeadas 90">
            <a:extLst>
              <a:ext uri="{FF2B5EF4-FFF2-40B4-BE49-F238E27FC236}">
                <a16:creationId xmlns:a16="http://schemas.microsoft.com/office/drawing/2014/main" id="{00D7A027-E38B-4042-A5A7-C29BEFDB4FD4}"/>
              </a:ext>
            </a:extLst>
          </p:cNvPr>
          <p:cNvSpPr/>
          <p:nvPr/>
        </p:nvSpPr>
        <p:spPr>
          <a:xfrm>
            <a:off x="9973448" y="4342316"/>
            <a:ext cx="1459562" cy="252477"/>
          </a:xfrm>
          <a:prstGeom prst="roundRect">
            <a:avLst>
              <a:gd name="adj" fmla="val 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latin typeface="Trebuchet MS" panose="020B0603020202020204" pitchFamily="34" charset="0"/>
                <a:ea typeface="Roboto" panose="02000000000000000000" pitchFamily="2" charset="0"/>
              </a:rPr>
              <a:t>Año 2</a:t>
            </a:r>
          </a:p>
        </p:txBody>
      </p:sp>
      <p:sp>
        <p:nvSpPr>
          <p:cNvPr id="62" name="Rectángulo: esquinas redondeadas 73">
            <a:extLst>
              <a:ext uri="{FF2B5EF4-FFF2-40B4-BE49-F238E27FC236}">
                <a16:creationId xmlns:a16="http://schemas.microsoft.com/office/drawing/2014/main" id="{283270D6-4EE5-4637-9F6E-AD6FB2368477}"/>
              </a:ext>
            </a:extLst>
          </p:cNvPr>
          <p:cNvSpPr/>
          <p:nvPr/>
        </p:nvSpPr>
        <p:spPr>
          <a:xfrm>
            <a:off x="8406985" y="4670373"/>
            <a:ext cx="1461023" cy="508180"/>
          </a:xfrm>
          <a:prstGeom prst="roundRect">
            <a:avLst>
              <a:gd name="adj" fmla="val 0"/>
            </a:avLst>
          </a:prstGeom>
          <a:solidFill>
            <a:srgbClr val="E91F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latin typeface="Trebuchet MS" panose="020B0603020202020204" pitchFamily="34" charset="0"/>
                <a:ea typeface="Roboto" panose="02000000000000000000" pitchFamily="2" charset="0"/>
                <a:cs typeface="Poppins" panose="00000500000000000000" pitchFamily="50" charset="0"/>
              </a:rPr>
              <a:t>8+36 horas</a:t>
            </a:r>
          </a:p>
        </p:txBody>
      </p:sp>
      <p:sp>
        <p:nvSpPr>
          <p:cNvPr id="63" name="Rectángulo: esquinas redondeadas 73">
            <a:extLst>
              <a:ext uri="{FF2B5EF4-FFF2-40B4-BE49-F238E27FC236}">
                <a16:creationId xmlns:a16="http://schemas.microsoft.com/office/drawing/2014/main" id="{EE0F7B90-676F-4031-AAB4-6E01D8143945}"/>
              </a:ext>
            </a:extLst>
          </p:cNvPr>
          <p:cNvSpPr/>
          <p:nvPr/>
        </p:nvSpPr>
        <p:spPr>
          <a:xfrm>
            <a:off x="9964321" y="4687366"/>
            <a:ext cx="1461023" cy="508180"/>
          </a:xfrm>
          <a:prstGeom prst="roundRect">
            <a:avLst>
              <a:gd name="adj" fmla="val 0"/>
            </a:avLst>
          </a:prstGeom>
          <a:solidFill>
            <a:srgbClr val="E91F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latin typeface="Trebuchet MS" panose="020B0603020202020204" pitchFamily="34" charset="0"/>
                <a:ea typeface="Roboto" panose="02000000000000000000" pitchFamily="2" charset="0"/>
                <a:cs typeface="Poppins" panose="00000500000000000000" pitchFamily="50" charset="0"/>
              </a:rPr>
              <a:t>36 horas</a:t>
            </a:r>
          </a:p>
        </p:txBody>
      </p:sp>
      <p:sp>
        <p:nvSpPr>
          <p:cNvPr id="64" name="Rectangle 63">
            <a:extLst>
              <a:ext uri="{FF2B5EF4-FFF2-40B4-BE49-F238E27FC236}">
                <a16:creationId xmlns:a16="http://schemas.microsoft.com/office/drawing/2014/main" id="{28ED87A8-8DC4-462E-9585-D883809F9968}"/>
              </a:ext>
            </a:extLst>
          </p:cNvPr>
          <p:cNvSpPr/>
          <p:nvPr/>
        </p:nvSpPr>
        <p:spPr>
          <a:xfrm>
            <a:off x="6557122" y="5774242"/>
            <a:ext cx="5292422" cy="507831"/>
          </a:xfrm>
          <a:prstGeom prst="rect">
            <a:avLst/>
          </a:prstGeom>
        </p:spPr>
        <p:txBody>
          <a:bodyPr wrap="square">
            <a:spAutoFit/>
          </a:bodyPr>
          <a:lstStyle/>
          <a:p>
            <a:r>
              <a:rPr lang="es-ES" sz="900" dirty="0">
                <a:solidFill>
                  <a:schemeClr val="accent1">
                    <a:lumMod val="75000"/>
                  </a:schemeClr>
                </a:solidFill>
                <a:latin typeface="Trebuchet MS" panose="020B0603020202020204" pitchFamily="34" charset="0"/>
                <a:ea typeface="Roboto" panose="02000000000000000000" pitchFamily="2" charset="0"/>
                <a:cs typeface="Poppins" panose="00000500000000000000" pitchFamily="50" charset="0"/>
              </a:rPr>
              <a:t>Todas las horas de formación se llevan a cabo a través de la metodología activa en contexto de aula RTC basado en el modelo de contenidos en recetas. Más info en www.grupo-ae.com Puedes descargar algunas recetas en:</a:t>
            </a:r>
            <a:endParaRPr lang="es-ES" sz="900" dirty="0">
              <a:solidFill>
                <a:schemeClr val="accent1">
                  <a:lumMod val="75000"/>
                </a:schemeClr>
              </a:solidFill>
            </a:endParaRPr>
          </a:p>
        </p:txBody>
      </p:sp>
      <p:sp>
        <p:nvSpPr>
          <p:cNvPr id="65" name="Rectángulo 20">
            <a:extLst>
              <a:ext uri="{FF2B5EF4-FFF2-40B4-BE49-F238E27FC236}">
                <a16:creationId xmlns:a16="http://schemas.microsoft.com/office/drawing/2014/main" id="{6CAB50E4-0C56-4D55-A8F4-FB1F7A554209}"/>
              </a:ext>
            </a:extLst>
          </p:cNvPr>
          <p:cNvSpPr/>
          <p:nvPr/>
        </p:nvSpPr>
        <p:spPr>
          <a:xfrm>
            <a:off x="4059314" y="5026153"/>
            <a:ext cx="2161703" cy="415498"/>
          </a:xfrm>
          <a:prstGeom prst="rect">
            <a:avLst/>
          </a:prstGeom>
        </p:spPr>
        <p:txBody>
          <a:bodyPr wrap="square">
            <a:spAutoFit/>
          </a:bodyPr>
          <a:lstStyle/>
          <a:p>
            <a:pPr>
              <a:lnSpc>
                <a:spcPct val="150000"/>
              </a:lnSpc>
            </a:pPr>
            <a:r>
              <a:rPr lang="es-ES" sz="1400" b="1" dirty="0">
                <a:solidFill>
                  <a:schemeClr val="bg1"/>
                </a:solidFill>
                <a:latin typeface="Trebuchet MS" panose="020B0603020202020204" pitchFamily="34" charset="0"/>
                <a:ea typeface="Roboto" panose="02000000000000000000" pitchFamily="2" charset="0"/>
                <a:cs typeface="Poppins" panose="00000500000000000000" pitchFamily="50" charset="0"/>
              </a:rPr>
              <a:t>Acompañamiento</a:t>
            </a:r>
          </a:p>
        </p:txBody>
      </p:sp>
      <p:sp>
        <p:nvSpPr>
          <p:cNvPr id="66" name="Rectángulo 26">
            <a:extLst>
              <a:ext uri="{FF2B5EF4-FFF2-40B4-BE49-F238E27FC236}">
                <a16:creationId xmlns:a16="http://schemas.microsoft.com/office/drawing/2014/main" id="{C4D6CF9C-FDEF-4A87-AE6D-1272D39189AE}"/>
              </a:ext>
            </a:extLst>
          </p:cNvPr>
          <p:cNvSpPr/>
          <p:nvPr/>
        </p:nvSpPr>
        <p:spPr>
          <a:xfrm>
            <a:off x="3395760" y="5426731"/>
            <a:ext cx="2835628" cy="553998"/>
          </a:xfrm>
          <a:prstGeom prst="rect">
            <a:avLst/>
          </a:prstGeom>
        </p:spPr>
        <p:txBody>
          <a:bodyPr wrap="square">
            <a:spAutoFit/>
          </a:bodyPr>
          <a:lstStyle/>
          <a:p>
            <a:r>
              <a:rPr lang="es-ES" sz="1000" dirty="0">
                <a:solidFill>
                  <a:schemeClr val="bg1"/>
                </a:solidFill>
                <a:latin typeface="Trebuchet MS" panose="020B0603020202020204" pitchFamily="34" charset="0"/>
                <a:ea typeface="Roboto" panose="02000000000000000000" pitchFamily="2" charset="0"/>
                <a:cs typeface="Poppins" panose="00000500000000000000" pitchFamily="50" charset="0"/>
              </a:rPr>
              <a:t>Durante todo el proceso de formación se acompañará a la Institución para asegurar los objetivos marcados.</a:t>
            </a:r>
          </a:p>
        </p:txBody>
      </p:sp>
      <p:sp>
        <p:nvSpPr>
          <p:cNvPr id="67" name="Rectángulo 26">
            <a:extLst>
              <a:ext uri="{FF2B5EF4-FFF2-40B4-BE49-F238E27FC236}">
                <a16:creationId xmlns:a16="http://schemas.microsoft.com/office/drawing/2014/main" id="{2BD49D1A-46D6-40C1-8FD1-278E67149AE9}"/>
              </a:ext>
            </a:extLst>
          </p:cNvPr>
          <p:cNvSpPr/>
          <p:nvPr/>
        </p:nvSpPr>
        <p:spPr>
          <a:xfrm>
            <a:off x="3404594" y="4261261"/>
            <a:ext cx="2835628" cy="707886"/>
          </a:xfrm>
          <a:prstGeom prst="rect">
            <a:avLst/>
          </a:prstGeom>
        </p:spPr>
        <p:txBody>
          <a:bodyPr wrap="square">
            <a:spAutoFit/>
          </a:bodyPr>
          <a:lstStyle/>
          <a:p>
            <a:r>
              <a:rPr lang="es-ES" sz="1000">
                <a:solidFill>
                  <a:schemeClr val="bg1"/>
                </a:solidFill>
                <a:latin typeface="Trebuchet MS" panose="020B0603020202020204" pitchFamily="34" charset="0"/>
                <a:ea typeface="Roboto" panose="02000000000000000000" pitchFamily="2" charset="0"/>
                <a:cs typeface="Poppins" panose="00000500000000000000" pitchFamily="50" charset="0"/>
              </a:rPr>
              <a:t>Ejecución del plan de formación según análsis realizado en la FASE 1. Dicho plan será validado y calenderizado según las necesidas de horarios de la Institución Educativa </a:t>
            </a:r>
          </a:p>
        </p:txBody>
      </p:sp>
      <p:sp>
        <p:nvSpPr>
          <p:cNvPr id="68" name="Rectángulo 26">
            <a:extLst>
              <a:ext uri="{FF2B5EF4-FFF2-40B4-BE49-F238E27FC236}">
                <a16:creationId xmlns:a16="http://schemas.microsoft.com/office/drawing/2014/main" id="{A64625AC-CE29-4077-9E79-84F87D069C41}"/>
              </a:ext>
            </a:extLst>
          </p:cNvPr>
          <p:cNvSpPr/>
          <p:nvPr/>
        </p:nvSpPr>
        <p:spPr>
          <a:xfrm>
            <a:off x="3390784" y="3281493"/>
            <a:ext cx="2835628" cy="553998"/>
          </a:xfrm>
          <a:prstGeom prst="rect">
            <a:avLst/>
          </a:prstGeom>
        </p:spPr>
        <p:txBody>
          <a:bodyPr wrap="square">
            <a:spAutoFit/>
          </a:bodyPr>
          <a:lstStyle/>
          <a:p>
            <a:r>
              <a:rPr lang="es-ES" sz="1000" dirty="0">
                <a:solidFill>
                  <a:schemeClr val="bg1"/>
                </a:solidFill>
                <a:latin typeface="Trebuchet MS" panose="020B0603020202020204" pitchFamily="34" charset="0"/>
                <a:ea typeface="Roboto" panose="02000000000000000000" pitchFamily="2" charset="0"/>
                <a:cs typeface="Poppins" panose="00000500000000000000" pitchFamily="50" charset="0"/>
              </a:rPr>
              <a:t>Integración, configuración y puesta en marcha de toda la tecnología y herramientas disponibles y acordadas para el aula RTC</a:t>
            </a:r>
          </a:p>
        </p:txBody>
      </p:sp>
      <p:sp>
        <p:nvSpPr>
          <p:cNvPr id="70" name="TextBox 69">
            <a:extLst>
              <a:ext uri="{FF2B5EF4-FFF2-40B4-BE49-F238E27FC236}">
                <a16:creationId xmlns:a16="http://schemas.microsoft.com/office/drawing/2014/main" id="{1889DE46-804B-44C5-9D74-48972297E08C}"/>
              </a:ext>
            </a:extLst>
          </p:cNvPr>
          <p:cNvSpPr txBox="1"/>
          <p:nvPr/>
        </p:nvSpPr>
        <p:spPr>
          <a:xfrm>
            <a:off x="309436" y="6461404"/>
            <a:ext cx="5230869" cy="253916"/>
          </a:xfrm>
          <a:prstGeom prst="rect">
            <a:avLst/>
          </a:prstGeom>
          <a:noFill/>
        </p:spPr>
        <p:txBody>
          <a:bodyPr wrap="square" rtlCol="0">
            <a:spAutoFit/>
          </a:bodyPr>
          <a:lstStyle/>
          <a:p>
            <a:r>
              <a:rPr lang="es-ES" sz="1050" i="1" dirty="0"/>
              <a:t>*El coste de la Fase 1 se descontará del importe del Proyecto de Implantación. </a:t>
            </a:r>
          </a:p>
        </p:txBody>
      </p:sp>
      <p:sp>
        <p:nvSpPr>
          <p:cNvPr id="71" name="Marcador de número de diapositiva 1"/>
          <p:cNvSpPr>
            <a:spLocks noGrp="1"/>
          </p:cNvSpPr>
          <p:nvPr>
            <p:ph type="sldNum" sz="quarter" idx="12"/>
          </p:nvPr>
        </p:nvSpPr>
        <p:spPr>
          <a:xfrm>
            <a:off x="11777051" y="6458134"/>
            <a:ext cx="487378" cy="481343"/>
          </a:xfrm>
        </p:spPr>
        <p:txBody>
          <a:bodyPr/>
          <a:lstStyle/>
          <a:p>
            <a:r>
              <a:rPr lang="en-US" sz="2000" dirty="0" smtClean="0"/>
              <a:t>37</a:t>
            </a:r>
            <a:endParaRPr lang="en-US" sz="2000" dirty="0"/>
          </a:p>
        </p:txBody>
      </p:sp>
      <p:sp>
        <p:nvSpPr>
          <p:cNvPr id="3" name="Rectángulo 2"/>
          <p:cNvSpPr/>
          <p:nvPr/>
        </p:nvSpPr>
        <p:spPr>
          <a:xfrm>
            <a:off x="1679125" y="261181"/>
            <a:ext cx="8824853" cy="584775"/>
          </a:xfrm>
          <a:prstGeom prst="rect">
            <a:avLst/>
          </a:prstGeom>
        </p:spPr>
        <p:txBody>
          <a:bodyPr wrap="none">
            <a:spAutoFit/>
          </a:bodyPr>
          <a:lstStyle/>
          <a:p>
            <a:pPr algn="ctr"/>
            <a:r>
              <a:rPr lang="en-US" sz="2800" b="1" dirty="0">
                <a:solidFill>
                  <a:schemeClr val="bg2"/>
                </a:solidFill>
              </a:rPr>
              <a:t>MODELO DE IMPLENTACION AULA</a:t>
            </a:r>
            <a:r>
              <a:rPr lang="en-US" sz="3200" b="1" dirty="0">
                <a:solidFill>
                  <a:schemeClr val="bg2"/>
                </a:solidFill>
              </a:rPr>
              <a:t> REINVENTADA</a:t>
            </a:r>
          </a:p>
        </p:txBody>
      </p:sp>
    </p:spTree>
    <p:extLst>
      <p:ext uri="{BB962C8B-B14F-4D97-AF65-F5344CB8AC3E}">
        <p14:creationId xmlns:p14="http://schemas.microsoft.com/office/powerpoint/2010/main" val="190620401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7" name="Imagen 26">
            <a:extLst>
              <a:ext uri="{FF2B5EF4-FFF2-40B4-BE49-F238E27FC236}">
                <a16:creationId xmlns:a16="http://schemas.microsoft.com/office/drawing/2014/main" id="{27B0CDAB-6D8D-42BA-987B-D4CDE455755B}"/>
              </a:ext>
            </a:extLst>
          </p:cNvPr>
          <p:cNvPicPr>
            <a:picLocks noChangeAspect="1"/>
          </p:cNvPicPr>
          <p:nvPr/>
        </p:nvPicPr>
        <p:blipFill rotWithShape="1">
          <a:blip r:embed="rId2" cstate="hqprint">
            <a:extLst>
              <a:ext uri="{28A0092B-C50C-407E-A947-70E740481C1C}">
                <a14:useLocalDpi xmlns:a14="http://schemas.microsoft.com/office/drawing/2010/main" val="0"/>
              </a:ext>
            </a:extLst>
          </a:blip>
          <a:srcRect l="5377" r="42644"/>
          <a:stretch/>
        </p:blipFill>
        <p:spPr>
          <a:xfrm>
            <a:off x="281226" y="1641284"/>
            <a:ext cx="4068024" cy="5216717"/>
          </a:xfrm>
          <a:prstGeom prst="rect">
            <a:avLst/>
          </a:prstGeom>
        </p:spPr>
      </p:pic>
      <p:pic>
        <p:nvPicPr>
          <p:cNvPr id="16" name="Imagen 15">
            <a:extLst>
              <a:ext uri="{FF2B5EF4-FFF2-40B4-BE49-F238E27FC236}">
                <a16:creationId xmlns:a16="http://schemas.microsoft.com/office/drawing/2014/main" id="{A676C473-28C6-4ADE-87F5-3AF1972CDBF9}"/>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4345884" y="1647825"/>
            <a:ext cx="7846116" cy="5210175"/>
          </a:xfrm>
          <a:prstGeom prst="rect">
            <a:avLst/>
          </a:prstGeom>
        </p:spPr>
      </p:pic>
      <p:sp>
        <p:nvSpPr>
          <p:cNvPr id="28" name="Rectángulo 27">
            <a:extLst>
              <a:ext uri="{FF2B5EF4-FFF2-40B4-BE49-F238E27FC236}">
                <a16:creationId xmlns:a16="http://schemas.microsoft.com/office/drawing/2014/main" id="{68C02ABE-0605-43BE-B40F-6FC9F87AF1F3}"/>
              </a:ext>
            </a:extLst>
          </p:cNvPr>
          <p:cNvSpPr/>
          <p:nvPr/>
        </p:nvSpPr>
        <p:spPr>
          <a:xfrm>
            <a:off x="704850" y="1651455"/>
            <a:ext cx="11487150" cy="5216717"/>
          </a:xfrm>
          <a:prstGeom prst="rect">
            <a:avLst/>
          </a:prstGeom>
          <a:solidFill>
            <a:srgbClr val="F35F5F">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8" name="Rectángulo 17">
            <a:extLst>
              <a:ext uri="{FF2B5EF4-FFF2-40B4-BE49-F238E27FC236}">
                <a16:creationId xmlns:a16="http://schemas.microsoft.com/office/drawing/2014/main" id="{A918059D-060D-4F7E-B5F0-099BDF467A06}"/>
              </a:ext>
            </a:extLst>
          </p:cNvPr>
          <p:cNvSpPr/>
          <p:nvPr/>
        </p:nvSpPr>
        <p:spPr>
          <a:xfrm>
            <a:off x="3574528" y="3297170"/>
            <a:ext cx="1800000" cy="1781175"/>
          </a:xfrm>
          <a:prstGeom prst="rect">
            <a:avLst/>
          </a:prstGeom>
          <a:solidFill>
            <a:srgbClr val="F35F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1" name="Rectángulo 10">
            <a:extLst>
              <a:ext uri="{FF2B5EF4-FFF2-40B4-BE49-F238E27FC236}">
                <a16:creationId xmlns:a16="http://schemas.microsoft.com/office/drawing/2014/main" id="{03C288DF-C251-4C70-B03C-736D84FC4419}"/>
              </a:ext>
            </a:extLst>
          </p:cNvPr>
          <p:cNvSpPr/>
          <p:nvPr/>
        </p:nvSpPr>
        <p:spPr>
          <a:xfrm>
            <a:off x="1040558" y="1648565"/>
            <a:ext cx="2531261" cy="1648605"/>
          </a:xfrm>
          <a:prstGeom prst="rect">
            <a:avLst/>
          </a:prstGeom>
          <a:solidFill>
            <a:srgbClr val="F35F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 name="Rectángulo 2">
            <a:extLst>
              <a:ext uri="{FF2B5EF4-FFF2-40B4-BE49-F238E27FC236}">
                <a16:creationId xmlns:a16="http://schemas.microsoft.com/office/drawing/2014/main" id="{E23CEF82-218D-4155-A24F-0937952273E8}"/>
              </a:ext>
            </a:extLst>
          </p:cNvPr>
          <p:cNvSpPr/>
          <p:nvPr/>
        </p:nvSpPr>
        <p:spPr>
          <a:xfrm>
            <a:off x="0" y="0"/>
            <a:ext cx="704850" cy="6858000"/>
          </a:xfrm>
          <a:prstGeom prst="rect">
            <a:avLst/>
          </a:prstGeom>
          <a:solidFill>
            <a:srgbClr val="F35F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400">
              <a:latin typeface="Trebuchet MS" panose="020B0603020202020204" pitchFamily="34" charset="0"/>
            </a:endParaRPr>
          </a:p>
        </p:txBody>
      </p:sp>
      <p:sp>
        <p:nvSpPr>
          <p:cNvPr id="14" name="CuadroTexto 13">
            <a:extLst>
              <a:ext uri="{FF2B5EF4-FFF2-40B4-BE49-F238E27FC236}">
                <a16:creationId xmlns:a16="http://schemas.microsoft.com/office/drawing/2014/main" id="{ACBB9D8A-A545-4D58-83DF-035F3C7EE1EE}"/>
              </a:ext>
            </a:extLst>
          </p:cNvPr>
          <p:cNvSpPr txBox="1"/>
          <p:nvPr/>
        </p:nvSpPr>
        <p:spPr>
          <a:xfrm>
            <a:off x="5435602" y="960150"/>
            <a:ext cx="2921000" cy="584775"/>
          </a:xfrm>
          <a:prstGeom prst="rect">
            <a:avLst/>
          </a:prstGeom>
          <a:noFill/>
        </p:spPr>
        <p:txBody>
          <a:bodyPr wrap="square" rtlCol="0">
            <a:spAutoFit/>
          </a:bodyPr>
          <a:lstStyle/>
          <a:p>
            <a:pPr algn="ctr"/>
            <a:r>
              <a:rPr lang="es-ES" sz="3200">
                <a:solidFill>
                  <a:srgbClr val="F35F5F"/>
                </a:solidFill>
                <a:latin typeface="Trebuchet MS" panose="020B0603020202020204" pitchFamily="34" charset="0"/>
              </a:rPr>
              <a:t>Dispositivos</a:t>
            </a:r>
          </a:p>
        </p:txBody>
      </p:sp>
      <p:sp>
        <p:nvSpPr>
          <p:cNvPr id="20" name="Rectángulo 19">
            <a:extLst>
              <a:ext uri="{FF2B5EF4-FFF2-40B4-BE49-F238E27FC236}">
                <a16:creationId xmlns:a16="http://schemas.microsoft.com/office/drawing/2014/main" id="{1D6E7D4B-7A11-458A-807E-F77949830B65}"/>
              </a:ext>
            </a:extLst>
          </p:cNvPr>
          <p:cNvSpPr/>
          <p:nvPr/>
        </p:nvSpPr>
        <p:spPr>
          <a:xfrm>
            <a:off x="1771818" y="5078344"/>
            <a:ext cx="1800000" cy="1800000"/>
          </a:xfrm>
          <a:prstGeom prst="rect">
            <a:avLst/>
          </a:prstGeom>
          <a:solidFill>
            <a:srgbClr val="F35F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0" name="Imagen 9">
            <a:extLst>
              <a:ext uri="{FF2B5EF4-FFF2-40B4-BE49-F238E27FC236}">
                <a16:creationId xmlns:a16="http://schemas.microsoft.com/office/drawing/2014/main" id="{B520E99D-E6C9-43A8-9259-C0EC666FD2A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56548" y="5239004"/>
            <a:ext cx="1630542" cy="1223618"/>
          </a:xfrm>
          <a:prstGeom prst="rect">
            <a:avLst/>
          </a:prstGeom>
        </p:spPr>
      </p:pic>
      <p:sp>
        <p:nvSpPr>
          <p:cNvPr id="21" name="Rectángulo 20">
            <a:extLst>
              <a:ext uri="{FF2B5EF4-FFF2-40B4-BE49-F238E27FC236}">
                <a16:creationId xmlns:a16="http://schemas.microsoft.com/office/drawing/2014/main" id="{678829F7-E3F1-45DA-B35F-769A62A7C38B}"/>
              </a:ext>
            </a:extLst>
          </p:cNvPr>
          <p:cNvSpPr/>
          <p:nvPr/>
        </p:nvSpPr>
        <p:spPr>
          <a:xfrm>
            <a:off x="5374528" y="5076826"/>
            <a:ext cx="1800000" cy="1781175"/>
          </a:xfrm>
          <a:prstGeom prst="rect">
            <a:avLst/>
          </a:prstGeom>
          <a:solidFill>
            <a:srgbClr val="F35F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2" name="Rectángulo 21">
            <a:extLst>
              <a:ext uri="{FF2B5EF4-FFF2-40B4-BE49-F238E27FC236}">
                <a16:creationId xmlns:a16="http://schemas.microsoft.com/office/drawing/2014/main" id="{3FE59166-619E-4BA3-9693-8B077E9A50B8}"/>
              </a:ext>
            </a:extLst>
          </p:cNvPr>
          <p:cNvSpPr/>
          <p:nvPr/>
        </p:nvSpPr>
        <p:spPr>
          <a:xfrm>
            <a:off x="7174528" y="3297169"/>
            <a:ext cx="1800000" cy="1781175"/>
          </a:xfrm>
          <a:prstGeom prst="rect">
            <a:avLst/>
          </a:prstGeom>
          <a:solidFill>
            <a:srgbClr val="F35F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4" name="Rectángulo 23">
            <a:extLst>
              <a:ext uri="{FF2B5EF4-FFF2-40B4-BE49-F238E27FC236}">
                <a16:creationId xmlns:a16="http://schemas.microsoft.com/office/drawing/2014/main" id="{4ECE561A-04B5-429F-845B-E5BAE164BC49}"/>
              </a:ext>
            </a:extLst>
          </p:cNvPr>
          <p:cNvSpPr/>
          <p:nvPr/>
        </p:nvSpPr>
        <p:spPr>
          <a:xfrm>
            <a:off x="8974528" y="3297169"/>
            <a:ext cx="1800000" cy="1781175"/>
          </a:xfrm>
          <a:prstGeom prst="rect">
            <a:avLst/>
          </a:prstGeom>
          <a:solidFill>
            <a:srgbClr val="F35F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9" name="Imagen 18">
            <a:extLst>
              <a:ext uri="{FF2B5EF4-FFF2-40B4-BE49-F238E27FC236}">
                <a16:creationId xmlns:a16="http://schemas.microsoft.com/office/drawing/2014/main" id="{03B684BD-64B7-4F3F-AF3F-C96C87CB44DB}"/>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5703832" y="5393613"/>
            <a:ext cx="1141393" cy="857249"/>
          </a:xfrm>
          <a:prstGeom prst="rect">
            <a:avLst/>
          </a:prstGeom>
        </p:spPr>
      </p:pic>
      <p:pic>
        <p:nvPicPr>
          <p:cNvPr id="15" name="Imagen 14">
            <a:extLst>
              <a:ext uri="{FF2B5EF4-FFF2-40B4-BE49-F238E27FC236}">
                <a16:creationId xmlns:a16="http://schemas.microsoft.com/office/drawing/2014/main" id="{BE0F63D7-9136-4B01-906A-DBFCFD0FA3D2}"/>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7337280" y="3429000"/>
            <a:ext cx="1351558" cy="1351558"/>
          </a:xfrm>
          <a:prstGeom prst="rect">
            <a:avLst/>
          </a:prstGeom>
        </p:spPr>
      </p:pic>
      <p:pic>
        <p:nvPicPr>
          <p:cNvPr id="13" name="Imagen 12">
            <a:extLst>
              <a:ext uri="{FF2B5EF4-FFF2-40B4-BE49-F238E27FC236}">
                <a16:creationId xmlns:a16="http://schemas.microsoft.com/office/drawing/2014/main" id="{C7E96744-9F69-477C-9A26-7E2F2623A241}"/>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9229527" y="3448249"/>
            <a:ext cx="1290003" cy="1290003"/>
          </a:xfrm>
          <a:prstGeom prst="rect">
            <a:avLst/>
          </a:prstGeom>
        </p:spPr>
      </p:pic>
      <p:sp>
        <p:nvSpPr>
          <p:cNvPr id="25" name="Rectángulo 24">
            <a:extLst>
              <a:ext uri="{FF2B5EF4-FFF2-40B4-BE49-F238E27FC236}">
                <a16:creationId xmlns:a16="http://schemas.microsoft.com/office/drawing/2014/main" id="{82DDE223-A4BC-4595-AB40-65D2495843F8}"/>
              </a:ext>
            </a:extLst>
          </p:cNvPr>
          <p:cNvSpPr/>
          <p:nvPr/>
        </p:nvSpPr>
        <p:spPr>
          <a:xfrm>
            <a:off x="8974528" y="1647826"/>
            <a:ext cx="1800000" cy="1649343"/>
          </a:xfrm>
          <a:prstGeom prst="rect">
            <a:avLst/>
          </a:prstGeom>
          <a:solidFill>
            <a:srgbClr val="F35F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3" name="Imagen 22">
            <a:extLst>
              <a:ext uri="{FF2B5EF4-FFF2-40B4-BE49-F238E27FC236}">
                <a16:creationId xmlns:a16="http://schemas.microsoft.com/office/drawing/2014/main" id="{38BA7E4B-F6F7-4488-8F81-51B458CBED56}"/>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9310236" y="1816221"/>
            <a:ext cx="1142619" cy="1142619"/>
          </a:xfrm>
          <a:prstGeom prst="rect">
            <a:avLst/>
          </a:prstGeom>
        </p:spPr>
      </p:pic>
      <p:sp>
        <p:nvSpPr>
          <p:cNvPr id="29" name="CuadroTexto 28">
            <a:extLst>
              <a:ext uri="{FF2B5EF4-FFF2-40B4-BE49-F238E27FC236}">
                <a16:creationId xmlns:a16="http://schemas.microsoft.com/office/drawing/2014/main" id="{E3D71A93-3E44-4F1A-820E-2B2E235F9FED}"/>
              </a:ext>
            </a:extLst>
          </p:cNvPr>
          <p:cNvSpPr txBox="1"/>
          <p:nvPr/>
        </p:nvSpPr>
        <p:spPr>
          <a:xfrm>
            <a:off x="1148888" y="3033202"/>
            <a:ext cx="1450030" cy="307777"/>
          </a:xfrm>
          <a:prstGeom prst="rect">
            <a:avLst/>
          </a:prstGeom>
          <a:noFill/>
        </p:spPr>
        <p:txBody>
          <a:bodyPr wrap="square" rtlCol="0">
            <a:spAutoFit/>
          </a:bodyPr>
          <a:lstStyle/>
          <a:p>
            <a:pPr algn="ctr"/>
            <a:r>
              <a:rPr lang="es-ES" sz="1400" b="1" dirty="0">
                <a:solidFill>
                  <a:schemeClr val="bg1"/>
                </a:solidFill>
                <a:latin typeface="Trebuchet MS" panose="020B0603020202020204" pitchFamily="34" charset="0"/>
              </a:rPr>
              <a:t>Portátiles</a:t>
            </a:r>
          </a:p>
        </p:txBody>
      </p:sp>
      <p:sp>
        <p:nvSpPr>
          <p:cNvPr id="30" name="CuadroTexto 29">
            <a:extLst>
              <a:ext uri="{FF2B5EF4-FFF2-40B4-BE49-F238E27FC236}">
                <a16:creationId xmlns:a16="http://schemas.microsoft.com/office/drawing/2014/main" id="{0EF66ECD-C481-4E21-A0F6-FC732E05B914}"/>
              </a:ext>
            </a:extLst>
          </p:cNvPr>
          <p:cNvSpPr txBox="1"/>
          <p:nvPr/>
        </p:nvSpPr>
        <p:spPr>
          <a:xfrm>
            <a:off x="3751734" y="4647476"/>
            <a:ext cx="1450030" cy="307777"/>
          </a:xfrm>
          <a:prstGeom prst="rect">
            <a:avLst/>
          </a:prstGeom>
          <a:noFill/>
        </p:spPr>
        <p:txBody>
          <a:bodyPr wrap="square" rtlCol="0">
            <a:spAutoFit/>
          </a:bodyPr>
          <a:lstStyle/>
          <a:p>
            <a:pPr algn="ctr"/>
            <a:r>
              <a:rPr lang="es-ES" sz="1400" b="1">
                <a:solidFill>
                  <a:schemeClr val="bg1"/>
                </a:solidFill>
                <a:latin typeface="Trebuchet MS" panose="020B0603020202020204" pitchFamily="34" charset="0"/>
              </a:rPr>
              <a:t>HP </a:t>
            </a:r>
            <a:r>
              <a:rPr lang="es-ES" sz="1400" b="1" err="1">
                <a:solidFill>
                  <a:schemeClr val="bg1"/>
                </a:solidFill>
                <a:latin typeface="Trebuchet MS" panose="020B0603020202020204" pitchFamily="34" charset="0"/>
              </a:rPr>
              <a:t>ShareBoard</a:t>
            </a:r>
            <a:endParaRPr lang="es-ES" sz="1400" b="1">
              <a:solidFill>
                <a:schemeClr val="bg1"/>
              </a:solidFill>
              <a:latin typeface="Trebuchet MS" panose="020B0603020202020204" pitchFamily="34" charset="0"/>
            </a:endParaRPr>
          </a:p>
        </p:txBody>
      </p:sp>
      <p:sp>
        <p:nvSpPr>
          <p:cNvPr id="31" name="CuadroTexto 30">
            <a:extLst>
              <a:ext uri="{FF2B5EF4-FFF2-40B4-BE49-F238E27FC236}">
                <a16:creationId xmlns:a16="http://schemas.microsoft.com/office/drawing/2014/main" id="{987D6F1E-2B5E-44BD-B2AD-BA34BD202960}"/>
              </a:ext>
            </a:extLst>
          </p:cNvPr>
          <p:cNvSpPr txBox="1"/>
          <p:nvPr/>
        </p:nvSpPr>
        <p:spPr>
          <a:xfrm>
            <a:off x="1852141" y="6401328"/>
            <a:ext cx="1641664" cy="307777"/>
          </a:xfrm>
          <a:prstGeom prst="rect">
            <a:avLst/>
          </a:prstGeom>
          <a:noFill/>
        </p:spPr>
        <p:txBody>
          <a:bodyPr wrap="square" rtlCol="0">
            <a:spAutoFit/>
          </a:bodyPr>
          <a:lstStyle/>
          <a:p>
            <a:pPr algn="ctr"/>
            <a:r>
              <a:rPr lang="es-ES" sz="1400" b="1">
                <a:solidFill>
                  <a:schemeClr val="bg1"/>
                </a:solidFill>
                <a:latin typeface="Trebuchet MS" panose="020B0603020202020204" pitchFamily="34" charset="0"/>
              </a:rPr>
              <a:t>Impresora HP 2D</a:t>
            </a:r>
          </a:p>
        </p:txBody>
      </p:sp>
      <p:sp>
        <p:nvSpPr>
          <p:cNvPr id="32" name="CuadroTexto 31">
            <a:extLst>
              <a:ext uri="{FF2B5EF4-FFF2-40B4-BE49-F238E27FC236}">
                <a16:creationId xmlns:a16="http://schemas.microsoft.com/office/drawing/2014/main" id="{0070DC9F-1E62-4B5E-93E5-074DA906AB8F}"/>
              </a:ext>
            </a:extLst>
          </p:cNvPr>
          <p:cNvSpPr txBox="1"/>
          <p:nvPr/>
        </p:nvSpPr>
        <p:spPr>
          <a:xfrm>
            <a:off x="5453695" y="6139718"/>
            <a:ext cx="1641664" cy="523220"/>
          </a:xfrm>
          <a:prstGeom prst="rect">
            <a:avLst/>
          </a:prstGeom>
          <a:noFill/>
        </p:spPr>
        <p:txBody>
          <a:bodyPr wrap="square" rtlCol="0">
            <a:spAutoFit/>
          </a:bodyPr>
          <a:lstStyle/>
          <a:p>
            <a:pPr algn="ctr"/>
            <a:r>
              <a:rPr lang="es-ES" sz="1400" b="1">
                <a:solidFill>
                  <a:schemeClr val="bg1"/>
                </a:solidFill>
                <a:latin typeface="Trebuchet MS" panose="020B0603020202020204" pitchFamily="34" charset="0"/>
              </a:rPr>
              <a:t>Intel Unite </a:t>
            </a:r>
          </a:p>
          <a:p>
            <a:pPr algn="ctr"/>
            <a:r>
              <a:rPr lang="es-ES" sz="1400" b="1">
                <a:solidFill>
                  <a:schemeClr val="bg1"/>
                </a:solidFill>
                <a:latin typeface="Trebuchet MS" panose="020B0603020202020204" pitchFamily="34" charset="0"/>
              </a:rPr>
              <a:t>(HP Slice)</a:t>
            </a:r>
          </a:p>
        </p:txBody>
      </p:sp>
      <p:sp>
        <p:nvSpPr>
          <p:cNvPr id="34" name="CuadroTexto 33">
            <a:extLst>
              <a:ext uri="{FF2B5EF4-FFF2-40B4-BE49-F238E27FC236}">
                <a16:creationId xmlns:a16="http://schemas.microsoft.com/office/drawing/2014/main" id="{CBBD9851-2D2E-4906-A3DC-0B4160A2A028}"/>
              </a:ext>
            </a:extLst>
          </p:cNvPr>
          <p:cNvSpPr txBox="1"/>
          <p:nvPr/>
        </p:nvSpPr>
        <p:spPr>
          <a:xfrm>
            <a:off x="7322222" y="4662290"/>
            <a:ext cx="1641664" cy="307777"/>
          </a:xfrm>
          <a:prstGeom prst="rect">
            <a:avLst/>
          </a:prstGeom>
          <a:noFill/>
        </p:spPr>
        <p:txBody>
          <a:bodyPr wrap="square" rtlCol="0">
            <a:spAutoFit/>
          </a:bodyPr>
          <a:lstStyle/>
          <a:p>
            <a:pPr algn="ctr"/>
            <a:r>
              <a:rPr lang="es-ES" sz="1400" b="1">
                <a:solidFill>
                  <a:schemeClr val="bg1"/>
                </a:solidFill>
                <a:latin typeface="Trebuchet MS" panose="020B0603020202020204" pitchFamily="34" charset="0"/>
              </a:rPr>
              <a:t>Sprout G2 by HP</a:t>
            </a:r>
          </a:p>
        </p:txBody>
      </p:sp>
      <p:sp>
        <p:nvSpPr>
          <p:cNvPr id="35" name="CuadroTexto 34">
            <a:extLst>
              <a:ext uri="{FF2B5EF4-FFF2-40B4-BE49-F238E27FC236}">
                <a16:creationId xmlns:a16="http://schemas.microsoft.com/office/drawing/2014/main" id="{42A78D39-BBEF-46EB-802E-4D8ADE5E1257}"/>
              </a:ext>
            </a:extLst>
          </p:cNvPr>
          <p:cNvSpPr txBox="1"/>
          <p:nvPr/>
        </p:nvSpPr>
        <p:spPr>
          <a:xfrm>
            <a:off x="9060712" y="4661566"/>
            <a:ext cx="1641664" cy="307777"/>
          </a:xfrm>
          <a:prstGeom prst="rect">
            <a:avLst/>
          </a:prstGeom>
          <a:noFill/>
        </p:spPr>
        <p:txBody>
          <a:bodyPr wrap="square" rtlCol="0">
            <a:spAutoFit/>
          </a:bodyPr>
          <a:lstStyle/>
          <a:p>
            <a:pPr algn="ctr"/>
            <a:r>
              <a:rPr lang="es-ES" sz="1400" b="1">
                <a:solidFill>
                  <a:schemeClr val="bg1"/>
                </a:solidFill>
                <a:latin typeface="Trebuchet MS" panose="020B0603020202020204" pitchFamily="34" charset="0"/>
              </a:rPr>
              <a:t>Impresora 3D</a:t>
            </a:r>
          </a:p>
        </p:txBody>
      </p:sp>
      <p:sp>
        <p:nvSpPr>
          <p:cNvPr id="36" name="CuadroTexto 35">
            <a:extLst>
              <a:ext uri="{FF2B5EF4-FFF2-40B4-BE49-F238E27FC236}">
                <a16:creationId xmlns:a16="http://schemas.microsoft.com/office/drawing/2014/main" id="{D47BB66A-4AF7-4FDF-9216-7DBFADF7BBF8}"/>
              </a:ext>
            </a:extLst>
          </p:cNvPr>
          <p:cNvSpPr txBox="1"/>
          <p:nvPr/>
        </p:nvSpPr>
        <p:spPr>
          <a:xfrm>
            <a:off x="9053695" y="2815828"/>
            <a:ext cx="1641664" cy="307777"/>
          </a:xfrm>
          <a:prstGeom prst="rect">
            <a:avLst/>
          </a:prstGeom>
          <a:noFill/>
        </p:spPr>
        <p:txBody>
          <a:bodyPr wrap="square" rtlCol="0">
            <a:spAutoFit/>
          </a:bodyPr>
          <a:lstStyle/>
          <a:p>
            <a:pPr algn="ctr"/>
            <a:r>
              <a:rPr lang="es-ES" sz="1400" b="1">
                <a:solidFill>
                  <a:schemeClr val="bg1"/>
                </a:solidFill>
                <a:latin typeface="Trebuchet MS" panose="020B0603020202020204" pitchFamily="34" charset="0"/>
              </a:rPr>
              <a:t>Robótica</a:t>
            </a:r>
          </a:p>
        </p:txBody>
      </p:sp>
      <p:pic>
        <p:nvPicPr>
          <p:cNvPr id="33" name="Picture 32">
            <a:extLst>
              <a:ext uri="{FF2B5EF4-FFF2-40B4-BE49-F238E27FC236}">
                <a16:creationId xmlns:a16="http://schemas.microsoft.com/office/drawing/2014/main" id="{39738023-1DD6-4883-A38D-BA7E2546BBB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292628" y="1603916"/>
            <a:ext cx="1117555" cy="838654"/>
          </a:xfrm>
          <a:prstGeom prst="rect">
            <a:avLst/>
          </a:prstGeom>
        </p:spPr>
      </p:pic>
      <p:pic>
        <p:nvPicPr>
          <p:cNvPr id="5" name="Picture 4">
            <a:extLst>
              <a:ext uri="{FF2B5EF4-FFF2-40B4-BE49-F238E27FC236}">
                <a16:creationId xmlns:a16="http://schemas.microsoft.com/office/drawing/2014/main" id="{CCBD7C99-6AB6-4725-9442-6F67089D5729}"/>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3732610" y="3567320"/>
            <a:ext cx="1440989" cy="1069983"/>
          </a:xfrm>
          <a:prstGeom prst="rect">
            <a:avLst/>
          </a:prstGeom>
        </p:spPr>
      </p:pic>
      <p:pic>
        <p:nvPicPr>
          <p:cNvPr id="37" name="Picture 4">
            <a:extLst>
              <a:ext uri="{FF2B5EF4-FFF2-40B4-BE49-F238E27FC236}">
                <a16:creationId xmlns:a16="http://schemas.microsoft.com/office/drawing/2014/main" id="{A46FFC71-8CB3-4F22-AADE-27CF5722C897}"/>
              </a:ext>
            </a:extLst>
          </p:cNvPr>
          <p:cNvPicPr>
            <a:picLocks noChangeAspect="1"/>
          </p:cNvPicPr>
          <p:nvPr/>
        </p:nvPicPr>
        <p:blipFill rotWithShape="1">
          <a:blip r:embed="rId11" cstate="hqprint">
            <a:extLst>
              <a:ext uri="{28A0092B-C50C-407E-A947-70E740481C1C}">
                <a14:useLocalDpi xmlns:a14="http://schemas.microsoft.com/office/drawing/2010/main" val="0"/>
              </a:ext>
            </a:extLst>
          </a:blip>
          <a:srcRect l="16654" r="14125"/>
          <a:stretch/>
        </p:blipFill>
        <p:spPr>
          <a:xfrm>
            <a:off x="4742459" y="4173521"/>
            <a:ext cx="440133" cy="424300"/>
          </a:xfrm>
          <a:prstGeom prst="rect">
            <a:avLst/>
          </a:prstGeom>
        </p:spPr>
      </p:pic>
      <p:sp>
        <p:nvSpPr>
          <p:cNvPr id="38" name="Rectángulo 17">
            <a:extLst>
              <a:ext uri="{FF2B5EF4-FFF2-40B4-BE49-F238E27FC236}">
                <a16:creationId xmlns:a16="http://schemas.microsoft.com/office/drawing/2014/main" id="{8357866E-7DFC-4174-BD9C-BAD13FA5D737}"/>
              </a:ext>
            </a:extLst>
          </p:cNvPr>
          <p:cNvSpPr/>
          <p:nvPr/>
        </p:nvSpPr>
        <p:spPr>
          <a:xfrm>
            <a:off x="5324512" y="1637652"/>
            <a:ext cx="1800000" cy="1781175"/>
          </a:xfrm>
          <a:prstGeom prst="rect">
            <a:avLst/>
          </a:prstGeom>
          <a:solidFill>
            <a:srgbClr val="F35F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39" name="Picture 38">
            <a:extLst>
              <a:ext uri="{FF2B5EF4-FFF2-40B4-BE49-F238E27FC236}">
                <a16:creationId xmlns:a16="http://schemas.microsoft.com/office/drawing/2014/main" id="{C5E79009-D5D1-4D5D-AA8B-A528233B85A6}"/>
              </a:ext>
            </a:extLst>
          </p:cNvPr>
          <p:cNvPicPr>
            <a:picLocks noChangeAspect="1"/>
          </p:cNvPicPr>
          <p:nvPr/>
        </p:nvPicPr>
        <p:blipFill>
          <a:blip r:embed="rId12"/>
          <a:stretch>
            <a:fillRect/>
          </a:stretch>
        </p:blipFill>
        <p:spPr>
          <a:xfrm>
            <a:off x="5457732" y="1884680"/>
            <a:ext cx="1572032" cy="947526"/>
          </a:xfrm>
          <a:prstGeom prst="rect">
            <a:avLst/>
          </a:prstGeom>
        </p:spPr>
      </p:pic>
      <p:sp>
        <p:nvSpPr>
          <p:cNvPr id="40" name="CuadroTexto 29">
            <a:extLst>
              <a:ext uri="{FF2B5EF4-FFF2-40B4-BE49-F238E27FC236}">
                <a16:creationId xmlns:a16="http://schemas.microsoft.com/office/drawing/2014/main" id="{6A6E20CB-BCC3-4642-A359-328F3EE30B10}"/>
              </a:ext>
            </a:extLst>
          </p:cNvPr>
          <p:cNvSpPr txBox="1"/>
          <p:nvPr/>
        </p:nvSpPr>
        <p:spPr>
          <a:xfrm>
            <a:off x="5499498" y="2884356"/>
            <a:ext cx="1450030" cy="307777"/>
          </a:xfrm>
          <a:prstGeom prst="rect">
            <a:avLst/>
          </a:prstGeom>
          <a:noFill/>
        </p:spPr>
        <p:txBody>
          <a:bodyPr wrap="square" rtlCol="0">
            <a:spAutoFit/>
          </a:bodyPr>
          <a:lstStyle/>
          <a:p>
            <a:pPr algn="ctr"/>
            <a:r>
              <a:rPr lang="es-ES" sz="1400" b="1">
                <a:solidFill>
                  <a:schemeClr val="bg1"/>
                </a:solidFill>
                <a:latin typeface="Trebuchet MS" panose="020B0603020202020204" pitchFamily="34" charset="0"/>
              </a:rPr>
              <a:t>Display</a:t>
            </a:r>
          </a:p>
        </p:txBody>
      </p:sp>
      <p:pic>
        <p:nvPicPr>
          <p:cNvPr id="2" name="Picture 1">
            <a:extLst>
              <a:ext uri="{FF2B5EF4-FFF2-40B4-BE49-F238E27FC236}">
                <a16:creationId xmlns:a16="http://schemas.microsoft.com/office/drawing/2014/main" id="{4D334354-0C04-428F-A8C3-F75FCC472BC0}"/>
              </a:ext>
            </a:extLst>
          </p:cNvPr>
          <p:cNvPicPr>
            <a:picLocks noChangeAspect="1"/>
          </p:cNvPicPr>
          <p:nvPr/>
        </p:nvPicPr>
        <p:blipFill>
          <a:blip r:embed="rId13"/>
          <a:stretch>
            <a:fillRect/>
          </a:stretch>
        </p:blipFill>
        <p:spPr>
          <a:xfrm>
            <a:off x="7482871" y="5055309"/>
            <a:ext cx="1781175" cy="1781175"/>
          </a:xfrm>
          <a:prstGeom prst="rect">
            <a:avLst/>
          </a:prstGeom>
        </p:spPr>
      </p:pic>
      <p:pic>
        <p:nvPicPr>
          <p:cNvPr id="6" name="Picture 5">
            <a:extLst>
              <a:ext uri="{FF2B5EF4-FFF2-40B4-BE49-F238E27FC236}">
                <a16:creationId xmlns:a16="http://schemas.microsoft.com/office/drawing/2014/main" id="{17B83950-9DFE-46B4-9C58-181B6738558E}"/>
              </a:ext>
            </a:extLst>
          </p:cNvPr>
          <p:cNvPicPr>
            <a:picLocks noChangeAspect="1"/>
          </p:cNvPicPr>
          <p:nvPr/>
        </p:nvPicPr>
        <p:blipFill>
          <a:blip r:embed="rId14"/>
          <a:stretch>
            <a:fillRect/>
          </a:stretch>
        </p:blipFill>
        <p:spPr>
          <a:xfrm>
            <a:off x="9260220" y="5048544"/>
            <a:ext cx="1514309" cy="1781175"/>
          </a:xfrm>
          <a:prstGeom prst="rect">
            <a:avLst/>
          </a:prstGeom>
        </p:spPr>
      </p:pic>
      <p:pic>
        <p:nvPicPr>
          <p:cNvPr id="8" name="Picture 7">
            <a:extLst>
              <a:ext uri="{FF2B5EF4-FFF2-40B4-BE49-F238E27FC236}">
                <a16:creationId xmlns:a16="http://schemas.microsoft.com/office/drawing/2014/main" id="{0B4F0C94-4211-4E12-BD9F-7C461A457DCB}"/>
              </a:ext>
            </a:extLst>
          </p:cNvPr>
          <p:cNvPicPr>
            <a:picLocks noChangeAspect="1"/>
          </p:cNvPicPr>
          <p:nvPr/>
        </p:nvPicPr>
        <p:blipFill>
          <a:blip r:embed="rId15"/>
          <a:stretch>
            <a:fillRect/>
          </a:stretch>
        </p:blipFill>
        <p:spPr>
          <a:xfrm>
            <a:off x="2332574" y="3257185"/>
            <a:ext cx="1243742" cy="1047361"/>
          </a:xfrm>
          <a:prstGeom prst="rect">
            <a:avLst/>
          </a:prstGeom>
        </p:spPr>
      </p:pic>
      <p:pic>
        <p:nvPicPr>
          <p:cNvPr id="41" name="Picture 40" descr="A computer&#10;&#10;Description generated with very high confidence">
            <a:extLst>
              <a:ext uri="{FF2B5EF4-FFF2-40B4-BE49-F238E27FC236}">
                <a16:creationId xmlns:a16="http://schemas.microsoft.com/office/drawing/2014/main" id="{F67B2BE0-CCF1-4E43-BA28-D4962BC31731}"/>
              </a:ext>
            </a:extLst>
          </p:cNvPr>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2409516" y="1536152"/>
            <a:ext cx="1443528" cy="904010"/>
          </a:xfrm>
          <a:prstGeom prst="rect">
            <a:avLst/>
          </a:prstGeom>
        </p:spPr>
      </p:pic>
      <p:sp>
        <p:nvSpPr>
          <p:cNvPr id="42" name="Rectángulo 3">
            <a:extLst>
              <a:ext uri="{FF2B5EF4-FFF2-40B4-BE49-F238E27FC236}">
                <a16:creationId xmlns:a16="http://schemas.microsoft.com/office/drawing/2014/main" id="{8D19F1F4-0DDA-461B-9BC4-57784FC64DC2}"/>
              </a:ext>
            </a:extLst>
          </p:cNvPr>
          <p:cNvSpPr/>
          <p:nvPr/>
        </p:nvSpPr>
        <p:spPr>
          <a:xfrm>
            <a:off x="2" y="-10173"/>
            <a:ext cx="9842330" cy="790576"/>
          </a:xfrm>
          <a:prstGeom prst="rect">
            <a:avLst/>
          </a:prstGeom>
          <a:solidFill>
            <a:srgbClr val="F35F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2400" dirty="0">
                <a:latin typeface="Trebuchet MS" panose="020B0603020202020204" pitchFamily="34" charset="0"/>
              </a:rPr>
              <a:t>SOLUCIÓN TECNOLÓGICA ( Hardware)</a:t>
            </a:r>
          </a:p>
        </p:txBody>
      </p:sp>
      <p:pic>
        <p:nvPicPr>
          <p:cNvPr id="43" name="Imagen 3">
            <a:extLst>
              <a:ext uri="{FF2B5EF4-FFF2-40B4-BE49-F238E27FC236}">
                <a16:creationId xmlns:a16="http://schemas.microsoft.com/office/drawing/2014/main" id="{EBF0CDD7-4788-43C2-BDD5-E31576F4DC99}"/>
              </a:ext>
            </a:extLst>
          </p:cNvPr>
          <p:cNvPicPr>
            <a:picLocks noChangeAspect="1"/>
          </p:cNvPicPr>
          <p:nvPr/>
        </p:nvPicPr>
        <p:blipFill>
          <a:blip r:embed="rId17" cstate="hqprint">
            <a:extLst>
              <a:ext uri="{28A0092B-C50C-407E-A947-70E740481C1C}">
                <a14:useLocalDpi xmlns:a14="http://schemas.microsoft.com/office/drawing/2010/main" val="0"/>
              </a:ext>
            </a:extLst>
          </a:blip>
          <a:stretch>
            <a:fillRect/>
          </a:stretch>
        </p:blipFill>
        <p:spPr>
          <a:xfrm>
            <a:off x="792160" y="2325324"/>
            <a:ext cx="1056735" cy="793667"/>
          </a:xfrm>
          <a:prstGeom prst="rect">
            <a:avLst/>
          </a:prstGeom>
        </p:spPr>
      </p:pic>
      <p:pic>
        <p:nvPicPr>
          <p:cNvPr id="44" name="Imagen 3602" descr="Imagen que contiene electrónica, ordenador, portátil, interior&#10;&#10;Descripción generada con confianza muy alta">
            <a:extLst>
              <a:ext uri="{FF2B5EF4-FFF2-40B4-BE49-F238E27FC236}">
                <a16:creationId xmlns:a16="http://schemas.microsoft.com/office/drawing/2014/main" id="{72DD3932-5C20-4817-8B45-D68268F9B89D}"/>
              </a:ext>
            </a:extLst>
          </p:cNvPr>
          <p:cNvPicPr>
            <a:picLocks noChangeAspect="1"/>
          </p:cNvPicPr>
          <p:nvPr/>
        </p:nvPicPr>
        <p:blipFill>
          <a:blip r:embed="rId18" cstate="hqprint">
            <a:extLst>
              <a:ext uri="{28A0092B-C50C-407E-A947-70E740481C1C}">
                <a14:useLocalDpi xmlns:a14="http://schemas.microsoft.com/office/drawing/2010/main" val="0"/>
              </a:ext>
            </a:extLst>
          </a:blip>
          <a:stretch>
            <a:fillRect/>
          </a:stretch>
        </p:blipFill>
        <p:spPr>
          <a:xfrm>
            <a:off x="2324771" y="2346766"/>
            <a:ext cx="1285873" cy="965761"/>
          </a:xfrm>
          <a:prstGeom prst="rect">
            <a:avLst/>
          </a:prstGeom>
        </p:spPr>
      </p:pic>
      <p:sp>
        <p:nvSpPr>
          <p:cNvPr id="45" name="Marcador de número de diapositiva 1"/>
          <p:cNvSpPr>
            <a:spLocks noGrp="1"/>
          </p:cNvSpPr>
          <p:nvPr>
            <p:ph type="sldNum" sz="quarter" idx="12"/>
          </p:nvPr>
        </p:nvSpPr>
        <p:spPr>
          <a:xfrm>
            <a:off x="11777051" y="6458134"/>
            <a:ext cx="487378" cy="481343"/>
          </a:xfrm>
        </p:spPr>
        <p:txBody>
          <a:bodyPr/>
          <a:lstStyle/>
          <a:p>
            <a:r>
              <a:rPr lang="en-US" sz="2000" dirty="0" smtClean="0"/>
              <a:t>38</a:t>
            </a:r>
            <a:endParaRPr lang="en-US" sz="2000" dirty="0"/>
          </a:p>
        </p:txBody>
      </p:sp>
    </p:spTree>
    <p:extLst>
      <p:ext uri="{BB962C8B-B14F-4D97-AF65-F5344CB8AC3E}">
        <p14:creationId xmlns:p14="http://schemas.microsoft.com/office/powerpoint/2010/main" val="194837587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1" name="Rectángulo 70">
            <a:extLst>
              <a:ext uri="{FF2B5EF4-FFF2-40B4-BE49-F238E27FC236}">
                <a16:creationId xmlns:a16="http://schemas.microsoft.com/office/drawing/2014/main" id="{6C253503-FEAA-4CD2-9269-639038BF9134}"/>
              </a:ext>
            </a:extLst>
          </p:cNvPr>
          <p:cNvSpPr/>
          <p:nvPr/>
        </p:nvSpPr>
        <p:spPr>
          <a:xfrm>
            <a:off x="4259285" y="1915916"/>
            <a:ext cx="3917436" cy="1465422"/>
          </a:xfrm>
          <a:prstGeom prst="rect">
            <a:avLst/>
          </a:prstGeom>
          <a:solidFill>
            <a:schemeClr val="tx1">
              <a:lumMod val="65000"/>
              <a:lumOff val="3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Rectángulo 3">
            <a:extLst>
              <a:ext uri="{FF2B5EF4-FFF2-40B4-BE49-F238E27FC236}">
                <a16:creationId xmlns:a16="http://schemas.microsoft.com/office/drawing/2014/main" id="{EE0953B0-1570-418D-98E1-CE7F5C0A376E}"/>
              </a:ext>
            </a:extLst>
          </p:cNvPr>
          <p:cNvSpPr/>
          <p:nvPr/>
        </p:nvSpPr>
        <p:spPr>
          <a:xfrm>
            <a:off x="0" y="-6543"/>
            <a:ext cx="9875192" cy="790576"/>
          </a:xfrm>
          <a:prstGeom prst="rect">
            <a:avLst/>
          </a:prstGeom>
          <a:solidFill>
            <a:srgbClr val="F35F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2400" dirty="0">
                <a:latin typeface="Trebuchet MS" panose="020B0603020202020204" pitchFamily="34" charset="0"/>
              </a:rPr>
              <a:t>SOLUCIÓN TECNOLÓGICA (Aplicaciones)</a:t>
            </a:r>
          </a:p>
        </p:txBody>
      </p:sp>
      <p:sp>
        <p:nvSpPr>
          <p:cNvPr id="7" name="CuadroTexto 6">
            <a:extLst>
              <a:ext uri="{FF2B5EF4-FFF2-40B4-BE49-F238E27FC236}">
                <a16:creationId xmlns:a16="http://schemas.microsoft.com/office/drawing/2014/main" id="{B82AC996-A412-4321-AB14-D3EDEBC5112E}"/>
              </a:ext>
            </a:extLst>
          </p:cNvPr>
          <p:cNvSpPr txBox="1"/>
          <p:nvPr/>
        </p:nvSpPr>
        <p:spPr>
          <a:xfrm>
            <a:off x="38954" y="1377147"/>
            <a:ext cx="3533774" cy="338554"/>
          </a:xfrm>
          <a:prstGeom prst="rect">
            <a:avLst/>
          </a:prstGeom>
          <a:noFill/>
        </p:spPr>
        <p:txBody>
          <a:bodyPr wrap="square" rtlCol="0">
            <a:spAutoFit/>
          </a:bodyPr>
          <a:lstStyle/>
          <a:p>
            <a:pPr algn="ctr"/>
            <a:r>
              <a:rPr lang="es-ES" sz="1600" b="1">
                <a:solidFill>
                  <a:srgbClr val="F35F5F"/>
                </a:solidFill>
                <a:latin typeface="Trebuchet MS" panose="020B0603020202020204" pitchFamily="34" charset="0"/>
              </a:rPr>
              <a:t>HP SCHOOL PACK + TOOVARI</a:t>
            </a:r>
          </a:p>
        </p:txBody>
      </p:sp>
      <p:sp>
        <p:nvSpPr>
          <p:cNvPr id="24" name="Rectángulo 23">
            <a:extLst>
              <a:ext uri="{FF2B5EF4-FFF2-40B4-BE49-F238E27FC236}">
                <a16:creationId xmlns:a16="http://schemas.microsoft.com/office/drawing/2014/main" id="{F60A0C03-839B-4B7A-AAF1-CF659E187CF1}"/>
              </a:ext>
            </a:extLst>
          </p:cNvPr>
          <p:cNvSpPr/>
          <p:nvPr/>
        </p:nvSpPr>
        <p:spPr>
          <a:xfrm>
            <a:off x="4014036" y="1347601"/>
            <a:ext cx="3202095" cy="338554"/>
          </a:xfrm>
          <a:prstGeom prst="rect">
            <a:avLst/>
          </a:prstGeom>
        </p:spPr>
        <p:txBody>
          <a:bodyPr wrap="none">
            <a:spAutoFit/>
          </a:bodyPr>
          <a:lstStyle/>
          <a:p>
            <a:r>
              <a:rPr lang="es-ES" sz="1600" b="1">
                <a:solidFill>
                  <a:srgbClr val="F35F5F"/>
                </a:solidFill>
                <a:latin typeface="Trebuchet MS" panose="020B0603020202020204" pitchFamily="34" charset="0"/>
              </a:rPr>
              <a:t>PROYECTOS HACKING STEAM </a:t>
            </a:r>
            <a:r>
              <a:rPr lang="es-ES" sz="1600" b="1" err="1">
                <a:solidFill>
                  <a:srgbClr val="F35F5F"/>
                </a:solidFill>
                <a:latin typeface="Trebuchet MS" panose="020B0603020202020204" pitchFamily="34" charset="0"/>
              </a:rPr>
              <a:t>by</a:t>
            </a:r>
            <a:endParaRPr lang="es-ES" sz="1600" b="1">
              <a:solidFill>
                <a:srgbClr val="F35F5F"/>
              </a:solidFill>
              <a:latin typeface="Trebuchet MS" panose="020B0603020202020204" pitchFamily="34" charset="0"/>
            </a:endParaRPr>
          </a:p>
        </p:txBody>
      </p:sp>
      <p:sp>
        <p:nvSpPr>
          <p:cNvPr id="26" name="Rectángulo 25">
            <a:extLst>
              <a:ext uri="{FF2B5EF4-FFF2-40B4-BE49-F238E27FC236}">
                <a16:creationId xmlns:a16="http://schemas.microsoft.com/office/drawing/2014/main" id="{D0DF5F7B-4044-403E-8D1C-8FB3DA739305}"/>
              </a:ext>
            </a:extLst>
          </p:cNvPr>
          <p:cNvSpPr/>
          <p:nvPr/>
        </p:nvSpPr>
        <p:spPr>
          <a:xfrm>
            <a:off x="8402763" y="1341249"/>
            <a:ext cx="3070584" cy="323165"/>
          </a:xfrm>
          <a:prstGeom prst="rect">
            <a:avLst/>
          </a:prstGeom>
        </p:spPr>
        <p:txBody>
          <a:bodyPr wrap="none">
            <a:spAutoFit/>
          </a:bodyPr>
          <a:lstStyle/>
          <a:p>
            <a:r>
              <a:rPr lang="en-US" sz="1500" b="1">
                <a:solidFill>
                  <a:srgbClr val="F35F5F"/>
                </a:solidFill>
                <a:latin typeface="Trebuchet MS" panose="020B0603020202020204" pitchFamily="34" charset="0"/>
              </a:rPr>
              <a:t>H</a:t>
            </a:r>
            <a:r>
              <a:rPr lang="es-ES" sz="1500" b="1">
                <a:solidFill>
                  <a:srgbClr val="F35F5F"/>
                </a:solidFill>
                <a:latin typeface="Trebuchet MS" panose="020B0603020202020204" pitchFamily="34" charset="0"/>
              </a:rPr>
              <a:t>ERRAMIENTASS Y RECURSOS 3D</a:t>
            </a:r>
          </a:p>
        </p:txBody>
      </p:sp>
      <p:sp>
        <p:nvSpPr>
          <p:cNvPr id="27" name="Rectángulo 26">
            <a:extLst>
              <a:ext uri="{FF2B5EF4-FFF2-40B4-BE49-F238E27FC236}">
                <a16:creationId xmlns:a16="http://schemas.microsoft.com/office/drawing/2014/main" id="{B7844139-EDDE-49B8-9ACB-D1AE3AA03822}"/>
              </a:ext>
            </a:extLst>
          </p:cNvPr>
          <p:cNvSpPr/>
          <p:nvPr/>
        </p:nvSpPr>
        <p:spPr>
          <a:xfrm>
            <a:off x="1" y="4606125"/>
            <a:ext cx="12219603" cy="1251677"/>
          </a:xfrm>
          <a:prstGeom prst="rect">
            <a:avLst/>
          </a:prstGeom>
          <a:solidFill>
            <a:schemeClr val="tx1">
              <a:lumMod val="65000"/>
              <a:lumOff val="3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CuadroTexto 27">
            <a:extLst>
              <a:ext uri="{FF2B5EF4-FFF2-40B4-BE49-F238E27FC236}">
                <a16:creationId xmlns:a16="http://schemas.microsoft.com/office/drawing/2014/main" id="{66240DB2-56A8-4F1A-B32B-7ECA24AADB57}"/>
              </a:ext>
            </a:extLst>
          </p:cNvPr>
          <p:cNvSpPr txBox="1"/>
          <p:nvPr/>
        </p:nvSpPr>
        <p:spPr>
          <a:xfrm>
            <a:off x="968413" y="4693036"/>
            <a:ext cx="3392193" cy="307777"/>
          </a:xfrm>
          <a:prstGeom prst="rect">
            <a:avLst/>
          </a:prstGeom>
          <a:noFill/>
        </p:spPr>
        <p:txBody>
          <a:bodyPr wrap="square" rtlCol="0">
            <a:spAutoFit/>
          </a:bodyPr>
          <a:lstStyle/>
          <a:p>
            <a:pPr algn="ctr"/>
            <a:r>
              <a:rPr lang="es-ES" sz="1400" b="1">
                <a:solidFill>
                  <a:schemeClr val="bg1"/>
                </a:solidFill>
                <a:latin typeface="Trebuchet MS" panose="020B0603020202020204" pitchFamily="34" charset="0"/>
                <a:ea typeface="Open Sans" panose="020B0606030504020204" pitchFamily="34" charset="0"/>
                <a:cs typeface="Open Sans" panose="020B0606030504020204" pitchFamily="34" charset="0"/>
              </a:rPr>
              <a:t>Organización y productividad</a:t>
            </a:r>
          </a:p>
        </p:txBody>
      </p:sp>
      <p:sp>
        <p:nvSpPr>
          <p:cNvPr id="29" name="CuadroTexto 28">
            <a:extLst>
              <a:ext uri="{FF2B5EF4-FFF2-40B4-BE49-F238E27FC236}">
                <a16:creationId xmlns:a16="http://schemas.microsoft.com/office/drawing/2014/main" id="{31A267D7-95AA-49F4-8AE0-A91AD642ED75}"/>
              </a:ext>
            </a:extLst>
          </p:cNvPr>
          <p:cNvSpPr txBox="1"/>
          <p:nvPr/>
        </p:nvSpPr>
        <p:spPr>
          <a:xfrm>
            <a:off x="5054503" y="4752032"/>
            <a:ext cx="2388409" cy="307777"/>
          </a:xfrm>
          <a:prstGeom prst="rect">
            <a:avLst/>
          </a:prstGeom>
          <a:noFill/>
        </p:spPr>
        <p:txBody>
          <a:bodyPr wrap="square" rtlCol="0">
            <a:spAutoFit/>
          </a:bodyPr>
          <a:lstStyle/>
          <a:p>
            <a:r>
              <a:rPr lang="es-ES" sz="1400" b="1">
                <a:solidFill>
                  <a:schemeClr val="bg1"/>
                </a:solidFill>
                <a:latin typeface="Open Sans" panose="020B0606030504020204" pitchFamily="34" charset="0"/>
                <a:ea typeface="Open Sans" panose="020B0606030504020204" pitchFamily="34" charset="0"/>
                <a:cs typeface="Open Sans" panose="020B0606030504020204" pitchFamily="34" charset="0"/>
              </a:rPr>
              <a:t>Creación y colaboración</a:t>
            </a:r>
          </a:p>
        </p:txBody>
      </p:sp>
      <p:sp>
        <p:nvSpPr>
          <p:cNvPr id="30" name="CuadroTexto 29">
            <a:extLst>
              <a:ext uri="{FF2B5EF4-FFF2-40B4-BE49-F238E27FC236}">
                <a16:creationId xmlns:a16="http://schemas.microsoft.com/office/drawing/2014/main" id="{72E0667A-6122-469E-87D1-E2A674C0606E}"/>
              </a:ext>
            </a:extLst>
          </p:cNvPr>
          <p:cNvSpPr txBox="1"/>
          <p:nvPr/>
        </p:nvSpPr>
        <p:spPr>
          <a:xfrm>
            <a:off x="8370770" y="4749180"/>
            <a:ext cx="3821230" cy="307777"/>
          </a:xfrm>
          <a:prstGeom prst="rect">
            <a:avLst/>
          </a:prstGeom>
          <a:noFill/>
        </p:spPr>
        <p:txBody>
          <a:bodyPr wrap="square" rtlCol="0">
            <a:spAutoFit/>
          </a:bodyPr>
          <a:lstStyle/>
          <a:p>
            <a:r>
              <a:rPr lang="es-ES" sz="1400" b="1">
                <a:solidFill>
                  <a:schemeClr val="bg1"/>
                </a:solidFill>
                <a:latin typeface="Open Sans" panose="020B0606030504020204" pitchFamily="34" charset="0"/>
                <a:ea typeface="Open Sans" panose="020B0606030504020204" pitchFamily="34" charset="0"/>
                <a:cs typeface="Open Sans" panose="020B0606030504020204" pitchFamily="34" charset="0"/>
              </a:rPr>
              <a:t>Motivación e interactividad</a:t>
            </a:r>
          </a:p>
        </p:txBody>
      </p:sp>
      <p:pic>
        <p:nvPicPr>
          <p:cNvPr id="31" name="Imagen 30">
            <a:extLst>
              <a:ext uri="{FF2B5EF4-FFF2-40B4-BE49-F238E27FC236}">
                <a16:creationId xmlns:a16="http://schemas.microsoft.com/office/drawing/2014/main" id="{72D9DACA-5BBA-40F9-9880-10667FA31277}"/>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68413" y="5043841"/>
            <a:ext cx="732085" cy="732085"/>
          </a:xfrm>
          <a:prstGeom prst="rect">
            <a:avLst/>
          </a:prstGeom>
        </p:spPr>
      </p:pic>
      <p:pic>
        <p:nvPicPr>
          <p:cNvPr id="32" name="Imagen 31">
            <a:extLst>
              <a:ext uri="{FF2B5EF4-FFF2-40B4-BE49-F238E27FC236}">
                <a16:creationId xmlns:a16="http://schemas.microsoft.com/office/drawing/2014/main" id="{C6336443-8AF4-4D7C-9247-1EE3ABBF2868}"/>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2050216" y="5155948"/>
            <a:ext cx="488056" cy="479108"/>
          </a:xfrm>
          <a:prstGeom prst="rect">
            <a:avLst/>
          </a:prstGeom>
        </p:spPr>
      </p:pic>
      <p:pic>
        <p:nvPicPr>
          <p:cNvPr id="33" name="Imagen 32" descr="Imagen que contiene objeto, cosa&#10;&#10;Descripción generada con confianza muy alta">
            <a:extLst>
              <a:ext uri="{FF2B5EF4-FFF2-40B4-BE49-F238E27FC236}">
                <a16:creationId xmlns:a16="http://schemas.microsoft.com/office/drawing/2014/main" id="{990E120B-44A7-465B-95AF-4C8C1FE82497}"/>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2830479" y="5024412"/>
            <a:ext cx="732085" cy="732085"/>
          </a:xfrm>
          <a:prstGeom prst="rect">
            <a:avLst/>
          </a:prstGeom>
        </p:spPr>
      </p:pic>
      <p:pic>
        <p:nvPicPr>
          <p:cNvPr id="34" name="Imagen 33" descr="Imagen que contiene imágenes prediseñadas&#10;&#10;Descripción generada con confianza alta">
            <a:extLst>
              <a:ext uri="{FF2B5EF4-FFF2-40B4-BE49-F238E27FC236}">
                <a16:creationId xmlns:a16="http://schemas.microsoft.com/office/drawing/2014/main" id="{24C45F31-D2AF-4B3F-B3D2-03F468C5C402}"/>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3764341" y="5142526"/>
            <a:ext cx="488056" cy="488056"/>
          </a:xfrm>
          <a:prstGeom prst="rect">
            <a:avLst/>
          </a:prstGeom>
        </p:spPr>
      </p:pic>
      <p:sp>
        <p:nvSpPr>
          <p:cNvPr id="35" name="CuadroTexto 34">
            <a:extLst>
              <a:ext uri="{FF2B5EF4-FFF2-40B4-BE49-F238E27FC236}">
                <a16:creationId xmlns:a16="http://schemas.microsoft.com/office/drawing/2014/main" id="{24EDC3F2-BB62-4050-89C9-02A7895762F9}"/>
              </a:ext>
            </a:extLst>
          </p:cNvPr>
          <p:cNvSpPr txBox="1"/>
          <p:nvPr/>
        </p:nvSpPr>
        <p:spPr>
          <a:xfrm>
            <a:off x="823420" y="5933346"/>
            <a:ext cx="950140" cy="276999"/>
          </a:xfrm>
          <a:prstGeom prst="rect">
            <a:avLst/>
          </a:prstGeom>
          <a:noFill/>
        </p:spPr>
        <p:txBody>
          <a:bodyPr wrap="square" rtlCol="0">
            <a:spAutoFit/>
          </a:bodyPr>
          <a:lstStyle/>
          <a:p>
            <a:pPr algn="ctr"/>
            <a:r>
              <a:rPr lang="es-ES" sz="1200">
                <a:solidFill>
                  <a:srgbClr val="094AB1"/>
                </a:solidFill>
                <a:latin typeface="Segoe UI Semilight" panose="020B0402040204020203" pitchFamily="34" charset="0"/>
                <a:cs typeface="Segoe UI Semilight" panose="020B0402040204020203" pitchFamily="34" charset="0"/>
              </a:rPr>
              <a:t>One Drive</a:t>
            </a:r>
          </a:p>
        </p:txBody>
      </p:sp>
      <p:sp>
        <p:nvSpPr>
          <p:cNvPr id="36" name="CuadroTexto 35">
            <a:extLst>
              <a:ext uri="{FF2B5EF4-FFF2-40B4-BE49-F238E27FC236}">
                <a16:creationId xmlns:a16="http://schemas.microsoft.com/office/drawing/2014/main" id="{6839158A-9F97-47F6-A5C9-54044D7E7A3D}"/>
              </a:ext>
            </a:extLst>
          </p:cNvPr>
          <p:cNvSpPr txBox="1"/>
          <p:nvPr/>
        </p:nvSpPr>
        <p:spPr>
          <a:xfrm>
            <a:off x="1819174" y="5931095"/>
            <a:ext cx="950140" cy="276999"/>
          </a:xfrm>
          <a:prstGeom prst="rect">
            <a:avLst/>
          </a:prstGeom>
          <a:noFill/>
        </p:spPr>
        <p:txBody>
          <a:bodyPr wrap="square" rtlCol="0">
            <a:spAutoFit/>
          </a:bodyPr>
          <a:lstStyle/>
          <a:p>
            <a:pPr algn="ctr"/>
            <a:r>
              <a:rPr lang="es-ES" sz="1200">
                <a:solidFill>
                  <a:srgbClr val="0071C5"/>
                </a:solidFill>
                <a:latin typeface="Segoe UI Semilight" panose="020B0402040204020203" pitchFamily="34" charset="0"/>
                <a:cs typeface="Segoe UI Semilight" panose="020B0402040204020203" pitchFamily="34" charset="0"/>
              </a:rPr>
              <a:t>Outlook</a:t>
            </a:r>
          </a:p>
        </p:txBody>
      </p:sp>
      <p:sp>
        <p:nvSpPr>
          <p:cNvPr id="37" name="CuadroTexto 36">
            <a:extLst>
              <a:ext uri="{FF2B5EF4-FFF2-40B4-BE49-F238E27FC236}">
                <a16:creationId xmlns:a16="http://schemas.microsoft.com/office/drawing/2014/main" id="{F3706E65-80AF-44FD-B19B-769D8A5739EF}"/>
              </a:ext>
            </a:extLst>
          </p:cNvPr>
          <p:cNvSpPr txBox="1"/>
          <p:nvPr/>
        </p:nvSpPr>
        <p:spPr>
          <a:xfrm>
            <a:off x="2721450" y="5928600"/>
            <a:ext cx="950140" cy="276999"/>
          </a:xfrm>
          <a:prstGeom prst="rect">
            <a:avLst/>
          </a:prstGeom>
          <a:noFill/>
        </p:spPr>
        <p:txBody>
          <a:bodyPr wrap="square" rtlCol="0">
            <a:spAutoFit/>
          </a:bodyPr>
          <a:lstStyle/>
          <a:p>
            <a:pPr algn="ctr"/>
            <a:r>
              <a:rPr lang="es-ES" sz="1200">
                <a:solidFill>
                  <a:srgbClr val="5558AF"/>
                </a:solidFill>
                <a:latin typeface="Segoe UI Semilight" panose="020B0402040204020203" pitchFamily="34" charset="0"/>
                <a:cs typeface="Segoe UI Semilight" panose="020B0402040204020203" pitchFamily="34" charset="0"/>
              </a:rPr>
              <a:t>Teams</a:t>
            </a:r>
          </a:p>
        </p:txBody>
      </p:sp>
      <p:sp>
        <p:nvSpPr>
          <p:cNvPr id="38" name="CuadroTexto 37">
            <a:extLst>
              <a:ext uri="{FF2B5EF4-FFF2-40B4-BE49-F238E27FC236}">
                <a16:creationId xmlns:a16="http://schemas.microsoft.com/office/drawing/2014/main" id="{32BE15A1-17AC-4E8A-B8FA-9F4EBE15D4E8}"/>
              </a:ext>
            </a:extLst>
          </p:cNvPr>
          <p:cNvSpPr txBox="1"/>
          <p:nvPr/>
        </p:nvSpPr>
        <p:spPr>
          <a:xfrm>
            <a:off x="3532189" y="5909823"/>
            <a:ext cx="950140" cy="276999"/>
          </a:xfrm>
          <a:prstGeom prst="rect">
            <a:avLst/>
          </a:prstGeom>
          <a:noFill/>
        </p:spPr>
        <p:txBody>
          <a:bodyPr wrap="square" rtlCol="0">
            <a:spAutoFit/>
          </a:bodyPr>
          <a:lstStyle/>
          <a:p>
            <a:pPr algn="ctr"/>
            <a:r>
              <a:rPr lang="es-ES" sz="1200">
                <a:solidFill>
                  <a:srgbClr val="7B3577"/>
                </a:solidFill>
                <a:latin typeface="Segoe UI Semilight" panose="020B0402040204020203" pitchFamily="34" charset="0"/>
                <a:cs typeface="Segoe UI Semilight" panose="020B0402040204020203" pitchFamily="34" charset="0"/>
              </a:rPr>
              <a:t>OneNote</a:t>
            </a:r>
          </a:p>
        </p:txBody>
      </p:sp>
      <p:pic>
        <p:nvPicPr>
          <p:cNvPr id="39" name="Imagen 38">
            <a:extLst>
              <a:ext uri="{FF2B5EF4-FFF2-40B4-BE49-F238E27FC236}">
                <a16:creationId xmlns:a16="http://schemas.microsoft.com/office/drawing/2014/main" id="{8C2F29D2-E74F-49B7-A1EA-0DB03957146A}"/>
              </a:ext>
            </a:extLst>
          </p:cNvPr>
          <p:cNvPicPr>
            <a:picLocks noChangeAspect="1"/>
          </p:cNvPicPr>
          <p:nvPr/>
        </p:nvPicPr>
        <p:blipFill>
          <a:blip r:embed="rId7" cstate="hqprint">
            <a:extLst>
              <a:ext uri="{BEBA8EAE-BF5A-486C-A8C5-ECC9F3942E4B}">
                <a14:imgProps xmlns:a14="http://schemas.microsoft.com/office/drawing/2010/main">
                  <a14:imgLayer r:embed="rId8">
                    <a14:imgEffect>
                      <a14:backgroundRemoval t="10000" b="90000" l="10000" r="92530">
                        <a14:foregroundMark x1="10843" y1="39250" x2="23373" y2="54000"/>
                        <a14:foregroundMark x1="77952" y1="45000" x2="92530" y2="61750"/>
                        <a14:foregroundMark x1="25542" y1="33750" x2="13012" y2="43750"/>
                        <a14:foregroundMark x1="25542" y1="36000" x2="23855" y2="60500"/>
                        <a14:foregroundMark x1="27590" y1="40500" x2="18434" y2="62750"/>
                        <a14:foregroundMark x1="20120" y1="41500" x2="15181" y2="49500"/>
                        <a14:foregroundMark x1="27108" y1="42750" x2="27590" y2="58250"/>
                        <a14:foregroundMark x1="55783" y1="36000" x2="60120" y2="34750"/>
                        <a14:foregroundMark x1="85542" y1="34750" x2="79036" y2="66250"/>
                      </a14:backgroundRemoval>
                    </a14:imgEffect>
                  </a14:imgLayer>
                </a14:imgProps>
              </a:ext>
              <a:ext uri="{28A0092B-C50C-407E-A947-70E740481C1C}">
                <a14:useLocalDpi xmlns:a14="http://schemas.microsoft.com/office/drawing/2010/main" val="0"/>
              </a:ext>
            </a:extLst>
          </a:blip>
          <a:stretch>
            <a:fillRect/>
          </a:stretch>
        </p:blipFill>
        <p:spPr>
          <a:xfrm>
            <a:off x="4880584" y="5101770"/>
            <a:ext cx="1501742" cy="723731"/>
          </a:xfrm>
          <a:prstGeom prst="rect">
            <a:avLst/>
          </a:prstGeom>
        </p:spPr>
      </p:pic>
      <p:pic>
        <p:nvPicPr>
          <p:cNvPr id="40" name="Imagen 39" descr="Imagen que contiene texto&#10;&#10;Descripción generada con confianza alta">
            <a:extLst>
              <a:ext uri="{FF2B5EF4-FFF2-40B4-BE49-F238E27FC236}">
                <a16:creationId xmlns:a16="http://schemas.microsoft.com/office/drawing/2014/main" id="{5C0095F9-8568-49B4-B4A5-793CA65022F3}"/>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6539468" y="5216428"/>
            <a:ext cx="457955" cy="447051"/>
          </a:xfrm>
          <a:prstGeom prst="rect">
            <a:avLst/>
          </a:prstGeom>
        </p:spPr>
      </p:pic>
      <p:pic>
        <p:nvPicPr>
          <p:cNvPr id="41" name="Imagen 40">
            <a:extLst>
              <a:ext uri="{FF2B5EF4-FFF2-40B4-BE49-F238E27FC236}">
                <a16:creationId xmlns:a16="http://schemas.microsoft.com/office/drawing/2014/main" id="{D15CAC94-36EE-4004-8154-0C4E8D515D6D}"/>
              </a:ext>
            </a:extLst>
          </p:cNvPr>
          <p:cNvPicPr>
            <a:picLocks noChangeAspect="1"/>
          </p:cNvPicPr>
          <p:nvPr/>
        </p:nvPicPr>
        <p:blipFill rotWithShape="1">
          <a:blip r:embed="rId10" cstate="hqprint">
            <a:extLst>
              <a:ext uri="{28A0092B-C50C-407E-A947-70E740481C1C}">
                <a14:useLocalDpi xmlns:a14="http://schemas.microsoft.com/office/drawing/2010/main" val="0"/>
              </a:ext>
            </a:extLst>
          </a:blip>
          <a:srcRect b="43946"/>
          <a:stretch/>
        </p:blipFill>
        <p:spPr>
          <a:xfrm>
            <a:off x="6898627" y="5068726"/>
            <a:ext cx="1067715" cy="594753"/>
          </a:xfrm>
          <a:prstGeom prst="rect">
            <a:avLst/>
          </a:prstGeom>
        </p:spPr>
      </p:pic>
      <p:sp>
        <p:nvSpPr>
          <p:cNvPr id="42" name="CuadroTexto 41">
            <a:extLst>
              <a:ext uri="{FF2B5EF4-FFF2-40B4-BE49-F238E27FC236}">
                <a16:creationId xmlns:a16="http://schemas.microsoft.com/office/drawing/2014/main" id="{BB49EB3F-7C71-4B7F-BE00-1299839040C1}"/>
              </a:ext>
            </a:extLst>
          </p:cNvPr>
          <p:cNvSpPr txBox="1"/>
          <p:nvPr/>
        </p:nvSpPr>
        <p:spPr>
          <a:xfrm>
            <a:off x="4883697" y="5909806"/>
            <a:ext cx="622629" cy="276999"/>
          </a:xfrm>
          <a:prstGeom prst="rect">
            <a:avLst/>
          </a:prstGeom>
          <a:noFill/>
        </p:spPr>
        <p:txBody>
          <a:bodyPr wrap="square" rtlCol="0">
            <a:spAutoFit/>
          </a:bodyPr>
          <a:lstStyle/>
          <a:p>
            <a:pPr algn="ctr"/>
            <a:r>
              <a:rPr lang="es-ES" sz="1200">
                <a:solidFill>
                  <a:srgbClr val="295498"/>
                </a:solidFill>
                <a:latin typeface="Segoe UI Semilight" panose="020B0402040204020203" pitchFamily="34" charset="0"/>
                <a:cs typeface="Segoe UI Semilight" panose="020B0402040204020203" pitchFamily="34" charset="0"/>
              </a:rPr>
              <a:t>Word</a:t>
            </a:r>
          </a:p>
        </p:txBody>
      </p:sp>
      <p:sp>
        <p:nvSpPr>
          <p:cNvPr id="43" name="CuadroTexto 42">
            <a:extLst>
              <a:ext uri="{FF2B5EF4-FFF2-40B4-BE49-F238E27FC236}">
                <a16:creationId xmlns:a16="http://schemas.microsoft.com/office/drawing/2014/main" id="{C886889A-CE61-481B-9673-6A3D4B8523A5}"/>
              </a:ext>
            </a:extLst>
          </p:cNvPr>
          <p:cNvSpPr txBox="1"/>
          <p:nvPr/>
        </p:nvSpPr>
        <p:spPr>
          <a:xfrm>
            <a:off x="5381500" y="5909806"/>
            <a:ext cx="577308" cy="276999"/>
          </a:xfrm>
          <a:prstGeom prst="rect">
            <a:avLst/>
          </a:prstGeom>
          <a:noFill/>
        </p:spPr>
        <p:txBody>
          <a:bodyPr wrap="square" rtlCol="0">
            <a:spAutoFit/>
          </a:bodyPr>
          <a:lstStyle/>
          <a:p>
            <a:pPr algn="ctr"/>
            <a:r>
              <a:rPr lang="es-ES" sz="1200">
                <a:solidFill>
                  <a:srgbClr val="1F7244"/>
                </a:solidFill>
                <a:latin typeface="Segoe UI Semilight" panose="020B0402040204020203" pitchFamily="34" charset="0"/>
                <a:cs typeface="Segoe UI Semilight" panose="020B0402040204020203" pitchFamily="34" charset="0"/>
              </a:rPr>
              <a:t>Excel</a:t>
            </a:r>
          </a:p>
        </p:txBody>
      </p:sp>
      <p:sp>
        <p:nvSpPr>
          <p:cNvPr id="44" name="CuadroTexto 43">
            <a:extLst>
              <a:ext uri="{FF2B5EF4-FFF2-40B4-BE49-F238E27FC236}">
                <a16:creationId xmlns:a16="http://schemas.microsoft.com/office/drawing/2014/main" id="{A7652A67-9399-43C6-8464-B60A1D5F30E8}"/>
              </a:ext>
            </a:extLst>
          </p:cNvPr>
          <p:cNvSpPr txBox="1"/>
          <p:nvPr/>
        </p:nvSpPr>
        <p:spPr>
          <a:xfrm>
            <a:off x="6192239" y="5909422"/>
            <a:ext cx="1148012" cy="276999"/>
          </a:xfrm>
          <a:prstGeom prst="rect">
            <a:avLst/>
          </a:prstGeom>
          <a:noFill/>
        </p:spPr>
        <p:txBody>
          <a:bodyPr wrap="square" rtlCol="0">
            <a:spAutoFit/>
          </a:bodyPr>
          <a:lstStyle/>
          <a:p>
            <a:pPr algn="ctr"/>
            <a:r>
              <a:rPr lang="es-ES" sz="1200">
                <a:solidFill>
                  <a:srgbClr val="D04423"/>
                </a:solidFill>
                <a:latin typeface="Segoe UI Semilight" panose="020B0402040204020203" pitchFamily="34" charset="0"/>
                <a:cs typeface="Segoe UI Semilight" panose="020B0402040204020203" pitchFamily="34" charset="0"/>
              </a:rPr>
              <a:t>Office Mix</a:t>
            </a:r>
          </a:p>
        </p:txBody>
      </p:sp>
      <p:sp>
        <p:nvSpPr>
          <p:cNvPr id="45" name="CuadroTexto 44">
            <a:extLst>
              <a:ext uri="{FF2B5EF4-FFF2-40B4-BE49-F238E27FC236}">
                <a16:creationId xmlns:a16="http://schemas.microsoft.com/office/drawing/2014/main" id="{3FC92160-7B07-4E8D-8D36-DC48AF072C25}"/>
              </a:ext>
            </a:extLst>
          </p:cNvPr>
          <p:cNvSpPr txBox="1"/>
          <p:nvPr/>
        </p:nvSpPr>
        <p:spPr>
          <a:xfrm>
            <a:off x="5708467" y="5911543"/>
            <a:ext cx="830275" cy="461665"/>
          </a:xfrm>
          <a:prstGeom prst="rect">
            <a:avLst/>
          </a:prstGeom>
          <a:noFill/>
        </p:spPr>
        <p:txBody>
          <a:bodyPr wrap="square" rtlCol="0">
            <a:spAutoFit/>
          </a:bodyPr>
          <a:lstStyle/>
          <a:p>
            <a:pPr algn="ctr"/>
            <a:r>
              <a:rPr lang="es-ES" sz="1200">
                <a:solidFill>
                  <a:srgbClr val="D04423"/>
                </a:solidFill>
                <a:latin typeface="Segoe UI Semilight" panose="020B0402040204020203" pitchFamily="34" charset="0"/>
                <a:cs typeface="Segoe UI Semilight" panose="020B0402040204020203" pitchFamily="34" charset="0"/>
              </a:rPr>
              <a:t>Power</a:t>
            </a:r>
          </a:p>
          <a:p>
            <a:pPr algn="ctr"/>
            <a:r>
              <a:rPr lang="es-ES" sz="1200">
                <a:solidFill>
                  <a:srgbClr val="D04423"/>
                </a:solidFill>
                <a:latin typeface="Segoe UI Semilight" panose="020B0402040204020203" pitchFamily="34" charset="0"/>
                <a:cs typeface="Segoe UI Semilight" panose="020B0402040204020203" pitchFamily="34" charset="0"/>
              </a:rPr>
              <a:t>Point</a:t>
            </a:r>
          </a:p>
        </p:txBody>
      </p:sp>
      <p:pic>
        <p:nvPicPr>
          <p:cNvPr id="46" name="Imagen 45">
            <a:extLst>
              <a:ext uri="{FF2B5EF4-FFF2-40B4-BE49-F238E27FC236}">
                <a16:creationId xmlns:a16="http://schemas.microsoft.com/office/drawing/2014/main" id="{376A73D3-D63B-4492-9B46-588D0F6BB7A9}"/>
              </a:ext>
            </a:extLst>
          </p:cNvPr>
          <p:cNvPicPr>
            <a:picLocks noChangeAspect="1"/>
          </p:cNvPicPr>
          <p:nvPr/>
        </p:nvPicPr>
        <p:blipFill rotWithShape="1">
          <a:blip r:embed="rId10" cstate="hqprint">
            <a:extLst>
              <a:ext uri="{28A0092B-C50C-407E-A947-70E740481C1C}">
                <a14:useLocalDpi xmlns:a14="http://schemas.microsoft.com/office/drawing/2010/main" val="0"/>
              </a:ext>
            </a:extLst>
          </a:blip>
          <a:srcRect t="54043" b="-1"/>
          <a:stretch/>
        </p:blipFill>
        <p:spPr>
          <a:xfrm>
            <a:off x="7049050" y="5961781"/>
            <a:ext cx="1067715" cy="487635"/>
          </a:xfrm>
          <a:prstGeom prst="rect">
            <a:avLst/>
          </a:prstGeom>
        </p:spPr>
      </p:pic>
      <p:pic>
        <p:nvPicPr>
          <p:cNvPr id="47" name="Imagen 46" descr="Imagen que contiene texto, gráficos vectoriales, señal&#10;&#10;Descripción generada con confianza alta">
            <a:extLst>
              <a:ext uri="{FF2B5EF4-FFF2-40B4-BE49-F238E27FC236}">
                <a16:creationId xmlns:a16="http://schemas.microsoft.com/office/drawing/2014/main" id="{16BF381E-1B8D-4FC1-A8A4-B103FCA595D2}"/>
              </a:ext>
            </a:extLst>
          </p:cNvPr>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8519807" y="5259952"/>
            <a:ext cx="360000" cy="360000"/>
          </a:xfrm>
          <a:prstGeom prst="rect">
            <a:avLst/>
          </a:prstGeom>
        </p:spPr>
      </p:pic>
      <p:pic>
        <p:nvPicPr>
          <p:cNvPr id="48" name="Imagen 47" descr="Imagen que contiene señal, kit de primeros auxilios, texto, objeto&#10;&#10;Descripción generada con confianza muy alta">
            <a:extLst>
              <a:ext uri="{FF2B5EF4-FFF2-40B4-BE49-F238E27FC236}">
                <a16:creationId xmlns:a16="http://schemas.microsoft.com/office/drawing/2014/main" id="{3BA58B8E-C98B-40B7-8785-3B385D58CCD3}"/>
              </a:ext>
            </a:extLst>
          </p:cNvPr>
          <p:cNvPicPr>
            <a:picLocks noChangeAspect="1"/>
          </p:cNvPicPr>
          <p:nvPr/>
        </p:nvPicPr>
        <p:blipFill>
          <a:blip r:embed="rId12" cstate="hqprint">
            <a:extLst>
              <a:ext uri="{BEBA8EAE-BF5A-486C-A8C5-ECC9F3942E4B}">
                <a14:imgProps xmlns:a14="http://schemas.microsoft.com/office/drawing/2010/main">
                  <a14:imgLayer r:embed="rId13">
                    <a14:imgEffect>
                      <a14:backgroundRemoval t="10000" b="90000" l="10000" r="90000">
                        <a14:foregroundMark x1="78000" y1="33143" x2="75714" y2="86286"/>
                      </a14:backgroundRemoval>
                    </a14:imgEffect>
                  </a14:imgLayer>
                </a14:imgProps>
              </a:ext>
              <a:ext uri="{28A0092B-C50C-407E-A947-70E740481C1C}">
                <a14:useLocalDpi xmlns:a14="http://schemas.microsoft.com/office/drawing/2010/main" val="0"/>
              </a:ext>
            </a:extLst>
          </a:blip>
          <a:stretch>
            <a:fillRect/>
          </a:stretch>
        </p:blipFill>
        <p:spPr>
          <a:xfrm>
            <a:off x="9227361" y="5216428"/>
            <a:ext cx="411825" cy="411825"/>
          </a:xfrm>
          <a:prstGeom prst="rect">
            <a:avLst/>
          </a:prstGeom>
        </p:spPr>
      </p:pic>
      <p:pic>
        <p:nvPicPr>
          <p:cNvPr id="49" name="Imagen 48">
            <a:extLst>
              <a:ext uri="{FF2B5EF4-FFF2-40B4-BE49-F238E27FC236}">
                <a16:creationId xmlns:a16="http://schemas.microsoft.com/office/drawing/2014/main" id="{976F8185-CC75-487B-8D63-DEAB201EFCDB}"/>
              </a:ext>
            </a:extLst>
          </p:cNvPr>
          <p:cNvPicPr>
            <a:picLocks noChangeAspect="1"/>
          </p:cNvPicPr>
          <p:nvPr/>
        </p:nvPicPr>
        <p:blipFill>
          <a:blip r:embed="rId14" cstate="hqprint">
            <a:extLst>
              <a:ext uri="{28A0092B-C50C-407E-A947-70E740481C1C}">
                <a14:useLocalDpi xmlns:a14="http://schemas.microsoft.com/office/drawing/2010/main" val="0"/>
              </a:ext>
            </a:extLst>
          </a:blip>
          <a:stretch>
            <a:fillRect/>
          </a:stretch>
        </p:blipFill>
        <p:spPr>
          <a:xfrm>
            <a:off x="9938055" y="5241817"/>
            <a:ext cx="360000" cy="360000"/>
          </a:xfrm>
          <a:prstGeom prst="rect">
            <a:avLst/>
          </a:prstGeom>
        </p:spPr>
      </p:pic>
      <p:pic>
        <p:nvPicPr>
          <p:cNvPr id="50" name="Imagen 49">
            <a:extLst>
              <a:ext uri="{FF2B5EF4-FFF2-40B4-BE49-F238E27FC236}">
                <a16:creationId xmlns:a16="http://schemas.microsoft.com/office/drawing/2014/main" id="{A5862EE5-67D4-431F-A0D1-73401F2D308E}"/>
              </a:ext>
            </a:extLst>
          </p:cNvPr>
          <p:cNvPicPr>
            <a:picLocks noChangeAspect="1"/>
          </p:cNvPicPr>
          <p:nvPr/>
        </p:nvPicPr>
        <p:blipFill rotWithShape="1">
          <a:blip r:embed="rId15" cstate="hqprint">
            <a:extLst>
              <a:ext uri="{28A0092B-C50C-407E-A947-70E740481C1C}">
                <a14:useLocalDpi xmlns:a14="http://schemas.microsoft.com/office/drawing/2010/main" val="0"/>
              </a:ext>
            </a:extLst>
          </a:blip>
          <a:srcRect t="26055" b="24108"/>
          <a:stretch/>
        </p:blipFill>
        <p:spPr>
          <a:xfrm>
            <a:off x="10689392" y="5330474"/>
            <a:ext cx="781050" cy="218958"/>
          </a:xfrm>
          <a:prstGeom prst="rect">
            <a:avLst/>
          </a:prstGeom>
        </p:spPr>
      </p:pic>
      <p:sp>
        <p:nvSpPr>
          <p:cNvPr id="51" name="CuadroTexto 50">
            <a:extLst>
              <a:ext uri="{FF2B5EF4-FFF2-40B4-BE49-F238E27FC236}">
                <a16:creationId xmlns:a16="http://schemas.microsoft.com/office/drawing/2014/main" id="{F5403F65-961B-4C67-B5E8-5E6C92448894}"/>
              </a:ext>
            </a:extLst>
          </p:cNvPr>
          <p:cNvSpPr txBox="1"/>
          <p:nvPr/>
        </p:nvSpPr>
        <p:spPr>
          <a:xfrm>
            <a:off x="8278042" y="5961780"/>
            <a:ext cx="830275" cy="276999"/>
          </a:xfrm>
          <a:prstGeom prst="rect">
            <a:avLst/>
          </a:prstGeom>
          <a:noFill/>
        </p:spPr>
        <p:txBody>
          <a:bodyPr wrap="square" rtlCol="0">
            <a:spAutoFit/>
          </a:bodyPr>
          <a:lstStyle/>
          <a:p>
            <a:pPr algn="ctr"/>
            <a:r>
              <a:rPr lang="es-ES" sz="1200">
                <a:solidFill>
                  <a:srgbClr val="16897C"/>
                </a:solidFill>
                <a:latin typeface="Segoe UI Semilight" panose="020B0402040204020203" pitchFamily="34" charset="0"/>
                <a:cs typeface="Segoe UI Semilight" panose="020B0402040204020203" pitchFamily="34" charset="0"/>
              </a:rPr>
              <a:t>Sway</a:t>
            </a:r>
          </a:p>
        </p:txBody>
      </p:sp>
      <p:sp>
        <p:nvSpPr>
          <p:cNvPr id="52" name="CuadroTexto 51">
            <a:extLst>
              <a:ext uri="{FF2B5EF4-FFF2-40B4-BE49-F238E27FC236}">
                <a16:creationId xmlns:a16="http://schemas.microsoft.com/office/drawing/2014/main" id="{15F4D05E-068F-48C9-9A6D-852A80A0B414}"/>
              </a:ext>
            </a:extLst>
          </p:cNvPr>
          <p:cNvSpPr txBox="1"/>
          <p:nvPr/>
        </p:nvSpPr>
        <p:spPr>
          <a:xfrm>
            <a:off x="9137463" y="5976721"/>
            <a:ext cx="636841" cy="276999"/>
          </a:xfrm>
          <a:prstGeom prst="rect">
            <a:avLst/>
          </a:prstGeom>
          <a:noFill/>
        </p:spPr>
        <p:txBody>
          <a:bodyPr wrap="square" rtlCol="0">
            <a:spAutoFit/>
          </a:bodyPr>
          <a:lstStyle/>
          <a:p>
            <a:pPr algn="ctr"/>
            <a:r>
              <a:rPr lang="es-ES" sz="1200">
                <a:solidFill>
                  <a:srgbClr val="008372"/>
                </a:solidFill>
                <a:latin typeface="Segoe UI Semilight" panose="020B0402040204020203" pitchFamily="34" charset="0"/>
                <a:cs typeface="Segoe UI Semilight" panose="020B0402040204020203" pitchFamily="34" charset="0"/>
              </a:rPr>
              <a:t>Forms</a:t>
            </a:r>
          </a:p>
        </p:txBody>
      </p:sp>
      <p:sp>
        <p:nvSpPr>
          <p:cNvPr id="53" name="CuadroTexto 52">
            <a:extLst>
              <a:ext uri="{FF2B5EF4-FFF2-40B4-BE49-F238E27FC236}">
                <a16:creationId xmlns:a16="http://schemas.microsoft.com/office/drawing/2014/main" id="{043486F3-BE46-46D5-9341-AD7FCE92902F}"/>
              </a:ext>
            </a:extLst>
          </p:cNvPr>
          <p:cNvSpPr txBox="1"/>
          <p:nvPr/>
        </p:nvSpPr>
        <p:spPr>
          <a:xfrm>
            <a:off x="9609875" y="5974765"/>
            <a:ext cx="1038279" cy="461665"/>
          </a:xfrm>
          <a:prstGeom prst="rect">
            <a:avLst/>
          </a:prstGeom>
          <a:noFill/>
        </p:spPr>
        <p:txBody>
          <a:bodyPr wrap="square" rtlCol="0">
            <a:spAutoFit/>
          </a:bodyPr>
          <a:lstStyle/>
          <a:p>
            <a:pPr algn="ctr"/>
            <a:r>
              <a:rPr lang="es-ES" sz="1200">
                <a:solidFill>
                  <a:srgbClr val="7DC241"/>
                </a:solidFill>
                <a:latin typeface="Segoe UI Semilight" panose="020B0402040204020203" pitchFamily="34" charset="0"/>
                <a:cs typeface="Segoe UI Semilight" panose="020B0402040204020203" pitchFamily="34" charset="0"/>
              </a:rPr>
              <a:t>Learning Tools</a:t>
            </a:r>
          </a:p>
        </p:txBody>
      </p:sp>
      <p:sp>
        <p:nvSpPr>
          <p:cNvPr id="54" name="CuadroTexto 53">
            <a:extLst>
              <a:ext uri="{FF2B5EF4-FFF2-40B4-BE49-F238E27FC236}">
                <a16:creationId xmlns:a16="http://schemas.microsoft.com/office/drawing/2014/main" id="{D9F91747-1A05-422D-AF0E-24AB8CF087A6}"/>
              </a:ext>
            </a:extLst>
          </p:cNvPr>
          <p:cNvSpPr txBox="1"/>
          <p:nvPr/>
        </p:nvSpPr>
        <p:spPr>
          <a:xfrm>
            <a:off x="10601427" y="5900822"/>
            <a:ext cx="938501" cy="646331"/>
          </a:xfrm>
          <a:prstGeom prst="rect">
            <a:avLst/>
          </a:prstGeom>
          <a:noFill/>
        </p:spPr>
        <p:txBody>
          <a:bodyPr wrap="square" rtlCol="0">
            <a:spAutoFit/>
          </a:bodyPr>
          <a:lstStyle/>
          <a:p>
            <a:pPr algn="ctr"/>
            <a:r>
              <a:rPr lang="es-ES" sz="1200">
                <a:solidFill>
                  <a:schemeClr val="tx1">
                    <a:lumMod val="85000"/>
                    <a:lumOff val="15000"/>
                  </a:schemeClr>
                </a:solidFill>
                <a:latin typeface="Segoe UI Semilight" panose="020B0402040204020203" pitchFamily="34" charset="0"/>
                <a:cs typeface="Segoe UI Semilight" panose="020B0402040204020203" pitchFamily="34" charset="0"/>
              </a:rPr>
              <a:t>Minecraft</a:t>
            </a:r>
          </a:p>
          <a:p>
            <a:pPr algn="ctr"/>
            <a:r>
              <a:rPr lang="es-ES" sz="1200">
                <a:solidFill>
                  <a:schemeClr val="tx1">
                    <a:lumMod val="85000"/>
                    <a:lumOff val="15000"/>
                  </a:schemeClr>
                </a:solidFill>
                <a:latin typeface="Segoe UI Semilight" panose="020B0402040204020203" pitchFamily="34" charset="0"/>
                <a:cs typeface="Segoe UI Semilight" panose="020B0402040204020203" pitchFamily="34" charset="0"/>
              </a:rPr>
              <a:t>Education Edition</a:t>
            </a:r>
          </a:p>
        </p:txBody>
      </p:sp>
      <p:pic>
        <p:nvPicPr>
          <p:cNvPr id="57" name="Imagen 56">
            <a:extLst>
              <a:ext uri="{FF2B5EF4-FFF2-40B4-BE49-F238E27FC236}">
                <a16:creationId xmlns:a16="http://schemas.microsoft.com/office/drawing/2014/main" id="{83C5A812-9E85-4E99-94A9-B5CBFC62073B}"/>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09660" y="1940421"/>
            <a:ext cx="575218" cy="651767"/>
          </a:xfrm>
          <a:prstGeom prst="rect">
            <a:avLst/>
          </a:prstGeom>
        </p:spPr>
      </p:pic>
      <p:sp>
        <p:nvSpPr>
          <p:cNvPr id="58" name="CuadroTexto 57">
            <a:extLst>
              <a:ext uri="{FF2B5EF4-FFF2-40B4-BE49-F238E27FC236}">
                <a16:creationId xmlns:a16="http://schemas.microsoft.com/office/drawing/2014/main" id="{EB078A92-8072-4E96-87CF-E3161BEC8B88}"/>
              </a:ext>
            </a:extLst>
          </p:cNvPr>
          <p:cNvSpPr txBox="1"/>
          <p:nvPr/>
        </p:nvSpPr>
        <p:spPr>
          <a:xfrm>
            <a:off x="419760" y="2628087"/>
            <a:ext cx="1155018" cy="461665"/>
          </a:xfrm>
          <a:prstGeom prst="rect">
            <a:avLst/>
          </a:prstGeom>
          <a:noFill/>
        </p:spPr>
        <p:txBody>
          <a:bodyPr wrap="square" rtlCol="0">
            <a:spAutoFit/>
          </a:bodyPr>
          <a:lstStyle/>
          <a:p>
            <a:pPr algn="ctr"/>
            <a:r>
              <a:rPr lang="es-ES" sz="1200">
                <a:latin typeface="Trebuchet MS" panose="020B0603020202020204" pitchFamily="34" charset="0"/>
                <a:ea typeface="Open Sans" panose="020B0606030504020204" pitchFamily="34" charset="0"/>
                <a:cs typeface="Open Sans" panose="020B0606030504020204" pitchFamily="34" charset="0"/>
              </a:rPr>
              <a:t>HP Classroom Manager</a:t>
            </a:r>
          </a:p>
        </p:txBody>
      </p:sp>
      <p:pic>
        <p:nvPicPr>
          <p:cNvPr id="59" name="Imagen 58">
            <a:extLst>
              <a:ext uri="{FF2B5EF4-FFF2-40B4-BE49-F238E27FC236}">
                <a16:creationId xmlns:a16="http://schemas.microsoft.com/office/drawing/2014/main" id="{18935699-A591-4E03-A91E-4F844B67FEAF}"/>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938384" y="2171295"/>
            <a:ext cx="428046" cy="570049"/>
          </a:xfrm>
          <a:prstGeom prst="rect">
            <a:avLst/>
          </a:prstGeom>
        </p:spPr>
      </p:pic>
      <p:pic>
        <p:nvPicPr>
          <p:cNvPr id="60" name="Imagen 59">
            <a:extLst>
              <a:ext uri="{FF2B5EF4-FFF2-40B4-BE49-F238E27FC236}">
                <a16:creationId xmlns:a16="http://schemas.microsoft.com/office/drawing/2014/main" id="{64ECEF0A-5290-4925-9CC9-E876D09B3AB3}"/>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856006" y="1961761"/>
            <a:ext cx="575218" cy="543969"/>
          </a:xfrm>
          <a:prstGeom prst="rect">
            <a:avLst/>
          </a:prstGeom>
        </p:spPr>
      </p:pic>
      <p:pic>
        <p:nvPicPr>
          <p:cNvPr id="61" name="Imagen 60">
            <a:extLst>
              <a:ext uri="{FF2B5EF4-FFF2-40B4-BE49-F238E27FC236}">
                <a16:creationId xmlns:a16="http://schemas.microsoft.com/office/drawing/2014/main" id="{9C7234EA-88F0-4A83-BA05-7B2C71D39773}"/>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823632" y="1959779"/>
            <a:ext cx="713293" cy="348241"/>
          </a:xfrm>
          <a:prstGeom prst="rect">
            <a:avLst/>
          </a:prstGeom>
        </p:spPr>
      </p:pic>
      <p:sp>
        <p:nvSpPr>
          <p:cNvPr id="62" name="CuadroTexto 61">
            <a:extLst>
              <a:ext uri="{FF2B5EF4-FFF2-40B4-BE49-F238E27FC236}">
                <a16:creationId xmlns:a16="http://schemas.microsoft.com/office/drawing/2014/main" id="{F4584057-44CE-45F0-BE13-032A11FB92FE}"/>
              </a:ext>
            </a:extLst>
          </p:cNvPr>
          <p:cNvSpPr txBox="1"/>
          <p:nvPr/>
        </p:nvSpPr>
        <p:spPr>
          <a:xfrm>
            <a:off x="1601041" y="2558738"/>
            <a:ext cx="1093345" cy="646331"/>
          </a:xfrm>
          <a:prstGeom prst="rect">
            <a:avLst/>
          </a:prstGeom>
          <a:noFill/>
        </p:spPr>
        <p:txBody>
          <a:bodyPr wrap="square" rtlCol="0">
            <a:spAutoFit/>
          </a:bodyPr>
          <a:lstStyle/>
          <a:p>
            <a:pPr algn="ctr"/>
            <a:r>
              <a:rPr lang="es-ES" sz="1200">
                <a:latin typeface="Trebuchet MS" panose="020B0603020202020204" pitchFamily="34" charset="0"/>
                <a:ea typeface="Open Sans" panose="020B0606030504020204" pitchFamily="34" charset="0"/>
                <a:cs typeface="Open Sans" panose="020B0606030504020204" pitchFamily="34" charset="0"/>
              </a:rPr>
              <a:t>HP Prime Graphing Calculator</a:t>
            </a:r>
          </a:p>
        </p:txBody>
      </p:sp>
      <p:graphicFrame>
        <p:nvGraphicFramePr>
          <p:cNvPr id="63" name="Objeto 62">
            <a:extLst>
              <a:ext uri="{FF2B5EF4-FFF2-40B4-BE49-F238E27FC236}">
                <a16:creationId xmlns:a16="http://schemas.microsoft.com/office/drawing/2014/main" id="{7242D4A4-C1DB-4D4E-8209-63FF8B8CF9E2}"/>
              </a:ext>
            </a:extLst>
          </p:cNvPr>
          <p:cNvGraphicFramePr>
            <a:graphicFrameLocks noChangeAspect="1"/>
          </p:cNvGraphicFramePr>
          <p:nvPr/>
        </p:nvGraphicFramePr>
        <p:xfrm>
          <a:off x="2983931" y="2993820"/>
          <a:ext cx="328945" cy="345650"/>
        </p:xfrm>
        <a:graphic>
          <a:graphicData uri="http://schemas.openxmlformats.org/presentationml/2006/ole">
            <mc:AlternateContent xmlns:mc="http://schemas.openxmlformats.org/markup-compatibility/2006">
              <mc:Choice xmlns:v="urn:schemas-microsoft-com:vml" Requires="v">
                <p:oleObj spid="_x0000_s1094" name="Image" r:id="rId20" imgW="2272680" imgH="2107800" progId="Photoshop.Image.13">
                  <p:embed/>
                </p:oleObj>
              </mc:Choice>
              <mc:Fallback>
                <p:oleObj name="Image" r:id="rId20" imgW="2272680" imgH="2107800" progId="Photoshop.Image.13">
                  <p:embed/>
                  <p:pic>
                    <p:nvPicPr>
                      <p:cNvPr id="63" name="Objeto 62">
                        <a:extLst>
                          <a:ext uri="{FF2B5EF4-FFF2-40B4-BE49-F238E27FC236}">
                            <a16:creationId xmlns:a16="http://schemas.microsoft.com/office/drawing/2014/main" id="{7242D4A4-C1DB-4D4E-8209-63FF8B8CF9E2}"/>
                          </a:ext>
                        </a:extLst>
                      </p:cNvPr>
                      <p:cNvPicPr/>
                      <p:nvPr/>
                    </p:nvPicPr>
                    <p:blipFill>
                      <a:blip r:embed="rId21"/>
                      <a:stretch>
                        <a:fillRect/>
                      </a:stretch>
                    </p:blipFill>
                    <p:spPr>
                      <a:xfrm>
                        <a:off x="2983931" y="2993820"/>
                        <a:ext cx="328945" cy="345650"/>
                      </a:xfrm>
                      <a:prstGeom prst="rect">
                        <a:avLst/>
                      </a:prstGeom>
                    </p:spPr>
                  </p:pic>
                </p:oleObj>
              </mc:Fallback>
            </mc:AlternateContent>
          </a:graphicData>
        </a:graphic>
      </p:graphicFrame>
      <p:pic>
        <p:nvPicPr>
          <p:cNvPr id="64" name="Imagen 63">
            <a:extLst>
              <a:ext uri="{FF2B5EF4-FFF2-40B4-BE49-F238E27FC236}">
                <a16:creationId xmlns:a16="http://schemas.microsoft.com/office/drawing/2014/main" id="{45CBD372-CBEC-49A3-9F32-B7529196FF95}"/>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463554" y="3208894"/>
            <a:ext cx="377419" cy="543946"/>
          </a:xfrm>
          <a:prstGeom prst="rect">
            <a:avLst/>
          </a:prstGeom>
        </p:spPr>
      </p:pic>
      <p:sp>
        <p:nvSpPr>
          <p:cNvPr id="65" name="CuadroTexto 64">
            <a:extLst>
              <a:ext uri="{FF2B5EF4-FFF2-40B4-BE49-F238E27FC236}">
                <a16:creationId xmlns:a16="http://schemas.microsoft.com/office/drawing/2014/main" id="{A1C2A9AF-A782-4CEC-9E7F-F3B603C79019}"/>
              </a:ext>
            </a:extLst>
          </p:cNvPr>
          <p:cNvSpPr txBox="1"/>
          <p:nvPr/>
        </p:nvSpPr>
        <p:spPr>
          <a:xfrm>
            <a:off x="2492578" y="3446632"/>
            <a:ext cx="1155018" cy="276999"/>
          </a:xfrm>
          <a:prstGeom prst="rect">
            <a:avLst/>
          </a:prstGeom>
          <a:noFill/>
        </p:spPr>
        <p:txBody>
          <a:bodyPr wrap="square" rtlCol="0">
            <a:spAutoFit/>
          </a:bodyPr>
          <a:lstStyle/>
          <a:p>
            <a:pPr algn="ctr"/>
            <a:r>
              <a:rPr lang="es-ES" sz="1200">
                <a:latin typeface="Trebuchet MS" panose="020B0603020202020204" pitchFamily="34" charset="0"/>
                <a:ea typeface="Open Sans" panose="020B0606030504020204" pitchFamily="34" charset="0"/>
                <a:cs typeface="Open Sans" panose="020B0606030504020204" pitchFamily="34" charset="0"/>
              </a:rPr>
              <a:t>ClassLink</a:t>
            </a:r>
          </a:p>
        </p:txBody>
      </p:sp>
      <p:sp>
        <p:nvSpPr>
          <p:cNvPr id="66" name="CuadroTexto 65">
            <a:extLst>
              <a:ext uri="{FF2B5EF4-FFF2-40B4-BE49-F238E27FC236}">
                <a16:creationId xmlns:a16="http://schemas.microsoft.com/office/drawing/2014/main" id="{A0DA6D0F-7E81-4DA5-95D3-611F1F4A89EE}"/>
              </a:ext>
            </a:extLst>
          </p:cNvPr>
          <p:cNvSpPr txBox="1"/>
          <p:nvPr/>
        </p:nvSpPr>
        <p:spPr>
          <a:xfrm>
            <a:off x="571508" y="3345552"/>
            <a:ext cx="2287526" cy="430887"/>
          </a:xfrm>
          <a:prstGeom prst="rect">
            <a:avLst/>
          </a:prstGeom>
          <a:noFill/>
        </p:spPr>
        <p:txBody>
          <a:bodyPr wrap="square" rtlCol="0">
            <a:spAutoFit/>
          </a:bodyPr>
          <a:lstStyle/>
          <a:p>
            <a:pPr algn="ctr"/>
            <a:r>
              <a:rPr lang="es-ES" sz="1100">
                <a:latin typeface="Trebuchet MS" panose="020B0603020202020204" pitchFamily="34" charset="0"/>
                <a:ea typeface="Open Sans" panose="020B0606030504020204" pitchFamily="34" charset="0"/>
                <a:cs typeface="Open Sans" panose="020B0606030504020204" pitchFamily="34" charset="0"/>
              </a:rPr>
              <a:t>OUP Advanced Learner’s Dictionary</a:t>
            </a:r>
          </a:p>
        </p:txBody>
      </p:sp>
      <p:pic>
        <p:nvPicPr>
          <p:cNvPr id="67" name="Imagen 66">
            <a:extLst>
              <a:ext uri="{FF2B5EF4-FFF2-40B4-BE49-F238E27FC236}">
                <a16:creationId xmlns:a16="http://schemas.microsoft.com/office/drawing/2014/main" id="{B98E1168-B64C-4AE4-9C60-645D5B7B3DE8}"/>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7182540" y="2160225"/>
            <a:ext cx="1085850" cy="1152525"/>
          </a:xfrm>
          <a:prstGeom prst="rect">
            <a:avLst/>
          </a:prstGeom>
        </p:spPr>
      </p:pic>
      <p:pic>
        <p:nvPicPr>
          <p:cNvPr id="68" name="Imagen 67">
            <a:extLst>
              <a:ext uri="{FF2B5EF4-FFF2-40B4-BE49-F238E27FC236}">
                <a16:creationId xmlns:a16="http://schemas.microsoft.com/office/drawing/2014/main" id="{683124BE-971B-4D7C-93FD-D14E7FEDACFC}"/>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4365525" y="2160225"/>
            <a:ext cx="876300" cy="1152525"/>
          </a:xfrm>
          <a:prstGeom prst="rect">
            <a:avLst/>
          </a:prstGeom>
        </p:spPr>
      </p:pic>
      <p:pic>
        <p:nvPicPr>
          <p:cNvPr id="69" name="Imagen 68">
            <a:extLst>
              <a:ext uri="{FF2B5EF4-FFF2-40B4-BE49-F238E27FC236}">
                <a16:creationId xmlns:a16="http://schemas.microsoft.com/office/drawing/2014/main" id="{A5F4EA97-AC0F-413E-921F-83F2754B52C8}"/>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5174848" y="2139334"/>
            <a:ext cx="838200" cy="1152525"/>
          </a:xfrm>
          <a:prstGeom prst="rect">
            <a:avLst/>
          </a:prstGeom>
        </p:spPr>
      </p:pic>
      <p:pic>
        <p:nvPicPr>
          <p:cNvPr id="70" name="Imagen 69">
            <a:extLst>
              <a:ext uri="{FF2B5EF4-FFF2-40B4-BE49-F238E27FC236}">
                <a16:creationId xmlns:a16="http://schemas.microsoft.com/office/drawing/2014/main" id="{3D205319-9034-41F6-B2A1-27BBC6FF141B}"/>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6210230" y="2134466"/>
            <a:ext cx="1028700" cy="1152525"/>
          </a:xfrm>
          <a:prstGeom prst="rect">
            <a:avLst/>
          </a:prstGeom>
        </p:spPr>
      </p:pic>
      <p:pic>
        <p:nvPicPr>
          <p:cNvPr id="76" name="Gráfico 75">
            <a:extLst>
              <a:ext uri="{FF2B5EF4-FFF2-40B4-BE49-F238E27FC236}">
                <a16:creationId xmlns:a16="http://schemas.microsoft.com/office/drawing/2014/main" id="{90A19AED-9D91-4F61-B5BC-AD8602534C28}"/>
              </a:ext>
            </a:extLst>
          </p:cNvPr>
          <p:cNvPicPr>
            <a:picLocks noChangeAspect="1"/>
          </p:cNvPicPr>
          <p:nvPr/>
        </p:nvPicPr>
        <p:blipFill>
          <a:blip r:embed="rId27" cstate="hqprint">
            <a:extLst>
              <a:ext uri="{28A0092B-C50C-407E-A947-70E740481C1C}">
                <a14:useLocalDpi xmlns:a14="http://schemas.microsoft.com/office/drawing/2010/main" val="0"/>
              </a:ext>
              <a:ext uri="{96DAC541-7B7A-43D3-8B79-37D633B846F1}">
                <asvg:svgBlip xmlns:asvg="http://schemas.microsoft.com/office/drawing/2016/SVG/main" xmlns="" r:embed="rId28"/>
              </a:ext>
            </a:extLst>
          </a:blip>
          <a:stretch>
            <a:fillRect/>
          </a:stretch>
        </p:blipFill>
        <p:spPr>
          <a:xfrm>
            <a:off x="3370622" y="1373794"/>
            <a:ext cx="316793" cy="316793"/>
          </a:xfrm>
          <a:prstGeom prst="rect">
            <a:avLst/>
          </a:prstGeom>
        </p:spPr>
      </p:pic>
      <p:pic>
        <p:nvPicPr>
          <p:cNvPr id="73" name="Imagen 8">
            <a:extLst>
              <a:ext uri="{FF2B5EF4-FFF2-40B4-BE49-F238E27FC236}">
                <a16:creationId xmlns:a16="http://schemas.microsoft.com/office/drawing/2014/main" id="{A941BED7-CA0B-49FA-A8A3-BA8262E055A7}"/>
              </a:ext>
            </a:extLst>
          </p:cNvPr>
          <p:cNvPicPr>
            <a:picLocks noChangeAspect="1"/>
          </p:cNvPicPr>
          <p:nvPr/>
        </p:nvPicPr>
        <p:blipFill>
          <a:blip r:embed="rId29" cstate="hqprint">
            <a:extLst>
              <a:ext uri="{28A0092B-C50C-407E-A947-70E740481C1C}">
                <a14:useLocalDpi xmlns:a14="http://schemas.microsoft.com/office/drawing/2010/main" val="0"/>
              </a:ext>
            </a:extLst>
          </a:blip>
          <a:stretch>
            <a:fillRect/>
          </a:stretch>
        </p:blipFill>
        <p:spPr>
          <a:xfrm>
            <a:off x="7150065" y="1246418"/>
            <a:ext cx="1271825" cy="469283"/>
          </a:xfrm>
          <a:prstGeom prst="rect">
            <a:avLst/>
          </a:prstGeom>
        </p:spPr>
      </p:pic>
      <p:pic>
        <p:nvPicPr>
          <p:cNvPr id="6" name="Picture 5">
            <a:extLst>
              <a:ext uri="{FF2B5EF4-FFF2-40B4-BE49-F238E27FC236}">
                <a16:creationId xmlns:a16="http://schemas.microsoft.com/office/drawing/2014/main" id="{0DA05820-918D-4F4A-AFC9-2E0C27CE2223}"/>
              </a:ext>
            </a:extLst>
          </p:cNvPr>
          <p:cNvPicPr>
            <a:picLocks noChangeAspect="1"/>
          </p:cNvPicPr>
          <p:nvPr/>
        </p:nvPicPr>
        <p:blipFill>
          <a:blip r:embed="rId30" cstate="hqprint">
            <a:extLst>
              <a:ext uri="{28A0092B-C50C-407E-A947-70E740481C1C}">
                <a14:useLocalDpi xmlns:a14="http://schemas.microsoft.com/office/drawing/2010/main" val="0"/>
              </a:ext>
            </a:extLst>
          </a:blip>
          <a:stretch>
            <a:fillRect/>
          </a:stretch>
        </p:blipFill>
        <p:spPr>
          <a:xfrm>
            <a:off x="4624361" y="3907652"/>
            <a:ext cx="2424689" cy="533401"/>
          </a:xfrm>
          <a:prstGeom prst="rect">
            <a:avLst/>
          </a:prstGeom>
        </p:spPr>
      </p:pic>
      <p:pic>
        <p:nvPicPr>
          <p:cNvPr id="8" name="Picture 7">
            <a:extLst>
              <a:ext uri="{FF2B5EF4-FFF2-40B4-BE49-F238E27FC236}">
                <a16:creationId xmlns:a16="http://schemas.microsoft.com/office/drawing/2014/main" id="{8EEBA525-CEB3-49E6-8C6A-79944825AACF}"/>
              </a:ext>
            </a:extLst>
          </p:cNvPr>
          <p:cNvPicPr>
            <a:picLocks noChangeAspect="1"/>
          </p:cNvPicPr>
          <p:nvPr/>
        </p:nvPicPr>
        <p:blipFill>
          <a:blip r:embed="rId31" cstate="hqprint">
            <a:extLst>
              <a:ext uri="{28A0092B-C50C-407E-A947-70E740481C1C}">
                <a14:useLocalDpi xmlns:a14="http://schemas.microsoft.com/office/drawing/2010/main" val="0"/>
              </a:ext>
            </a:extLst>
          </a:blip>
          <a:stretch>
            <a:fillRect/>
          </a:stretch>
        </p:blipFill>
        <p:spPr>
          <a:xfrm>
            <a:off x="9096187" y="1810902"/>
            <a:ext cx="1718025" cy="323165"/>
          </a:xfrm>
          <a:prstGeom prst="rect">
            <a:avLst/>
          </a:prstGeom>
        </p:spPr>
      </p:pic>
      <p:pic>
        <p:nvPicPr>
          <p:cNvPr id="21508" name="Picture 1" descr="image001">
            <a:extLst>
              <a:ext uri="{FF2B5EF4-FFF2-40B4-BE49-F238E27FC236}">
                <a16:creationId xmlns:a16="http://schemas.microsoft.com/office/drawing/2014/main" id="{329DC211-9A58-4260-91B9-4B9DE27F9263}"/>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8421890" y="2208009"/>
            <a:ext cx="2970346" cy="1823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a:extLst>
              <a:ext uri="{FF2B5EF4-FFF2-40B4-BE49-F238E27FC236}">
                <a16:creationId xmlns:a16="http://schemas.microsoft.com/office/drawing/2014/main" id="{4792AA47-9859-4E3E-8A5B-99965AC3CD45}"/>
              </a:ext>
            </a:extLst>
          </p:cNvPr>
          <p:cNvSpPr txBox="1"/>
          <p:nvPr/>
        </p:nvSpPr>
        <p:spPr>
          <a:xfrm>
            <a:off x="3240490" y="2577075"/>
            <a:ext cx="624266" cy="261610"/>
          </a:xfrm>
          <a:prstGeom prst="rect">
            <a:avLst/>
          </a:prstGeom>
          <a:noFill/>
        </p:spPr>
        <p:txBody>
          <a:bodyPr wrap="square" rtlCol="0">
            <a:spAutoFit/>
          </a:bodyPr>
          <a:lstStyle/>
          <a:p>
            <a:r>
              <a:rPr lang="en-US" sz="1100" b="1"/>
              <a:t>K12</a:t>
            </a:r>
            <a:endParaRPr lang="es-ES" sz="1100" b="1"/>
          </a:p>
        </p:txBody>
      </p:sp>
      <p:sp>
        <p:nvSpPr>
          <p:cNvPr id="72" name="Marcador de número de diapositiva 1"/>
          <p:cNvSpPr>
            <a:spLocks noGrp="1"/>
          </p:cNvSpPr>
          <p:nvPr>
            <p:ph type="sldNum" sz="quarter" idx="12"/>
          </p:nvPr>
        </p:nvSpPr>
        <p:spPr>
          <a:xfrm>
            <a:off x="11777051" y="6458134"/>
            <a:ext cx="487378" cy="481343"/>
          </a:xfrm>
        </p:spPr>
        <p:txBody>
          <a:bodyPr/>
          <a:lstStyle/>
          <a:p>
            <a:r>
              <a:rPr lang="en-US" sz="2000" dirty="0" smtClean="0"/>
              <a:t>39</a:t>
            </a:r>
            <a:endParaRPr lang="en-US" sz="2000" dirty="0"/>
          </a:p>
        </p:txBody>
      </p:sp>
    </p:spTree>
    <p:extLst>
      <p:ext uri="{BB962C8B-B14F-4D97-AF65-F5344CB8AC3E}">
        <p14:creationId xmlns:p14="http://schemas.microsoft.com/office/powerpoint/2010/main" val="13386378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8CBF14EF-BC01-4F60-82A0-7ED9A1E53F9F}"/>
              </a:ext>
            </a:extLst>
          </p:cNvPr>
          <p:cNvSpPr/>
          <p:nvPr/>
        </p:nvSpPr>
        <p:spPr>
          <a:xfrm>
            <a:off x="3063859" y="693109"/>
            <a:ext cx="5779146" cy="1569660"/>
          </a:xfrm>
          <a:prstGeom prst="rect">
            <a:avLst/>
          </a:prstGeom>
          <a:noFill/>
        </p:spPr>
        <p:txBody>
          <a:bodyPr wrap="none" lIns="91440" tIns="45720" rIns="91440" bIns="45720">
            <a:spAutoFit/>
          </a:bodyPr>
          <a:lstStyle/>
          <a:p>
            <a:pPr algn="ctr"/>
            <a:r>
              <a:rPr lang="es-ES" sz="9600" b="1" cap="none" spc="0"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Aula </a:t>
            </a:r>
            <a:r>
              <a:rPr lang="es-ES" sz="9600" b="1" cap="none" spc="0" dirty="0" err="1">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A</a:t>
            </a:r>
            <a:r>
              <a:rPr lang="es-ES" sz="9600" b="1" cap="none" spc="0" dirty="0" err="1">
                <a:ln w="9525">
                  <a:solidFill>
                    <a:schemeClr val="bg1"/>
                  </a:solidFill>
                  <a:prstDash val="solid"/>
                </a:ln>
                <a:solidFill>
                  <a:schemeClr val="bg1">
                    <a:lumMod val="65000"/>
                  </a:schemeClr>
                </a:solidFill>
                <a:effectLst>
                  <a:outerShdw blurRad="12700" dist="38100" dir="2700000" algn="tl" rotWithShape="0">
                    <a:schemeClr val="accent5">
                      <a:lumMod val="60000"/>
                      <a:lumOff val="40000"/>
                    </a:schemeClr>
                  </a:outerShdw>
                </a:effectLst>
              </a:rPr>
              <a:t>tec</a:t>
            </a:r>
            <a:r>
              <a:rPr lang="es-ES" sz="9600" b="1" cap="none" spc="0" dirty="0" err="1">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A</a:t>
            </a:r>
            <a:endParaRPr lang="es-ES" sz="9600" b="1" cap="none" spc="0"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endParaRPr>
          </a:p>
        </p:txBody>
      </p:sp>
      <p:sp>
        <p:nvSpPr>
          <p:cNvPr id="5" name="Rectángulo 4">
            <a:extLst>
              <a:ext uri="{FF2B5EF4-FFF2-40B4-BE49-F238E27FC236}">
                <a16:creationId xmlns:a16="http://schemas.microsoft.com/office/drawing/2014/main" id="{E5E18992-AC3E-488F-AB4F-AE303CF18ADD}"/>
              </a:ext>
            </a:extLst>
          </p:cNvPr>
          <p:cNvSpPr/>
          <p:nvPr/>
        </p:nvSpPr>
        <p:spPr>
          <a:xfrm>
            <a:off x="2566839" y="4595232"/>
            <a:ext cx="7307706" cy="830997"/>
          </a:xfrm>
          <a:prstGeom prst="rect">
            <a:avLst/>
          </a:prstGeom>
          <a:noFill/>
        </p:spPr>
        <p:txBody>
          <a:bodyPr wrap="none" lIns="91440" tIns="45720" rIns="91440" bIns="45720">
            <a:spAutoFit/>
          </a:bodyPr>
          <a:lstStyle/>
          <a:p>
            <a:pPr algn="ctr"/>
            <a:r>
              <a:rPr lang="es-ES" sz="4800" b="1" cap="none" spc="0"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Aula de Tecnología Aplicada</a:t>
            </a:r>
          </a:p>
        </p:txBody>
      </p:sp>
      <p:pic>
        <p:nvPicPr>
          <p:cNvPr id="12" name="Imagen 11">
            <a:extLst>
              <a:ext uri="{FF2B5EF4-FFF2-40B4-BE49-F238E27FC236}">
                <a16:creationId xmlns:a16="http://schemas.microsoft.com/office/drawing/2014/main" id="{F260E3AA-B02D-44C9-8B11-A454682642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40020" y="2046828"/>
            <a:ext cx="2764343" cy="2764343"/>
          </a:xfrm>
          <a:prstGeom prst="rect">
            <a:avLst/>
          </a:prstGeom>
        </p:spPr>
      </p:pic>
      <p:sp>
        <p:nvSpPr>
          <p:cNvPr id="6" name="Marcador de número de diapositiva 1"/>
          <p:cNvSpPr>
            <a:spLocks noGrp="1"/>
          </p:cNvSpPr>
          <p:nvPr>
            <p:ph type="sldNum" sz="quarter" idx="12"/>
          </p:nvPr>
        </p:nvSpPr>
        <p:spPr>
          <a:xfrm>
            <a:off x="11777051" y="6458134"/>
            <a:ext cx="487378" cy="481343"/>
          </a:xfrm>
        </p:spPr>
        <p:txBody>
          <a:bodyPr/>
          <a:lstStyle/>
          <a:p>
            <a:r>
              <a:rPr lang="en-US" sz="2000" dirty="0" smtClean="0"/>
              <a:t>4</a:t>
            </a:r>
            <a:endParaRPr lang="en-US" sz="2000" dirty="0"/>
          </a:p>
        </p:txBody>
      </p:sp>
    </p:spTree>
    <p:extLst>
      <p:ext uri="{BB962C8B-B14F-4D97-AF65-F5344CB8AC3E}">
        <p14:creationId xmlns:p14="http://schemas.microsoft.com/office/powerpoint/2010/main" val="238851623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EE0953B0-1570-418D-98E1-CE7F5C0A376E}"/>
              </a:ext>
            </a:extLst>
          </p:cNvPr>
          <p:cNvSpPr/>
          <p:nvPr/>
        </p:nvSpPr>
        <p:spPr>
          <a:xfrm>
            <a:off x="0" y="-6543"/>
            <a:ext cx="9875192" cy="790576"/>
          </a:xfrm>
          <a:prstGeom prst="rect">
            <a:avLst/>
          </a:prstGeom>
          <a:solidFill>
            <a:srgbClr val="F35F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2400" dirty="0">
                <a:latin typeface="Trebuchet MS" panose="020B0603020202020204" pitchFamily="34" charset="0"/>
              </a:rPr>
              <a:t>SOLUCIÓN TECNOLÓGICA (Aplicaciones)</a:t>
            </a:r>
          </a:p>
        </p:txBody>
      </p:sp>
      <p:sp>
        <p:nvSpPr>
          <p:cNvPr id="74" name="Rectángulo 24">
            <a:extLst>
              <a:ext uri="{FF2B5EF4-FFF2-40B4-BE49-F238E27FC236}">
                <a16:creationId xmlns:a16="http://schemas.microsoft.com/office/drawing/2014/main" id="{7207D35A-647B-466C-BC23-B7AAEC1AB64B}"/>
              </a:ext>
            </a:extLst>
          </p:cNvPr>
          <p:cNvSpPr/>
          <p:nvPr/>
        </p:nvSpPr>
        <p:spPr>
          <a:xfrm>
            <a:off x="3280869" y="3437113"/>
            <a:ext cx="6542176" cy="646331"/>
          </a:xfrm>
          <a:prstGeom prst="rect">
            <a:avLst/>
          </a:prstGeom>
        </p:spPr>
        <p:txBody>
          <a:bodyPr wrap="square">
            <a:spAutoFit/>
          </a:bodyPr>
          <a:lstStyle/>
          <a:p>
            <a:r>
              <a:rPr lang="es-ES" sz="3600" b="1" dirty="0">
                <a:solidFill>
                  <a:schemeClr val="bg1">
                    <a:lumMod val="85000"/>
                  </a:schemeClr>
                </a:solidFill>
                <a:latin typeface="Google Sans" panose="020B0503030502040204" pitchFamily="34" charset="0"/>
              </a:rPr>
              <a:t>SUITE FOR EDUCATION</a:t>
            </a:r>
          </a:p>
        </p:txBody>
      </p:sp>
      <p:pic>
        <p:nvPicPr>
          <p:cNvPr id="78" name="Imagen 74">
            <a:extLst>
              <a:ext uri="{FF2B5EF4-FFF2-40B4-BE49-F238E27FC236}">
                <a16:creationId xmlns:a16="http://schemas.microsoft.com/office/drawing/2014/main" id="{4E6C642A-FAC5-409B-9A54-1602E87EB5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83052" y="5196520"/>
            <a:ext cx="644602" cy="644602"/>
          </a:xfrm>
          <a:prstGeom prst="rect">
            <a:avLst/>
          </a:prstGeom>
        </p:spPr>
      </p:pic>
      <p:pic>
        <p:nvPicPr>
          <p:cNvPr id="79" name="Imagen 76">
            <a:extLst>
              <a:ext uri="{FF2B5EF4-FFF2-40B4-BE49-F238E27FC236}">
                <a16:creationId xmlns:a16="http://schemas.microsoft.com/office/drawing/2014/main" id="{559665FE-E42B-4F00-9DA9-7738F9AB4D8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60801" y="5247569"/>
            <a:ext cx="655172" cy="655172"/>
          </a:xfrm>
          <a:prstGeom prst="rect">
            <a:avLst/>
          </a:prstGeom>
        </p:spPr>
      </p:pic>
      <p:pic>
        <p:nvPicPr>
          <p:cNvPr id="80" name="Imagen 77">
            <a:extLst>
              <a:ext uri="{FF2B5EF4-FFF2-40B4-BE49-F238E27FC236}">
                <a16:creationId xmlns:a16="http://schemas.microsoft.com/office/drawing/2014/main" id="{02729C35-5990-4503-A388-E6548590D33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0918" y="5257535"/>
            <a:ext cx="655172" cy="655172"/>
          </a:xfrm>
          <a:prstGeom prst="rect">
            <a:avLst/>
          </a:prstGeom>
        </p:spPr>
      </p:pic>
      <p:pic>
        <p:nvPicPr>
          <p:cNvPr id="81" name="Imagen 78">
            <a:extLst>
              <a:ext uri="{FF2B5EF4-FFF2-40B4-BE49-F238E27FC236}">
                <a16:creationId xmlns:a16="http://schemas.microsoft.com/office/drawing/2014/main" id="{BFAF7077-33FF-4709-89B2-0977AD8C94D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77548" y="5205395"/>
            <a:ext cx="655172" cy="655172"/>
          </a:xfrm>
          <a:prstGeom prst="rect">
            <a:avLst/>
          </a:prstGeom>
        </p:spPr>
      </p:pic>
      <p:pic>
        <p:nvPicPr>
          <p:cNvPr id="82" name="Imagen 79">
            <a:extLst>
              <a:ext uri="{FF2B5EF4-FFF2-40B4-BE49-F238E27FC236}">
                <a16:creationId xmlns:a16="http://schemas.microsoft.com/office/drawing/2014/main" id="{15D9B429-E157-4221-9BCD-7AD2E3E6276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24479" y="5257535"/>
            <a:ext cx="655172" cy="655172"/>
          </a:xfrm>
          <a:prstGeom prst="rect">
            <a:avLst/>
          </a:prstGeom>
        </p:spPr>
      </p:pic>
      <p:pic>
        <p:nvPicPr>
          <p:cNvPr id="83" name="Imagen 80">
            <a:extLst>
              <a:ext uri="{FF2B5EF4-FFF2-40B4-BE49-F238E27FC236}">
                <a16:creationId xmlns:a16="http://schemas.microsoft.com/office/drawing/2014/main" id="{5F22F2F9-4840-417C-B738-D9350471AF0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547836" y="5183760"/>
            <a:ext cx="644602" cy="644602"/>
          </a:xfrm>
          <a:prstGeom prst="rect">
            <a:avLst/>
          </a:prstGeom>
        </p:spPr>
      </p:pic>
      <p:pic>
        <p:nvPicPr>
          <p:cNvPr id="84" name="Imagen 81">
            <a:extLst>
              <a:ext uri="{FF2B5EF4-FFF2-40B4-BE49-F238E27FC236}">
                <a16:creationId xmlns:a16="http://schemas.microsoft.com/office/drawing/2014/main" id="{88BD57EF-515C-4DF9-A954-9F0FBB7DC42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479236" y="5196520"/>
            <a:ext cx="644602" cy="644602"/>
          </a:xfrm>
          <a:prstGeom prst="rect">
            <a:avLst/>
          </a:prstGeom>
        </p:spPr>
      </p:pic>
      <p:pic>
        <p:nvPicPr>
          <p:cNvPr id="85" name="Imagen 82">
            <a:extLst>
              <a:ext uri="{FF2B5EF4-FFF2-40B4-BE49-F238E27FC236}">
                <a16:creationId xmlns:a16="http://schemas.microsoft.com/office/drawing/2014/main" id="{F4A72A85-14B5-474A-917F-3BFA2DF5B02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4474" y="5240153"/>
            <a:ext cx="655172" cy="655172"/>
          </a:xfrm>
          <a:prstGeom prst="rect">
            <a:avLst/>
          </a:prstGeom>
        </p:spPr>
      </p:pic>
      <p:pic>
        <p:nvPicPr>
          <p:cNvPr id="86" name="Imagen 83">
            <a:extLst>
              <a:ext uri="{FF2B5EF4-FFF2-40B4-BE49-F238E27FC236}">
                <a16:creationId xmlns:a16="http://schemas.microsoft.com/office/drawing/2014/main" id="{95A36B36-7802-4669-84F3-9028E1E62AF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004234" y="5205395"/>
            <a:ext cx="655172" cy="655172"/>
          </a:xfrm>
          <a:prstGeom prst="rect">
            <a:avLst/>
          </a:prstGeom>
        </p:spPr>
      </p:pic>
      <p:pic>
        <p:nvPicPr>
          <p:cNvPr id="87" name="Imagen 84">
            <a:extLst>
              <a:ext uri="{FF2B5EF4-FFF2-40B4-BE49-F238E27FC236}">
                <a16:creationId xmlns:a16="http://schemas.microsoft.com/office/drawing/2014/main" id="{750D0F5C-F1B1-4098-82F6-3563858938B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792842" y="5205395"/>
            <a:ext cx="655172" cy="655172"/>
          </a:xfrm>
          <a:prstGeom prst="rect">
            <a:avLst/>
          </a:prstGeom>
        </p:spPr>
      </p:pic>
      <p:sp>
        <p:nvSpPr>
          <p:cNvPr id="88" name="Rectángulo 85">
            <a:extLst>
              <a:ext uri="{FF2B5EF4-FFF2-40B4-BE49-F238E27FC236}">
                <a16:creationId xmlns:a16="http://schemas.microsoft.com/office/drawing/2014/main" id="{6A40C165-5120-4458-897B-ADE8956EE324}"/>
              </a:ext>
            </a:extLst>
          </p:cNvPr>
          <p:cNvSpPr/>
          <p:nvPr/>
        </p:nvSpPr>
        <p:spPr>
          <a:xfrm>
            <a:off x="690732" y="4451726"/>
            <a:ext cx="2153426" cy="635302"/>
          </a:xfrm>
          <a:prstGeom prst="rect">
            <a:avLst/>
          </a:prstGeom>
        </p:spPr>
        <p:txBody>
          <a:bodyPr wrap="square">
            <a:spAutoFit/>
          </a:bodyPr>
          <a:lstStyle/>
          <a:p>
            <a:pPr algn="ctr"/>
            <a:r>
              <a:rPr lang="es-ES" sz="1764">
                <a:latin typeface="Google Sans" panose="020B0503030502040204" pitchFamily="34" charset="0"/>
              </a:rPr>
              <a:t>Administra tu aula</a:t>
            </a:r>
          </a:p>
        </p:txBody>
      </p:sp>
      <p:sp>
        <p:nvSpPr>
          <p:cNvPr id="89" name="Rectángulo 86">
            <a:extLst>
              <a:ext uri="{FF2B5EF4-FFF2-40B4-BE49-F238E27FC236}">
                <a16:creationId xmlns:a16="http://schemas.microsoft.com/office/drawing/2014/main" id="{48E8343F-1C05-4CE2-8F97-86A13D05267A}"/>
              </a:ext>
            </a:extLst>
          </p:cNvPr>
          <p:cNvSpPr/>
          <p:nvPr/>
        </p:nvSpPr>
        <p:spPr>
          <a:xfrm>
            <a:off x="3378318" y="4333565"/>
            <a:ext cx="2006311" cy="635302"/>
          </a:xfrm>
          <a:prstGeom prst="rect">
            <a:avLst/>
          </a:prstGeom>
        </p:spPr>
        <p:txBody>
          <a:bodyPr wrap="square">
            <a:spAutoFit/>
          </a:bodyPr>
          <a:lstStyle/>
          <a:p>
            <a:pPr algn="ctr"/>
            <a:r>
              <a:rPr lang="es-ES" sz="1764">
                <a:latin typeface="Google Sans" panose="020B0503030502040204" pitchFamily="34" charset="0"/>
              </a:rPr>
              <a:t>Colabora en cualquier lugar</a:t>
            </a:r>
          </a:p>
        </p:txBody>
      </p:sp>
      <p:cxnSp>
        <p:nvCxnSpPr>
          <p:cNvPr id="90" name="Conector recto 87">
            <a:extLst>
              <a:ext uri="{FF2B5EF4-FFF2-40B4-BE49-F238E27FC236}">
                <a16:creationId xmlns:a16="http://schemas.microsoft.com/office/drawing/2014/main" id="{F7F52462-D92D-4F3B-9448-9890EE96136B}"/>
              </a:ext>
            </a:extLst>
          </p:cNvPr>
          <p:cNvCxnSpPr>
            <a:cxnSpLocks/>
          </p:cNvCxnSpPr>
          <p:nvPr/>
        </p:nvCxnSpPr>
        <p:spPr>
          <a:xfrm flipH="1" flipV="1">
            <a:off x="2966998" y="4371851"/>
            <a:ext cx="10977" cy="1900581"/>
          </a:xfrm>
          <a:prstGeom prst="line">
            <a:avLst/>
          </a:prstGeom>
          <a:ln w="38100" cap="rnd">
            <a:solidFill>
              <a:schemeClr val="tx1">
                <a:lumMod val="65000"/>
                <a:lumOff val="35000"/>
                <a:alpha val="6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91" name="Rectángulo 90">
            <a:extLst>
              <a:ext uri="{FF2B5EF4-FFF2-40B4-BE49-F238E27FC236}">
                <a16:creationId xmlns:a16="http://schemas.microsoft.com/office/drawing/2014/main" id="{C7B54BE1-FF39-4124-BA6A-A162F80040C3}"/>
              </a:ext>
            </a:extLst>
          </p:cNvPr>
          <p:cNvSpPr/>
          <p:nvPr/>
        </p:nvSpPr>
        <p:spPr>
          <a:xfrm>
            <a:off x="6009074" y="4369090"/>
            <a:ext cx="1922846" cy="635302"/>
          </a:xfrm>
          <a:prstGeom prst="rect">
            <a:avLst/>
          </a:prstGeom>
        </p:spPr>
        <p:txBody>
          <a:bodyPr wrap="square">
            <a:spAutoFit/>
          </a:bodyPr>
          <a:lstStyle/>
          <a:p>
            <a:pPr algn="ctr"/>
            <a:r>
              <a:rPr lang="es-ES" sz="1764">
                <a:latin typeface="Google Sans" panose="020B0503030502040204" pitchFamily="34" charset="0"/>
              </a:rPr>
              <a:t>Administra tus tareas</a:t>
            </a:r>
          </a:p>
        </p:txBody>
      </p:sp>
      <p:sp>
        <p:nvSpPr>
          <p:cNvPr id="92" name="Rectángulo 91">
            <a:extLst>
              <a:ext uri="{FF2B5EF4-FFF2-40B4-BE49-F238E27FC236}">
                <a16:creationId xmlns:a16="http://schemas.microsoft.com/office/drawing/2014/main" id="{71730409-D515-4FD9-88D0-256A47A7E4E3}"/>
              </a:ext>
            </a:extLst>
          </p:cNvPr>
          <p:cNvSpPr/>
          <p:nvPr/>
        </p:nvSpPr>
        <p:spPr>
          <a:xfrm>
            <a:off x="8547837" y="4374010"/>
            <a:ext cx="2445793" cy="635302"/>
          </a:xfrm>
          <a:prstGeom prst="rect">
            <a:avLst/>
          </a:prstGeom>
        </p:spPr>
        <p:txBody>
          <a:bodyPr wrap="square">
            <a:spAutoFit/>
          </a:bodyPr>
          <a:lstStyle/>
          <a:p>
            <a:pPr algn="ctr"/>
            <a:r>
              <a:rPr lang="es-ES" sz="1764">
                <a:latin typeface="Google Sans" panose="020B0503030502040204" pitchFamily="34" charset="0"/>
              </a:rPr>
              <a:t>Comunícate a tu manera</a:t>
            </a:r>
          </a:p>
        </p:txBody>
      </p:sp>
      <p:sp>
        <p:nvSpPr>
          <p:cNvPr id="93" name="Rectángulo 92">
            <a:extLst>
              <a:ext uri="{FF2B5EF4-FFF2-40B4-BE49-F238E27FC236}">
                <a16:creationId xmlns:a16="http://schemas.microsoft.com/office/drawing/2014/main" id="{5DED0500-29AB-4DDA-97FB-677549B74B3B}"/>
              </a:ext>
            </a:extLst>
          </p:cNvPr>
          <p:cNvSpPr/>
          <p:nvPr/>
        </p:nvSpPr>
        <p:spPr>
          <a:xfrm>
            <a:off x="8209118" y="5870437"/>
            <a:ext cx="1288262" cy="295915"/>
          </a:xfrm>
          <a:prstGeom prst="rect">
            <a:avLst/>
          </a:prstGeom>
        </p:spPr>
        <p:txBody>
          <a:bodyPr wrap="square">
            <a:spAutoFit/>
          </a:bodyPr>
          <a:lstStyle/>
          <a:p>
            <a:pPr algn="ctr"/>
            <a:r>
              <a:rPr lang="es-ES" sz="1323" b="1">
                <a:latin typeface="Google Sans" panose="020B0503030502040204" pitchFamily="34" charset="0"/>
              </a:rPr>
              <a:t>Gmail</a:t>
            </a:r>
          </a:p>
        </p:txBody>
      </p:sp>
      <p:sp>
        <p:nvSpPr>
          <p:cNvPr id="94" name="Rectángulo 93">
            <a:extLst>
              <a:ext uri="{FF2B5EF4-FFF2-40B4-BE49-F238E27FC236}">
                <a16:creationId xmlns:a16="http://schemas.microsoft.com/office/drawing/2014/main" id="{11DE17B6-6323-4E5A-8FF0-148CD39D3E97}"/>
              </a:ext>
            </a:extLst>
          </p:cNvPr>
          <p:cNvSpPr/>
          <p:nvPr/>
        </p:nvSpPr>
        <p:spPr>
          <a:xfrm>
            <a:off x="9224501" y="5883197"/>
            <a:ext cx="1125552" cy="295915"/>
          </a:xfrm>
          <a:prstGeom prst="rect">
            <a:avLst/>
          </a:prstGeom>
        </p:spPr>
        <p:txBody>
          <a:bodyPr wrap="square">
            <a:spAutoFit/>
          </a:bodyPr>
          <a:lstStyle/>
          <a:p>
            <a:pPr algn="ctr"/>
            <a:r>
              <a:rPr lang="es-ES" sz="1323" b="1">
                <a:latin typeface="Google Sans" panose="020B0503030502040204" pitchFamily="34" charset="0"/>
              </a:rPr>
              <a:t>Hangouts</a:t>
            </a:r>
          </a:p>
        </p:txBody>
      </p:sp>
      <p:sp>
        <p:nvSpPr>
          <p:cNvPr id="95" name="Rectángulo 94">
            <a:extLst>
              <a:ext uri="{FF2B5EF4-FFF2-40B4-BE49-F238E27FC236}">
                <a16:creationId xmlns:a16="http://schemas.microsoft.com/office/drawing/2014/main" id="{712FCAB4-55A4-4674-8385-F165323E7AB0}"/>
              </a:ext>
            </a:extLst>
          </p:cNvPr>
          <p:cNvSpPr/>
          <p:nvPr/>
        </p:nvSpPr>
        <p:spPr>
          <a:xfrm>
            <a:off x="10035218" y="5883197"/>
            <a:ext cx="1125552" cy="295915"/>
          </a:xfrm>
          <a:prstGeom prst="rect">
            <a:avLst/>
          </a:prstGeom>
        </p:spPr>
        <p:txBody>
          <a:bodyPr wrap="square">
            <a:spAutoFit/>
          </a:bodyPr>
          <a:lstStyle/>
          <a:p>
            <a:pPr algn="ctr"/>
            <a:r>
              <a:rPr lang="es-ES" sz="1323" b="1">
                <a:latin typeface="Google Sans" panose="020B0503030502040204" pitchFamily="34" charset="0"/>
              </a:rPr>
              <a:t>Sites</a:t>
            </a:r>
          </a:p>
        </p:txBody>
      </p:sp>
      <p:sp>
        <p:nvSpPr>
          <p:cNvPr id="96" name="Rectángulo 95">
            <a:extLst>
              <a:ext uri="{FF2B5EF4-FFF2-40B4-BE49-F238E27FC236}">
                <a16:creationId xmlns:a16="http://schemas.microsoft.com/office/drawing/2014/main" id="{6FCFAB36-802D-4E5D-A981-B90049E6F2CE}"/>
              </a:ext>
            </a:extLst>
          </p:cNvPr>
          <p:cNvSpPr/>
          <p:nvPr/>
        </p:nvSpPr>
        <p:spPr>
          <a:xfrm>
            <a:off x="3147105" y="5924930"/>
            <a:ext cx="865793" cy="295915"/>
          </a:xfrm>
          <a:prstGeom prst="rect">
            <a:avLst/>
          </a:prstGeom>
        </p:spPr>
        <p:txBody>
          <a:bodyPr wrap="square">
            <a:spAutoFit/>
          </a:bodyPr>
          <a:lstStyle/>
          <a:p>
            <a:pPr algn="ctr"/>
            <a:r>
              <a:rPr lang="es-ES" sz="1323" b="1">
                <a:latin typeface="Google Sans" panose="020B0503030502040204" pitchFamily="34" charset="0"/>
              </a:rPr>
              <a:t>Docs</a:t>
            </a:r>
          </a:p>
        </p:txBody>
      </p:sp>
      <p:sp>
        <p:nvSpPr>
          <p:cNvPr id="97" name="Rectángulo 96">
            <a:extLst>
              <a:ext uri="{FF2B5EF4-FFF2-40B4-BE49-F238E27FC236}">
                <a16:creationId xmlns:a16="http://schemas.microsoft.com/office/drawing/2014/main" id="{21DC3D91-6D40-41F3-A18A-83EA07E60CB8}"/>
              </a:ext>
            </a:extLst>
          </p:cNvPr>
          <p:cNvSpPr/>
          <p:nvPr/>
        </p:nvSpPr>
        <p:spPr>
          <a:xfrm>
            <a:off x="3818728" y="5935002"/>
            <a:ext cx="991046" cy="295915"/>
          </a:xfrm>
          <a:prstGeom prst="rect">
            <a:avLst/>
          </a:prstGeom>
        </p:spPr>
        <p:txBody>
          <a:bodyPr wrap="square">
            <a:spAutoFit/>
          </a:bodyPr>
          <a:lstStyle/>
          <a:p>
            <a:pPr algn="ctr"/>
            <a:r>
              <a:rPr lang="es-ES" sz="1323" b="1">
                <a:latin typeface="Google Sans" panose="020B0503030502040204" pitchFamily="34" charset="0"/>
              </a:rPr>
              <a:t>Sheets</a:t>
            </a:r>
          </a:p>
        </p:txBody>
      </p:sp>
      <p:sp>
        <p:nvSpPr>
          <p:cNvPr id="98" name="Rectángulo 97">
            <a:extLst>
              <a:ext uri="{FF2B5EF4-FFF2-40B4-BE49-F238E27FC236}">
                <a16:creationId xmlns:a16="http://schemas.microsoft.com/office/drawing/2014/main" id="{7643037C-60B5-433E-B90F-C7B3E7F95F54}"/>
              </a:ext>
            </a:extLst>
          </p:cNvPr>
          <p:cNvSpPr/>
          <p:nvPr/>
        </p:nvSpPr>
        <p:spPr>
          <a:xfrm>
            <a:off x="4725687" y="5924487"/>
            <a:ext cx="818149" cy="295915"/>
          </a:xfrm>
          <a:prstGeom prst="rect">
            <a:avLst/>
          </a:prstGeom>
        </p:spPr>
        <p:txBody>
          <a:bodyPr wrap="square">
            <a:spAutoFit/>
          </a:bodyPr>
          <a:lstStyle/>
          <a:p>
            <a:pPr algn="ctr"/>
            <a:r>
              <a:rPr lang="es-ES" sz="1323" b="1">
                <a:latin typeface="Google Sans" panose="020B0503030502040204" pitchFamily="34" charset="0"/>
              </a:rPr>
              <a:t>Slides</a:t>
            </a:r>
          </a:p>
        </p:txBody>
      </p:sp>
      <p:sp>
        <p:nvSpPr>
          <p:cNvPr id="99" name="Rectángulo 98">
            <a:extLst>
              <a:ext uri="{FF2B5EF4-FFF2-40B4-BE49-F238E27FC236}">
                <a16:creationId xmlns:a16="http://schemas.microsoft.com/office/drawing/2014/main" id="{3529563B-0DC0-4DC6-BAE7-4EF453F926CF}"/>
              </a:ext>
            </a:extLst>
          </p:cNvPr>
          <p:cNvSpPr/>
          <p:nvPr/>
        </p:nvSpPr>
        <p:spPr>
          <a:xfrm>
            <a:off x="5860120" y="5843829"/>
            <a:ext cx="991046" cy="295915"/>
          </a:xfrm>
          <a:prstGeom prst="rect">
            <a:avLst/>
          </a:prstGeom>
        </p:spPr>
        <p:txBody>
          <a:bodyPr wrap="square">
            <a:spAutoFit/>
          </a:bodyPr>
          <a:lstStyle/>
          <a:p>
            <a:pPr algn="ctr"/>
            <a:r>
              <a:rPr lang="es-ES" sz="1323" b="1">
                <a:latin typeface="Google Sans" panose="020B0503030502040204" pitchFamily="34" charset="0"/>
              </a:rPr>
              <a:t>Keep</a:t>
            </a:r>
          </a:p>
        </p:txBody>
      </p:sp>
      <p:sp>
        <p:nvSpPr>
          <p:cNvPr id="100" name="Rectángulo 99">
            <a:extLst>
              <a:ext uri="{FF2B5EF4-FFF2-40B4-BE49-F238E27FC236}">
                <a16:creationId xmlns:a16="http://schemas.microsoft.com/office/drawing/2014/main" id="{0533140A-3D3A-41F7-8DD4-5770988ED771}"/>
              </a:ext>
            </a:extLst>
          </p:cNvPr>
          <p:cNvSpPr/>
          <p:nvPr/>
        </p:nvSpPr>
        <p:spPr>
          <a:xfrm>
            <a:off x="6806367" y="5843829"/>
            <a:ext cx="1125552" cy="295915"/>
          </a:xfrm>
          <a:prstGeom prst="rect">
            <a:avLst/>
          </a:prstGeom>
        </p:spPr>
        <p:txBody>
          <a:bodyPr wrap="square">
            <a:spAutoFit/>
          </a:bodyPr>
          <a:lstStyle/>
          <a:p>
            <a:pPr algn="ctr"/>
            <a:r>
              <a:rPr lang="es-ES" sz="1323" b="1" dirty="0">
                <a:latin typeface="Google Sans" panose="020B0503030502040204" pitchFamily="34" charset="0"/>
              </a:rPr>
              <a:t>Calendar</a:t>
            </a:r>
          </a:p>
        </p:txBody>
      </p:sp>
      <p:sp>
        <p:nvSpPr>
          <p:cNvPr id="101" name="Rectángulo 100">
            <a:extLst>
              <a:ext uri="{FF2B5EF4-FFF2-40B4-BE49-F238E27FC236}">
                <a16:creationId xmlns:a16="http://schemas.microsoft.com/office/drawing/2014/main" id="{91B321F6-BCEC-48A4-BEB6-7F2D22DFEA5D}"/>
              </a:ext>
            </a:extLst>
          </p:cNvPr>
          <p:cNvSpPr/>
          <p:nvPr/>
        </p:nvSpPr>
        <p:spPr>
          <a:xfrm>
            <a:off x="632528" y="5950172"/>
            <a:ext cx="1291953" cy="295915"/>
          </a:xfrm>
          <a:prstGeom prst="rect">
            <a:avLst/>
          </a:prstGeom>
        </p:spPr>
        <p:txBody>
          <a:bodyPr wrap="square">
            <a:spAutoFit/>
          </a:bodyPr>
          <a:lstStyle/>
          <a:p>
            <a:pPr algn="ctr"/>
            <a:r>
              <a:rPr lang="es-ES" sz="1323" b="1" dirty="0" err="1">
                <a:latin typeface="Google Sans" panose="020B0503030502040204" pitchFamily="34" charset="0"/>
              </a:rPr>
              <a:t>Classroom</a:t>
            </a:r>
            <a:endParaRPr lang="es-ES" sz="1323" b="1" dirty="0">
              <a:latin typeface="Google Sans" panose="020B0503030502040204" pitchFamily="34" charset="0"/>
            </a:endParaRPr>
          </a:p>
        </p:txBody>
      </p:sp>
      <p:sp>
        <p:nvSpPr>
          <p:cNvPr id="102" name="Rectángulo 101">
            <a:extLst>
              <a:ext uri="{FF2B5EF4-FFF2-40B4-BE49-F238E27FC236}">
                <a16:creationId xmlns:a16="http://schemas.microsoft.com/office/drawing/2014/main" id="{186CF068-6256-40B9-9012-7599F6A060DC}"/>
              </a:ext>
            </a:extLst>
          </p:cNvPr>
          <p:cNvSpPr/>
          <p:nvPr/>
        </p:nvSpPr>
        <p:spPr>
          <a:xfrm>
            <a:off x="1702080" y="5950172"/>
            <a:ext cx="1125552" cy="295915"/>
          </a:xfrm>
          <a:prstGeom prst="rect">
            <a:avLst/>
          </a:prstGeom>
        </p:spPr>
        <p:txBody>
          <a:bodyPr wrap="square">
            <a:spAutoFit/>
          </a:bodyPr>
          <a:lstStyle/>
          <a:p>
            <a:pPr algn="ctr"/>
            <a:r>
              <a:rPr lang="es-ES" sz="1323" b="1" dirty="0" err="1">
                <a:latin typeface="Google Sans" panose="020B0503030502040204" pitchFamily="34" charset="0"/>
              </a:rPr>
              <a:t>Forms</a:t>
            </a:r>
            <a:endParaRPr lang="es-ES" sz="1323" b="1" dirty="0">
              <a:latin typeface="Google Sans" panose="020B0503030502040204" pitchFamily="34" charset="0"/>
            </a:endParaRPr>
          </a:p>
        </p:txBody>
      </p:sp>
      <p:pic>
        <p:nvPicPr>
          <p:cNvPr id="103" name="Gráfico 105">
            <a:extLst>
              <a:ext uri="{FF2B5EF4-FFF2-40B4-BE49-F238E27FC236}">
                <a16:creationId xmlns:a16="http://schemas.microsoft.com/office/drawing/2014/main" id="{7305D5F7-DB46-4101-8FF0-2EDB08BE246D}"/>
              </a:ext>
            </a:extLst>
          </p:cNvPr>
          <p:cNvPicPr>
            <a:picLocks noChangeAspect="1"/>
          </p:cNvPicPr>
          <p:nvPr/>
        </p:nvPicPr>
        <p:blipFill>
          <a:blip r:embed="rId13" cstate="hqprint">
            <a:extLst>
              <a:ext uri="{28A0092B-C50C-407E-A947-70E740481C1C}">
                <a14:useLocalDpi xmlns:a14="http://schemas.microsoft.com/office/drawing/2010/main" val="0"/>
              </a:ext>
              <a:ext uri="{96DAC541-7B7A-43D3-8B79-37D633B846F1}">
                <asvg:svgBlip xmlns:asvg="http://schemas.microsoft.com/office/drawing/2016/SVG/main" xmlns="" r:embed="rId14"/>
              </a:ext>
            </a:extLst>
          </a:blip>
          <a:stretch>
            <a:fillRect/>
          </a:stretch>
        </p:blipFill>
        <p:spPr>
          <a:xfrm>
            <a:off x="4857669" y="1845100"/>
            <a:ext cx="1174907" cy="1174907"/>
          </a:xfrm>
          <a:prstGeom prst="rect">
            <a:avLst/>
          </a:prstGeom>
        </p:spPr>
      </p:pic>
      <p:cxnSp>
        <p:nvCxnSpPr>
          <p:cNvPr id="104" name="Conector recto 43">
            <a:extLst>
              <a:ext uri="{FF2B5EF4-FFF2-40B4-BE49-F238E27FC236}">
                <a16:creationId xmlns:a16="http://schemas.microsoft.com/office/drawing/2014/main" id="{7680B439-85A7-4F93-8E4C-F6944B2EE38F}"/>
              </a:ext>
            </a:extLst>
          </p:cNvPr>
          <p:cNvCxnSpPr>
            <a:cxnSpLocks/>
          </p:cNvCxnSpPr>
          <p:nvPr/>
        </p:nvCxnSpPr>
        <p:spPr>
          <a:xfrm flipH="1" flipV="1">
            <a:off x="5772449" y="4371851"/>
            <a:ext cx="10977" cy="1900581"/>
          </a:xfrm>
          <a:prstGeom prst="line">
            <a:avLst/>
          </a:prstGeom>
          <a:ln w="38100" cap="rnd">
            <a:solidFill>
              <a:schemeClr val="tx1">
                <a:lumMod val="65000"/>
                <a:lumOff val="35000"/>
                <a:alpha val="6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5" name="Conector recto 44">
            <a:extLst>
              <a:ext uri="{FF2B5EF4-FFF2-40B4-BE49-F238E27FC236}">
                <a16:creationId xmlns:a16="http://schemas.microsoft.com/office/drawing/2014/main" id="{B66130A5-6B99-467C-8E60-83E864DB62DC}"/>
              </a:ext>
            </a:extLst>
          </p:cNvPr>
          <p:cNvCxnSpPr>
            <a:cxnSpLocks/>
          </p:cNvCxnSpPr>
          <p:nvPr/>
        </p:nvCxnSpPr>
        <p:spPr>
          <a:xfrm flipH="1" flipV="1">
            <a:off x="8161836" y="4371851"/>
            <a:ext cx="10977" cy="1900581"/>
          </a:xfrm>
          <a:prstGeom prst="line">
            <a:avLst/>
          </a:prstGeom>
          <a:ln w="38100" cap="rnd">
            <a:solidFill>
              <a:schemeClr val="tx1">
                <a:lumMod val="65000"/>
                <a:lumOff val="35000"/>
                <a:alpha val="65000"/>
              </a:schemeClr>
            </a:solidFill>
            <a:prstDash val="sysDot"/>
            <a:round/>
          </a:ln>
        </p:spPr>
        <p:style>
          <a:lnRef idx="1">
            <a:schemeClr val="accent1"/>
          </a:lnRef>
          <a:fillRef idx="0">
            <a:schemeClr val="accent1"/>
          </a:fillRef>
          <a:effectRef idx="0">
            <a:schemeClr val="accent1"/>
          </a:effectRef>
          <a:fontRef idx="minor">
            <a:schemeClr val="tx1"/>
          </a:fontRef>
        </p:style>
      </p:cxnSp>
      <p:pic>
        <p:nvPicPr>
          <p:cNvPr id="106" name="Gráfico 33">
            <a:extLst>
              <a:ext uri="{FF2B5EF4-FFF2-40B4-BE49-F238E27FC236}">
                <a16:creationId xmlns:a16="http://schemas.microsoft.com/office/drawing/2014/main" id="{946E73E0-CE0B-4791-8BC9-F966E0BD7D97}"/>
              </a:ext>
            </a:extLst>
          </p:cNvPr>
          <p:cNvPicPr>
            <a:picLocks noChangeAspect="1"/>
          </p:cNvPicPr>
          <p:nvPr/>
        </p:nvPicPr>
        <p:blipFill>
          <a:blip r:embed="rId15" cstate="hqprint">
            <a:extLst>
              <a:ext uri="{28A0092B-C50C-407E-A947-70E740481C1C}">
                <a14:useLocalDpi xmlns:a14="http://schemas.microsoft.com/office/drawing/2010/main" val="0"/>
              </a:ext>
              <a:ext uri="{96DAC541-7B7A-43D3-8B79-37D633B846F1}">
                <asvg:svgBlip xmlns:asvg="http://schemas.microsoft.com/office/drawing/2016/SVG/main" xmlns="" r:embed="rId16"/>
              </a:ext>
            </a:extLst>
          </a:blip>
          <a:stretch>
            <a:fillRect/>
          </a:stretch>
        </p:blipFill>
        <p:spPr>
          <a:xfrm>
            <a:off x="7420484" y="2772014"/>
            <a:ext cx="619462" cy="619462"/>
          </a:xfrm>
          <a:prstGeom prst="rect">
            <a:avLst/>
          </a:prstGeom>
        </p:spPr>
      </p:pic>
      <p:sp>
        <p:nvSpPr>
          <p:cNvPr id="107" name="Rectángulo 35">
            <a:extLst>
              <a:ext uri="{FF2B5EF4-FFF2-40B4-BE49-F238E27FC236}">
                <a16:creationId xmlns:a16="http://schemas.microsoft.com/office/drawing/2014/main" id="{A8B76BEC-C396-4EE5-AB4F-EAD5C132CCC9}"/>
              </a:ext>
            </a:extLst>
          </p:cNvPr>
          <p:cNvSpPr/>
          <p:nvPr/>
        </p:nvSpPr>
        <p:spPr>
          <a:xfrm>
            <a:off x="8043720" y="2886346"/>
            <a:ext cx="2393882" cy="397801"/>
          </a:xfrm>
          <a:prstGeom prst="rect">
            <a:avLst/>
          </a:prstGeom>
        </p:spPr>
        <p:txBody>
          <a:bodyPr wrap="square">
            <a:spAutoFit/>
          </a:bodyPr>
          <a:lstStyle/>
          <a:p>
            <a:r>
              <a:rPr lang="es-ES" sz="1985" dirty="0">
                <a:solidFill>
                  <a:srgbClr val="AAC148"/>
                </a:solidFill>
                <a:latin typeface="Google Sans" panose="020B0503030502040204" pitchFamily="34" charset="0"/>
              </a:rPr>
              <a:t>Android </a:t>
            </a:r>
            <a:r>
              <a:rPr lang="es-ES" sz="1985" dirty="0" err="1">
                <a:solidFill>
                  <a:srgbClr val="AAC148"/>
                </a:solidFill>
                <a:latin typeface="Google Sans" panose="020B0503030502040204" pitchFamily="34" charset="0"/>
              </a:rPr>
              <a:t>Market</a:t>
            </a:r>
            <a:endParaRPr lang="es-ES" sz="1543" dirty="0">
              <a:solidFill>
                <a:srgbClr val="AAC148"/>
              </a:solidFill>
              <a:latin typeface="Google Sans" panose="020B0503030502040204" pitchFamily="34" charset="0"/>
            </a:endParaRPr>
          </a:p>
        </p:txBody>
      </p:sp>
      <p:pic>
        <p:nvPicPr>
          <p:cNvPr id="108" name="Imagen 5">
            <a:extLst>
              <a:ext uri="{FF2B5EF4-FFF2-40B4-BE49-F238E27FC236}">
                <a16:creationId xmlns:a16="http://schemas.microsoft.com/office/drawing/2014/main" id="{486772CC-9A00-4CB8-AC82-23F1E596CB30}"/>
              </a:ext>
            </a:extLst>
          </p:cNvPr>
          <p:cNvPicPr>
            <a:picLocks noChangeAspect="1"/>
          </p:cNvPicPr>
          <p:nvPr/>
        </p:nvPicPr>
        <p:blipFill rotWithShape="1">
          <a:blip r:embed="rId17" cstate="hqprint">
            <a:extLst>
              <a:ext uri="{28A0092B-C50C-407E-A947-70E740481C1C}">
                <a14:useLocalDpi xmlns:a14="http://schemas.microsoft.com/office/drawing/2010/main" val="0"/>
              </a:ext>
            </a:extLst>
          </a:blip>
          <a:srcRect t="19564" b="18000"/>
          <a:stretch/>
        </p:blipFill>
        <p:spPr>
          <a:xfrm>
            <a:off x="7127231" y="1356482"/>
            <a:ext cx="2752175" cy="839049"/>
          </a:xfrm>
          <a:prstGeom prst="rect">
            <a:avLst/>
          </a:prstGeom>
        </p:spPr>
      </p:pic>
      <p:sp>
        <p:nvSpPr>
          <p:cNvPr id="111" name="CuadroTexto 6">
            <a:extLst>
              <a:ext uri="{FF2B5EF4-FFF2-40B4-BE49-F238E27FC236}">
                <a16:creationId xmlns:a16="http://schemas.microsoft.com/office/drawing/2014/main" id="{CA709069-1D14-4E90-92DA-EFBA206C42E7}"/>
              </a:ext>
            </a:extLst>
          </p:cNvPr>
          <p:cNvSpPr txBox="1"/>
          <p:nvPr/>
        </p:nvSpPr>
        <p:spPr>
          <a:xfrm>
            <a:off x="38954" y="1092667"/>
            <a:ext cx="3533774" cy="338554"/>
          </a:xfrm>
          <a:prstGeom prst="rect">
            <a:avLst/>
          </a:prstGeom>
          <a:noFill/>
        </p:spPr>
        <p:txBody>
          <a:bodyPr wrap="square" rtlCol="0">
            <a:spAutoFit/>
          </a:bodyPr>
          <a:lstStyle/>
          <a:p>
            <a:pPr algn="ctr"/>
            <a:r>
              <a:rPr lang="es-ES" sz="1600" b="1">
                <a:solidFill>
                  <a:srgbClr val="F35F5F"/>
                </a:solidFill>
                <a:latin typeface="Trebuchet MS" panose="020B0603020202020204" pitchFamily="34" charset="0"/>
              </a:rPr>
              <a:t>HP SCHOOL PACK + TOOVARI</a:t>
            </a:r>
          </a:p>
        </p:txBody>
      </p:sp>
      <p:pic>
        <p:nvPicPr>
          <p:cNvPr id="112" name="Imagen 56">
            <a:extLst>
              <a:ext uri="{FF2B5EF4-FFF2-40B4-BE49-F238E27FC236}">
                <a16:creationId xmlns:a16="http://schemas.microsoft.com/office/drawing/2014/main" id="{3CE17A1A-AFBB-4461-BEA8-E7C2137CC2E8}"/>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709660" y="1655941"/>
            <a:ext cx="575218" cy="651767"/>
          </a:xfrm>
          <a:prstGeom prst="rect">
            <a:avLst/>
          </a:prstGeom>
        </p:spPr>
      </p:pic>
      <p:sp>
        <p:nvSpPr>
          <p:cNvPr id="113" name="CuadroTexto 57">
            <a:extLst>
              <a:ext uri="{FF2B5EF4-FFF2-40B4-BE49-F238E27FC236}">
                <a16:creationId xmlns:a16="http://schemas.microsoft.com/office/drawing/2014/main" id="{B93AA9C3-7D42-4F78-9B3E-CBD0B3377955}"/>
              </a:ext>
            </a:extLst>
          </p:cNvPr>
          <p:cNvSpPr txBox="1"/>
          <p:nvPr/>
        </p:nvSpPr>
        <p:spPr>
          <a:xfrm>
            <a:off x="419760" y="2343607"/>
            <a:ext cx="1155018" cy="461665"/>
          </a:xfrm>
          <a:prstGeom prst="rect">
            <a:avLst/>
          </a:prstGeom>
          <a:noFill/>
        </p:spPr>
        <p:txBody>
          <a:bodyPr wrap="square" rtlCol="0">
            <a:spAutoFit/>
          </a:bodyPr>
          <a:lstStyle/>
          <a:p>
            <a:pPr algn="ctr"/>
            <a:r>
              <a:rPr lang="es-ES" sz="1200">
                <a:latin typeface="Trebuchet MS" panose="020B0603020202020204" pitchFamily="34" charset="0"/>
                <a:ea typeface="Open Sans" panose="020B0606030504020204" pitchFamily="34" charset="0"/>
                <a:cs typeface="Open Sans" panose="020B0606030504020204" pitchFamily="34" charset="0"/>
              </a:rPr>
              <a:t>HP Classroom Manager</a:t>
            </a:r>
          </a:p>
        </p:txBody>
      </p:sp>
      <p:pic>
        <p:nvPicPr>
          <p:cNvPr id="114" name="Imagen 58">
            <a:extLst>
              <a:ext uri="{FF2B5EF4-FFF2-40B4-BE49-F238E27FC236}">
                <a16:creationId xmlns:a16="http://schemas.microsoft.com/office/drawing/2014/main" id="{2D01C8E1-B154-4A47-B00E-53FB2C153055}"/>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938384" y="1886815"/>
            <a:ext cx="428046" cy="570049"/>
          </a:xfrm>
          <a:prstGeom prst="rect">
            <a:avLst/>
          </a:prstGeom>
        </p:spPr>
      </p:pic>
      <p:pic>
        <p:nvPicPr>
          <p:cNvPr id="115" name="Imagen 59">
            <a:extLst>
              <a:ext uri="{FF2B5EF4-FFF2-40B4-BE49-F238E27FC236}">
                <a16:creationId xmlns:a16="http://schemas.microsoft.com/office/drawing/2014/main" id="{B4ADEF00-33AC-47DF-9382-2D8D3E559DB5}"/>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856006" y="1677281"/>
            <a:ext cx="575218" cy="543969"/>
          </a:xfrm>
          <a:prstGeom prst="rect">
            <a:avLst/>
          </a:prstGeom>
        </p:spPr>
      </p:pic>
      <p:pic>
        <p:nvPicPr>
          <p:cNvPr id="116" name="Imagen 60">
            <a:extLst>
              <a:ext uri="{FF2B5EF4-FFF2-40B4-BE49-F238E27FC236}">
                <a16:creationId xmlns:a16="http://schemas.microsoft.com/office/drawing/2014/main" id="{474A3A15-FCAE-412F-B7B7-30CF0F3CC309}"/>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823632" y="1675299"/>
            <a:ext cx="713293" cy="348241"/>
          </a:xfrm>
          <a:prstGeom prst="rect">
            <a:avLst/>
          </a:prstGeom>
        </p:spPr>
      </p:pic>
      <p:sp>
        <p:nvSpPr>
          <p:cNvPr id="117" name="CuadroTexto 61">
            <a:extLst>
              <a:ext uri="{FF2B5EF4-FFF2-40B4-BE49-F238E27FC236}">
                <a16:creationId xmlns:a16="http://schemas.microsoft.com/office/drawing/2014/main" id="{FE50588F-D2B7-4B49-850D-34E81551BB34}"/>
              </a:ext>
            </a:extLst>
          </p:cNvPr>
          <p:cNvSpPr txBox="1"/>
          <p:nvPr/>
        </p:nvSpPr>
        <p:spPr>
          <a:xfrm>
            <a:off x="1601041" y="2274258"/>
            <a:ext cx="1093345" cy="646331"/>
          </a:xfrm>
          <a:prstGeom prst="rect">
            <a:avLst/>
          </a:prstGeom>
          <a:noFill/>
        </p:spPr>
        <p:txBody>
          <a:bodyPr wrap="square" rtlCol="0">
            <a:spAutoFit/>
          </a:bodyPr>
          <a:lstStyle/>
          <a:p>
            <a:pPr algn="ctr"/>
            <a:r>
              <a:rPr lang="es-ES" sz="1200">
                <a:latin typeface="Trebuchet MS" panose="020B0603020202020204" pitchFamily="34" charset="0"/>
                <a:ea typeface="Open Sans" panose="020B0606030504020204" pitchFamily="34" charset="0"/>
                <a:cs typeface="Open Sans" panose="020B0606030504020204" pitchFamily="34" charset="0"/>
              </a:rPr>
              <a:t>HP Prime Graphing Calculator</a:t>
            </a:r>
          </a:p>
        </p:txBody>
      </p:sp>
      <p:graphicFrame>
        <p:nvGraphicFramePr>
          <p:cNvPr id="118" name="Objeto 62">
            <a:extLst>
              <a:ext uri="{FF2B5EF4-FFF2-40B4-BE49-F238E27FC236}">
                <a16:creationId xmlns:a16="http://schemas.microsoft.com/office/drawing/2014/main" id="{5A2BD108-2098-445A-A1A9-3F0B6FBCBE90}"/>
              </a:ext>
            </a:extLst>
          </p:cNvPr>
          <p:cNvGraphicFramePr>
            <a:graphicFrameLocks noChangeAspect="1"/>
          </p:cNvGraphicFramePr>
          <p:nvPr/>
        </p:nvGraphicFramePr>
        <p:xfrm>
          <a:off x="2983931" y="2709340"/>
          <a:ext cx="328945" cy="345650"/>
        </p:xfrm>
        <a:graphic>
          <a:graphicData uri="http://schemas.openxmlformats.org/presentationml/2006/ole">
            <mc:AlternateContent xmlns:mc="http://schemas.openxmlformats.org/markup-compatibility/2006">
              <mc:Choice xmlns:v="urn:schemas-microsoft-com:vml" Requires="v">
                <p:oleObj spid="_x0000_s2118" name="Image" r:id="rId22" imgW="2272680" imgH="2107800" progId="Photoshop.Image.13">
                  <p:embed/>
                </p:oleObj>
              </mc:Choice>
              <mc:Fallback>
                <p:oleObj name="Image" r:id="rId22" imgW="2272680" imgH="2107800" progId="Photoshop.Image.13">
                  <p:embed/>
                  <p:pic>
                    <p:nvPicPr>
                      <p:cNvPr id="118" name="Objeto 62">
                        <a:extLst>
                          <a:ext uri="{FF2B5EF4-FFF2-40B4-BE49-F238E27FC236}">
                            <a16:creationId xmlns:a16="http://schemas.microsoft.com/office/drawing/2014/main" id="{5A2BD108-2098-445A-A1A9-3F0B6FBCBE90}"/>
                          </a:ext>
                        </a:extLst>
                      </p:cNvPr>
                      <p:cNvPicPr/>
                      <p:nvPr/>
                    </p:nvPicPr>
                    <p:blipFill>
                      <a:blip r:embed="rId23"/>
                      <a:stretch>
                        <a:fillRect/>
                      </a:stretch>
                    </p:blipFill>
                    <p:spPr>
                      <a:xfrm>
                        <a:off x="2983931" y="2709340"/>
                        <a:ext cx="328945" cy="345650"/>
                      </a:xfrm>
                      <a:prstGeom prst="rect">
                        <a:avLst/>
                      </a:prstGeom>
                    </p:spPr>
                  </p:pic>
                </p:oleObj>
              </mc:Fallback>
            </mc:AlternateContent>
          </a:graphicData>
        </a:graphic>
      </p:graphicFrame>
      <p:pic>
        <p:nvPicPr>
          <p:cNvPr id="119" name="Imagen 63">
            <a:extLst>
              <a:ext uri="{FF2B5EF4-FFF2-40B4-BE49-F238E27FC236}">
                <a16:creationId xmlns:a16="http://schemas.microsoft.com/office/drawing/2014/main" id="{711DABC0-C3C8-4470-804F-2CBAE2CE40FB}"/>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463554" y="2924414"/>
            <a:ext cx="377419" cy="543946"/>
          </a:xfrm>
          <a:prstGeom prst="rect">
            <a:avLst/>
          </a:prstGeom>
        </p:spPr>
      </p:pic>
      <p:sp>
        <p:nvSpPr>
          <p:cNvPr id="120" name="CuadroTexto 64">
            <a:extLst>
              <a:ext uri="{FF2B5EF4-FFF2-40B4-BE49-F238E27FC236}">
                <a16:creationId xmlns:a16="http://schemas.microsoft.com/office/drawing/2014/main" id="{9C60F1AE-5A6B-4CEC-AF52-0AE15A92E1D2}"/>
              </a:ext>
            </a:extLst>
          </p:cNvPr>
          <p:cNvSpPr txBox="1"/>
          <p:nvPr/>
        </p:nvSpPr>
        <p:spPr>
          <a:xfrm>
            <a:off x="2492578" y="3162152"/>
            <a:ext cx="1155018" cy="276999"/>
          </a:xfrm>
          <a:prstGeom prst="rect">
            <a:avLst/>
          </a:prstGeom>
          <a:noFill/>
        </p:spPr>
        <p:txBody>
          <a:bodyPr wrap="square" rtlCol="0">
            <a:spAutoFit/>
          </a:bodyPr>
          <a:lstStyle/>
          <a:p>
            <a:pPr algn="ctr"/>
            <a:r>
              <a:rPr lang="es-ES" sz="1200">
                <a:latin typeface="Trebuchet MS" panose="020B0603020202020204" pitchFamily="34" charset="0"/>
                <a:ea typeface="Open Sans" panose="020B0606030504020204" pitchFamily="34" charset="0"/>
                <a:cs typeface="Open Sans" panose="020B0606030504020204" pitchFamily="34" charset="0"/>
              </a:rPr>
              <a:t>ClassLink</a:t>
            </a:r>
          </a:p>
        </p:txBody>
      </p:sp>
      <p:sp>
        <p:nvSpPr>
          <p:cNvPr id="121" name="CuadroTexto 65">
            <a:extLst>
              <a:ext uri="{FF2B5EF4-FFF2-40B4-BE49-F238E27FC236}">
                <a16:creationId xmlns:a16="http://schemas.microsoft.com/office/drawing/2014/main" id="{753DAA04-C555-4B14-B811-AF268430A312}"/>
              </a:ext>
            </a:extLst>
          </p:cNvPr>
          <p:cNvSpPr txBox="1"/>
          <p:nvPr/>
        </p:nvSpPr>
        <p:spPr>
          <a:xfrm>
            <a:off x="571508" y="3061072"/>
            <a:ext cx="2287526" cy="430887"/>
          </a:xfrm>
          <a:prstGeom prst="rect">
            <a:avLst/>
          </a:prstGeom>
          <a:noFill/>
        </p:spPr>
        <p:txBody>
          <a:bodyPr wrap="square" rtlCol="0">
            <a:spAutoFit/>
          </a:bodyPr>
          <a:lstStyle/>
          <a:p>
            <a:pPr algn="ctr"/>
            <a:r>
              <a:rPr lang="es-ES" sz="1100">
                <a:latin typeface="Trebuchet MS" panose="020B0603020202020204" pitchFamily="34" charset="0"/>
                <a:ea typeface="Open Sans" panose="020B0606030504020204" pitchFamily="34" charset="0"/>
                <a:cs typeface="Open Sans" panose="020B0606030504020204" pitchFamily="34" charset="0"/>
              </a:rPr>
              <a:t>OUP Advanced Learner’s Dictionary</a:t>
            </a:r>
          </a:p>
        </p:txBody>
      </p:sp>
      <p:pic>
        <p:nvPicPr>
          <p:cNvPr id="122" name="Gráfico 75">
            <a:extLst>
              <a:ext uri="{FF2B5EF4-FFF2-40B4-BE49-F238E27FC236}">
                <a16:creationId xmlns:a16="http://schemas.microsoft.com/office/drawing/2014/main" id="{D228CD89-3B45-4BE8-A022-1B267E071130}"/>
              </a:ext>
            </a:extLst>
          </p:cNvPr>
          <p:cNvPicPr>
            <a:picLocks noChangeAspect="1"/>
          </p:cNvPicPr>
          <p:nvPr/>
        </p:nvPicPr>
        <p:blipFill>
          <a:blip r:embed="rId25" cstate="hqprint">
            <a:extLst>
              <a:ext uri="{28A0092B-C50C-407E-A947-70E740481C1C}">
                <a14:useLocalDpi xmlns:a14="http://schemas.microsoft.com/office/drawing/2010/main" val="0"/>
              </a:ext>
              <a:ext uri="{96DAC541-7B7A-43D3-8B79-37D633B846F1}">
                <asvg:svgBlip xmlns:asvg="http://schemas.microsoft.com/office/drawing/2016/SVG/main" xmlns="" r:embed="rId26"/>
              </a:ext>
            </a:extLst>
          </a:blip>
          <a:stretch>
            <a:fillRect/>
          </a:stretch>
        </p:blipFill>
        <p:spPr>
          <a:xfrm>
            <a:off x="3370622" y="1089314"/>
            <a:ext cx="316793" cy="316793"/>
          </a:xfrm>
          <a:prstGeom prst="rect">
            <a:avLst/>
          </a:prstGeom>
        </p:spPr>
      </p:pic>
      <p:sp>
        <p:nvSpPr>
          <p:cNvPr id="123" name="TextBox 122">
            <a:extLst>
              <a:ext uri="{FF2B5EF4-FFF2-40B4-BE49-F238E27FC236}">
                <a16:creationId xmlns:a16="http://schemas.microsoft.com/office/drawing/2014/main" id="{3BB7536F-BC6C-4C46-AF8C-B4CB3D54CFE8}"/>
              </a:ext>
            </a:extLst>
          </p:cNvPr>
          <p:cNvSpPr txBox="1"/>
          <p:nvPr/>
        </p:nvSpPr>
        <p:spPr>
          <a:xfrm>
            <a:off x="3240490" y="2292595"/>
            <a:ext cx="624266" cy="261610"/>
          </a:xfrm>
          <a:prstGeom prst="rect">
            <a:avLst/>
          </a:prstGeom>
          <a:noFill/>
        </p:spPr>
        <p:txBody>
          <a:bodyPr wrap="square" rtlCol="0">
            <a:spAutoFit/>
          </a:bodyPr>
          <a:lstStyle/>
          <a:p>
            <a:r>
              <a:rPr lang="en-US" sz="1100" b="1"/>
              <a:t>K12</a:t>
            </a:r>
            <a:endParaRPr lang="es-ES" sz="1100" b="1"/>
          </a:p>
        </p:txBody>
      </p:sp>
      <p:sp>
        <p:nvSpPr>
          <p:cNvPr id="49" name="Marcador de número de diapositiva 1"/>
          <p:cNvSpPr>
            <a:spLocks noGrp="1"/>
          </p:cNvSpPr>
          <p:nvPr>
            <p:ph type="sldNum" sz="quarter" idx="12"/>
          </p:nvPr>
        </p:nvSpPr>
        <p:spPr>
          <a:xfrm>
            <a:off x="11777051" y="6458134"/>
            <a:ext cx="487378" cy="481343"/>
          </a:xfrm>
        </p:spPr>
        <p:txBody>
          <a:bodyPr/>
          <a:lstStyle/>
          <a:p>
            <a:r>
              <a:rPr lang="en-US" sz="2000" dirty="0" smtClean="0"/>
              <a:t>40</a:t>
            </a:r>
            <a:endParaRPr lang="en-US" sz="2000" dirty="0"/>
          </a:p>
        </p:txBody>
      </p:sp>
    </p:spTree>
    <p:extLst>
      <p:ext uri="{BB962C8B-B14F-4D97-AF65-F5344CB8AC3E}">
        <p14:creationId xmlns:p14="http://schemas.microsoft.com/office/powerpoint/2010/main" val="74610752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0" name="Rectángulo 6">
            <a:extLst>
              <a:ext uri="{FF2B5EF4-FFF2-40B4-BE49-F238E27FC236}">
                <a16:creationId xmlns:a16="http://schemas.microsoft.com/office/drawing/2014/main" id="{144A9D80-1E96-43E6-95B8-E428A06B0747}"/>
              </a:ext>
            </a:extLst>
          </p:cNvPr>
          <p:cNvSpPr/>
          <p:nvPr/>
        </p:nvSpPr>
        <p:spPr>
          <a:xfrm>
            <a:off x="0" y="-21623"/>
            <a:ext cx="12192000" cy="735909"/>
          </a:xfrm>
          <a:prstGeom prst="rect">
            <a:avLst/>
          </a:prstGeom>
          <a:solidFill>
            <a:srgbClr val="00A7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5" name="Rectángulo 64">
            <a:extLst>
              <a:ext uri="{FF2B5EF4-FFF2-40B4-BE49-F238E27FC236}">
                <a16:creationId xmlns:a16="http://schemas.microsoft.com/office/drawing/2014/main" id="{F9F2B749-0880-4324-9F8A-D5608D73E418}"/>
              </a:ext>
            </a:extLst>
          </p:cNvPr>
          <p:cNvSpPr/>
          <p:nvPr/>
        </p:nvSpPr>
        <p:spPr>
          <a:xfrm>
            <a:off x="502887" y="4712743"/>
            <a:ext cx="2256601" cy="276999"/>
          </a:xfrm>
          <a:prstGeom prst="rect">
            <a:avLst/>
          </a:prstGeom>
          <a:pattFill prst="dkUpDiag">
            <a:fgClr>
              <a:schemeClr val="bg2">
                <a:lumMod val="75000"/>
              </a:schemeClr>
            </a:fgClr>
            <a:bgClr>
              <a:schemeClr val="tx1">
                <a:lumMod val="65000"/>
                <a:lumOff val="3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Trebuchet MS" panose="020B0603020202020204" pitchFamily="34" charset="0"/>
            </a:endParaRPr>
          </a:p>
        </p:txBody>
      </p:sp>
      <p:sp>
        <p:nvSpPr>
          <p:cNvPr id="61" name="Rectángulo 60">
            <a:extLst>
              <a:ext uri="{FF2B5EF4-FFF2-40B4-BE49-F238E27FC236}">
                <a16:creationId xmlns:a16="http://schemas.microsoft.com/office/drawing/2014/main" id="{745F9F33-18D5-4F75-974D-61C00FCA2EFA}"/>
              </a:ext>
            </a:extLst>
          </p:cNvPr>
          <p:cNvSpPr/>
          <p:nvPr/>
        </p:nvSpPr>
        <p:spPr>
          <a:xfrm>
            <a:off x="517052" y="4054683"/>
            <a:ext cx="2033905" cy="286211"/>
          </a:xfrm>
          <a:prstGeom prst="rect">
            <a:avLst/>
          </a:prstGeom>
          <a:pattFill prst="dkUpDiag">
            <a:fgClr>
              <a:schemeClr val="bg2">
                <a:lumMod val="75000"/>
              </a:schemeClr>
            </a:fgClr>
            <a:bgClr>
              <a:schemeClr val="tx1">
                <a:lumMod val="65000"/>
                <a:lumOff val="3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Trebuchet MS" panose="020B0603020202020204" pitchFamily="34" charset="0"/>
            </a:endParaRPr>
          </a:p>
        </p:txBody>
      </p:sp>
      <p:pic>
        <p:nvPicPr>
          <p:cNvPr id="13" name="Imagen 12">
            <a:extLst>
              <a:ext uri="{FF2B5EF4-FFF2-40B4-BE49-F238E27FC236}">
                <a16:creationId xmlns:a16="http://schemas.microsoft.com/office/drawing/2014/main" id="{E173A219-CC4D-4E61-8ECB-A32B074AD64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123900" y="2228708"/>
            <a:ext cx="6000750" cy="3055299"/>
          </a:xfrm>
          <a:prstGeom prst="rect">
            <a:avLst/>
          </a:prstGeom>
          <a:effectLst>
            <a:outerShdw blurRad="50800" dist="38100" dir="5400000" algn="t" rotWithShape="0">
              <a:prstClr val="black">
                <a:alpha val="40000"/>
              </a:prstClr>
            </a:outerShdw>
          </a:effectLst>
        </p:spPr>
      </p:pic>
      <p:cxnSp>
        <p:nvCxnSpPr>
          <p:cNvPr id="33" name="Conector recto 32">
            <a:extLst>
              <a:ext uri="{FF2B5EF4-FFF2-40B4-BE49-F238E27FC236}">
                <a16:creationId xmlns:a16="http://schemas.microsoft.com/office/drawing/2014/main" id="{325EF7BC-C237-4248-8B56-47EE4DF4DDAB}"/>
              </a:ext>
            </a:extLst>
          </p:cNvPr>
          <p:cNvCxnSpPr>
            <a:cxnSpLocks/>
          </p:cNvCxnSpPr>
          <p:nvPr/>
        </p:nvCxnSpPr>
        <p:spPr>
          <a:xfrm flipV="1">
            <a:off x="7824912" y="2136302"/>
            <a:ext cx="841544" cy="9941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Conector recto 33">
            <a:extLst>
              <a:ext uri="{FF2B5EF4-FFF2-40B4-BE49-F238E27FC236}">
                <a16:creationId xmlns:a16="http://schemas.microsoft.com/office/drawing/2014/main" id="{D4FA38E6-7C16-4C02-8588-D182A752D375}"/>
              </a:ext>
            </a:extLst>
          </p:cNvPr>
          <p:cNvCxnSpPr>
            <a:cxnSpLocks/>
          </p:cNvCxnSpPr>
          <p:nvPr/>
        </p:nvCxnSpPr>
        <p:spPr>
          <a:xfrm flipH="1">
            <a:off x="8666458" y="1925124"/>
            <a:ext cx="725544" cy="21117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Conector recto 48">
            <a:extLst>
              <a:ext uri="{FF2B5EF4-FFF2-40B4-BE49-F238E27FC236}">
                <a16:creationId xmlns:a16="http://schemas.microsoft.com/office/drawing/2014/main" id="{8662692F-69DD-4AC4-8B07-E2A3CA72132A}"/>
              </a:ext>
            </a:extLst>
          </p:cNvPr>
          <p:cNvCxnSpPr>
            <a:cxnSpLocks/>
          </p:cNvCxnSpPr>
          <p:nvPr/>
        </p:nvCxnSpPr>
        <p:spPr>
          <a:xfrm flipH="1">
            <a:off x="2644332" y="3200602"/>
            <a:ext cx="69544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0" name="Elipse 49">
            <a:extLst>
              <a:ext uri="{FF2B5EF4-FFF2-40B4-BE49-F238E27FC236}">
                <a16:creationId xmlns:a16="http://schemas.microsoft.com/office/drawing/2014/main" id="{0B0BA52B-FA31-4AD9-9F5D-052800C32C76}"/>
              </a:ext>
            </a:extLst>
          </p:cNvPr>
          <p:cNvSpPr/>
          <p:nvPr/>
        </p:nvSpPr>
        <p:spPr>
          <a:xfrm>
            <a:off x="2580691" y="3153100"/>
            <a:ext cx="108000" cy="1080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Trebuchet MS" panose="020B0603020202020204" pitchFamily="34" charset="0"/>
            </a:endParaRPr>
          </a:p>
        </p:txBody>
      </p:sp>
      <p:sp>
        <p:nvSpPr>
          <p:cNvPr id="52" name="Elipse 51">
            <a:extLst>
              <a:ext uri="{FF2B5EF4-FFF2-40B4-BE49-F238E27FC236}">
                <a16:creationId xmlns:a16="http://schemas.microsoft.com/office/drawing/2014/main" id="{A142CB0E-AC1E-4260-BA15-FE7E4863496B}"/>
              </a:ext>
            </a:extLst>
          </p:cNvPr>
          <p:cNvSpPr/>
          <p:nvPr/>
        </p:nvSpPr>
        <p:spPr>
          <a:xfrm>
            <a:off x="9241047" y="2087886"/>
            <a:ext cx="108000" cy="1080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Trebuchet MS" panose="020B0603020202020204" pitchFamily="34" charset="0"/>
            </a:endParaRPr>
          </a:p>
        </p:txBody>
      </p:sp>
      <p:sp>
        <p:nvSpPr>
          <p:cNvPr id="53" name="Rectángulo 52">
            <a:extLst>
              <a:ext uri="{FF2B5EF4-FFF2-40B4-BE49-F238E27FC236}">
                <a16:creationId xmlns:a16="http://schemas.microsoft.com/office/drawing/2014/main" id="{5690F39E-98B0-4DF9-98D1-1D15B92FEE06}"/>
              </a:ext>
            </a:extLst>
          </p:cNvPr>
          <p:cNvSpPr/>
          <p:nvPr/>
        </p:nvSpPr>
        <p:spPr>
          <a:xfrm>
            <a:off x="502888" y="3463362"/>
            <a:ext cx="2256601" cy="276999"/>
          </a:xfrm>
          <a:prstGeom prst="rect">
            <a:avLst/>
          </a:prstGeom>
          <a:pattFill prst="dkUpDiag">
            <a:fgClr>
              <a:schemeClr val="bg2">
                <a:lumMod val="75000"/>
              </a:schemeClr>
            </a:fgClr>
            <a:bgClr>
              <a:schemeClr val="tx1">
                <a:lumMod val="65000"/>
                <a:lumOff val="3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Trebuchet MS" panose="020B0603020202020204" pitchFamily="34" charset="0"/>
            </a:endParaRPr>
          </a:p>
        </p:txBody>
      </p:sp>
      <p:sp>
        <p:nvSpPr>
          <p:cNvPr id="54" name="Rectángulo 53">
            <a:extLst>
              <a:ext uri="{FF2B5EF4-FFF2-40B4-BE49-F238E27FC236}">
                <a16:creationId xmlns:a16="http://schemas.microsoft.com/office/drawing/2014/main" id="{4D4F5BDD-1EE7-4A10-B6C9-53F91C35D7A9}"/>
              </a:ext>
            </a:extLst>
          </p:cNvPr>
          <p:cNvSpPr/>
          <p:nvPr/>
        </p:nvSpPr>
        <p:spPr>
          <a:xfrm>
            <a:off x="502887" y="3461190"/>
            <a:ext cx="1055991" cy="279171"/>
          </a:xfrm>
          <a:prstGeom prst="rect">
            <a:avLst/>
          </a:prstGeom>
          <a:solidFill>
            <a:srgbClr val="5EC6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600" dirty="0">
              <a:latin typeface="Trebuchet MS" panose="020B0603020202020204" pitchFamily="34" charset="0"/>
            </a:endParaRPr>
          </a:p>
        </p:txBody>
      </p:sp>
      <p:sp>
        <p:nvSpPr>
          <p:cNvPr id="56" name="Rectángulo 55">
            <a:extLst>
              <a:ext uri="{FF2B5EF4-FFF2-40B4-BE49-F238E27FC236}">
                <a16:creationId xmlns:a16="http://schemas.microsoft.com/office/drawing/2014/main" id="{36D2D897-F3A9-49FB-B849-D0544B7B44CC}"/>
              </a:ext>
            </a:extLst>
          </p:cNvPr>
          <p:cNvSpPr/>
          <p:nvPr/>
        </p:nvSpPr>
        <p:spPr>
          <a:xfrm>
            <a:off x="502887" y="4046179"/>
            <a:ext cx="2256601" cy="307776"/>
          </a:xfrm>
          <a:prstGeom prst="rect">
            <a:avLst/>
          </a:prstGeom>
          <a:solidFill>
            <a:srgbClr val="5EC6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Trebuchet MS" panose="020B0603020202020204" pitchFamily="34" charset="0"/>
            </a:endParaRPr>
          </a:p>
        </p:txBody>
      </p:sp>
      <p:sp>
        <p:nvSpPr>
          <p:cNvPr id="58" name="Rectángulo 57">
            <a:extLst>
              <a:ext uri="{FF2B5EF4-FFF2-40B4-BE49-F238E27FC236}">
                <a16:creationId xmlns:a16="http://schemas.microsoft.com/office/drawing/2014/main" id="{0139797E-380D-4CCB-B43A-EE8C3542CA06}"/>
              </a:ext>
            </a:extLst>
          </p:cNvPr>
          <p:cNvSpPr/>
          <p:nvPr/>
        </p:nvSpPr>
        <p:spPr>
          <a:xfrm>
            <a:off x="502887" y="4712146"/>
            <a:ext cx="1840877" cy="276998"/>
          </a:xfrm>
          <a:prstGeom prst="rect">
            <a:avLst/>
          </a:prstGeom>
          <a:solidFill>
            <a:srgbClr val="5EC6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Trebuchet MS" panose="020B0603020202020204" pitchFamily="34" charset="0"/>
            </a:endParaRPr>
          </a:p>
        </p:txBody>
      </p:sp>
      <p:sp>
        <p:nvSpPr>
          <p:cNvPr id="59" name="Rectángulo 58">
            <a:extLst>
              <a:ext uri="{FF2B5EF4-FFF2-40B4-BE49-F238E27FC236}">
                <a16:creationId xmlns:a16="http://schemas.microsoft.com/office/drawing/2014/main" id="{F6385D72-0363-453F-8368-123CD7C40296}"/>
              </a:ext>
            </a:extLst>
          </p:cNvPr>
          <p:cNvSpPr/>
          <p:nvPr/>
        </p:nvSpPr>
        <p:spPr>
          <a:xfrm>
            <a:off x="420162" y="3011012"/>
            <a:ext cx="1848583" cy="400110"/>
          </a:xfrm>
          <a:prstGeom prst="rect">
            <a:avLst/>
          </a:prstGeom>
        </p:spPr>
        <p:txBody>
          <a:bodyPr wrap="none">
            <a:spAutoFit/>
          </a:bodyPr>
          <a:lstStyle/>
          <a:p>
            <a:r>
              <a:rPr lang="es-ES" sz="2000" dirty="0">
                <a:solidFill>
                  <a:schemeClr val="accent1">
                    <a:lumMod val="75000"/>
                  </a:schemeClr>
                </a:solidFill>
                <a:latin typeface="Trebuchet MS" panose="020B0603020202020204" pitchFamily="34" charset="0"/>
              </a:rPr>
              <a:t>PROFESORADO</a:t>
            </a:r>
          </a:p>
        </p:txBody>
      </p:sp>
      <p:sp>
        <p:nvSpPr>
          <p:cNvPr id="60" name="Rectángulo 59">
            <a:extLst>
              <a:ext uri="{FF2B5EF4-FFF2-40B4-BE49-F238E27FC236}">
                <a16:creationId xmlns:a16="http://schemas.microsoft.com/office/drawing/2014/main" id="{618C21A3-7D25-4CE7-A313-2BE889DE14FE}"/>
              </a:ext>
            </a:extLst>
          </p:cNvPr>
          <p:cNvSpPr/>
          <p:nvPr/>
        </p:nvSpPr>
        <p:spPr>
          <a:xfrm>
            <a:off x="732240" y="3471094"/>
            <a:ext cx="535724" cy="307777"/>
          </a:xfrm>
          <a:prstGeom prst="rect">
            <a:avLst/>
          </a:prstGeom>
        </p:spPr>
        <p:txBody>
          <a:bodyPr wrap="none">
            <a:spAutoFit/>
          </a:bodyPr>
          <a:lstStyle/>
          <a:p>
            <a:pPr algn="ctr"/>
            <a:r>
              <a:rPr lang="es-ES" sz="1400" dirty="0">
                <a:solidFill>
                  <a:schemeClr val="bg1"/>
                </a:solidFill>
                <a:latin typeface="Trebuchet MS" panose="020B0603020202020204" pitchFamily="34" charset="0"/>
              </a:rPr>
              <a:t>35 %</a:t>
            </a:r>
          </a:p>
        </p:txBody>
      </p:sp>
      <p:sp>
        <p:nvSpPr>
          <p:cNvPr id="62" name="CuadroTexto 61">
            <a:extLst>
              <a:ext uri="{FF2B5EF4-FFF2-40B4-BE49-F238E27FC236}">
                <a16:creationId xmlns:a16="http://schemas.microsoft.com/office/drawing/2014/main" id="{61C84B7F-45A7-4CD4-8EE3-3FC109BC175C}"/>
              </a:ext>
            </a:extLst>
          </p:cNvPr>
          <p:cNvSpPr txBox="1"/>
          <p:nvPr/>
        </p:nvSpPr>
        <p:spPr>
          <a:xfrm>
            <a:off x="401372" y="3740772"/>
            <a:ext cx="2805959" cy="276999"/>
          </a:xfrm>
          <a:prstGeom prst="rect">
            <a:avLst/>
          </a:prstGeom>
          <a:noFill/>
        </p:spPr>
        <p:txBody>
          <a:bodyPr wrap="square" rtlCol="0">
            <a:spAutoFit/>
          </a:bodyPr>
          <a:lstStyle/>
          <a:p>
            <a:r>
              <a:rPr lang="es-ES" sz="1200" dirty="0">
                <a:latin typeface="Trebuchet MS" panose="020B0603020202020204" pitchFamily="34" charset="0"/>
              </a:rPr>
              <a:t>Colaboración entre docentes</a:t>
            </a:r>
          </a:p>
        </p:txBody>
      </p:sp>
      <p:sp>
        <p:nvSpPr>
          <p:cNvPr id="63" name="Rectángulo 62">
            <a:extLst>
              <a:ext uri="{FF2B5EF4-FFF2-40B4-BE49-F238E27FC236}">
                <a16:creationId xmlns:a16="http://schemas.microsoft.com/office/drawing/2014/main" id="{226624F9-7637-4282-AF86-28B4CFF24510}"/>
              </a:ext>
            </a:extLst>
          </p:cNvPr>
          <p:cNvSpPr/>
          <p:nvPr/>
        </p:nvSpPr>
        <p:spPr>
          <a:xfrm>
            <a:off x="618551" y="4054682"/>
            <a:ext cx="630301" cy="307777"/>
          </a:xfrm>
          <a:prstGeom prst="rect">
            <a:avLst/>
          </a:prstGeom>
        </p:spPr>
        <p:txBody>
          <a:bodyPr wrap="none">
            <a:spAutoFit/>
          </a:bodyPr>
          <a:lstStyle/>
          <a:p>
            <a:pPr algn="ctr"/>
            <a:r>
              <a:rPr lang="es-ES" sz="1400" dirty="0">
                <a:solidFill>
                  <a:schemeClr val="bg1"/>
                </a:solidFill>
                <a:latin typeface="Trebuchet MS" panose="020B0603020202020204" pitchFamily="34" charset="0"/>
              </a:rPr>
              <a:t>100 %</a:t>
            </a:r>
          </a:p>
        </p:txBody>
      </p:sp>
      <p:sp>
        <p:nvSpPr>
          <p:cNvPr id="64" name="CuadroTexto 63">
            <a:extLst>
              <a:ext uri="{FF2B5EF4-FFF2-40B4-BE49-F238E27FC236}">
                <a16:creationId xmlns:a16="http://schemas.microsoft.com/office/drawing/2014/main" id="{4EF84C39-867A-4704-860F-2292EAF24F6F}"/>
              </a:ext>
            </a:extLst>
          </p:cNvPr>
          <p:cNvSpPr txBox="1"/>
          <p:nvPr/>
        </p:nvSpPr>
        <p:spPr>
          <a:xfrm>
            <a:off x="417870" y="4361863"/>
            <a:ext cx="2805959" cy="276999"/>
          </a:xfrm>
          <a:prstGeom prst="rect">
            <a:avLst/>
          </a:prstGeom>
          <a:noFill/>
        </p:spPr>
        <p:txBody>
          <a:bodyPr wrap="square" rtlCol="0">
            <a:spAutoFit/>
          </a:bodyPr>
          <a:lstStyle/>
          <a:p>
            <a:r>
              <a:rPr lang="es-ES" sz="1200" dirty="0">
                <a:latin typeface="Trebuchet MS" panose="020B0603020202020204" pitchFamily="34" charset="0"/>
              </a:rPr>
              <a:t>Proyectos de innovación docente</a:t>
            </a:r>
          </a:p>
        </p:txBody>
      </p:sp>
      <p:sp>
        <p:nvSpPr>
          <p:cNvPr id="66" name="Rectángulo 65">
            <a:extLst>
              <a:ext uri="{FF2B5EF4-FFF2-40B4-BE49-F238E27FC236}">
                <a16:creationId xmlns:a16="http://schemas.microsoft.com/office/drawing/2014/main" id="{2C397B3A-B418-4319-8A08-D7BB2CD751D1}"/>
              </a:ext>
            </a:extLst>
          </p:cNvPr>
          <p:cNvSpPr/>
          <p:nvPr/>
        </p:nvSpPr>
        <p:spPr>
          <a:xfrm>
            <a:off x="770713" y="4713650"/>
            <a:ext cx="535724" cy="307777"/>
          </a:xfrm>
          <a:prstGeom prst="rect">
            <a:avLst/>
          </a:prstGeom>
        </p:spPr>
        <p:txBody>
          <a:bodyPr wrap="none">
            <a:spAutoFit/>
          </a:bodyPr>
          <a:lstStyle/>
          <a:p>
            <a:pPr algn="r"/>
            <a:r>
              <a:rPr lang="es-ES" sz="1400" dirty="0">
                <a:solidFill>
                  <a:schemeClr val="bg1"/>
                </a:solidFill>
                <a:latin typeface="Trebuchet MS" panose="020B0603020202020204" pitchFamily="34" charset="0"/>
              </a:rPr>
              <a:t>80 %</a:t>
            </a:r>
          </a:p>
        </p:txBody>
      </p:sp>
      <p:sp>
        <p:nvSpPr>
          <p:cNvPr id="67" name="CuadroTexto 66">
            <a:extLst>
              <a:ext uri="{FF2B5EF4-FFF2-40B4-BE49-F238E27FC236}">
                <a16:creationId xmlns:a16="http://schemas.microsoft.com/office/drawing/2014/main" id="{8777CA3C-47CF-443B-900C-FFE5602CF02C}"/>
              </a:ext>
            </a:extLst>
          </p:cNvPr>
          <p:cNvSpPr txBox="1"/>
          <p:nvPr/>
        </p:nvSpPr>
        <p:spPr>
          <a:xfrm>
            <a:off x="417870" y="4984418"/>
            <a:ext cx="3417530" cy="276999"/>
          </a:xfrm>
          <a:prstGeom prst="rect">
            <a:avLst/>
          </a:prstGeom>
          <a:noFill/>
        </p:spPr>
        <p:txBody>
          <a:bodyPr wrap="square" rtlCol="0">
            <a:spAutoFit/>
          </a:bodyPr>
          <a:lstStyle/>
          <a:p>
            <a:r>
              <a:rPr lang="es-ES" sz="1200" dirty="0">
                <a:latin typeface="Trebuchet MS" panose="020B0603020202020204" pitchFamily="34" charset="0"/>
              </a:rPr>
              <a:t>Competencia Digital Docente</a:t>
            </a:r>
          </a:p>
        </p:txBody>
      </p:sp>
      <p:sp>
        <p:nvSpPr>
          <p:cNvPr id="68" name="Rectángulo 67">
            <a:extLst>
              <a:ext uri="{FF2B5EF4-FFF2-40B4-BE49-F238E27FC236}">
                <a16:creationId xmlns:a16="http://schemas.microsoft.com/office/drawing/2014/main" id="{438BBB5F-1E90-4209-81AB-86B725A06A1B}"/>
              </a:ext>
            </a:extLst>
          </p:cNvPr>
          <p:cNvSpPr/>
          <p:nvPr/>
        </p:nvSpPr>
        <p:spPr>
          <a:xfrm>
            <a:off x="9476951" y="1384140"/>
            <a:ext cx="1330814" cy="369332"/>
          </a:xfrm>
          <a:prstGeom prst="rect">
            <a:avLst/>
          </a:prstGeom>
        </p:spPr>
        <p:txBody>
          <a:bodyPr wrap="none">
            <a:spAutoFit/>
          </a:bodyPr>
          <a:lstStyle/>
          <a:p>
            <a:r>
              <a:rPr lang="es-ES" dirty="0">
                <a:solidFill>
                  <a:schemeClr val="accent1">
                    <a:lumMod val="75000"/>
                  </a:schemeClr>
                </a:solidFill>
                <a:latin typeface="Trebuchet MS" panose="020B0603020202020204" pitchFamily="34" charset="0"/>
              </a:rPr>
              <a:t>ALUMNADO</a:t>
            </a:r>
          </a:p>
        </p:txBody>
      </p:sp>
      <p:sp>
        <p:nvSpPr>
          <p:cNvPr id="69" name="Rectángulo 68">
            <a:extLst>
              <a:ext uri="{FF2B5EF4-FFF2-40B4-BE49-F238E27FC236}">
                <a16:creationId xmlns:a16="http://schemas.microsoft.com/office/drawing/2014/main" id="{15503632-D9B2-4F1F-866F-C0F786186ECF}"/>
              </a:ext>
            </a:extLst>
          </p:cNvPr>
          <p:cNvSpPr/>
          <p:nvPr/>
        </p:nvSpPr>
        <p:spPr>
          <a:xfrm>
            <a:off x="489120" y="5911410"/>
            <a:ext cx="2256601" cy="276999"/>
          </a:xfrm>
          <a:prstGeom prst="rect">
            <a:avLst/>
          </a:prstGeom>
          <a:pattFill prst="dkUpDiag">
            <a:fgClr>
              <a:schemeClr val="bg2">
                <a:lumMod val="75000"/>
              </a:schemeClr>
            </a:fgClr>
            <a:bgClr>
              <a:schemeClr val="tx1">
                <a:lumMod val="65000"/>
                <a:lumOff val="3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Trebuchet MS" panose="020B0603020202020204" pitchFamily="34" charset="0"/>
            </a:endParaRPr>
          </a:p>
        </p:txBody>
      </p:sp>
      <p:sp>
        <p:nvSpPr>
          <p:cNvPr id="70" name="Rectángulo 69">
            <a:extLst>
              <a:ext uri="{FF2B5EF4-FFF2-40B4-BE49-F238E27FC236}">
                <a16:creationId xmlns:a16="http://schemas.microsoft.com/office/drawing/2014/main" id="{A16B6C0D-0FA7-4244-9C81-DD2DFAEB5902}"/>
              </a:ext>
            </a:extLst>
          </p:cNvPr>
          <p:cNvSpPr/>
          <p:nvPr/>
        </p:nvSpPr>
        <p:spPr>
          <a:xfrm>
            <a:off x="503284" y="5316850"/>
            <a:ext cx="2242436" cy="253434"/>
          </a:xfrm>
          <a:prstGeom prst="rect">
            <a:avLst/>
          </a:prstGeom>
          <a:pattFill prst="dkUpDiag">
            <a:fgClr>
              <a:schemeClr val="bg2">
                <a:lumMod val="75000"/>
              </a:schemeClr>
            </a:fgClr>
            <a:bgClr>
              <a:schemeClr val="tx1">
                <a:lumMod val="65000"/>
                <a:lumOff val="3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Trebuchet MS" panose="020B0603020202020204" pitchFamily="34" charset="0"/>
            </a:endParaRPr>
          </a:p>
        </p:txBody>
      </p:sp>
      <p:sp>
        <p:nvSpPr>
          <p:cNvPr id="71" name="Rectángulo 70">
            <a:extLst>
              <a:ext uri="{FF2B5EF4-FFF2-40B4-BE49-F238E27FC236}">
                <a16:creationId xmlns:a16="http://schemas.microsoft.com/office/drawing/2014/main" id="{277E6881-A316-470B-A292-ED1E33F4E510}"/>
              </a:ext>
            </a:extLst>
          </p:cNvPr>
          <p:cNvSpPr/>
          <p:nvPr/>
        </p:nvSpPr>
        <p:spPr>
          <a:xfrm>
            <a:off x="489120" y="5308347"/>
            <a:ext cx="1921832" cy="261937"/>
          </a:xfrm>
          <a:prstGeom prst="rect">
            <a:avLst/>
          </a:prstGeom>
          <a:solidFill>
            <a:srgbClr val="5EC6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Trebuchet MS" panose="020B0603020202020204" pitchFamily="34" charset="0"/>
            </a:endParaRPr>
          </a:p>
        </p:txBody>
      </p:sp>
      <p:sp>
        <p:nvSpPr>
          <p:cNvPr id="72" name="Rectángulo 71">
            <a:extLst>
              <a:ext uri="{FF2B5EF4-FFF2-40B4-BE49-F238E27FC236}">
                <a16:creationId xmlns:a16="http://schemas.microsoft.com/office/drawing/2014/main" id="{D1B38C29-481B-43F6-96C0-C755FC87F8B9}"/>
              </a:ext>
            </a:extLst>
          </p:cNvPr>
          <p:cNvSpPr/>
          <p:nvPr/>
        </p:nvSpPr>
        <p:spPr>
          <a:xfrm>
            <a:off x="489120" y="5905674"/>
            <a:ext cx="1250781" cy="283642"/>
          </a:xfrm>
          <a:prstGeom prst="rect">
            <a:avLst/>
          </a:prstGeom>
          <a:solidFill>
            <a:srgbClr val="5EC6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Trebuchet MS" panose="020B0603020202020204" pitchFamily="34" charset="0"/>
            </a:endParaRPr>
          </a:p>
        </p:txBody>
      </p:sp>
      <p:sp>
        <p:nvSpPr>
          <p:cNvPr id="73" name="Rectángulo 72">
            <a:extLst>
              <a:ext uri="{FF2B5EF4-FFF2-40B4-BE49-F238E27FC236}">
                <a16:creationId xmlns:a16="http://schemas.microsoft.com/office/drawing/2014/main" id="{59D32605-B873-4A33-8A65-D9956453E8B6}"/>
              </a:ext>
            </a:extLst>
          </p:cNvPr>
          <p:cNvSpPr/>
          <p:nvPr/>
        </p:nvSpPr>
        <p:spPr>
          <a:xfrm>
            <a:off x="715572" y="5316850"/>
            <a:ext cx="535724" cy="307777"/>
          </a:xfrm>
          <a:prstGeom prst="rect">
            <a:avLst/>
          </a:prstGeom>
        </p:spPr>
        <p:txBody>
          <a:bodyPr wrap="none">
            <a:spAutoFit/>
          </a:bodyPr>
          <a:lstStyle/>
          <a:p>
            <a:pPr algn="ctr"/>
            <a:r>
              <a:rPr lang="es-ES" sz="1400" dirty="0">
                <a:solidFill>
                  <a:schemeClr val="bg1"/>
                </a:solidFill>
                <a:latin typeface="Trebuchet MS" panose="020B0603020202020204" pitchFamily="34" charset="0"/>
              </a:rPr>
              <a:t>85 %</a:t>
            </a:r>
          </a:p>
        </p:txBody>
      </p:sp>
      <p:sp>
        <p:nvSpPr>
          <p:cNvPr id="74" name="CuadroTexto 73">
            <a:extLst>
              <a:ext uri="{FF2B5EF4-FFF2-40B4-BE49-F238E27FC236}">
                <a16:creationId xmlns:a16="http://schemas.microsoft.com/office/drawing/2014/main" id="{BF3B0BF4-3707-4B40-AFA2-BE6AC813BCA4}"/>
              </a:ext>
            </a:extLst>
          </p:cNvPr>
          <p:cNvSpPr txBox="1"/>
          <p:nvPr/>
        </p:nvSpPr>
        <p:spPr>
          <a:xfrm>
            <a:off x="404102" y="5585930"/>
            <a:ext cx="3723708" cy="276999"/>
          </a:xfrm>
          <a:prstGeom prst="rect">
            <a:avLst/>
          </a:prstGeom>
          <a:noFill/>
        </p:spPr>
        <p:txBody>
          <a:bodyPr wrap="square" rtlCol="0">
            <a:spAutoFit/>
          </a:bodyPr>
          <a:lstStyle/>
          <a:p>
            <a:r>
              <a:rPr lang="es-ES" sz="1200" dirty="0">
                <a:latin typeface="Trebuchet MS" panose="020B0603020202020204" pitchFamily="34" charset="0"/>
              </a:rPr>
              <a:t>Tiempo de dedicación espacios de colaboración</a:t>
            </a:r>
          </a:p>
        </p:txBody>
      </p:sp>
      <p:sp>
        <p:nvSpPr>
          <p:cNvPr id="75" name="Rectángulo 74">
            <a:extLst>
              <a:ext uri="{FF2B5EF4-FFF2-40B4-BE49-F238E27FC236}">
                <a16:creationId xmlns:a16="http://schemas.microsoft.com/office/drawing/2014/main" id="{DDCA9BAE-6954-49B2-BE96-17C51DA23E44}"/>
              </a:ext>
            </a:extLst>
          </p:cNvPr>
          <p:cNvSpPr/>
          <p:nvPr/>
        </p:nvSpPr>
        <p:spPr>
          <a:xfrm>
            <a:off x="756945" y="5912318"/>
            <a:ext cx="535724" cy="307777"/>
          </a:xfrm>
          <a:prstGeom prst="rect">
            <a:avLst/>
          </a:prstGeom>
        </p:spPr>
        <p:txBody>
          <a:bodyPr wrap="none">
            <a:spAutoFit/>
          </a:bodyPr>
          <a:lstStyle/>
          <a:p>
            <a:pPr algn="r"/>
            <a:r>
              <a:rPr lang="es-ES" sz="1400" dirty="0">
                <a:solidFill>
                  <a:schemeClr val="bg1"/>
                </a:solidFill>
                <a:latin typeface="Trebuchet MS" panose="020B0603020202020204" pitchFamily="34" charset="0"/>
              </a:rPr>
              <a:t>55 %</a:t>
            </a:r>
          </a:p>
        </p:txBody>
      </p:sp>
      <p:sp>
        <p:nvSpPr>
          <p:cNvPr id="76" name="CuadroTexto 75">
            <a:extLst>
              <a:ext uri="{FF2B5EF4-FFF2-40B4-BE49-F238E27FC236}">
                <a16:creationId xmlns:a16="http://schemas.microsoft.com/office/drawing/2014/main" id="{559072A6-1BC4-45AD-B415-F04CA7185323}"/>
              </a:ext>
            </a:extLst>
          </p:cNvPr>
          <p:cNvSpPr txBox="1"/>
          <p:nvPr/>
        </p:nvSpPr>
        <p:spPr>
          <a:xfrm>
            <a:off x="391403" y="6183084"/>
            <a:ext cx="3659897" cy="276999"/>
          </a:xfrm>
          <a:prstGeom prst="rect">
            <a:avLst/>
          </a:prstGeom>
          <a:noFill/>
        </p:spPr>
        <p:txBody>
          <a:bodyPr wrap="square" rtlCol="0">
            <a:spAutoFit/>
          </a:bodyPr>
          <a:lstStyle/>
          <a:p>
            <a:r>
              <a:rPr lang="es-ES" sz="1200" dirty="0">
                <a:latin typeface="Trebuchet MS" panose="020B0603020202020204" pitchFamily="34" charset="0"/>
              </a:rPr>
              <a:t>Uso de metodologías innovadoras</a:t>
            </a:r>
          </a:p>
        </p:txBody>
      </p:sp>
      <p:sp>
        <p:nvSpPr>
          <p:cNvPr id="77" name="Rectángulo 76">
            <a:extLst>
              <a:ext uri="{FF2B5EF4-FFF2-40B4-BE49-F238E27FC236}">
                <a16:creationId xmlns:a16="http://schemas.microsoft.com/office/drawing/2014/main" id="{737D5390-4F43-40C3-8752-200987854E0E}"/>
              </a:ext>
            </a:extLst>
          </p:cNvPr>
          <p:cNvSpPr/>
          <p:nvPr/>
        </p:nvSpPr>
        <p:spPr>
          <a:xfrm>
            <a:off x="9563073" y="1766536"/>
            <a:ext cx="2256601" cy="286150"/>
          </a:xfrm>
          <a:prstGeom prst="rect">
            <a:avLst/>
          </a:prstGeom>
          <a:pattFill prst="dkUpDiag">
            <a:fgClr>
              <a:schemeClr val="bg2">
                <a:lumMod val="75000"/>
              </a:schemeClr>
            </a:fgClr>
            <a:bgClr>
              <a:schemeClr val="tx1">
                <a:lumMod val="65000"/>
                <a:lumOff val="3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Trebuchet MS" panose="020B0603020202020204" pitchFamily="34" charset="0"/>
            </a:endParaRPr>
          </a:p>
        </p:txBody>
      </p:sp>
      <p:sp>
        <p:nvSpPr>
          <p:cNvPr id="78" name="Rectángulo 77">
            <a:extLst>
              <a:ext uri="{FF2B5EF4-FFF2-40B4-BE49-F238E27FC236}">
                <a16:creationId xmlns:a16="http://schemas.microsoft.com/office/drawing/2014/main" id="{EAE2E4A8-6FFA-4804-99E2-32DD9DB1C5D5}"/>
              </a:ext>
            </a:extLst>
          </p:cNvPr>
          <p:cNvSpPr/>
          <p:nvPr/>
        </p:nvSpPr>
        <p:spPr>
          <a:xfrm>
            <a:off x="10213408" y="1762086"/>
            <a:ext cx="1606267" cy="290601"/>
          </a:xfrm>
          <a:prstGeom prst="rect">
            <a:avLst/>
          </a:prstGeom>
          <a:solidFill>
            <a:srgbClr val="00AC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600" dirty="0">
              <a:latin typeface="Trebuchet MS" panose="020B0603020202020204" pitchFamily="34" charset="0"/>
            </a:endParaRPr>
          </a:p>
        </p:txBody>
      </p:sp>
      <p:sp>
        <p:nvSpPr>
          <p:cNvPr id="79" name="Rectángulo 78">
            <a:extLst>
              <a:ext uri="{FF2B5EF4-FFF2-40B4-BE49-F238E27FC236}">
                <a16:creationId xmlns:a16="http://schemas.microsoft.com/office/drawing/2014/main" id="{2A8228A2-DFD0-4F3F-8DFF-63494E40DEF4}"/>
              </a:ext>
            </a:extLst>
          </p:cNvPr>
          <p:cNvSpPr/>
          <p:nvPr/>
        </p:nvSpPr>
        <p:spPr>
          <a:xfrm>
            <a:off x="11104311" y="1771236"/>
            <a:ext cx="535724" cy="307777"/>
          </a:xfrm>
          <a:prstGeom prst="rect">
            <a:avLst/>
          </a:prstGeom>
        </p:spPr>
        <p:txBody>
          <a:bodyPr wrap="none">
            <a:spAutoFit/>
          </a:bodyPr>
          <a:lstStyle/>
          <a:p>
            <a:pPr algn="ctr"/>
            <a:r>
              <a:rPr lang="es-ES" sz="1400" dirty="0">
                <a:solidFill>
                  <a:schemeClr val="bg1"/>
                </a:solidFill>
                <a:latin typeface="Trebuchet MS" panose="020B0603020202020204" pitchFamily="34" charset="0"/>
              </a:rPr>
              <a:t>70 %</a:t>
            </a:r>
          </a:p>
        </p:txBody>
      </p:sp>
      <p:sp>
        <p:nvSpPr>
          <p:cNvPr id="81" name="CuadroTexto 80">
            <a:extLst>
              <a:ext uri="{FF2B5EF4-FFF2-40B4-BE49-F238E27FC236}">
                <a16:creationId xmlns:a16="http://schemas.microsoft.com/office/drawing/2014/main" id="{83F44300-6647-4C40-BD1D-AD396D1DB198}"/>
              </a:ext>
            </a:extLst>
          </p:cNvPr>
          <p:cNvSpPr txBox="1"/>
          <p:nvPr/>
        </p:nvSpPr>
        <p:spPr>
          <a:xfrm>
            <a:off x="9100503" y="2057387"/>
            <a:ext cx="2805959" cy="461665"/>
          </a:xfrm>
          <a:prstGeom prst="rect">
            <a:avLst/>
          </a:prstGeom>
          <a:noFill/>
        </p:spPr>
        <p:txBody>
          <a:bodyPr wrap="square" rtlCol="0">
            <a:spAutoFit/>
          </a:bodyPr>
          <a:lstStyle/>
          <a:p>
            <a:pPr algn="r"/>
            <a:r>
              <a:rPr lang="es-ES" sz="1200" dirty="0">
                <a:latin typeface="Trebuchet MS" panose="020B0603020202020204" pitchFamily="34" charset="0"/>
              </a:rPr>
              <a:t>Resultados académicos </a:t>
            </a:r>
          </a:p>
          <a:p>
            <a:pPr algn="r"/>
            <a:r>
              <a:rPr lang="es-ES" sz="1200" dirty="0">
                <a:latin typeface="Trebuchet MS" panose="020B0603020202020204" pitchFamily="34" charset="0"/>
              </a:rPr>
              <a:t>(ciencias y matemáticas)</a:t>
            </a:r>
          </a:p>
        </p:txBody>
      </p:sp>
      <p:cxnSp>
        <p:nvCxnSpPr>
          <p:cNvPr id="82" name="Conector recto 81">
            <a:extLst>
              <a:ext uri="{FF2B5EF4-FFF2-40B4-BE49-F238E27FC236}">
                <a16:creationId xmlns:a16="http://schemas.microsoft.com/office/drawing/2014/main" id="{E9283BF2-AF9D-42A8-87C9-C6BD5D20EC4C}"/>
              </a:ext>
            </a:extLst>
          </p:cNvPr>
          <p:cNvCxnSpPr>
            <a:cxnSpLocks/>
          </p:cNvCxnSpPr>
          <p:nvPr/>
        </p:nvCxnSpPr>
        <p:spPr>
          <a:xfrm flipH="1" flipV="1">
            <a:off x="8944544" y="4390247"/>
            <a:ext cx="1197814" cy="28964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Elipse 82">
            <a:extLst>
              <a:ext uri="{FF2B5EF4-FFF2-40B4-BE49-F238E27FC236}">
                <a16:creationId xmlns:a16="http://schemas.microsoft.com/office/drawing/2014/main" id="{23B1FD8F-BBB9-4808-AF26-E4C6134BC60C}"/>
              </a:ext>
            </a:extLst>
          </p:cNvPr>
          <p:cNvSpPr/>
          <p:nvPr/>
        </p:nvSpPr>
        <p:spPr>
          <a:xfrm>
            <a:off x="10105407" y="4647035"/>
            <a:ext cx="108000" cy="1080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Trebuchet MS" panose="020B0603020202020204" pitchFamily="34" charset="0"/>
            </a:endParaRPr>
          </a:p>
        </p:txBody>
      </p:sp>
      <p:sp>
        <p:nvSpPr>
          <p:cNvPr id="84" name="Rectángulo 83">
            <a:extLst>
              <a:ext uri="{FF2B5EF4-FFF2-40B4-BE49-F238E27FC236}">
                <a16:creationId xmlns:a16="http://schemas.microsoft.com/office/drawing/2014/main" id="{11A610C6-FFBB-454C-ABC0-A2DC01A96803}"/>
              </a:ext>
            </a:extLst>
          </p:cNvPr>
          <p:cNvSpPr/>
          <p:nvPr/>
        </p:nvSpPr>
        <p:spPr>
          <a:xfrm>
            <a:off x="10622016" y="4516370"/>
            <a:ext cx="1073948" cy="369332"/>
          </a:xfrm>
          <a:prstGeom prst="rect">
            <a:avLst/>
          </a:prstGeom>
        </p:spPr>
        <p:txBody>
          <a:bodyPr wrap="none">
            <a:spAutoFit/>
          </a:bodyPr>
          <a:lstStyle/>
          <a:p>
            <a:pPr algn="r"/>
            <a:r>
              <a:rPr lang="es-ES" dirty="0">
                <a:solidFill>
                  <a:srgbClr val="FE171F"/>
                </a:solidFill>
                <a:latin typeface="Trebuchet MS" panose="020B0603020202020204" pitchFamily="34" charset="0"/>
              </a:rPr>
              <a:t>FAMILIAS</a:t>
            </a:r>
          </a:p>
        </p:txBody>
      </p:sp>
      <p:sp>
        <p:nvSpPr>
          <p:cNvPr id="85" name="Rectángulo 84">
            <a:extLst>
              <a:ext uri="{FF2B5EF4-FFF2-40B4-BE49-F238E27FC236}">
                <a16:creationId xmlns:a16="http://schemas.microsoft.com/office/drawing/2014/main" id="{B10EC05F-49E9-4B18-B777-F3F5D7CC18D2}"/>
              </a:ext>
            </a:extLst>
          </p:cNvPr>
          <p:cNvSpPr/>
          <p:nvPr/>
        </p:nvSpPr>
        <p:spPr>
          <a:xfrm>
            <a:off x="9392002" y="5057740"/>
            <a:ext cx="2256601" cy="286150"/>
          </a:xfrm>
          <a:prstGeom prst="rect">
            <a:avLst/>
          </a:prstGeom>
          <a:pattFill prst="dkUpDiag">
            <a:fgClr>
              <a:schemeClr val="bg2">
                <a:lumMod val="75000"/>
              </a:schemeClr>
            </a:fgClr>
            <a:bgClr>
              <a:schemeClr val="tx1">
                <a:lumMod val="65000"/>
                <a:lumOff val="3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Trebuchet MS" panose="020B0603020202020204" pitchFamily="34" charset="0"/>
            </a:endParaRPr>
          </a:p>
        </p:txBody>
      </p:sp>
      <p:sp>
        <p:nvSpPr>
          <p:cNvPr id="86" name="Rectángulo 85">
            <a:extLst>
              <a:ext uri="{FF2B5EF4-FFF2-40B4-BE49-F238E27FC236}">
                <a16:creationId xmlns:a16="http://schemas.microsoft.com/office/drawing/2014/main" id="{970F4EBB-88C4-4951-977F-25705467A5F3}"/>
              </a:ext>
            </a:extLst>
          </p:cNvPr>
          <p:cNvSpPr/>
          <p:nvPr/>
        </p:nvSpPr>
        <p:spPr>
          <a:xfrm>
            <a:off x="9971211" y="5057804"/>
            <a:ext cx="1677392" cy="286150"/>
          </a:xfrm>
          <a:prstGeom prst="rect">
            <a:avLst/>
          </a:prstGeom>
          <a:solidFill>
            <a:srgbClr val="FE17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600" dirty="0">
              <a:latin typeface="Trebuchet MS" panose="020B0603020202020204" pitchFamily="34" charset="0"/>
            </a:endParaRPr>
          </a:p>
        </p:txBody>
      </p:sp>
      <p:sp>
        <p:nvSpPr>
          <p:cNvPr id="87" name="Rectángulo 86">
            <a:extLst>
              <a:ext uri="{FF2B5EF4-FFF2-40B4-BE49-F238E27FC236}">
                <a16:creationId xmlns:a16="http://schemas.microsoft.com/office/drawing/2014/main" id="{AE7AB254-2C24-4372-ACFE-68E5A1538D96}"/>
              </a:ext>
            </a:extLst>
          </p:cNvPr>
          <p:cNvSpPr/>
          <p:nvPr/>
        </p:nvSpPr>
        <p:spPr>
          <a:xfrm>
            <a:off x="11034840" y="5062440"/>
            <a:ext cx="535724" cy="307777"/>
          </a:xfrm>
          <a:prstGeom prst="rect">
            <a:avLst/>
          </a:prstGeom>
        </p:spPr>
        <p:txBody>
          <a:bodyPr wrap="none">
            <a:spAutoFit/>
          </a:bodyPr>
          <a:lstStyle/>
          <a:p>
            <a:pPr algn="ctr"/>
            <a:r>
              <a:rPr lang="es-ES" sz="1400" dirty="0">
                <a:solidFill>
                  <a:schemeClr val="bg1"/>
                </a:solidFill>
                <a:latin typeface="Trebuchet MS" panose="020B0603020202020204" pitchFamily="34" charset="0"/>
              </a:rPr>
              <a:t>85 %</a:t>
            </a:r>
          </a:p>
        </p:txBody>
      </p:sp>
      <p:sp>
        <p:nvSpPr>
          <p:cNvPr id="88" name="CuadroTexto 87">
            <a:extLst>
              <a:ext uri="{FF2B5EF4-FFF2-40B4-BE49-F238E27FC236}">
                <a16:creationId xmlns:a16="http://schemas.microsoft.com/office/drawing/2014/main" id="{C9EB5517-E99F-42F8-805B-A01E2BD74741}"/>
              </a:ext>
            </a:extLst>
          </p:cNvPr>
          <p:cNvSpPr txBox="1"/>
          <p:nvPr/>
        </p:nvSpPr>
        <p:spPr>
          <a:xfrm>
            <a:off x="8929432" y="5348592"/>
            <a:ext cx="2805959" cy="276999"/>
          </a:xfrm>
          <a:prstGeom prst="rect">
            <a:avLst/>
          </a:prstGeom>
          <a:noFill/>
        </p:spPr>
        <p:txBody>
          <a:bodyPr wrap="square" rtlCol="0">
            <a:spAutoFit/>
          </a:bodyPr>
          <a:lstStyle/>
          <a:p>
            <a:pPr algn="r"/>
            <a:r>
              <a:rPr lang="es-ES" sz="1200" dirty="0">
                <a:latin typeface="Trebuchet MS" panose="020B0603020202020204" pitchFamily="34" charset="0"/>
              </a:rPr>
              <a:t>Satisfacción</a:t>
            </a:r>
          </a:p>
        </p:txBody>
      </p:sp>
      <p:cxnSp>
        <p:nvCxnSpPr>
          <p:cNvPr id="92" name="Conector recto 91">
            <a:extLst>
              <a:ext uri="{FF2B5EF4-FFF2-40B4-BE49-F238E27FC236}">
                <a16:creationId xmlns:a16="http://schemas.microsoft.com/office/drawing/2014/main" id="{54BC3133-4E30-4B06-B89A-562B1C230388}"/>
              </a:ext>
            </a:extLst>
          </p:cNvPr>
          <p:cNvCxnSpPr>
            <a:cxnSpLocks/>
          </p:cNvCxnSpPr>
          <p:nvPr/>
        </p:nvCxnSpPr>
        <p:spPr>
          <a:xfrm>
            <a:off x="4260893" y="4507140"/>
            <a:ext cx="460788" cy="57256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6" name="Elipse 95">
            <a:extLst>
              <a:ext uri="{FF2B5EF4-FFF2-40B4-BE49-F238E27FC236}">
                <a16:creationId xmlns:a16="http://schemas.microsoft.com/office/drawing/2014/main" id="{94205A4A-D5ED-49F4-849B-12C187D89B52}"/>
              </a:ext>
            </a:extLst>
          </p:cNvPr>
          <p:cNvSpPr/>
          <p:nvPr/>
        </p:nvSpPr>
        <p:spPr>
          <a:xfrm>
            <a:off x="4681961" y="5024872"/>
            <a:ext cx="108000" cy="1080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Trebuchet MS" panose="020B0603020202020204" pitchFamily="34" charset="0"/>
            </a:endParaRPr>
          </a:p>
        </p:txBody>
      </p:sp>
      <p:sp>
        <p:nvSpPr>
          <p:cNvPr id="97" name="Rectángulo 96">
            <a:extLst>
              <a:ext uri="{FF2B5EF4-FFF2-40B4-BE49-F238E27FC236}">
                <a16:creationId xmlns:a16="http://schemas.microsoft.com/office/drawing/2014/main" id="{13018DB2-2E8C-43EC-BAA6-8BBBAC45F377}"/>
              </a:ext>
            </a:extLst>
          </p:cNvPr>
          <p:cNvSpPr/>
          <p:nvPr/>
        </p:nvSpPr>
        <p:spPr>
          <a:xfrm>
            <a:off x="4789910" y="4917839"/>
            <a:ext cx="1018227" cy="369332"/>
          </a:xfrm>
          <a:prstGeom prst="rect">
            <a:avLst/>
          </a:prstGeom>
        </p:spPr>
        <p:txBody>
          <a:bodyPr wrap="none">
            <a:spAutoFit/>
          </a:bodyPr>
          <a:lstStyle/>
          <a:p>
            <a:r>
              <a:rPr lang="es-ES" dirty="0">
                <a:solidFill>
                  <a:srgbClr val="00B0F0"/>
                </a:solidFill>
                <a:latin typeface="Trebuchet MS" panose="020B0603020202020204" pitchFamily="34" charset="0"/>
              </a:rPr>
              <a:t>CENTRO</a:t>
            </a:r>
          </a:p>
        </p:txBody>
      </p:sp>
      <p:pic>
        <p:nvPicPr>
          <p:cNvPr id="103" name="Gráfico 102">
            <a:extLst>
              <a:ext uri="{FF2B5EF4-FFF2-40B4-BE49-F238E27FC236}">
                <a16:creationId xmlns:a16="http://schemas.microsoft.com/office/drawing/2014/main" id="{4BBF9528-548F-4AD5-B20A-5E1EB69B6E77}"/>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4786309" y="5355475"/>
            <a:ext cx="349473" cy="349473"/>
          </a:xfrm>
          <a:prstGeom prst="rect">
            <a:avLst/>
          </a:prstGeom>
        </p:spPr>
      </p:pic>
      <p:sp>
        <p:nvSpPr>
          <p:cNvPr id="104" name="CuadroTexto 103">
            <a:extLst>
              <a:ext uri="{FF2B5EF4-FFF2-40B4-BE49-F238E27FC236}">
                <a16:creationId xmlns:a16="http://schemas.microsoft.com/office/drawing/2014/main" id="{6820C74E-8F53-4D26-B1FD-0760DDE97C8C}"/>
              </a:ext>
            </a:extLst>
          </p:cNvPr>
          <p:cNvSpPr txBox="1"/>
          <p:nvPr/>
        </p:nvSpPr>
        <p:spPr>
          <a:xfrm>
            <a:off x="4621764" y="5727432"/>
            <a:ext cx="959886" cy="707886"/>
          </a:xfrm>
          <a:prstGeom prst="rect">
            <a:avLst/>
          </a:prstGeom>
          <a:noFill/>
        </p:spPr>
        <p:txBody>
          <a:bodyPr wrap="square" rtlCol="0">
            <a:spAutoFit/>
          </a:bodyPr>
          <a:lstStyle/>
          <a:p>
            <a:r>
              <a:rPr lang="es-ES" sz="1600" dirty="0">
                <a:solidFill>
                  <a:schemeClr val="accent1">
                    <a:lumMod val="75000"/>
                  </a:schemeClr>
                </a:solidFill>
                <a:latin typeface="Trebuchet MS" panose="020B0603020202020204" pitchFamily="34" charset="0"/>
              </a:rPr>
              <a:t>+70%</a:t>
            </a:r>
          </a:p>
          <a:p>
            <a:r>
              <a:rPr lang="es-ES" sz="1200" dirty="0">
                <a:latin typeface="Trebuchet MS" panose="020B0603020202020204" pitchFamily="34" charset="0"/>
              </a:rPr>
              <a:t>Difusión del Centro</a:t>
            </a:r>
          </a:p>
        </p:txBody>
      </p:sp>
      <p:pic>
        <p:nvPicPr>
          <p:cNvPr id="106" name="Gráfico 105">
            <a:extLst>
              <a:ext uri="{FF2B5EF4-FFF2-40B4-BE49-F238E27FC236}">
                <a16:creationId xmlns:a16="http://schemas.microsoft.com/office/drawing/2014/main" id="{DB874656-A8E7-48A3-AF84-E2053F165CE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xmlns="" r:embed="rId6"/>
              </a:ext>
            </a:extLst>
          </a:blip>
          <a:stretch>
            <a:fillRect/>
          </a:stretch>
        </p:blipFill>
        <p:spPr>
          <a:xfrm>
            <a:off x="5844163" y="5359246"/>
            <a:ext cx="335532" cy="335532"/>
          </a:xfrm>
          <a:prstGeom prst="rect">
            <a:avLst/>
          </a:prstGeom>
        </p:spPr>
      </p:pic>
      <p:sp>
        <p:nvSpPr>
          <p:cNvPr id="107" name="CuadroTexto 106">
            <a:extLst>
              <a:ext uri="{FF2B5EF4-FFF2-40B4-BE49-F238E27FC236}">
                <a16:creationId xmlns:a16="http://schemas.microsoft.com/office/drawing/2014/main" id="{68B1FD0B-62BA-4D35-80EF-4015F7052513}"/>
              </a:ext>
            </a:extLst>
          </p:cNvPr>
          <p:cNvSpPr txBox="1"/>
          <p:nvPr/>
        </p:nvSpPr>
        <p:spPr>
          <a:xfrm>
            <a:off x="5688183" y="5730868"/>
            <a:ext cx="1388512" cy="707886"/>
          </a:xfrm>
          <a:prstGeom prst="rect">
            <a:avLst/>
          </a:prstGeom>
          <a:noFill/>
        </p:spPr>
        <p:txBody>
          <a:bodyPr wrap="square" rtlCol="0">
            <a:spAutoFit/>
          </a:bodyPr>
          <a:lstStyle/>
          <a:p>
            <a:r>
              <a:rPr lang="es-ES" sz="1600" dirty="0">
                <a:solidFill>
                  <a:schemeClr val="accent1">
                    <a:lumMod val="75000"/>
                  </a:schemeClr>
                </a:solidFill>
                <a:latin typeface="Trebuchet MS" panose="020B0603020202020204" pitchFamily="34" charset="0"/>
              </a:rPr>
              <a:t>+20%</a:t>
            </a:r>
          </a:p>
          <a:p>
            <a:r>
              <a:rPr lang="es-ES" sz="1200" dirty="0">
                <a:latin typeface="Trebuchet MS" panose="020B0603020202020204" pitchFamily="34" charset="0"/>
              </a:rPr>
              <a:t>Colaboración entre Centros</a:t>
            </a:r>
          </a:p>
        </p:txBody>
      </p:sp>
      <p:sp>
        <p:nvSpPr>
          <p:cNvPr id="109" name="CuadroTexto 108">
            <a:extLst>
              <a:ext uri="{FF2B5EF4-FFF2-40B4-BE49-F238E27FC236}">
                <a16:creationId xmlns:a16="http://schemas.microsoft.com/office/drawing/2014/main" id="{03817DB0-F110-41BC-85D3-B8C9BD7D6DAB}"/>
              </a:ext>
            </a:extLst>
          </p:cNvPr>
          <p:cNvSpPr txBox="1"/>
          <p:nvPr/>
        </p:nvSpPr>
        <p:spPr>
          <a:xfrm>
            <a:off x="6973740" y="5724517"/>
            <a:ext cx="1341586" cy="523220"/>
          </a:xfrm>
          <a:prstGeom prst="rect">
            <a:avLst/>
          </a:prstGeom>
          <a:noFill/>
        </p:spPr>
        <p:txBody>
          <a:bodyPr wrap="square" rtlCol="0">
            <a:spAutoFit/>
          </a:bodyPr>
          <a:lstStyle/>
          <a:p>
            <a:r>
              <a:rPr lang="es-ES" sz="1600" dirty="0">
                <a:solidFill>
                  <a:schemeClr val="accent1">
                    <a:lumMod val="75000"/>
                  </a:schemeClr>
                </a:solidFill>
                <a:latin typeface="Trebuchet MS" panose="020B0603020202020204" pitchFamily="34" charset="0"/>
              </a:rPr>
              <a:t>+65%</a:t>
            </a:r>
          </a:p>
          <a:p>
            <a:r>
              <a:rPr lang="es-ES" sz="1200" dirty="0">
                <a:latin typeface="Trebuchet MS" panose="020B0603020202020204" pitchFamily="34" charset="0"/>
              </a:rPr>
              <a:t>Interacción RRSS</a:t>
            </a:r>
          </a:p>
        </p:txBody>
      </p:sp>
      <p:pic>
        <p:nvPicPr>
          <p:cNvPr id="111" name="Gráfico 110">
            <a:extLst>
              <a:ext uri="{FF2B5EF4-FFF2-40B4-BE49-F238E27FC236}">
                <a16:creationId xmlns:a16="http://schemas.microsoft.com/office/drawing/2014/main" id="{AF37D5D7-129E-42B6-8D96-2EF38AB414E7}"/>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xmlns="" r:embed="rId8"/>
              </a:ext>
            </a:extLst>
          </a:blip>
          <a:stretch>
            <a:fillRect/>
          </a:stretch>
        </p:blipFill>
        <p:spPr>
          <a:xfrm>
            <a:off x="7123465" y="5331038"/>
            <a:ext cx="335957" cy="335957"/>
          </a:xfrm>
          <a:prstGeom prst="rect">
            <a:avLst/>
          </a:prstGeom>
        </p:spPr>
      </p:pic>
      <p:cxnSp>
        <p:nvCxnSpPr>
          <p:cNvPr id="113" name="Conector recto 112">
            <a:extLst>
              <a:ext uri="{FF2B5EF4-FFF2-40B4-BE49-F238E27FC236}">
                <a16:creationId xmlns:a16="http://schemas.microsoft.com/office/drawing/2014/main" id="{51D602A0-112E-4942-9299-5A1A889EFB33}"/>
              </a:ext>
            </a:extLst>
          </p:cNvPr>
          <p:cNvCxnSpPr/>
          <p:nvPr/>
        </p:nvCxnSpPr>
        <p:spPr>
          <a:xfrm>
            <a:off x="5581650" y="5345949"/>
            <a:ext cx="0" cy="1076928"/>
          </a:xfrm>
          <a:prstGeom prst="line">
            <a:avLst/>
          </a:prstGeom>
          <a:ln w="28575" cap="rnd">
            <a:solidFill>
              <a:schemeClr val="tx1">
                <a:lumMod val="65000"/>
                <a:lumOff val="35000"/>
                <a:alpha val="52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4" name="Conector recto 113">
            <a:extLst>
              <a:ext uri="{FF2B5EF4-FFF2-40B4-BE49-F238E27FC236}">
                <a16:creationId xmlns:a16="http://schemas.microsoft.com/office/drawing/2014/main" id="{9E687EB4-9366-4B05-9CCD-79B78888AAFC}"/>
              </a:ext>
            </a:extLst>
          </p:cNvPr>
          <p:cNvCxnSpPr/>
          <p:nvPr/>
        </p:nvCxnSpPr>
        <p:spPr>
          <a:xfrm>
            <a:off x="6859439" y="5331037"/>
            <a:ext cx="0" cy="1076928"/>
          </a:xfrm>
          <a:prstGeom prst="line">
            <a:avLst/>
          </a:prstGeom>
          <a:ln w="28575" cap="rnd">
            <a:solidFill>
              <a:schemeClr val="tx1">
                <a:lumMod val="65000"/>
                <a:lumOff val="35000"/>
                <a:alpha val="52000"/>
              </a:schemeClr>
            </a:solidFill>
            <a:prstDash val="sysDot"/>
            <a:round/>
          </a:ln>
        </p:spPr>
        <p:style>
          <a:lnRef idx="1">
            <a:schemeClr val="accent1"/>
          </a:lnRef>
          <a:fillRef idx="0">
            <a:schemeClr val="accent1"/>
          </a:fillRef>
          <a:effectRef idx="0">
            <a:schemeClr val="accent1"/>
          </a:effectRef>
          <a:fontRef idx="minor">
            <a:schemeClr val="tx1"/>
          </a:fontRef>
        </p:style>
      </p:cxnSp>
      <p:pic>
        <p:nvPicPr>
          <p:cNvPr id="130" name="Imagen 129">
            <a:extLst>
              <a:ext uri="{FF2B5EF4-FFF2-40B4-BE49-F238E27FC236}">
                <a16:creationId xmlns:a16="http://schemas.microsoft.com/office/drawing/2014/main" id="{FCF12B3A-5FB2-4DE1-977E-0BF32F706EEF}"/>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841218" y="743370"/>
            <a:ext cx="1221017" cy="1234915"/>
          </a:xfrm>
          <a:prstGeom prst="rect">
            <a:avLst/>
          </a:prstGeom>
        </p:spPr>
      </p:pic>
      <p:sp>
        <p:nvSpPr>
          <p:cNvPr id="93" name="Rectángulo 92">
            <a:extLst>
              <a:ext uri="{FF2B5EF4-FFF2-40B4-BE49-F238E27FC236}">
                <a16:creationId xmlns:a16="http://schemas.microsoft.com/office/drawing/2014/main" id="{71941AFF-415F-43C9-AAA3-490126F91390}"/>
              </a:ext>
            </a:extLst>
          </p:cNvPr>
          <p:cNvSpPr/>
          <p:nvPr/>
        </p:nvSpPr>
        <p:spPr>
          <a:xfrm>
            <a:off x="9392002" y="5727422"/>
            <a:ext cx="2256601" cy="286150"/>
          </a:xfrm>
          <a:prstGeom prst="rect">
            <a:avLst/>
          </a:prstGeom>
          <a:pattFill prst="dkUpDiag">
            <a:fgClr>
              <a:schemeClr val="bg2">
                <a:lumMod val="75000"/>
              </a:schemeClr>
            </a:fgClr>
            <a:bgClr>
              <a:schemeClr val="tx1">
                <a:lumMod val="65000"/>
                <a:lumOff val="3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Trebuchet MS" panose="020B0603020202020204" pitchFamily="34" charset="0"/>
            </a:endParaRPr>
          </a:p>
        </p:txBody>
      </p:sp>
      <p:sp>
        <p:nvSpPr>
          <p:cNvPr id="94" name="Rectángulo 93">
            <a:extLst>
              <a:ext uri="{FF2B5EF4-FFF2-40B4-BE49-F238E27FC236}">
                <a16:creationId xmlns:a16="http://schemas.microsoft.com/office/drawing/2014/main" id="{F8A6C60A-B1B1-470D-BB65-4A019DA729F3}"/>
              </a:ext>
            </a:extLst>
          </p:cNvPr>
          <p:cNvSpPr/>
          <p:nvPr/>
        </p:nvSpPr>
        <p:spPr>
          <a:xfrm>
            <a:off x="10614337" y="5727484"/>
            <a:ext cx="1034267" cy="286150"/>
          </a:xfrm>
          <a:prstGeom prst="rect">
            <a:avLst/>
          </a:prstGeom>
          <a:solidFill>
            <a:srgbClr val="FE17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600" dirty="0">
              <a:latin typeface="Trebuchet MS" panose="020B0603020202020204" pitchFamily="34" charset="0"/>
            </a:endParaRPr>
          </a:p>
        </p:txBody>
      </p:sp>
      <p:sp>
        <p:nvSpPr>
          <p:cNvPr id="95" name="Rectángulo 94">
            <a:extLst>
              <a:ext uri="{FF2B5EF4-FFF2-40B4-BE49-F238E27FC236}">
                <a16:creationId xmlns:a16="http://schemas.microsoft.com/office/drawing/2014/main" id="{4923C504-66C1-43B9-908B-E461941090B2}"/>
              </a:ext>
            </a:extLst>
          </p:cNvPr>
          <p:cNvSpPr/>
          <p:nvPr/>
        </p:nvSpPr>
        <p:spPr>
          <a:xfrm>
            <a:off x="11034841" y="5732122"/>
            <a:ext cx="535724" cy="307777"/>
          </a:xfrm>
          <a:prstGeom prst="rect">
            <a:avLst/>
          </a:prstGeom>
        </p:spPr>
        <p:txBody>
          <a:bodyPr wrap="none">
            <a:spAutoFit/>
          </a:bodyPr>
          <a:lstStyle/>
          <a:p>
            <a:pPr algn="ctr"/>
            <a:r>
              <a:rPr lang="es-ES" sz="1400" dirty="0">
                <a:solidFill>
                  <a:schemeClr val="bg1"/>
                </a:solidFill>
                <a:latin typeface="Trebuchet MS" panose="020B0603020202020204" pitchFamily="34" charset="0"/>
              </a:rPr>
              <a:t>22 %</a:t>
            </a:r>
          </a:p>
        </p:txBody>
      </p:sp>
      <p:sp>
        <p:nvSpPr>
          <p:cNvPr id="98" name="CuadroTexto 97">
            <a:extLst>
              <a:ext uri="{FF2B5EF4-FFF2-40B4-BE49-F238E27FC236}">
                <a16:creationId xmlns:a16="http://schemas.microsoft.com/office/drawing/2014/main" id="{3935372D-E5EC-407E-B020-10672EB2DA08}"/>
              </a:ext>
            </a:extLst>
          </p:cNvPr>
          <p:cNvSpPr txBox="1"/>
          <p:nvPr/>
        </p:nvSpPr>
        <p:spPr>
          <a:xfrm>
            <a:off x="8929432" y="6018272"/>
            <a:ext cx="2805959" cy="276999"/>
          </a:xfrm>
          <a:prstGeom prst="rect">
            <a:avLst/>
          </a:prstGeom>
          <a:noFill/>
        </p:spPr>
        <p:txBody>
          <a:bodyPr wrap="square" rtlCol="0">
            <a:spAutoFit/>
          </a:bodyPr>
          <a:lstStyle/>
          <a:p>
            <a:pPr algn="r"/>
            <a:r>
              <a:rPr lang="es-ES" sz="1200" dirty="0">
                <a:latin typeface="Trebuchet MS" panose="020B0603020202020204" pitchFamily="34" charset="0"/>
              </a:rPr>
              <a:t>Sentido de pertenencia</a:t>
            </a:r>
          </a:p>
        </p:txBody>
      </p:sp>
      <p:sp>
        <p:nvSpPr>
          <p:cNvPr id="99" name="Rectángulo 98">
            <a:extLst>
              <a:ext uri="{FF2B5EF4-FFF2-40B4-BE49-F238E27FC236}">
                <a16:creationId xmlns:a16="http://schemas.microsoft.com/office/drawing/2014/main" id="{E81B7126-3C05-4B45-A37B-B6881A2A72FF}"/>
              </a:ext>
            </a:extLst>
          </p:cNvPr>
          <p:cNvSpPr/>
          <p:nvPr/>
        </p:nvSpPr>
        <p:spPr>
          <a:xfrm>
            <a:off x="9563073" y="2568646"/>
            <a:ext cx="2256601" cy="286150"/>
          </a:xfrm>
          <a:prstGeom prst="rect">
            <a:avLst/>
          </a:prstGeom>
          <a:pattFill prst="dkUpDiag">
            <a:fgClr>
              <a:schemeClr val="bg2">
                <a:lumMod val="75000"/>
              </a:schemeClr>
            </a:fgClr>
            <a:bgClr>
              <a:schemeClr val="tx1">
                <a:lumMod val="65000"/>
                <a:lumOff val="3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Trebuchet MS" panose="020B0603020202020204" pitchFamily="34" charset="0"/>
            </a:endParaRPr>
          </a:p>
        </p:txBody>
      </p:sp>
      <p:sp>
        <p:nvSpPr>
          <p:cNvPr id="100" name="Rectángulo 99">
            <a:extLst>
              <a:ext uri="{FF2B5EF4-FFF2-40B4-BE49-F238E27FC236}">
                <a16:creationId xmlns:a16="http://schemas.microsoft.com/office/drawing/2014/main" id="{2FFE5D7B-BAFD-4FD1-B109-2EA8E0973F6C}"/>
              </a:ext>
            </a:extLst>
          </p:cNvPr>
          <p:cNvSpPr/>
          <p:nvPr/>
        </p:nvSpPr>
        <p:spPr>
          <a:xfrm>
            <a:off x="10226598" y="2564196"/>
            <a:ext cx="1593078" cy="290601"/>
          </a:xfrm>
          <a:prstGeom prst="rect">
            <a:avLst/>
          </a:prstGeom>
          <a:solidFill>
            <a:srgbClr val="00AC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600" dirty="0">
              <a:latin typeface="Trebuchet MS" panose="020B0603020202020204" pitchFamily="34" charset="0"/>
            </a:endParaRPr>
          </a:p>
        </p:txBody>
      </p:sp>
      <p:sp>
        <p:nvSpPr>
          <p:cNvPr id="101" name="Rectángulo 100">
            <a:extLst>
              <a:ext uri="{FF2B5EF4-FFF2-40B4-BE49-F238E27FC236}">
                <a16:creationId xmlns:a16="http://schemas.microsoft.com/office/drawing/2014/main" id="{F360DADE-F5EE-4B2C-9A7B-FB1FFD8742A8}"/>
              </a:ext>
            </a:extLst>
          </p:cNvPr>
          <p:cNvSpPr/>
          <p:nvPr/>
        </p:nvSpPr>
        <p:spPr>
          <a:xfrm>
            <a:off x="11104311" y="2573346"/>
            <a:ext cx="535724" cy="307777"/>
          </a:xfrm>
          <a:prstGeom prst="rect">
            <a:avLst/>
          </a:prstGeom>
        </p:spPr>
        <p:txBody>
          <a:bodyPr wrap="none">
            <a:spAutoFit/>
          </a:bodyPr>
          <a:lstStyle/>
          <a:p>
            <a:pPr algn="ctr"/>
            <a:r>
              <a:rPr lang="es-ES" sz="1400" dirty="0">
                <a:solidFill>
                  <a:schemeClr val="bg1"/>
                </a:solidFill>
                <a:latin typeface="Trebuchet MS" panose="020B0603020202020204" pitchFamily="34" charset="0"/>
              </a:rPr>
              <a:t>73 %</a:t>
            </a:r>
          </a:p>
        </p:txBody>
      </p:sp>
      <p:sp>
        <p:nvSpPr>
          <p:cNvPr id="102" name="CuadroTexto 101">
            <a:extLst>
              <a:ext uri="{FF2B5EF4-FFF2-40B4-BE49-F238E27FC236}">
                <a16:creationId xmlns:a16="http://schemas.microsoft.com/office/drawing/2014/main" id="{0B6F0EE7-01D7-4C67-995D-7906C38F4314}"/>
              </a:ext>
            </a:extLst>
          </p:cNvPr>
          <p:cNvSpPr txBox="1"/>
          <p:nvPr/>
        </p:nvSpPr>
        <p:spPr>
          <a:xfrm>
            <a:off x="9100503" y="2859497"/>
            <a:ext cx="2805959" cy="276999"/>
          </a:xfrm>
          <a:prstGeom prst="rect">
            <a:avLst/>
          </a:prstGeom>
          <a:noFill/>
        </p:spPr>
        <p:txBody>
          <a:bodyPr wrap="square" rtlCol="0">
            <a:spAutoFit/>
          </a:bodyPr>
          <a:lstStyle/>
          <a:p>
            <a:pPr algn="r"/>
            <a:r>
              <a:rPr lang="es-ES" sz="1200" dirty="0">
                <a:latin typeface="Trebuchet MS" panose="020B0603020202020204" pitchFamily="34" charset="0"/>
              </a:rPr>
              <a:t>Interacción entre alumnos</a:t>
            </a:r>
          </a:p>
        </p:txBody>
      </p:sp>
      <p:sp>
        <p:nvSpPr>
          <p:cNvPr id="105" name="Rectángulo 104">
            <a:extLst>
              <a:ext uri="{FF2B5EF4-FFF2-40B4-BE49-F238E27FC236}">
                <a16:creationId xmlns:a16="http://schemas.microsoft.com/office/drawing/2014/main" id="{3E9CA18A-8C9B-40B9-8DE7-E0EE7DD01E9C}"/>
              </a:ext>
            </a:extLst>
          </p:cNvPr>
          <p:cNvSpPr/>
          <p:nvPr/>
        </p:nvSpPr>
        <p:spPr>
          <a:xfrm>
            <a:off x="9579893" y="3192048"/>
            <a:ext cx="2256601" cy="286150"/>
          </a:xfrm>
          <a:prstGeom prst="rect">
            <a:avLst/>
          </a:prstGeom>
          <a:pattFill prst="dkUpDiag">
            <a:fgClr>
              <a:schemeClr val="bg2">
                <a:lumMod val="75000"/>
              </a:schemeClr>
            </a:fgClr>
            <a:bgClr>
              <a:schemeClr val="tx1">
                <a:lumMod val="65000"/>
                <a:lumOff val="3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Trebuchet MS" panose="020B0603020202020204" pitchFamily="34" charset="0"/>
            </a:endParaRPr>
          </a:p>
        </p:txBody>
      </p:sp>
      <p:sp>
        <p:nvSpPr>
          <p:cNvPr id="108" name="Rectángulo 107">
            <a:extLst>
              <a:ext uri="{FF2B5EF4-FFF2-40B4-BE49-F238E27FC236}">
                <a16:creationId xmlns:a16="http://schemas.microsoft.com/office/drawing/2014/main" id="{F8CB0B68-1303-4C75-9E56-8E7276788181}"/>
              </a:ext>
            </a:extLst>
          </p:cNvPr>
          <p:cNvSpPr/>
          <p:nvPr/>
        </p:nvSpPr>
        <p:spPr>
          <a:xfrm>
            <a:off x="9808234" y="3187599"/>
            <a:ext cx="2028260" cy="290601"/>
          </a:xfrm>
          <a:prstGeom prst="rect">
            <a:avLst/>
          </a:prstGeom>
          <a:solidFill>
            <a:srgbClr val="00AC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600" dirty="0">
              <a:latin typeface="Trebuchet MS" panose="020B0603020202020204" pitchFamily="34" charset="0"/>
            </a:endParaRPr>
          </a:p>
        </p:txBody>
      </p:sp>
      <p:sp>
        <p:nvSpPr>
          <p:cNvPr id="110" name="Rectángulo 109">
            <a:extLst>
              <a:ext uri="{FF2B5EF4-FFF2-40B4-BE49-F238E27FC236}">
                <a16:creationId xmlns:a16="http://schemas.microsoft.com/office/drawing/2014/main" id="{29FAC20A-AD61-46BF-84B1-4A4819668B7D}"/>
              </a:ext>
            </a:extLst>
          </p:cNvPr>
          <p:cNvSpPr/>
          <p:nvPr/>
        </p:nvSpPr>
        <p:spPr>
          <a:xfrm>
            <a:off x="11121131" y="3196748"/>
            <a:ext cx="535724" cy="307777"/>
          </a:xfrm>
          <a:prstGeom prst="rect">
            <a:avLst/>
          </a:prstGeom>
        </p:spPr>
        <p:txBody>
          <a:bodyPr wrap="none">
            <a:spAutoFit/>
          </a:bodyPr>
          <a:lstStyle/>
          <a:p>
            <a:pPr algn="ctr"/>
            <a:r>
              <a:rPr lang="es-ES" sz="1400" dirty="0">
                <a:solidFill>
                  <a:schemeClr val="bg1"/>
                </a:solidFill>
                <a:latin typeface="Trebuchet MS" panose="020B0603020202020204" pitchFamily="34" charset="0"/>
              </a:rPr>
              <a:t>90 %</a:t>
            </a:r>
          </a:p>
        </p:txBody>
      </p:sp>
      <p:sp>
        <p:nvSpPr>
          <p:cNvPr id="112" name="CuadroTexto 111">
            <a:extLst>
              <a:ext uri="{FF2B5EF4-FFF2-40B4-BE49-F238E27FC236}">
                <a16:creationId xmlns:a16="http://schemas.microsoft.com/office/drawing/2014/main" id="{80D572A0-4A79-409F-AFD2-F9A13DB33A5E}"/>
              </a:ext>
            </a:extLst>
          </p:cNvPr>
          <p:cNvSpPr txBox="1"/>
          <p:nvPr/>
        </p:nvSpPr>
        <p:spPr>
          <a:xfrm>
            <a:off x="9117323" y="3482900"/>
            <a:ext cx="2805959" cy="276999"/>
          </a:xfrm>
          <a:prstGeom prst="rect">
            <a:avLst/>
          </a:prstGeom>
          <a:noFill/>
        </p:spPr>
        <p:txBody>
          <a:bodyPr wrap="square" rtlCol="0">
            <a:spAutoFit/>
          </a:bodyPr>
          <a:lstStyle/>
          <a:p>
            <a:pPr algn="r"/>
            <a:r>
              <a:rPr lang="es-ES" sz="1200" dirty="0">
                <a:latin typeface="Trebuchet MS" panose="020B0603020202020204" pitchFamily="34" charset="0"/>
              </a:rPr>
              <a:t>Desarrollo competencias digital</a:t>
            </a:r>
          </a:p>
        </p:txBody>
      </p:sp>
      <p:sp>
        <p:nvSpPr>
          <p:cNvPr id="115" name="Rectángulo 114">
            <a:extLst>
              <a:ext uri="{FF2B5EF4-FFF2-40B4-BE49-F238E27FC236}">
                <a16:creationId xmlns:a16="http://schemas.microsoft.com/office/drawing/2014/main" id="{C17A1ABE-BE1C-4846-961E-7062E6FBBDB3}"/>
              </a:ext>
            </a:extLst>
          </p:cNvPr>
          <p:cNvSpPr/>
          <p:nvPr/>
        </p:nvSpPr>
        <p:spPr>
          <a:xfrm>
            <a:off x="9585988" y="3811840"/>
            <a:ext cx="2256601" cy="286150"/>
          </a:xfrm>
          <a:prstGeom prst="rect">
            <a:avLst/>
          </a:prstGeom>
          <a:pattFill prst="dkUpDiag">
            <a:fgClr>
              <a:schemeClr val="bg2">
                <a:lumMod val="75000"/>
              </a:schemeClr>
            </a:fgClr>
            <a:bgClr>
              <a:schemeClr val="tx1">
                <a:lumMod val="65000"/>
                <a:lumOff val="3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Trebuchet MS" panose="020B0603020202020204" pitchFamily="34" charset="0"/>
            </a:endParaRPr>
          </a:p>
        </p:txBody>
      </p:sp>
      <p:sp>
        <p:nvSpPr>
          <p:cNvPr id="117" name="Rectángulo 116">
            <a:extLst>
              <a:ext uri="{FF2B5EF4-FFF2-40B4-BE49-F238E27FC236}">
                <a16:creationId xmlns:a16="http://schemas.microsoft.com/office/drawing/2014/main" id="{2CE4FA5C-3103-46BA-915B-4686EDAC3C56}"/>
              </a:ext>
            </a:extLst>
          </p:cNvPr>
          <p:cNvSpPr/>
          <p:nvPr/>
        </p:nvSpPr>
        <p:spPr>
          <a:xfrm>
            <a:off x="10576935" y="3807391"/>
            <a:ext cx="1265655" cy="290601"/>
          </a:xfrm>
          <a:prstGeom prst="rect">
            <a:avLst/>
          </a:prstGeom>
          <a:solidFill>
            <a:srgbClr val="00AC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600" dirty="0">
              <a:latin typeface="Trebuchet MS" panose="020B0603020202020204" pitchFamily="34" charset="0"/>
            </a:endParaRPr>
          </a:p>
        </p:txBody>
      </p:sp>
      <p:sp>
        <p:nvSpPr>
          <p:cNvPr id="119" name="Rectángulo 118">
            <a:extLst>
              <a:ext uri="{FF2B5EF4-FFF2-40B4-BE49-F238E27FC236}">
                <a16:creationId xmlns:a16="http://schemas.microsoft.com/office/drawing/2014/main" id="{509ED561-C280-411D-B716-148B312E7D15}"/>
              </a:ext>
            </a:extLst>
          </p:cNvPr>
          <p:cNvSpPr/>
          <p:nvPr/>
        </p:nvSpPr>
        <p:spPr>
          <a:xfrm>
            <a:off x="11127226" y="3816540"/>
            <a:ext cx="535724" cy="307777"/>
          </a:xfrm>
          <a:prstGeom prst="rect">
            <a:avLst/>
          </a:prstGeom>
        </p:spPr>
        <p:txBody>
          <a:bodyPr wrap="none">
            <a:spAutoFit/>
          </a:bodyPr>
          <a:lstStyle/>
          <a:p>
            <a:pPr algn="ctr"/>
            <a:r>
              <a:rPr lang="es-ES" sz="1400" dirty="0">
                <a:solidFill>
                  <a:schemeClr val="bg1"/>
                </a:solidFill>
                <a:latin typeface="Trebuchet MS" panose="020B0603020202020204" pitchFamily="34" charset="0"/>
              </a:rPr>
              <a:t>52 %</a:t>
            </a:r>
          </a:p>
        </p:txBody>
      </p:sp>
      <p:sp>
        <p:nvSpPr>
          <p:cNvPr id="121" name="CuadroTexto 120">
            <a:extLst>
              <a:ext uri="{FF2B5EF4-FFF2-40B4-BE49-F238E27FC236}">
                <a16:creationId xmlns:a16="http://schemas.microsoft.com/office/drawing/2014/main" id="{7E3684D5-4AE2-4419-9FCF-26B4923A788E}"/>
              </a:ext>
            </a:extLst>
          </p:cNvPr>
          <p:cNvSpPr txBox="1"/>
          <p:nvPr/>
        </p:nvSpPr>
        <p:spPr>
          <a:xfrm>
            <a:off x="9123418" y="4102692"/>
            <a:ext cx="2805959" cy="276999"/>
          </a:xfrm>
          <a:prstGeom prst="rect">
            <a:avLst/>
          </a:prstGeom>
          <a:noFill/>
        </p:spPr>
        <p:txBody>
          <a:bodyPr wrap="square" rtlCol="0">
            <a:spAutoFit/>
          </a:bodyPr>
          <a:lstStyle/>
          <a:p>
            <a:pPr algn="r"/>
            <a:r>
              <a:rPr lang="es-ES" sz="1200" dirty="0">
                <a:latin typeface="Trebuchet MS" panose="020B0603020202020204" pitchFamily="34" charset="0"/>
              </a:rPr>
              <a:t>Competencia matemática</a:t>
            </a:r>
          </a:p>
        </p:txBody>
      </p:sp>
      <p:sp>
        <p:nvSpPr>
          <p:cNvPr id="89" name="CuadroTexto 88">
            <a:extLst>
              <a:ext uri="{FF2B5EF4-FFF2-40B4-BE49-F238E27FC236}">
                <a16:creationId xmlns:a16="http://schemas.microsoft.com/office/drawing/2014/main" id="{60C87A44-84F3-47DE-9696-73043F76B4B9}"/>
              </a:ext>
            </a:extLst>
          </p:cNvPr>
          <p:cNvSpPr txBox="1"/>
          <p:nvPr/>
        </p:nvSpPr>
        <p:spPr>
          <a:xfrm>
            <a:off x="2874929" y="15159"/>
            <a:ext cx="6433319" cy="646331"/>
          </a:xfrm>
          <a:prstGeom prst="rect">
            <a:avLst/>
          </a:prstGeom>
          <a:noFill/>
        </p:spPr>
        <p:txBody>
          <a:bodyPr wrap="square" rtlCol="0">
            <a:spAutoFit/>
          </a:bodyPr>
          <a:lstStyle/>
          <a:p>
            <a:pPr algn="ctr"/>
            <a:r>
              <a:rPr lang="es-ES" sz="3600" b="1" dirty="0">
                <a:solidFill>
                  <a:schemeClr val="bg1"/>
                </a:solidFill>
                <a:latin typeface="Trebuchet MS" panose="020B0603020202020204" pitchFamily="34" charset="0"/>
              </a:rPr>
              <a:t>RESULTADOS</a:t>
            </a:r>
          </a:p>
        </p:txBody>
      </p:sp>
      <p:sp>
        <p:nvSpPr>
          <p:cNvPr id="91" name="Rectángulo: esquinas redondeadas 90">
            <a:extLst>
              <a:ext uri="{FF2B5EF4-FFF2-40B4-BE49-F238E27FC236}">
                <a16:creationId xmlns:a16="http://schemas.microsoft.com/office/drawing/2014/main" id="{B21955B8-A48E-4356-A62F-758E0ECEB98F}"/>
              </a:ext>
            </a:extLst>
          </p:cNvPr>
          <p:cNvSpPr/>
          <p:nvPr/>
        </p:nvSpPr>
        <p:spPr>
          <a:xfrm>
            <a:off x="36099" y="1144591"/>
            <a:ext cx="5089184" cy="1026443"/>
          </a:xfrm>
          <a:prstGeom prst="roundRect">
            <a:avLst>
              <a:gd name="adj" fmla="val 50000"/>
            </a:avLst>
          </a:prstGeom>
          <a:solidFill>
            <a:srgbClr val="4EBCE3">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9" name="CuadroTexto 18">
            <a:extLst>
              <a:ext uri="{FF2B5EF4-FFF2-40B4-BE49-F238E27FC236}">
                <a16:creationId xmlns:a16="http://schemas.microsoft.com/office/drawing/2014/main" id="{CD15F448-CC11-490E-90BD-5B37B508D8EF}"/>
              </a:ext>
            </a:extLst>
          </p:cNvPr>
          <p:cNvSpPr txBox="1"/>
          <p:nvPr/>
        </p:nvSpPr>
        <p:spPr>
          <a:xfrm>
            <a:off x="669869" y="1224514"/>
            <a:ext cx="3803556" cy="830997"/>
          </a:xfrm>
          <a:prstGeom prst="rect">
            <a:avLst/>
          </a:prstGeom>
          <a:noFill/>
        </p:spPr>
        <p:txBody>
          <a:bodyPr wrap="square" rtlCol="0">
            <a:spAutoFit/>
          </a:bodyPr>
          <a:lstStyle/>
          <a:p>
            <a:pPr algn="r"/>
            <a:r>
              <a:rPr lang="es-ES" sz="1600" i="1" dirty="0">
                <a:solidFill>
                  <a:schemeClr val="bg1"/>
                </a:solidFill>
                <a:latin typeface="Trebuchet MS" panose="020B0603020202020204" pitchFamily="34" charset="0"/>
              </a:rPr>
              <a:t>Se muestran los resultados estimados por la aplicación de un Aula RTC en una institución educativa</a:t>
            </a:r>
          </a:p>
        </p:txBody>
      </p:sp>
      <p:pic>
        <p:nvPicPr>
          <p:cNvPr id="118" name="Gráfico 117">
            <a:extLst>
              <a:ext uri="{FF2B5EF4-FFF2-40B4-BE49-F238E27FC236}">
                <a16:creationId xmlns:a16="http://schemas.microsoft.com/office/drawing/2014/main" id="{4CFA6EFB-E270-44AD-81B5-551FCEF61734}"/>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xmlns="" r:embed="rId11"/>
              </a:ext>
            </a:extLst>
          </a:blip>
          <a:stretch>
            <a:fillRect/>
          </a:stretch>
        </p:blipFill>
        <p:spPr>
          <a:xfrm>
            <a:off x="11103687" y="152705"/>
            <a:ext cx="820737" cy="461665"/>
          </a:xfrm>
          <a:prstGeom prst="rect">
            <a:avLst/>
          </a:prstGeom>
        </p:spPr>
      </p:pic>
      <p:pic>
        <p:nvPicPr>
          <p:cNvPr id="120" name="Gráfico 10">
            <a:extLst>
              <a:ext uri="{FF2B5EF4-FFF2-40B4-BE49-F238E27FC236}">
                <a16:creationId xmlns:a16="http://schemas.microsoft.com/office/drawing/2014/main" id="{049741DA-939A-490F-89AC-18EF9E823DC1}"/>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xmlns="" r:embed="rId13"/>
              </a:ext>
            </a:extLst>
          </a:blip>
          <a:stretch>
            <a:fillRect/>
          </a:stretch>
        </p:blipFill>
        <p:spPr>
          <a:xfrm>
            <a:off x="267578" y="187584"/>
            <a:ext cx="346749" cy="346749"/>
          </a:xfrm>
          <a:prstGeom prst="rect">
            <a:avLst/>
          </a:prstGeom>
        </p:spPr>
      </p:pic>
      <p:sp>
        <p:nvSpPr>
          <p:cNvPr id="90" name="Marcador de número de diapositiva 1"/>
          <p:cNvSpPr>
            <a:spLocks noGrp="1"/>
          </p:cNvSpPr>
          <p:nvPr>
            <p:ph type="sldNum" sz="quarter" idx="12"/>
          </p:nvPr>
        </p:nvSpPr>
        <p:spPr>
          <a:xfrm>
            <a:off x="11777051" y="6458134"/>
            <a:ext cx="487378" cy="481343"/>
          </a:xfrm>
        </p:spPr>
        <p:txBody>
          <a:bodyPr/>
          <a:lstStyle/>
          <a:p>
            <a:r>
              <a:rPr lang="en-US" sz="2000" dirty="0" smtClean="0"/>
              <a:t>41</a:t>
            </a:r>
            <a:endParaRPr lang="en-US" sz="2000" dirty="0"/>
          </a:p>
        </p:txBody>
      </p:sp>
    </p:spTree>
    <p:extLst>
      <p:ext uri="{BB962C8B-B14F-4D97-AF65-F5344CB8AC3E}">
        <p14:creationId xmlns:p14="http://schemas.microsoft.com/office/powerpoint/2010/main" val="219958115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3" name="Rectángulo 2"/>
          <p:cNvSpPr/>
          <p:nvPr/>
        </p:nvSpPr>
        <p:spPr>
          <a:xfrm>
            <a:off x="3509727" y="2043882"/>
            <a:ext cx="6096000" cy="1938992"/>
          </a:xfrm>
          <a:prstGeom prst="rect">
            <a:avLst/>
          </a:prstGeom>
        </p:spPr>
        <p:txBody>
          <a:bodyPr>
            <a:spAutoFit/>
          </a:bodyPr>
          <a:lstStyle/>
          <a:p>
            <a:r>
              <a:rPr lang="es-ES" sz="2400" b="1" dirty="0">
                <a:solidFill>
                  <a:schemeClr val="bg1"/>
                </a:solidFill>
              </a:rPr>
              <a:t>Vodafone  establece tres escenarios para garantizar los elementos de aprendizaje que se han definido como objetivos que tienen que alcanzar todos.</a:t>
            </a:r>
          </a:p>
        </p:txBody>
      </p:sp>
      <p:pic>
        <p:nvPicPr>
          <p:cNvPr id="4" name="Imagen 3" descr="Imagen que contiene Icono&#10;&#10;Descripción generada automáticamente">
            <a:extLst>
              <a:ext uri="{FF2B5EF4-FFF2-40B4-BE49-F238E27FC236}">
                <a16:creationId xmlns:a16="http://schemas.microsoft.com/office/drawing/2014/main" id="{0AFBC699-8184-F649-AA11-B61BA804DE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08980" y="2368907"/>
            <a:ext cx="1125555" cy="1288942"/>
          </a:xfrm>
          <a:prstGeom prst="rect">
            <a:avLst/>
          </a:prstGeom>
        </p:spPr>
      </p:pic>
      <p:sp>
        <p:nvSpPr>
          <p:cNvPr id="5" name="Marcador de número de diapositiva 1"/>
          <p:cNvSpPr>
            <a:spLocks noGrp="1"/>
          </p:cNvSpPr>
          <p:nvPr>
            <p:ph type="sldNum" sz="quarter" idx="12"/>
          </p:nvPr>
        </p:nvSpPr>
        <p:spPr>
          <a:xfrm>
            <a:off x="11777051" y="6458134"/>
            <a:ext cx="487378" cy="481343"/>
          </a:xfrm>
        </p:spPr>
        <p:txBody>
          <a:bodyPr/>
          <a:lstStyle/>
          <a:p>
            <a:r>
              <a:rPr lang="en-US" sz="2000" dirty="0" smtClean="0"/>
              <a:t>42</a:t>
            </a:r>
            <a:endParaRPr lang="en-US" sz="2000" dirty="0"/>
          </a:p>
        </p:txBody>
      </p:sp>
    </p:spTree>
    <p:extLst>
      <p:ext uri="{BB962C8B-B14F-4D97-AF65-F5344CB8AC3E}">
        <p14:creationId xmlns:p14="http://schemas.microsoft.com/office/powerpoint/2010/main" val="312899590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Tabla 4">
            <a:extLst>
              <a:ext uri="{FF2B5EF4-FFF2-40B4-BE49-F238E27FC236}">
                <a16:creationId xmlns:a16="http://schemas.microsoft.com/office/drawing/2014/main" id="{CFF2E565-07A3-488F-A2F7-19ED1C335AA0}"/>
              </a:ext>
            </a:extLst>
          </p:cNvPr>
          <p:cNvGraphicFramePr>
            <a:graphicFrameLocks noGrp="1"/>
          </p:cNvGraphicFramePr>
          <p:nvPr>
            <p:extLst>
              <p:ext uri="{D42A27DB-BD31-4B8C-83A1-F6EECF244321}">
                <p14:modId xmlns:p14="http://schemas.microsoft.com/office/powerpoint/2010/main" val="1195601762"/>
              </p:ext>
            </p:extLst>
          </p:nvPr>
        </p:nvGraphicFramePr>
        <p:xfrm>
          <a:off x="1575301" y="134471"/>
          <a:ext cx="10059186" cy="6672843"/>
        </p:xfrm>
        <a:graphic>
          <a:graphicData uri="http://schemas.openxmlformats.org/drawingml/2006/table">
            <a:tbl>
              <a:tblPr firstRow="1" bandRow="1">
                <a:tableStyleId>{21E4AEA4-8DFA-4A89-87EB-49C32662AFE0}</a:tableStyleId>
              </a:tblPr>
              <a:tblGrid>
                <a:gridCol w="1668585">
                  <a:extLst>
                    <a:ext uri="{9D8B030D-6E8A-4147-A177-3AD203B41FA5}">
                      <a16:colId xmlns:a16="http://schemas.microsoft.com/office/drawing/2014/main" val="2085528200"/>
                    </a:ext>
                  </a:extLst>
                </a:gridCol>
                <a:gridCol w="2860432">
                  <a:extLst>
                    <a:ext uri="{9D8B030D-6E8A-4147-A177-3AD203B41FA5}">
                      <a16:colId xmlns:a16="http://schemas.microsoft.com/office/drawing/2014/main" val="2099071146"/>
                    </a:ext>
                  </a:extLst>
                </a:gridCol>
                <a:gridCol w="2717411">
                  <a:extLst>
                    <a:ext uri="{9D8B030D-6E8A-4147-A177-3AD203B41FA5}">
                      <a16:colId xmlns:a16="http://schemas.microsoft.com/office/drawing/2014/main" val="2526070935"/>
                    </a:ext>
                  </a:extLst>
                </a:gridCol>
                <a:gridCol w="2812758">
                  <a:extLst>
                    <a:ext uri="{9D8B030D-6E8A-4147-A177-3AD203B41FA5}">
                      <a16:colId xmlns:a16="http://schemas.microsoft.com/office/drawing/2014/main" val="1404815176"/>
                    </a:ext>
                  </a:extLst>
                </a:gridCol>
              </a:tblGrid>
              <a:tr h="418950">
                <a:tc>
                  <a:txBody>
                    <a:bodyPr/>
                    <a:lstStyle/>
                    <a:p>
                      <a:pPr algn="ctr"/>
                      <a:r>
                        <a:rPr lang="es-ES" sz="1050" dirty="0"/>
                        <a:t>ELEMENTOS DE APRENDIZAJE</a:t>
                      </a:r>
                    </a:p>
                  </a:txBody>
                  <a:tcPr anchor="ctr">
                    <a:solidFill>
                      <a:srgbClr val="E60000"/>
                    </a:solidFill>
                  </a:tcPr>
                </a:tc>
                <a:tc>
                  <a:txBody>
                    <a:bodyPr/>
                    <a:lstStyle/>
                    <a:p>
                      <a:pPr algn="ctr"/>
                      <a:r>
                        <a:rPr lang="es-ES" sz="1050" dirty="0"/>
                        <a:t>SOLUCIÓN MÍNIMA</a:t>
                      </a:r>
                    </a:p>
                  </a:txBody>
                  <a:tcPr anchor="ctr">
                    <a:solidFill>
                      <a:srgbClr val="E60000"/>
                    </a:solidFill>
                  </a:tcPr>
                </a:tc>
                <a:tc>
                  <a:txBody>
                    <a:bodyPr/>
                    <a:lstStyle/>
                    <a:p>
                      <a:pPr algn="ctr"/>
                      <a:r>
                        <a:rPr lang="es-ES" sz="1050" dirty="0"/>
                        <a:t>SOLUCIÓN BUENA</a:t>
                      </a:r>
                    </a:p>
                  </a:txBody>
                  <a:tcPr anchor="ctr">
                    <a:solidFill>
                      <a:srgbClr val="E60000"/>
                    </a:solidFill>
                  </a:tcPr>
                </a:tc>
                <a:tc>
                  <a:txBody>
                    <a:bodyPr/>
                    <a:lstStyle/>
                    <a:p>
                      <a:pPr algn="ctr"/>
                      <a:r>
                        <a:rPr lang="es-ES" sz="1050" dirty="0"/>
                        <a:t>SOLUCIÓN ÓPTIMA</a:t>
                      </a:r>
                    </a:p>
                  </a:txBody>
                  <a:tcPr anchor="ctr">
                    <a:solidFill>
                      <a:srgbClr val="E60000"/>
                    </a:solidFill>
                  </a:tcPr>
                </a:tc>
                <a:extLst>
                  <a:ext uri="{0D108BD9-81ED-4DB2-BD59-A6C34878D82A}">
                    <a16:rowId xmlns:a16="http://schemas.microsoft.com/office/drawing/2014/main" val="840267406"/>
                  </a:ext>
                </a:extLst>
              </a:tr>
              <a:tr h="1927171">
                <a:tc>
                  <a:txBody>
                    <a:bodyPr/>
                    <a:lstStyle/>
                    <a:p>
                      <a:pPr algn="ctr"/>
                      <a:r>
                        <a:rPr lang="es-ES" sz="1400" b="1" dirty="0"/>
                        <a:t>CONECTIVIDAD</a:t>
                      </a:r>
                    </a:p>
                  </a:txBody>
                  <a:tcPr anchor="ctr"/>
                </a:tc>
                <a:tc>
                  <a:txBody>
                    <a:bodyPr/>
                    <a:lstStyle/>
                    <a:p>
                      <a:pPr marL="171450" indent="-171450">
                        <a:buFont typeface="Arial" panose="020B0604020202020204" pitchFamily="34" charset="0"/>
                        <a:buChar char="•"/>
                      </a:pPr>
                      <a:r>
                        <a:rPr lang="es-ES" sz="1050" dirty="0"/>
                        <a:t>Velocidad mínima de conexión: 300Mbps</a:t>
                      </a:r>
                    </a:p>
                    <a:p>
                      <a:pPr marL="171450" indent="-171450">
                        <a:buFont typeface="Arial" panose="020B0604020202020204" pitchFamily="34" charset="0"/>
                        <a:buChar char="•"/>
                      </a:pPr>
                      <a:r>
                        <a:rPr lang="es-ES" sz="1050" dirty="0"/>
                        <a:t>WiFi en aulas</a:t>
                      </a:r>
                    </a:p>
                    <a:p>
                      <a:pPr marL="171450" indent="-171450">
                        <a:buFont typeface="Arial" panose="020B0604020202020204" pitchFamily="34" charset="0"/>
                        <a:buChar char="•"/>
                      </a:pPr>
                      <a:r>
                        <a:rPr lang="es-ES" sz="1050" dirty="0"/>
                        <a:t>Soluciones de seguridad  para control y gestión de dispositivos, privacidad y filtrado de contenido</a:t>
                      </a:r>
                    </a:p>
                  </a:txBody>
                  <a:tcPr>
                    <a:gradFill flip="none" rotWithShape="1">
                      <a:gsLst>
                        <a:gs pos="0">
                          <a:schemeClr val="accent5">
                            <a:lumMod val="5000"/>
                            <a:lumOff val="95000"/>
                          </a:schemeClr>
                        </a:gs>
                        <a:gs pos="74000">
                          <a:schemeClr val="accent5">
                            <a:lumMod val="45000"/>
                            <a:lumOff val="55000"/>
                          </a:schemeClr>
                        </a:gs>
                        <a:gs pos="83000">
                          <a:schemeClr val="accent5">
                            <a:lumMod val="45000"/>
                            <a:lumOff val="55000"/>
                          </a:schemeClr>
                        </a:gs>
                        <a:gs pos="100000">
                          <a:schemeClr val="accent5">
                            <a:lumMod val="30000"/>
                            <a:lumOff val="70000"/>
                          </a:schemeClr>
                        </a:gs>
                      </a:gsLst>
                      <a:lin ang="5400000" scaled="1"/>
                      <a:tileRect/>
                    </a:gradFill>
                  </a:tcPr>
                </a:tc>
                <a:tc>
                  <a:txBody>
                    <a:bodyPr/>
                    <a:lstStyle/>
                    <a:p>
                      <a:endParaRPr lang="es-ES" sz="1050" dirty="0"/>
                    </a:p>
                  </a:txBody>
                  <a:tcPr>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tcPr>
                </a:tc>
                <a:tc>
                  <a:txBody>
                    <a:bodyPr/>
                    <a:lstStyle/>
                    <a:p>
                      <a:pPr marL="171450" indent="-171450">
                        <a:buFont typeface="Arial" panose="020B0604020202020204" pitchFamily="34" charset="0"/>
                        <a:buChar char="•"/>
                      </a:pPr>
                      <a:r>
                        <a:rPr lang="es-ES" sz="1050" dirty="0"/>
                        <a:t>Velocidad mínima de conexión: 300Mbps</a:t>
                      </a:r>
                    </a:p>
                    <a:p>
                      <a:pPr marL="171450" indent="-171450">
                        <a:buFont typeface="Arial" panose="020B0604020202020204" pitchFamily="34" charset="0"/>
                        <a:buChar char="•"/>
                      </a:pPr>
                      <a:r>
                        <a:rPr lang="es-ES" sz="1050" dirty="0"/>
                        <a:t>WiFi en aulas</a:t>
                      </a:r>
                    </a:p>
                    <a:p>
                      <a:pPr marL="171450" indent="-171450">
                        <a:buFont typeface="Arial" panose="020B0604020202020204" pitchFamily="34" charset="0"/>
                        <a:buChar char="•"/>
                      </a:pPr>
                      <a:r>
                        <a:rPr lang="es-ES" sz="1050" dirty="0"/>
                        <a:t>Soluciones de seguridad  para control y gestión de dispositivos, privacidad y filtrado de contenido</a:t>
                      </a:r>
                    </a:p>
                    <a:p>
                      <a:pPr marL="171450" indent="-171450">
                        <a:buFont typeface="Arial" panose="020B0604020202020204" pitchFamily="34" charset="0"/>
                        <a:buChar char="•"/>
                      </a:pPr>
                      <a:endParaRPr lang="es-ES" sz="1050" dirty="0"/>
                    </a:p>
                    <a:p>
                      <a:pPr marL="171450" indent="-171450">
                        <a:buFont typeface="Arial" panose="020B0604020202020204" pitchFamily="34" charset="0"/>
                        <a:buChar char="•"/>
                      </a:pPr>
                      <a:r>
                        <a:rPr lang="es-ES" sz="1050" dirty="0"/>
                        <a:t>SIMs de conectividad para los alumnos que no disponen conectividad en su hogar</a:t>
                      </a:r>
                    </a:p>
                  </a:txBody>
                  <a:tcPr>
                    <a:gradFill flip="none" rotWithShape="1">
                      <a:gsLst>
                        <a:gs pos="0">
                          <a:schemeClr val="accent5">
                            <a:lumMod val="40000"/>
                            <a:lumOff val="60000"/>
                          </a:schemeClr>
                        </a:gs>
                        <a:gs pos="46000">
                          <a:schemeClr val="accent5">
                            <a:lumMod val="95000"/>
                            <a:lumOff val="5000"/>
                          </a:schemeClr>
                        </a:gs>
                        <a:gs pos="100000">
                          <a:schemeClr val="accent5">
                            <a:lumMod val="60000"/>
                          </a:schemeClr>
                        </a:gs>
                      </a:gsLst>
                      <a:path path="circle">
                        <a:fillToRect l="50000" t="130000" r="50000" b="-30000"/>
                      </a:path>
                      <a:tileRect/>
                    </a:gradFill>
                  </a:tcPr>
                </a:tc>
                <a:extLst>
                  <a:ext uri="{0D108BD9-81ED-4DB2-BD59-A6C34878D82A}">
                    <a16:rowId xmlns:a16="http://schemas.microsoft.com/office/drawing/2014/main" val="3880966552"/>
                  </a:ext>
                </a:extLst>
              </a:tr>
              <a:tr h="251370">
                <a:tc>
                  <a:txBody>
                    <a:bodyPr/>
                    <a:lstStyle/>
                    <a:p>
                      <a:pPr algn="ctr"/>
                      <a:r>
                        <a:rPr lang="es-ES" sz="1400" b="1" dirty="0"/>
                        <a:t>ADAPTABILIDAD</a:t>
                      </a:r>
                    </a:p>
                  </a:txBody>
                  <a:tcPr anchor="ctr"/>
                </a:tc>
                <a:tc>
                  <a:txBody>
                    <a:bodyPr/>
                    <a:lstStyle/>
                    <a:p>
                      <a:pPr marL="171450" indent="-171450">
                        <a:buFont typeface="Arial" panose="020B0604020202020204" pitchFamily="34" charset="0"/>
                        <a:buChar char="•"/>
                      </a:pPr>
                      <a:endParaRPr lang="es-ES" sz="1050" dirty="0"/>
                    </a:p>
                  </a:txBody>
                  <a:tcPr>
                    <a:gradFill flip="none" rotWithShape="1">
                      <a:gsLst>
                        <a:gs pos="0">
                          <a:schemeClr val="accent5">
                            <a:lumMod val="5000"/>
                            <a:lumOff val="95000"/>
                          </a:schemeClr>
                        </a:gs>
                        <a:gs pos="74000">
                          <a:schemeClr val="accent5">
                            <a:lumMod val="45000"/>
                            <a:lumOff val="55000"/>
                          </a:schemeClr>
                        </a:gs>
                        <a:gs pos="83000">
                          <a:schemeClr val="accent5">
                            <a:lumMod val="45000"/>
                            <a:lumOff val="55000"/>
                          </a:schemeClr>
                        </a:gs>
                        <a:gs pos="100000">
                          <a:schemeClr val="accent5">
                            <a:lumMod val="30000"/>
                            <a:lumOff val="70000"/>
                          </a:schemeClr>
                        </a:gs>
                      </a:gsLst>
                      <a:lin ang="5400000" scaled="1"/>
                      <a:tileRect/>
                    </a:gradFill>
                  </a:tcPr>
                </a:tc>
                <a:tc>
                  <a:txBody>
                    <a:bodyPr/>
                    <a:lstStyle/>
                    <a:p>
                      <a:pPr marL="171450" indent="-171450">
                        <a:buFont typeface="Arial" panose="020B0604020202020204" pitchFamily="34" charset="0"/>
                        <a:buChar char="•"/>
                      </a:pPr>
                      <a:r>
                        <a:rPr lang="es-ES" sz="1050" dirty="0"/>
                        <a:t>Pizarra digital</a:t>
                      </a:r>
                    </a:p>
                  </a:txBody>
                  <a:tcPr>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050" dirty="0"/>
                        <a:t>Pizarra digital</a:t>
                      </a:r>
                    </a:p>
                  </a:txBody>
                  <a:tcPr>
                    <a:gradFill flip="none" rotWithShape="1">
                      <a:gsLst>
                        <a:gs pos="0">
                          <a:schemeClr val="accent5">
                            <a:lumMod val="40000"/>
                            <a:lumOff val="60000"/>
                          </a:schemeClr>
                        </a:gs>
                        <a:gs pos="46000">
                          <a:schemeClr val="accent5">
                            <a:lumMod val="95000"/>
                            <a:lumOff val="5000"/>
                          </a:schemeClr>
                        </a:gs>
                        <a:gs pos="100000">
                          <a:schemeClr val="accent5">
                            <a:lumMod val="60000"/>
                          </a:schemeClr>
                        </a:gs>
                      </a:gsLst>
                      <a:path path="circle">
                        <a:fillToRect l="50000" t="130000" r="50000" b="-30000"/>
                      </a:path>
                      <a:tileRect/>
                    </a:gradFill>
                  </a:tcPr>
                </a:tc>
                <a:extLst>
                  <a:ext uri="{0D108BD9-81ED-4DB2-BD59-A6C34878D82A}">
                    <a16:rowId xmlns:a16="http://schemas.microsoft.com/office/drawing/2014/main" val="1331143316"/>
                  </a:ext>
                </a:extLst>
              </a:tr>
              <a:tr h="754110">
                <a:tc>
                  <a:txBody>
                    <a:bodyPr/>
                    <a:lstStyle/>
                    <a:p>
                      <a:pPr algn="ctr"/>
                      <a:r>
                        <a:rPr lang="es-ES" sz="1400" b="1" dirty="0"/>
                        <a:t>ACCESIBILIDAD</a:t>
                      </a:r>
                    </a:p>
                  </a:txBody>
                  <a:tcPr anchor="ctr"/>
                </a:tc>
                <a:tc>
                  <a:txBody>
                    <a:bodyPr/>
                    <a:lstStyle/>
                    <a:p>
                      <a:pPr marL="171450" indent="-171450">
                        <a:buFont typeface="Arial" panose="020B0604020202020204" pitchFamily="34" charset="0"/>
                        <a:buChar char="•"/>
                      </a:pPr>
                      <a:r>
                        <a:rPr lang="es-ES" sz="1050" dirty="0"/>
                        <a:t>Dispositivos (portátiles) para alumnos y profesores</a:t>
                      </a:r>
                    </a:p>
                    <a:p>
                      <a:pPr marL="171450" indent="-171450">
                        <a:buFont typeface="Arial" panose="020B0604020202020204" pitchFamily="34" charset="0"/>
                        <a:buChar char="•"/>
                      </a:pPr>
                      <a:endParaRPr lang="es-ES" sz="1050" dirty="0"/>
                    </a:p>
                  </a:txBody>
                  <a:tcPr>
                    <a:gradFill flip="none" rotWithShape="1">
                      <a:gsLst>
                        <a:gs pos="0">
                          <a:schemeClr val="accent5">
                            <a:lumMod val="5000"/>
                            <a:lumOff val="95000"/>
                          </a:schemeClr>
                        </a:gs>
                        <a:gs pos="74000">
                          <a:schemeClr val="accent5">
                            <a:lumMod val="45000"/>
                            <a:lumOff val="55000"/>
                          </a:schemeClr>
                        </a:gs>
                        <a:gs pos="83000">
                          <a:schemeClr val="accent5">
                            <a:lumMod val="45000"/>
                            <a:lumOff val="55000"/>
                          </a:schemeClr>
                        </a:gs>
                        <a:gs pos="100000">
                          <a:schemeClr val="accent5">
                            <a:lumMod val="30000"/>
                            <a:lumOff val="70000"/>
                          </a:schemeClr>
                        </a:gs>
                      </a:gsLst>
                      <a:lin ang="5400000" scaled="1"/>
                      <a:tileRect/>
                    </a:gra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050" dirty="0"/>
                        <a:t>Dispositivos (portátiles) para alumnos y profesores</a:t>
                      </a:r>
                    </a:p>
                    <a:p>
                      <a:pPr marL="171450" indent="-171450">
                        <a:buFont typeface="Arial" panose="020B0604020202020204" pitchFamily="34" charset="0"/>
                        <a:buChar char="•"/>
                      </a:pPr>
                      <a:r>
                        <a:rPr lang="es-ES" sz="1050" dirty="0" err="1"/>
                        <a:t>MIFI´s</a:t>
                      </a:r>
                      <a:endParaRPr lang="es-ES" sz="1050" dirty="0"/>
                    </a:p>
                  </a:txBody>
                  <a:tcPr>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050" dirty="0"/>
                        <a:t>Dispositivos (portátiles) para alumnos y profesor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050" dirty="0" err="1"/>
                        <a:t>MIFI´s</a:t>
                      </a:r>
                      <a:endParaRPr lang="es-ES" sz="1050" dirty="0"/>
                    </a:p>
                    <a:p>
                      <a:pPr marL="171450" indent="-171450">
                        <a:buFont typeface="Arial" panose="020B0604020202020204" pitchFamily="34" charset="0"/>
                        <a:buChar char="•"/>
                      </a:pPr>
                      <a:endParaRPr lang="es-ES" sz="1050" dirty="0"/>
                    </a:p>
                  </a:txBody>
                  <a:tcPr>
                    <a:gradFill flip="none" rotWithShape="1">
                      <a:gsLst>
                        <a:gs pos="0">
                          <a:schemeClr val="accent5">
                            <a:lumMod val="40000"/>
                            <a:lumOff val="60000"/>
                          </a:schemeClr>
                        </a:gs>
                        <a:gs pos="46000">
                          <a:schemeClr val="accent5">
                            <a:lumMod val="95000"/>
                            <a:lumOff val="5000"/>
                          </a:schemeClr>
                        </a:gs>
                        <a:gs pos="100000">
                          <a:schemeClr val="accent5">
                            <a:lumMod val="60000"/>
                          </a:schemeClr>
                        </a:gs>
                      </a:gsLst>
                      <a:path path="circle">
                        <a:fillToRect l="50000" t="130000" r="50000" b="-30000"/>
                      </a:path>
                      <a:tileRect/>
                    </a:gradFill>
                  </a:tcPr>
                </a:tc>
                <a:extLst>
                  <a:ext uri="{0D108BD9-81ED-4DB2-BD59-A6C34878D82A}">
                    <a16:rowId xmlns:a16="http://schemas.microsoft.com/office/drawing/2014/main" val="4195638448"/>
                  </a:ext>
                </a:extLst>
              </a:tr>
              <a:tr h="3267812">
                <a:tc>
                  <a:txBody>
                    <a:bodyPr/>
                    <a:lstStyle/>
                    <a:p>
                      <a:pPr algn="ctr"/>
                      <a:r>
                        <a:rPr lang="es-ES" sz="1400" b="1" dirty="0"/>
                        <a:t>GESTIONAR DATOS</a:t>
                      </a:r>
                    </a:p>
                  </a:txBody>
                  <a:tcPr anchor="ctr"/>
                </a:tc>
                <a:tc>
                  <a:txBody>
                    <a:bodyPr/>
                    <a:lstStyle/>
                    <a:p>
                      <a:pPr marL="171450" indent="-171450">
                        <a:buFont typeface="Arial" panose="020B0604020202020204" pitchFamily="34" charset="0"/>
                        <a:buChar char="•"/>
                      </a:pPr>
                      <a:r>
                        <a:rPr lang="es-ES" sz="1050" dirty="0"/>
                        <a:t>CAU de atención a usuarios</a:t>
                      </a:r>
                    </a:p>
                    <a:p>
                      <a:pPr marL="171450" indent="-171450">
                        <a:buFont typeface="Arial" panose="020B0604020202020204" pitchFamily="34" charset="0"/>
                        <a:buChar char="•"/>
                      </a:pPr>
                      <a:r>
                        <a:rPr lang="es-ES" sz="1050" dirty="0"/>
                        <a:t>Formación al profesorado</a:t>
                      </a:r>
                    </a:p>
                  </a:txBody>
                  <a:tcPr>
                    <a:gradFill flip="none" rotWithShape="1">
                      <a:gsLst>
                        <a:gs pos="0">
                          <a:schemeClr val="accent5">
                            <a:lumMod val="5000"/>
                            <a:lumOff val="95000"/>
                          </a:schemeClr>
                        </a:gs>
                        <a:gs pos="74000">
                          <a:schemeClr val="accent5">
                            <a:lumMod val="45000"/>
                            <a:lumOff val="55000"/>
                          </a:schemeClr>
                        </a:gs>
                        <a:gs pos="83000">
                          <a:schemeClr val="accent5">
                            <a:lumMod val="45000"/>
                            <a:lumOff val="55000"/>
                          </a:schemeClr>
                        </a:gs>
                        <a:gs pos="100000">
                          <a:schemeClr val="accent5">
                            <a:lumMod val="30000"/>
                            <a:lumOff val="70000"/>
                          </a:schemeClr>
                        </a:gs>
                      </a:gsLst>
                      <a:lin ang="5400000" scaled="1"/>
                      <a:tileRect/>
                    </a:gradFill>
                  </a:tcPr>
                </a:tc>
                <a:tc>
                  <a:txBody>
                    <a:bodyPr/>
                    <a:lstStyle/>
                    <a:p>
                      <a:pPr marL="171450" indent="-171450">
                        <a:buFont typeface="Arial" panose="020B0604020202020204" pitchFamily="34" charset="0"/>
                        <a:buChar char="•"/>
                      </a:pPr>
                      <a:r>
                        <a:rPr lang="es-ES" sz="1050" dirty="0"/>
                        <a:t>CAU de atención a usuarios</a:t>
                      </a:r>
                    </a:p>
                    <a:p>
                      <a:pPr marL="171450" indent="-171450">
                        <a:buFont typeface="Arial" panose="020B0604020202020204" pitchFamily="34" charset="0"/>
                        <a:buChar char="•"/>
                      </a:pPr>
                      <a:r>
                        <a:rPr lang="es-ES" sz="1050" dirty="0"/>
                        <a:t>Formación al profesorado</a:t>
                      </a:r>
                      <a:endParaRPr lang="es-ES" sz="1050" baseline="0" dirty="0"/>
                    </a:p>
                    <a:p>
                      <a:pPr marL="171450" indent="-171450">
                        <a:buFont typeface="Arial" panose="020B0604020202020204" pitchFamily="34" charset="0"/>
                        <a:buChar char="•"/>
                      </a:pPr>
                      <a:r>
                        <a:rPr lang="es-ES" sz="1050" baseline="0" dirty="0"/>
                        <a:t>Control de dispositivos para: controlar accesos, gestión de dispositivos fuera y dentro del aula, protección de  datos, ubicar el dispositivo</a:t>
                      </a:r>
                    </a:p>
                    <a:p>
                      <a:pPr marL="171450" indent="-171450">
                        <a:buFont typeface="Arial" panose="020B0604020202020204" pitchFamily="34" charset="0"/>
                        <a:buChar char="•"/>
                      </a:pPr>
                      <a:r>
                        <a:rPr lang="es-ES" sz="1050" baseline="0" dirty="0"/>
                        <a:t>Antivirus para: protección de antivirus, spyware, robo de contraseñas</a:t>
                      </a:r>
                      <a:endParaRPr lang="es-ES" sz="1050" dirty="0"/>
                    </a:p>
                  </a:txBody>
                  <a:tcPr>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tcPr>
                </a:tc>
                <a:tc>
                  <a:txBody>
                    <a:bodyPr/>
                    <a:lstStyle/>
                    <a:p>
                      <a:pPr marL="171450" indent="-171450">
                        <a:buFont typeface="Arial" panose="020B0604020202020204" pitchFamily="34" charset="0"/>
                        <a:buChar char="•"/>
                      </a:pPr>
                      <a:r>
                        <a:rPr lang="es-ES" sz="1050" dirty="0"/>
                        <a:t>CAU de atención a usuarios</a:t>
                      </a:r>
                    </a:p>
                    <a:p>
                      <a:pPr marL="171450" indent="-171450">
                        <a:buFont typeface="Arial" panose="020B0604020202020204" pitchFamily="34" charset="0"/>
                        <a:buChar char="•"/>
                      </a:pPr>
                      <a:r>
                        <a:rPr lang="es-ES" sz="1050" dirty="0"/>
                        <a:t>Formación al profesorado</a:t>
                      </a:r>
                      <a:endParaRPr lang="es-ES" sz="1050" baseline="0" dirty="0"/>
                    </a:p>
                    <a:p>
                      <a:pPr marL="171450" indent="-171450">
                        <a:buFont typeface="Arial" panose="020B0604020202020204" pitchFamily="34" charset="0"/>
                        <a:buChar char="•"/>
                      </a:pPr>
                      <a:r>
                        <a:rPr lang="es-ES" sz="1050" baseline="0" dirty="0"/>
                        <a:t>Control de dispositivos para: controlar accesos, gestión de dispositivos fuera y dentro del aula, protección de  datos, ubicar el dispositivo</a:t>
                      </a:r>
                    </a:p>
                    <a:p>
                      <a:pPr marL="171450" indent="-171450">
                        <a:buFont typeface="Arial" panose="020B0604020202020204" pitchFamily="34" charset="0"/>
                        <a:buChar char="•"/>
                      </a:pPr>
                      <a:r>
                        <a:rPr lang="es-ES" sz="1050" baseline="0" dirty="0"/>
                        <a:t>Antivirus para: protección de antivirus, spyware, robo de contraseñas</a:t>
                      </a:r>
                      <a:endParaRPr lang="es-ES" sz="1050" dirty="0"/>
                    </a:p>
                    <a:p>
                      <a:pPr marL="171450" indent="-171450">
                        <a:buFont typeface="Arial" panose="020B0604020202020204" pitchFamily="34" charset="0"/>
                        <a:buChar char="•"/>
                      </a:pPr>
                      <a:r>
                        <a:rPr lang="es-ES" sz="1050" dirty="0"/>
                        <a:t>Plataforma que </a:t>
                      </a:r>
                    </a:p>
                    <a:p>
                      <a:pPr marL="0" indent="0">
                        <a:buFont typeface="Arial" panose="020B0604020202020204" pitchFamily="34" charset="0"/>
                        <a:buNone/>
                      </a:pPr>
                      <a:r>
                        <a:rPr lang="es-ES" sz="1050" dirty="0"/>
                        <a:t>1) controle</a:t>
                      </a:r>
                      <a:r>
                        <a:rPr lang="es-ES" sz="1050" baseline="0" dirty="0"/>
                        <a:t> acceso a contenidos no adecuados, control de acceso por horario</a:t>
                      </a:r>
                    </a:p>
                    <a:p>
                      <a:pPr marL="0" indent="0">
                        <a:buFont typeface="Arial" panose="020B0604020202020204" pitchFamily="34" charset="0"/>
                        <a:buNone/>
                      </a:pPr>
                      <a:r>
                        <a:rPr lang="es-ES" sz="1050" baseline="0" dirty="0"/>
                        <a:t>2) Proporcione </a:t>
                      </a:r>
                      <a:r>
                        <a:rPr lang="es-ES" sz="1050" baseline="0" dirty="0" smtClean="0"/>
                        <a:t>Analítica </a:t>
                      </a:r>
                      <a:r>
                        <a:rPr lang="es-ES" sz="1050" baseline="0" dirty="0"/>
                        <a:t>de:  </a:t>
                      </a:r>
                      <a:r>
                        <a:rPr lang="es-ES" sz="1050" baseline="0" dirty="0" smtClean="0"/>
                        <a:t>ancho </a:t>
                      </a:r>
                      <a:r>
                        <a:rPr lang="es-ES" sz="1050" baseline="0" dirty="0"/>
                        <a:t>de Banda consumido, número de alumnos en remoto simultáneos, aplicaciones más usadas</a:t>
                      </a:r>
                      <a:endParaRPr lang="es-ES" sz="1050" dirty="0"/>
                    </a:p>
                  </a:txBody>
                  <a:tcPr>
                    <a:gradFill flip="none" rotWithShape="1">
                      <a:gsLst>
                        <a:gs pos="0">
                          <a:schemeClr val="accent5">
                            <a:lumMod val="40000"/>
                            <a:lumOff val="60000"/>
                          </a:schemeClr>
                        </a:gs>
                        <a:gs pos="46000">
                          <a:schemeClr val="accent5">
                            <a:lumMod val="95000"/>
                            <a:lumOff val="5000"/>
                          </a:schemeClr>
                        </a:gs>
                        <a:gs pos="100000">
                          <a:schemeClr val="accent5">
                            <a:lumMod val="60000"/>
                          </a:schemeClr>
                        </a:gs>
                      </a:gsLst>
                      <a:path path="circle">
                        <a:fillToRect l="50000" t="130000" r="50000" b="-30000"/>
                      </a:path>
                      <a:tileRect/>
                    </a:gradFill>
                  </a:tcPr>
                </a:tc>
                <a:extLst>
                  <a:ext uri="{0D108BD9-81ED-4DB2-BD59-A6C34878D82A}">
                    <a16:rowId xmlns:a16="http://schemas.microsoft.com/office/drawing/2014/main" val="2165645125"/>
                  </a:ext>
                </a:extLst>
              </a:tr>
            </a:tbl>
          </a:graphicData>
        </a:graphic>
      </p:graphicFrame>
      <p:pic>
        <p:nvPicPr>
          <p:cNvPr id="3" name="Imagen 2" descr="Imagen que contiene Icono&#10;&#10;Descripción generada automáticamente">
            <a:extLst>
              <a:ext uri="{FF2B5EF4-FFF2-40B4-BE49-F238E27FC236}">
                <a16:creationId xmlns:a16="http://schemas.microsoft.com/office/drawing/2014/main" id="{0AFBC699-8184-F649-AA11-B61BA804DE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9986" y="134471"/>
            <a:ext cx="719481" cy="823922"/>
          </a:xfrm>
          <a:prstGeom prst="rect">
            <a:avLst/>
          </a:prstGeom>
        </p:spPr>
      </p:pic>
      <p:sp>
        <p:nvSpPr>
          <p:cNvPr id="6" name="Marcador de número de diapositiva 1"/>
          <p:cNvSpPr>
            <a:spLocks noGrp="1"/>
          </p:cNvSpPr>
          <p:nvPr>
            <p:ph type="sldNum" sz="quarter" idx="12"/>
          </p:nvPr>
        </p:nvSpPr>
        <p:spPr>
          <a:xfrm>
            <a:off x="11777051" y="6458134"/>
            <a:ext cx="487378" cy="481343"/>
          </a:xfrm>
        </p:spPr>
        <p:txBody>
          <a:bodyPr/>
          <a:lstStyle/>
          <a:p>
            <a:r>
              <a:rPr lang="en-US" sz="2000" dirty="0" smtClean="0"/>
              <a:t>43</a:t>
            </a:r>
            <a:endParaRPr lang="en-US" sz="2000" dirty="0"/>
          </a:p>
        </p:txBody>
      </p:sp>
    </p:spTree>
    <p:extLst>
      <p:ext uri="{BB962C8B-B14F-4D97-AF65-F5344CB8AC3E}">
        <p14:creationId xmlns:p14="http://schemas.microsoft.com/office/powerpoint/2010/main" val="41204321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Tabla 4">
            <a:extLst>
              <a:ext uri="{FF2B5EF4-FFF2-40B4-BE49-F238E27FC236}">
                <a16:creationId xmlns:a16="http://schemas.microsoft.com/office/drawing/2014/main" id="{CFF2E565-07A3-488F-A2F7-19ED1C335AA0}"/>
              </a:ext>
            </a:extLst>
          </p:cNvPr>
          <p:cNvGraphicFramePr>
            <a:graphicFrameLocks noGrp="1"/>
          </p:cNvGraphicFramePr>
          <p:nvPr>
            <p:extLst>
              <p:ext uri="{D42A27DB-BD31-4B8C-83A1-F6EECF244321}">
                <p14:modId xmlns:p14="http://schemas.microsoft.com/office/powerpoint/2010/main" val="2643642530"/>
              </p:ext>
            </p:extLst>
          </p:nvPr>
        </p:nvGraphicFramePr>
        <p:xfrm>
          <a:off x="550985" y="673857"/>
          <a:ext cx="10815782" cy="5669280"/>
        </p:xfrm>
        <a:graphic>
          <a:graphicData uri="http://schemas.openxmlformats.org/drawingml/2006/table">
            <a:tbl>
              <a:tblPr firstRow="1" bandRow="1">
                <a:tableStyleId>{21E4AEA4-8DFA-4A89-87EB-49C32662AFE0}</a:tableStyleId>
              </a:tblPr>
              <a:tblGrid>
                <a:gridCol w="1794087">
                  <a:extLst>
                    <a:ext uri="{9D8B030D-6E8A-4147-A177-3AD203B41FA5}">
                      <a16:colId xmlns:a16="http://schemas.microsoft.com/office/drawing/2014/main" val="2085528200"/>
                    </a:ext>
                  </a:extLst>
                </a:gridCol>
                <a:gridCol w="3075578">
                  <a:extLst>
                    <a:ext uri="{9D8B030D-6E8A-4147-A177-3AD203B41FA5}">
                      <a16:colId xmlns:a16="http://schemas.microsoft.com/office/drawing/2014/main" val="2099071146"/>
                    </a:ext>
                  </a:extLst>
                </a:gridCol>
                <a:gridCol w="2921799">
                  <a:extLst>
                    <a:ext uri="{9D8B030D-6E8A-4147-A177-3AD203B41FA5}">
                      <a16:colId xmlns:a16="http://schemas.microsoft.com/office/drawing/2014/main" val="2526070935"/>
                    </a:ext>
                  </a:extLst>
                </a:gridCol>
                <a:gridCol w="3024318">
                  <a:extLst>
                    <a:ext uri="{9D8B030D-6E8A-4147-A177-3AD203B41FA5}">
                      <a16:colId xmlns:a16="http://schemas.microsoft.com/office/drawing/2014/main" val="1404815176"/>
                    </a:ext>
                  </a:extLst>
                </a:gridCol>
              </a:tblGrid>
              <a:tr h="457200">
                <a:tc>
                  <a:txBody>
                    <a:bodyPr/>
                    <a:lstStyle/>
                    <a:p>
                      <a:pPr algn="ctr"/>
                      <a:r>
                        <a:rPr lang="es-ES" sz="1200" dirty="0"/>
                        <a:t>ELEMENTOS DE APRENDIZAJE</a:t>
                      </a:r>
                    </a:p>
                  </a:txBody>
                  <a:tcPr anchor="ctr">
                    <a:solidFill>
                      <a:srgbClr val="E60000"/>
                    </a:solidFill>
                  </a:tcPr>
                </a:tc>
                <a:tc>
                  <a:txBody>
                    <a:bodyPr/>
                    <a:lstStyle/>
                    <a:p>
                      <a:pPr algn="ctr"/>
                      <a:r>
                        <a:rPr lang="es-ES" sz="1200" dirty="0"/>
                        <a:t>SOLUCIÓN MÍNIMA</a:t>
                      </a:r>
                    </a:p>
                  </a:txBody>
                  <a:tcPr anchor="ctr">
                    <a:solidFill>
                      <a:srgbClr val="E60000"/>
                    </a:solidFill>
                  </a:tcPr>
                </a:tc>
                <a:tc>
                  <a:txBody>
                    <a:bodyPr/>
                    <a:lstStyle/>
                    <a:p>
                      <a:pPr algn="ctr"/>
                      <a:r>
                        <a:rPr lang="es-ES" sz="1200" dirty="0"/>
                        <a:t>SOLUCIÓN BUENA</a:t>
                      </a:r>
                    </a:p>
                  </a:txBody>
                  <a:tcPr anchor="ctr">
                    <a:solidFill>
                      <a:srgbClr val="E60000"/>
                    </a:solidFill>
                  </a:tcPr>
                </a:tc>
                <a:tc>
                  <a:txBody>
                    <a:bodyPr/>
                    <a:lstStyle/>
                    <a:p>
                      <a:pPr algn="ctr"/>
                      <a:r>
                        <a:rPr lang="es-ES" sz="1200" dirty="0"/>
                        <a:t>SOLUCIÓN ÓPTIMA</a:t>
                      </a:r>
                    </a:p>
                  </a:txBody>
                  <a:tcPr anchor="ctr">
                    <a:solidFill>
                      <a:srgbClr val="E60000"/>
                    </a:solidFill>
                  </a:tcPr>
                </a:tc>
                <a:extLst>
                  <a:ext uri="{0D108BD9-81ED-4DB2-BD59-A6C34878D82A}">
                    <a16:rowId xmlns:a16="http://schemas.microsoft.com/office/drawing/2014/main" val="840267406"/>
                  </a:ext>
                </a:extLst>
              </a:tr>
              <a:tr h="822960">
                <a:tc>
                  <a:txBody>
                    <a:bodyPr/>
                    <a:lstStyle/>
                    <a:p>
                      <a:pPr algn="ctr"/>
                      <a:r>
                        <a:rPr lang="es-ES" sz="1200" b="1" dirty="0"/>
                        <a:t>GRABAR EXPERIENCIAS</a:t>
                      </a:r>
                    </a:p>
                    <a:p>
                      <a:pPr algn="ctr"/>
                      <a:r>
                        <a:rPr lang="es-ES" sz="1200" b="1" dirty="0"/>
                        <a:t>(contenido digital accesible para tipo</a:t>
                      </a:r>
                      <a:r>
                        <a:rPr lang="es-ES" sz="1200" b="1" baseline="0" dirty="0"/>
                        <a:t> biblioteca)</a:t>
                      </a:r>
                      <a:endParaRPr lang="es-ES" sz="1200" b="1" dirty="0"/>
                    </a:p>
                  </a:txBody>
                  <a:tcPr anchor="ctr"/>
                </a:tc>
                <a:tc>
                  <a:txBody>
                    <a:bodyPr/>
                    <a:lstStyle/>
                    <a:p>
                      <a:pPr marL="171450" indent="-171450">
                        <a:buFont typeface="Arial" panose="020B0604020202020204" pitchFamily="34" charset="0"/>
                        <a:buChar char="•"/>
                      </a:pPr>
                      <a:r>
                        <a:rPr lang="es-ES" sz="1200" dirty="0"/>
                        <a:t>Equipo de grabación en las aulas</a:t>
                      </a:r>
                    </a:p>
                  </a:txBody>
                  <a:tcPr>
                    <a:gradFill flip="none" rotWithShape="1">
                      <a:gsLst>
                        <a:gs pos="0">
                          <a:schemeClr val="accent5">
                            <a:lumMod val="5000"/>
                            <a:lumOff val="95000"/>
                          </a:schemeClr>
                        </a:gs>
                        <a:gs pos="74000">
                          <a:schemeClr val="accent5">
                            <a:lumMod val="45000"/>
                            <a:lumOff val="55000"/>
                          </a:schemeClr>
                        </a:gs>
                        <a:gs pos="83000">
                          <a:schemeClr val="accent5">
                            <a:lumMod val="45000"/>
                            <a:lumOff val="55000"/>
                          </a:schemeClr>
                        </a:gs>
                        <a:gs pos="100000">
                          <a:schemeClr val="accent5">
                            <a:lumMod val="30000"/>
                            <a:lumOff val="70000"/>
                          </a:schemeClr>
                        </a:gs>
                      </a:gsLst>
                      <a:lin ang="5400000" scaled="1"/>
                      <a:tileRect/>
                    </a:gra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200" dirty="0"/>
                        <a:t>Equipo de grabación en las aula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200" dirty="0"/>
                        <a:t>Soluciones de ferias</a:t>
                      </a:r>
                      <a:r>
                        <a:rPr lang="es-ES" sz="1200" baseline="0" dirty="0"/>
                        <a:t> virtuales </a:t>
                      </a:r>
                      <a:endParaRPr lang="es-ES" sz="1200" dirty="0"/>
                    </a:p>
                  </a:txBody>
                  <a:tcPr>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200" dirty="0"/>
                        <a:t>Equipo de grabación en las aula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200" dirty="0"/>
                        <a:t>Soluciones de ferias</a:t>
                      </a:r>
                      <a:r>
                        <a:rPr lang="es-ES" sz="1200" baseline="0" dirty="0"/>
                        <a:t> virtuales </a:t>
                      </a:r>
                      <a:endParaRPr lang="es-ES" sz="1200" dirty="0"/>
                    </a:p>
                  </a:txBody>
                  <a:tcPr>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tcPr>
                </a:tc>
                <a:extLst>
                  <a:ext uri="{0D108BD9-81ED-4DB2-BD59-A6C34878D82A}">
                    <a16:rowId xmlns:a16="http://schemas.microsoft.com/office/drawing/2014/main" val="2092612188"/>
                  </a:ext>
                </a:extLst>
              </a:tr>
              <a:tr h="1554480">
                <a:tc>
                  <a:txBody>
                    <a:bodyPr/>
                    <a:lstStyle/>
                    <a:p>
                      <a:pPr algn="ctr"/>
                      <a:r>
                        <a:rPr lang="es-ES" sz="1200" b="1" dirty="0"/>
                        <a:t>DISTRIBUIR INFORMACIÓN Y CONOCIMIENTO</a:t>
                      </a:r>
                    </a:p>
                  </a:txBody>
                  <a:tcPr anchor="ctr"/>
                </a:tc>
                <a:tc>
                  <a:txBody>
                    <a:bodyPr/>
                    <a:lstStyle/>
                    <a:p>
                      <a:pPr marL="171450" indent="-171450">
                        <a:buFont typeface="Arial" panose="020B0604020202020204" pitchFamily="34" charset="0"/>
                        <a:buChar char="•"/>
                      </a:pPr>
                      <a:r>
                        <a:rPr lang="es-ES" sz="1200" dirty="0"/>
                        <a:t>Herramientas de colaboración (Google </a:t>
                      </a:r>
                      <a:r>
                        <a:rPr lang="es-ES" sz="1200" dirty="0" err="1"/>
                        <a:t>classroom</a:t>
                      </a:r>
                      <a:r>
                        <a:rPr lang="es-ES" sz="1200" dirty="0"/>
                        <a:t>, </a:t>
                      </a:r>
                      <a:r>
                        <a:rPr lang="es-ES" sz="1200" dirty="0" err="1"/>
                        <a:t>Teams</a:t>
                      </a:r>
                      <a:r>
                        <a:rPr lang="es-ES" sz="1200" dirty="0"/>
                        <a:t>)</a:t>
                      </a:r>
                    </a:p>
                  </a:txBody>
                  <a:tcPr>
                    <a:gradFill flip="none" rotWithShape="1">
                      <a:gsLst>
                        <a:gs pos="0">
                          <a:schemeClr val="accent5">
                            <a:lumMod val="5000"/>
                            <a:lumOff val="95000"/>
                          </a:schemeClr>
                        </a:gs>
                        <a:gs pos="74000">
                          <a:schemeClr val="accent5">
                            <a:lumMod val="45000"/>
                            <a:lumOff val="55000"/>
                          </a:schemeClr>
                        </a:gs>
                        <a:gs pos="83000">
                          <a:schemeClr val="accent5">
                            <a:lumMod val="45000"/>
                            <a:lumOff val="55000"/>
                          </a:schemeClr>
                        </a:gs>
                        <a:gs pos="100000">
                          <a:schemeClr val="accent5">
                            <a:lumMod val="30000"/>
                            <a:lumOff val="70000"/>
                          </a:schemeClr>
                        </a:gs>
                      </a:gsLst>
                      <a:lin ang="5400000" scaled="1"/>
                      <a:tileRect/>
                    </a:gra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200" dirty="0"/>
                        <a:t>Herramientas de colaboración (Google </a:t>
                      </a:r>
                      <a:r>
                        <a:rPr lang="es-ES" sz="1200" dirty="0" err="1"/>
                        <a:t>classroom</a:t>
                      </a:r>
                      <a:r>
                        <a:rPr lang="es-ES" sz="1200" dirty="0"/>
                        <a:t>, </a:t>
                      </a:r>
                      <a:r>
                        <a:rPr lang="es-ES" sz="1200" dirty="0" err="1"/>
                        <a:t>Teams</a:t>
                      </a:r>
                      <a:r>
                        <a:rPr lang="es-ES" sz="1200" dirty="0"/>
                        <a:t>)</a:t>
                      </a:r>
                    </a:p>
                    <a:p>
                      <a:pPr marL="171450" indent="-171450">
                        <a:buFont typeface="Arial" panose="020B0604020202020204" pitchFamily="34" charset="0"/>
                        <a:buChar char="•"/>
                      </a:pPr>
                      <a:r>
                        <a:rPr lang="es-ES" sz="1200" dirty="0"/>
                        <a:t>Plataforma de e-learning</a:t>
                      </a:r>
                    </a:p>
                    <a:p>
                      <a:pPr marL="171450" indent="-171450">
                        <a:buFont typeface="Arial" panose="020B0604020202020204" pitchFamily="34" charset="0"/>
                        <a:buChar char="•"/>
                      </a:pPr>
                      <a:r>
                        <a:rPr lang="es-ES" sz="1200" dirty="0"/>
                        <a:t>Biblioteca virtual</a:t>
                      </a:r>
                    </a:p>
                  </a:txBody>
                  <a:tcPr>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200" dirty="0"/>
                        <a:t>Herramientas de colaboración (Google </a:t>
                      </a:r>
                      <a:r>
                        <a:rPr lang="es-ES" sz="1200" dirty="0" err="1"/>
                        <a:t>classroom</a:t>
                      </a:r>
                      <a:r>
                        <a:rPr lang="es-ES" sz="1200" dirty="0"/>
                        <a:t>, </a:t>
                      </a:r>
                      <a:r>
                        <a:rPr lang="es-ES" sz="1200" dirty="0" err="1"/>
                        <a:t>Teams</a:t>
                      </a:r>
                      <a:r>
                        <a:rPr lang="es-ES" sz="1200" dirty="0"/>
                        <a:t>)</a:t>
                      </a:r>
                    </a:p>
                    <a:p>
                      <a:pPr marL="171450" indent="-171450">
                        <a:buFont typeface="Arial" panose="020B0604020202020204" pitchFamily="34" charset="0"/>
                        <a:buChar char="•"/>
                      </a:pPr>
                      <a:r>
                        <a:rPr lang="es-ES" sz="1200" dirty="0"/>
                        <a:t>Plataforma de e-learning</a:t>
                      </a:r>
                    </a:p>
                    <a:p>
                      <a:pPr marL="171450" indent="-171450">
                        <a:buFont typeface="Arial" panose="020B0604020202020204" pitchFamily="34" charset="0"/>
                        <a:buChar char="•"/>
                      </a:pPr>
                      <a:r>
                        <a:rPr lang="es-ES" sz="1200" dirty="0"/>
                        <a:t>Biblioteca virtu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200" dirty="0"/>
                        <a:t>Solución</a:t>
                      </a:r>
                      <a:r>
                        <a:rPr lang="es-ES" sz="1200" baseline="0" dirty="0"/>
                        <a:t> plataforma de gestión de contenido multisectorial con hiper segmentación con acceso a eventos Virtuales y salas de reuniones</a:t>
                      </a:r>
                      <a:endParaRPr lang="es-ES" sz="1200" dirty="0"/>
                    </a:p>
                  </a:txBody>
                  <a:tcPr>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tcPr>
                </a:tc>
                <a:extLst>
                  <a:ext uri="{0D108BD9-81ED-4DB2-BD59-A6C34878D82A}">
                    <a16:rowId xmlns:a16="http://schemas.microsoft.com/office/drawing/2014/main" val="2416703939"/>
                  </a:ext>
                </a:extLst>
              </a:tr>
              <a:tr h="822960">
                <a:tc>
                  <a:txBody>
                    <a:bodyPr/>
                    <a:lstStyle/>
                    <a:p>
                      <a:pPr algn="ctr"/>
                      <a:r>
                        <a:rPr lang="es-ES" sz="1200" b="1" dirty="0"/>
                        <a:t>PRACTICAR Y EXPERIMENTAR</a:t>
                      </a:r>
                    </a:p>
                    <a:p>
                      <a:pPr algn="ctr"/>
                      <a:r>
                        <a:rPr lang="es-ES" sz="1200" b="1" dirty="0"/>
                        <a:t>( simuladores…)</a:t>
                      </a:r>
                    </a:p>
                  </a:txBody>
                  <a:tcPr anchor="ctr"/>
                </a:tc>
                <a:tc>
                  <a:txBody>
                    <a:bodyPr/>
                    <a:lstStyle/>
                    <a:p>
                      <a:pPr marL="171450" indent="-171450">
                        <a:buFont typeface="Arial" panose="020B0604020202020204" pitchFamily="34" charset="0"/>
                        <a:buChar char="•"/>
                      </a:pPr>
                      <a:endParaRPr lang="es-ES" sz="1200" dirty="0"/>
                    </a:p>
                  </a:txBody>
                  <a:tcPr>
                    <a:gradFill flip="none" rotWithShape="1">
                      <a:gsLst>
                        <a:gs pos="0">
                          <a:schemeClr val="accent5">
                            <a:lumMod val="5000"/>
                            <a:lumOff val="95000"/>
                          </a:schemeClr>
                        </a:gs>
                        <a:gs pos="74000">
                          <a:schemeClr val="accent5">
                            <a:lumMod val="45000"/>
                            <a:lumOff val="55000"/>
                          </a:schemeClr>
                        </a:gs>
                        <a:gs pos="83000">
                          <a:schemeClr val="accent5">
                            <a:lumMod val="45000"/>
                            <a:lumOff val="55000"/>
                          </a:schemeClr>
                        </a:gs>
                        <a:gs pos="100000">
                          <a:schemeClr val="accent5">
                            <a:lumMod val="30000"/>
                            <a:lumOff val="70000"/>
                          </a:schemeClr>
                        </a:gs>
                      </a:gsLst>
                      <a:lin ang="5400000" scaled="1"/>
                      <a:tileRect/>
                    </a:gra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200" dirty="0"/>
                        <a:t>Aulas Virtua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200" dirty="0"/>
                        <a:t>Aulas</a:t>
                      </a:r>
                      <a:r>
                        <a:rPr lang="es-ES" sz="1200" baseline="0" dirty="0"/>
                        <a:t> con</a:t>
                      </a:r>
                      <a:r>
                        <a:rPr lang="es-ES" sz="1200" dirty="0"/>
                        <a:t> experiencias de Realidad Virtu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200" dirty="0"/>
                        <a:t>Aplicaciones de Realidad Aumentada </a:t>
                      </a:r>
                    </a:p>
                  </a:txBody>
                  <a:tcPr>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200" dirty="0"/>
                        <a:t>Aulas Virtua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200" dirty="0"/>
                        <a:t>Aulas</a:t>
                      </a:r>
                      <a:r>
                        <a:rPr lang="es-ES" sz="1200" baseline="0" dirty="0"/>
                        <a:t> con</a:t>
                      </a:r>
                      <a:r>
                        <a:rPr lang="es-ES" sz="1200" dirty="0"/>
                        <a:t> experiencias de Realidad Virtu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200" dirty="0"/>
                        <a:t>Aplicaciones de Realidad Aumentada </a:t>
                      </a:r>
                    </a:p>
                  </a:txBody>
                  <a:tcPr>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tcPr>
                </a:tc>
                <a:extLst>
                  <a:ext uri="{0D108BD9-81ED-4DB2-BD59-A6C34878D82A}">
                    <a16:rowId xmlns:a16="http://schemas.microsoft.com/office/drawing/2014/main" val="2502002036"/>
                  </a:ext>
                </a:extLst>
              </a:tr>
              <a:tr h="640080">
                <a:tc>
                  <a:txBody>
                    <a:bodyPr/>
                    <a:lstStyle/>
                    <a:p>
                      <a:pPr algn="ctr"/>
                      <a:r>
                        <a:rPr lang="es-ES" sz="1200" b="1" dirty="0"/>
                        <a:t>HACER SEGUIMIENTO INDIVIDUAL Y COLECTIVO</a:t>
                      </a:r>
                    </a:p>
                  </a:txBody>
                  <a:tcPr anchor="ctr"/>
                </a:tc>
                <a:tc>
                  <a:txBody>
                    <a:bodyPr/>
                    <a:lstStyle/>
                    <a:p>
                      <a:pPr marL="171450" indent="-171450">
                        <a:buFont typeface="Arial" panose="020B0604020202020204" pitchFamily="34" charset="0"/>
                        <a:buChar char="•"/>
                      </a:pPr>
                      <a:endParaRPr lang="es-ES" sz="1200" dirty="0"/>
                    </a:p>
                  </a:txBody>
                  <a:tcPr>
                    <a:gradFill flip="none" rotWithShape="1">
                      <a:gsLst>
                        <a:gs pos="0">
                          <a:schemeClr val="accent5">
                            <a:lumMod val="5000"/>
                            <a:lumOff val="95000"/>
                          </a:schemeClr>
                        </a:gs>
                        <a:gs pos="74000">
                          <a:schemeClr val="accent5">
                            <a:lumMod val="45000"/>
                            <a:lumOff val="55000"/>
                          </a:schemeClr>
                        </a:gs>
                        <a:gs pos="83000">
                          <a:schemeClr val="accent5">
                            <a:lumMod val="45000"/>
                            <a:lumOff val="55000"/>
                          </a:schemeClr>
                        </a:gs>
                        <a:gs pos="100000">
                          <a:schemeClr val="accent5">
                            <a:lumMod val="30000"/>
                            <a:lumOff val="70000"/>
                          </a:schemeClr>
                        </a:gs>
                      </a:gsLst>
                      <a:lin ang="5400000" scaled="1"/>
                      <a:tileRect/>
                    </a:gradFill>
                  </a:tcPr>
                </a:tc>
                <a:tc>
                  <a:txBody>
                    <a:bodyPr/>
                    <a:lstStyle/>
                    <a:p>
                      <a:pPr marL="171450" indent="-171450">
                        <a:buFont typeface="Arial" panose="020B0604020202020204" pitchFamily="34" charset="0"/>
                        <a:buChar char="•"/>
                      </a:pPr>
                      <a:endParaRPr lang="es-ES" sz="1200" dirty="0"/>
                    </a:p>
                  </a:txBody>
                  <a:tcPr>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tcPr>
                </a:tc>
                <a:tc>
                  <a:txBody>
                    <a:bodyPr/>
                    <a:lstStyle/>
                    <a:p>
                      <a:pPr marL="171450" indent="-171450">
                        <a:buFont typeface="Arial" panose="020B0604020202020204" pitchFamily="34" charset="0"/>
                        <a:buChar char="•"/>
                      </a:pPr>
                      <a:endParaRPr lang="es-ES" sz="1200" dirty="0"/>
                    </a:p>
                  </a:txBody>
                  <a:tcPr>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tcPr>
                </a:tc>
                <a:extLst>
                  <a:ext uri="{0D108BD9-81ED-4DB2-BD59-A6C34878D82A}">
                    <a16:rowId xmlns:a16="http://schemas.microsoft.com/office/drawing/2014/main" val="473668624"/>
                  </a:ext>
                </a:extLst>
              </a:tr>
              <a:tr h="640080">
                <a:tc>
                  <a:txBody>
                    <a:bodyPr/>
                    <a:lstStyle/>
                    <a:p>
                      <a:pPr algn="ctr"/>
                      <a:r>
                        <a:rPr lang="es-ES" sz="1200" b="1" dirty="0"/>
                        <a:t>IMPLANTAR UN MODELO MOTIVACIONAL (</a:t>
                      </a:r>
                      <a:r>
                        <a:rPr lang="es-ES" sz="1200" b="1" dirty="0" err="1"/>
                        <a:t>GAMIFICAR</a:t>
                      </a:r>
                      <a:r>
                        <a:rPr lang="es-ES" sz="1200" b="1" dirty="0"/>
                        <a:t>)</a:t>
                      </a:r>
                    </a:p>
                  </a:txBody>
                  <a:tcPr anchor="ctr"/>
                </a:tc>
                <a:tc>
                  <a:txBody>
                    <a:bodyPr/>
                    <a:lstStyle/>
                    <a:p>
                      <a:pPr marL="171450" indent="-171450">
                        <a:buFont typeface="Arial" panose="020B0604020202020204" pitchFamily="34" charset="0"/>
                        <a:buChar char="•"/>
                      </a:pPr>
                      <a:endParaRPr lang="es-ES" sz="1200" dirty="0"/>
                    </a:p>
                  </a:txBody>
                  <a:tcPr>
                    <a:gradFill flip="none" rotWithShape="1">
                      <a:gsLst>
                        <a:gs pos="0">
                          <a:schemeClr val="accent5">
                            <a:lumMod val="5000"/>
                            <a:lumOff val="95000"/>
                          </a:schemeClr>
                        </a:gs>
                        <a:gs pos="74000">
                          <a:schemeClr val="accent5">
                            <a:lumMod val="45000"/>
                            <a:lumOff val="55000"/>
                          </a:schemeClr>
                        </a:gs>
                        <a:gs pos="83000">
                          <a:schemeClr val="accent5">
                            <a:lumMod val="45000"/>
                            <a:lumOff val="55000"/>
                          </a:schemeClr>
                        </a:gs>
                        <a:gs pos="100000">
                          <a:schemeClr val="accent5">
                            <a:lumMod val="30000"/>
                            <a:lumOff val="70000"/>
                          </a:schemeClr>
                        </a:gs>
                      </a:gsLst>
                      <a:lin ang="5400000" scaled="1"/>
                      <a:tileRect/>
                    </a:gradFill>
                  </a:tcPr>
                </a:tc>
                <a:tc>
                  <a:txBody>
                    <a:bodyPr/>
                    <a:lstStyle/>
                    <a:p>
                      <a:pPr marL="171450" indent="-171450">
                        <a:buFont typeface="Arial" panose="020B0604020202020204" pitchFamily="34" charset="0"/>
                        <a:buChar char="•"/>
                      </a:pPr>
                      <a:endParaRPr lang="es-ES" sz="1200" dirty="0"/>
                    </a:p>
                  </a:txBody>
                  <a:tcPr>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tcPr>
                </a:tc>
                <a:tc>
                  <a:txBody>
                    <a:bodyPr/>
                    <a:lstStyle/>
                    <a:p>
                      <a:pPr marL="171450" indent="-171450">
                        <a:buFont typeface="Arial" panose="020B0604020202020204" pitchFamily="34" charset="0"/>
                        <a:buChar char="•"/>
                      </a:pPr>
                      <a:r>
                        <a:rPr lang="es-ES" sz="1200" dirty="0"/>
                        <a:t>Plataforma Youth4goog, </a:t>
                      </a:r>
                      <a:r>
                        <a:rPr lang="es-ES" sz="1200" dirty="0" err="1"/>
                        <a:t>Digicraft</a:t>
                      </a:r>
                      <a:endParaRPr lang="es-ES" sz="1200" dirty="0"/>
                    </a:p>
                    <a:p>
                      <a:pPr marL="171450" indent="-171450">
                        <a:buFont typeface="Arial" panose="020B0604020202020204" pitchFamily="34" charset="0"/>
                        <a:buChar char="•"/>
                      </a:pPr>
                      <a:r>
                        <a:rPr lang="es-ES" sz="1200" dirty="0"/>
                        <a:t>Sesiones de Metodologías Agiles,</a:t>
                      </a:r>
                      <a:r>
                        <a:rPr lang="es-ES" sz="1200" baseline="0" dirty="0"/>
                        <a:t> </a:t>
                      </a:r>
                      <a:r>
                        <a:rPr lang="es-ES" sz="1200" baseline="0" dirty="0" err="1"/>
                        <a:t>Design</a:t>
                      </a:r>
                      <a:r>
                        <a:rPr lang="es-ES" sz="1200" baseline="0" dirty="0"/>
                        <a:t> </a:t>
                      </a:r>
                      <a:r>
                        <a:rPr lang="es-ES" sz="1200" baseline="0" dirty="0" err="1"/>
                        <a:t>Thinking</a:t>
                      </a:r>
                      <a:endParaRPr lang="es-ES" sz="1200" dirty="0"/>
                    </a:p>
                  </a:txBody>
                  <a:tcPr>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tcPr>
                </a:tc>
                <a:extLst>
                  <a:ext uri="{0D108BD9-81ED-4DB2-BD59-A6C34878D82A}">
                    <a16:rowId xmlns:a16="http://schemas.microsoft.com/office/drawing/2014/main" val="880676609"/>
                  </a:ext>
                </a:extLst>
              </a:tr>
            </a:tbl>
          </a:graphicData>
        </a:graphic>
      </p:graphicFrame>
      <p:pic>
        <p:nvPicPr>
          <p:cNvPr id="3" name="Imagen 2" descr="Imagen que contiene Icono&#10;&#10;Descripción generada automáticamente">
            <a:extLst>
              <a:ext uri="{FF2B5EF4-FFF2-40B4-BE49-F238E27FC236}">
                <a16:creationId xmlns:a16="http://schemas.microsoft.com/office/drawing/2014/main" id="{AAA70578-286F-5847-8552-D5354E5690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432" y="49278"/>
            <a:ext cx="524933" cy="601133"/>
          </a:xfrm>
          <a:prstGeom prst="rect">
            <a:avLst/>
          </a:prstGeom>
        </p:spPr>
      </p:pic>
      <p:sp>
        <p:nvSpPr>
          <p:cNvPr id="5" name="CuadroTexto 4">
            <a:extLst>
              <a:ext uri="{FF2B5EF4-FFF2-40B4-BE49-F238E27FC236}">
                <a16:creationId xmlns:a16="http://schemas.microsoft.com/office/drawing/2014/main" id="{AA1DC803-A6F2-CF40-821B-230BB1ABD0DF}"/>
              </a:ext>
            </a:extLst>
          </p:cNvPr>
          <p:cNvSpPr txBox="1"/>
          <p:nvPr/>
        </p:nvSpPr>
        <p:spPr>
          <a:xfrm>
            <a:off x="1113219" y="195957"/>
            <a:ext cx="2946400" cy="338554"/>
          </a:xfrm>
          <a:prstGeom prst="rect">
            <a:avLst/>
          </a:prstGeom>
          <a:noFill/>
        </p:spPr>
        <p:txBody>
          <a:bodyPr wrap="square" rtlCol="0">
            <a:spAutoFit/>
          </a:bodyPr>
          <a:lstStyle/>
          <a:p>
            <a:r>
              <a:rPr lang="es-ES" sz="1600" dirty="0"/>
              <a:t>Vodafone</a:t>
            </a:r>
          </a:p>
        </p:txBody>
      </p:sp>
      <p:sp>
        <p:nvSpPr>
          <p:cNvPr id="6" name="Marcador de número de diapositiva 1"/>
          <p:cNvSpPr>
            <a:spLocks noGrp="1"/>
          </p:cNvSpPr>
          <p:nvPr>
            <p:ph type="sldNum" sz="quarter" idx="12"/>
          </p:nvPr>
        </p:nvSpPr>
        <p:spPr>
          <a:xfrm>
            <a:off x="11777051" y="6458134"/>
            <a:ext cx="487378" cy="481343"/>
          </a:xfrm>
        </p:spPr>
        <p:txBody>
          <a:bodyPr/>
          <a:lstStyle/>
          <a:p>
            <a:r>
              <a:rPr lang="en-US" sz="2000" dirty="0" smtClean="0"/>
              <a:t>44</a:t>
            </a:r>
            <a:endParaRPr lang="en-US" sz="2000" dirty="0"/>
          </a:p>
        </p:txBody>
      </p:sp>
    </p:spTree>
    <p:extLst>
      <p:ext uri="{BB962C8B-B14F-4D97-AF65-F5344CB8AC3E}">
        <p14:creationId xmlns:p14="http://schemas.microsoft.com/office/powerpoint/2010/main" val="423570005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3" name="标题 5"/>
          <p:cNvSpPr txBox="1">
            <a:spLocks/>
          </p:cNvSpPr>
          <p:nvPr/>
        </p:nvSpPr>
        <p:spPr>
          <a:xfrm>
            <a:off x="2531214" y="1623110"/>
            <a:ext cx="6972262" cy="644695"/>
          </a:xfrm>
          <a:prstGeom prst="rect">
            <a:avLst/>
          </a:prstGeom>
          <a:noFill/>
        </p:spPr>
        <p:txBody>
          <a:bodyPr vert="horz" wrap="square" lIns="121860" tIns="60930" rIns="121860" bIns="60930" rtlCol="0" anchor="t" anchorCtr="0">
            <a:noAutofit/>
          </a:bodyPr>
          <a:lstStyle>
            <a:lvl1pPr fontAlgn="ctr">
              <a:lnSpc>
                <a:spcPct val="100000"/>
              </a:lnSpc>
              <a:spcBef>
                <a:spcPct val="0"/>
              </a:spcBef>
              <a:buNone/>
              <a:defRPr kumimoji="1" sz="2200" b="0">
                <a:solidFill>
                  <a:schemeClr val="bg1"/>
                </a:solidFill>
                <a:latin typeface="Calibri" panose="020F0502020204030204" pitchFamily="34" charset="0"/>
                <a:cs typeface="Arial" pitchFamily="34" charset="0"/>
              </a:defRPr>
            </a:lvl1pPr>
          </a:lstStyle>
          <a:p>
            <a:pPr algn="ctr"/>
            <a:r>
              <a:rPr lang="en-US" altLang="zh-CN" sz="4400" dirty="0" err="1">
                <a:latin typeface="Arial" panose="020B0604020202020204" pitchFamily="34" charset="0"/>
              </a:rPr>
              <a:t>Visión</a:t>
            </a:r>
            <a:r>
              <a:rPr lang="en-US" altLang="zh-CN" sz="4400" dirty="0">
                <a:latin typeface="Arial" panose="020B0604020202020204" pitchFamily="34" charset="0"/>
              </a:rPr>
              <a:t> y Estrategia de Huawei en la Educación</a:t>
            </a:r>
            <a:endParaRPr lang="zh-CN" altLang="en-US" sz="4400" dirty="0">
              <a:latin typeface="Arial" panose="020B0604020202020204" pitchFamily="34" charset="0"/>
            </a:endParaRPr>
          </a:p>
        </p:txBody>
      </p:sp>
      <p:pic>
        <p:nvPicPr>
          <p:cNvPr id="4" name="Imagen 3">
            <a:extLst>
              <a:ext uri="{FF2B5EF4-FFF2-40B4-BE49-F238E27FC236}">
                <a16:creationId xmlns:a16="http://schemas.microsoft.com/office/drawing/2014/main" id="{B8778AF1-A5E5-6D4E-B50E-F73E4E88E93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3317" y="1550361"/>
            <a:ext cx="1459578" cy="624462"/>
          </a:xfrm>
          <a:prstGeom prst="rect">
            <a:avLst/>
          </a:prstGeom>
        </p:spPr>
      </p:pic>
      <p:sp>
        <p:nvSpPr>
          <p:cNvPr id="5" name="Marcador de número de diapositiva 1"/>
          <p:cNvSpPr>
            <a:spLocks noGrp="1"/>
          </p:cNvSpPr>
          <p:nvPr>
            <p:ph type="sldNum" sz="quarter" idx="12"/>
          </p:nvPr>
        </p:nvSpPr>
        <p:spPr>
          <a:xfrm>
            <a:off x="11777051" y="6458134"/>
            <a:ext cx="487378" cy="481343"/>
          </a:xfrm>
        </p:spPr>
        <p:txBody>
          <a:bodyPr/>
          <a:lstStyle/>
          <a:p>
            <a:r>
              <a:rPr lang="en-US" sz="2000" dirty="0" smtClean="0"/>
              <a:t>45</a:t>
            </a:r>
            <a:endParaRPr lang="en-US" sz="2000" dirty="0"/>
          </a:p>
        </p:txBody>
      </p:sp>
    </p:spTree>
    <p:extLst>
      <p:ext uri="{BB962C8B-B14F-4D97-AF65-F5344CB8AC3E}">
        <p14:creationId xmlns:p14="http://schemas.microsoft.com/office/powerpoint/2010/main" val="375359494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8" name="圆角矩形 433"/>
          <p:cNvSpPr/>
          <p:nvPr/>
        </p:nvSpPr>
        <p:spPr>
          <a:xfrm>
            <a:off x="778299" y="2235492"/>
            <a:ext cx="3410416" cy="2835481"/>
          </a:xfrm>
          <a:prstGeom prst="roundRect">
            <a:avLst>
              <a:gd name="adj" fmla="val 1791"/>
            </a:avLst>
          </a:prstGeom>
          <a:solidFill>
            <a:schemeClr val="bg1">
              <a:lumMod val="95000"/>
              <a:lumOff val="5000"/>
              <a:alpha val="32941"/>
            </a:schemeClr>
          </a:solidFill>
          <a:ln w="3175" cap="flat" cmpd="sng" algn="ctr">
            <a:noFill/>
            <a:prstDash val="solid"/>
            <a:round/>
            <a:headEnd type="none" w="med" len="med"/>
            <a:tailEnd type="none" w="med" len="med"/>
          </a:ln>
          <a:effectLst/>
          <a:scene3d>
            <a:camera prst="orthographicFront"/>
            <a:lightRig rig="flat" dir="t"/>
          </a:scene3d>
        </p:spPr>
        <p:txBody>
          <a:bodyPr lIns="82093" tIns="41047" rIns="82093" bIns="41047" rtlCol="0" anchor="ctr">
            <a:noAutofit/>
          </a:bodyPr>
          <a:lstStyle/>
          <a:p>
            <a:endParaRPr sz="1400">
              <a:effectLst>
                <a:outerShdw blurRad="38100" dist="38100" dir="2700000" algn="tl">
                  <a:srgbClr val="000000">
                    <a:alpha val="43137"/>
                  </a:srgbClr>
                </a:outerShdw>
              </a:effectLst>
              <a:latin typeface="+mj-lt"/>
              <a:cs typeface="Arial" pitchFamily="34" charset="0"/>
            </a:endParaRPr>
          </a:p>
        </p:txBody>
      </p:sp>
      <p:sp>
        <p:nvSpPr>
          <p:cNvPr id="177" name="圆角矩形 433"/>
          <p:cNvSpPr/>
          <p:nvPr/>
        </p:nvSpPr>
        <p:spPr>
          <a:xfrm>
            <a:off x="4540606" y="2253345"/>
            <a:ext cx="3212101" cy="3063083"/>
          </a:xfrm>
          <a:prstGeom prst="roundRect">
            <a:avLst>
              <a:gd name="adj" fmla="val 1791"/>
            </a:avLst>
          </a:prstGeom>
          <a:solidFill>
            <a:schemeClr val="bg1">
              <a:lumMod val="95000"/>
              <a:lumOff val="5000"/>
              <a:alpha val="32941"/>
            </a:schemeClr>
          </a:solidFill>
          <a:ln w="3175" cap="flat" cmpd="sng" algn="ctr">
            <a:noFill/>
            <a:prstDash val="solid"/>
            <a:round/>
            <a:headEnd type="none" w="med" len="med"/>
            <a:tailEnd type="none" w="med" len="med"/>
          </a:ln>
          <a:effectLst/>
          <a:scene3d>
            <a:camera prst="orthographicFront"/>
            <a:lightRig rig="flat" dir="t"/>
          </a:scene3d>
        </p:spPr>
        <p:txBody>
          <a:bodyPr lIns="82093" tIns="41047" rIns="82093" bIns="41047" rtlCol="0" anchor="ctr">
            <a:noAutofit/>
          </a:bodyPr>
          <a:lstStyle/>
          <a:p>
            <a:endParaRPr sz="1400">
              <a:effectLst>
                <a:outerShdw blurRad="38100" dist="38100" dir="2700000" algn="tl">
                  <a:srgbClr val="000000">
                    <a:alpha val="43137"/>
                  </a:srgbClr>
                </a:outerShdw>
              </a:effectLst>
              <a:latin typeface="+mj-lt"/>
              <a:cs typeface="Arial" pitchFamily="34" charset="0"/>
            </a:endParaRPr>
          </a:p>
        </p:txBody>
      </p:sp>
      <p:grpSp>
        <p:nvGrpSpPr>
          <p:cNvPr id="294" name="组合 293"/>
          <p:cNvGrpSpPr/>
          <p:nvPr/>
        </p:nvGrpSpPr>
        <p:grpSpPr>
          <a:xfrm>
            <a:off x="874788" y="3748597"/>
            <a:ext cx="3279104" cy="286133"/>
            <a:chOff x="3625947" y="3891334"/>
            <a:chExt cx="6758940" cy="680042"/>
          </a:xfrm>
        </p:grpSpPr>
        <p:sp>
          <p:nvSpPr>
            <p:cNvPr id="295" name="梯形 294"/>
            <p:cNvSpPr/>
            <p:nvPr/>
          </p:nvSpPr>
          <p:spPr>
            <a:xfrm>
              <a:off x="3625947" y="3968245"/>
              <a:ext cx="6758940" cy="603131"/>
            </a:xfrm>
            <a:prstGeom prst="trapezoid">
              <a:avLst>
                <a:gd name="adj" fmla="val 177299"/>
              </a:avLst>
            </a:prstGeom>
            <a:gradFill flip="none" rotWithShape="1">
              <a:gsLst>
                <a:gs pos="0">
                  <a:srgbClr val="00B0F0">
                    <a:alpha val="14000"/>
                  </a:srgbClr>
                </a:gs>
                <a:gs pos="21000">
                  <a:srgbClr val="00B0F0">
                    <a:alpha val="12000"/>
                  </a:srgbClr>
                </a:gs>
                <a:gs pos="44000">
                  <a:srgbClr val="00B0F0">
                    <a:alpha val="13000"/>
                  </a:srgbClr>
                </a:gs>
                <a:gs pos="100000">
                  <a:srgbClr val="1F3267">
                    <a:alpha val="0"/>
                  </a:srgbClr>
                </a:gs>
              </a:gsLst>
              <a:lin ang="16200000" scaled="1"/>
              <a:tileRect/>
            </a:gradFill>
            <a:ln w="3175" cap="flat" cmpd="sng" algn="ctr">
              <a:gradFill flip="none" rotWithShape="1">
                <a:gsLst>
                  <a:gs pos="0">
                    <a:schemeClr val="accent5">
                      <a:lumMod val="75000"/>
                    </a:schemeClr>
                  </a:gs>
                  <a:gs pos="100000">
                    <a:schemeClr val="accent1">
                      <a:tint val="23500"/>
                      <a:satMod val="160000"/>
                      <a:alpha val="0"/>
                    </a:schemeClr>
                  </a:gs>
                </a:gsLst>
                <a:lin ang="16200000" scaled="1"/>
                <a:tileRect/>
              </a:gradFill>
              <a:prstDash val="solid"/>
              <a:round/>
              <a:headEnd type="none" w="med" len="med"/>
              <a:tailEnd type="none" w="med" len="med"/>
            </a:ln>
            <a:effectLst/>
            <a:scene3d>
              <a:camera prst="orthographicFront"/>
              <a:lightRig rig="flat" dir="t"/>
            </a:scene3d>
          </p:spPr>
          <p:txBody>
            <a:bodyPr lIns="91428" tIns="45714" rIns="91428" bIns="45714" rtlCol="0" anchor="ctr">
              <a:noAutofit/>
            </a:bodyPr>
            <a:lstStyle/>
            <a:p>
              <a:endParaRPr lang="zh-CN" altLang="en-US">
                <a:effectLst>
                  <a:outerShdw blurRad="38100" dist="38100" dir="2700000" algn="tl">
                    <a:srgbClr val="000000">
                      <a:alpha val="43137"/>
                    </a:srgbClr>
                  </a:outerShdw>
                </a:effectLst>
                <a:latin typeface="+mj-lt"/>
              </a:endParaRPr>
            </a:p>
          </p:txBody>
        </p:sp>
        <p:sp>
          <p:nvSpPr>
            <p:cNvPr id="296" name="梯形 295"/>
            <p:cNvSpPr/>
            <p:nvPr/>
          </p:nvSpPr>
          <p:spPr>
            <a:xfrm>
              <a:off x="3625947" y="3891334"/>
              <a:ext cx="6758940" cy="603131"/>
            </a:xfrm>
            <a:prstGeom prst="trapezoid">
              <a:avLst>
                <a:gd name="adj" fmla="val 177299"/>
              </a:avLst>
            </a:prstGeom>
            <a:gradFill flip="none" rotWithShape="1">
              <a:gsLst>
                <a:gs pos="0">
                  <a:srgbClr val="00B0F0">
                    <a:alpha val="14000"/>
                  </a:srgbClr>
                </a:gs>
                <a:gs pos="21000">
                  <a:srgbClr val="00B0F0">
                    <a:alpha val="12000"/>
                  </a:srgbClr>
                </a:gs>
                <a:gs pos="44000">
                  <a:srgbClr val="00B0F0">
                    <a:alpha val="13000"/>
                  </a:srgbClr>
                </a:gs>
                <a:gs pos="100000">
                  <a:srgbClr val="1F3267">
                    <a:alpha val="0"/>
                  </a:srgbClr>
                </a:gs>
              </a:gsLst>
              <a:lin ang="16200000" scaled="1"/>
              <a:tileRect/>
            </a:gradFill>
            <a:ln w="3175" cap="flat" cmpd="sng" algn="ctr">
              <a:gradFill flip="none" rotWithShape="1">
                <a:gsLst>
                  <a:gs pos="0">
                    <a:schemeClr val="accent5">
                      <a:lumMod val="75000"/>
                    </a:schemeClr>
                  </a:gs>
                  <a:gs pos="100000">
                    <a:schemeClr val="accent1">
                      <a:tint val="23500"/>
                      <a:satMod val="160000"/>
                      <a:alpha val="0"/>
                    </a:schemeClr>
                  </a:gs>
                </a:gsLst>
                <a:lin ang="16200000" scaled="1"/>
                <a:tileRect/>
              </a:gradFill>
              <a:prstDash val="solid"/>
              <a:round/>
              <a:headEnd type="none" w="med" len="med"/>
              <a:tailEnd type="none" w="med" len="med"/>
            </a:ln>
            <a:effectLst/>
            <a:scene3d>
              <a:camera prst="orthographicFront"/>
              <a:lightRig rig="flat" dir="t"/>
            </a:scene3d>
          </p:spPr>
          <p:txBody>
            <a:bodyPr lIns="91428" tIns="45714" rIns="91428" bIns="45714" rtlCol="0" anchor="ctr">
              <a:noAutofit/>
            </a:bodyPr>
            <a:lstStyle/>
            <a:p>
              <a:endParaRPr lang="zh-CN" altLang="en-US">
                <a:effectLst>
                  <a:outerShdw blurRad="38100" dist="38100" dir="2700000" algn="tl">
                    <a:srgbClr val="000000">
                      <a:alpha val="43137"/>
                    </a:srgbClr>
                  </a:outerShdw>
                </a:effectLst>
                <a:latin typeface="+mj-lt"/>
              </a:endParaRPr>
            </a:p>
          </p:txBody>
        </p:sp>
      </p:grpSp>
      <p:grpSp>
        <p:nvGrpSpPr>
          <p:cNvPr id="290" name="组合 289"/>
          <p:cNvGrpSpPr/>
          <p:nvPr/>
        </p:nvGrpSpPr>
        <p:grpSpPr>
          <a:xfrm>
            <a:off x="292942" y="2864128"/>
            <a:ext cx="4031300" cy="286133"/>
            <a:chOff x="3625947" y="3891334"/>
            <a:chExt cx="6758940" cy="680042"/>
          </a:xfrm>
        </p:grpSpPr>
        <p:sp>
          <p:nvSpPr>
            <p:cNvPr id="291" name="梯形 290"/>
            <p:cNvSpPr/>
            <p:nvPr/>
          </p:nvSpPr>
          <p:spPr>
            <a:xfrm>
              <a:off x="3625947" y="3968245"/>
              <a:ext cx="6758940" cy="603131"/>
            </a:xfrm>
            <a:prstGeom prst="trapezoid">
              <a:avLst>
                <a:gd name="adj" fmla="val 177299"/>
              </a:avLst>
            </a:prstGeom>
            <a:gradFill flip="none" rotWithShape="1">
              <a:gsLst>
                <a:gs pos="0">
                  <a:srgbClr val="00B0F0">
                    <a:alpha val="14000"/>
                  </a:srgbClr>
                </a:gs>
                <a:gs pos="21000">
                  <a:srgbClr val="00B0F0">
                    <a:alpha val="12000"/>
                  </a:srgbClr>
                </a:gs>
                <a:gs pos="44000">
                  <a:srgbClr val="00B0F0">
                    <a:alpha val="13000"/>
                  </a:srgbClr>
                </a:gs>
                <a:gs pos="100000">
                  <a:srgbClr val="1F3267">
                    <a:alpha val="0"/>
                  </a:srgbClr>
                </a:gs>
              </a:gsLst>
              <a:lin ang="16200000" scaled="1"/>
              <a:tileRect/>
            </a:gradFill>
            <a:ln w="3175" cap="flat" cmpd="sng" algn="ctr">
              <a:gradFill flip="none" rotWithShape="1">
                <a:gsLst>
                  <a:gs pos="0">
                    <a:schemeClr val="accent5">
                      <a:lumMod val="75000"/>
                    </a:schemeClr>
                  </a:gs>
                  <a:gs pos="100000">
                    <a:schemeClr val="accent1">
                      <a:tint val="23500"/>
                      <a:satMod val="160000"/>
                      <a:alpha val="0"/>
                    </a:schemeClr>
                  </a:gs>
                </a:gsLst>
                <a:lin ang="16200000" scaled="1"/>
                <a:tileRect/>
              </a:gradFill>
              <a:prstDash val="solid"/>
              <a:round/>
              <a:headEnd type="none" w="med" len="med"/>
              <a:tailEnd type="none" w="med" len="med"/>
            </a:ln>
            <a:effectLst/>
            <a:scene3d>
              <a:camera prst="orthographicFront"/>
              <a:lightRig rig="flat" dir="t"/>
            </a:scene3d>
          </p:spPr>
          <p:txBody>
            <a:bodyPr lIns="91428" tIns="45714" rIns="91428" bIns="45714" rtlCol="0" anchor="ctr">
              <a:noAutofit/>
            </a:bodyPr>
            <a:lstStyle/>
            <a:p>
              <a:endParaRPr lang="zh-CN" altLang="en-US">
                <a:effectLst>
                  <a:outerShdw blurRad="38100" dist="38100" dir="2700000" algn="tl">
                    <a:srgbClr val="000000">
                      <a:alpha val="43137"/>
                    </a:srgbClr>
                  </a:outerShdw>
                </a:effectLst>
                <a:latin typeface="+mj-lt"/>
              </a:endParaRPr>
            </a:p>
          </p:txBody>
        </p:sp>
        <p:sp>
          <p:nvSpPr>
            <p:cNvPr id="292" name="梯形 291"/>
            <p:cNvSpPr/>
            <p:nvPr/>
          </p:nvSpPr>
          <p:spPr>
            <a:xfrm>
              <a:off x="3625947" y="3891334"/>
              <a:ext cx="6758940" cy="603131"/>
            </a:xfrm>
            <a:prstGeom prst="trapezoid">
              <a:avLst>
                <a:gd name="adj" fmla="val 177299"/>
              </a:avLst>
            </a:prstGeom>
            <a:gradFill flip="none" rotWithShape="1">
              <a:gsLst>
                <a:gs pos="0">
                  <a:srgbClr val="00B0F0">
                    <a:alpha val="14000"/>
                  </a:srgbClr>
                </a:gs>
                <a:gs pos="21000">
                  <a:srgbClr val="00B0F0">
                    <a:alpha val="12000"/>
                  </a:srgbClr>
                </a:gs>
                <a:gs pos="44000">
                  <a:srgbClr val="00B0F0">
                    <a:alpha val="13000"/>
                  </a:srgbClr>
                </a:gs>
                <a:gs pos="100000">
                  <a:srgbClr val="1F3267">
                    <a:alpha val="0"/>
                  </a:srgbClr>
                </a:gs>
              </a:gsLst>
              <a:lin ang="16200000" scaled="1"/>
              <a:tileRect/>
            </a:gradFill>
            <a:ln w="3175" cap="flat" cmpd="sng" algn="ctr">
              <a:gradFill flip="none" rotWithShape="1">
                <a:gsLst>
                  <a:gs pos="0">
                    <a:schemeClr val="accent5">
                      <a:lumMod val="75000"/>
                    </a:schemeClr>
                  </a:gs>
                  <a:gs pos="100000">
                    <a:schemeClr val="accent1">
                      <a:tint val="23500"/>
                      <a:satMod val="160000"/>
                      <a:alpha val="0"/>
                    </a:schemeClr>
                  </a:gs>
                </a:gsLst>
                <a:lin ang="16200000" scaled="1"/>
                <a:tileRect/>
              </a:gradFill>
              <a:prstDash val="solid"/>
              <a:round/>
              <a:headEnd type="none" w="med" len="med"/>
              <a:tailEnd type="none" w="med" len="med"/>
            </a:ln>
            <a:effectLst/>
            <a:scene3d>
              <a:camera prst="orthographicFront"/>
              <a:lightRig rig="flat" dir="t"/>
            </a:scene3d>
          </p:spPr>
          <p:txBody>
            <a:bodyPr lIns="91428" tIns="45714" rIns="91428" bIns="45714" rtlCol="0" anchor="ctr">
              <a:noAutofit/>
            </a:bodyPr>
            <a:lstStyle/>
            <a:p>
              <a:endParaRPr lang="zh-CN" altLang="en-US">
                <a:effectLst>
                  <a:outerShdw blurRad="38100" dist="38100" dir="2700000" algn="tl">
                    <a:srgbClr val="000000">
                      <a:alpha val="43137"/>
                    </a:srgbClr>
                  </a:outerShdw>
                </a:effectLst>
                <a:latin typeface="+mj-lt"/>
              </a:endParaRPr>
            </a:p>
          </p:txBody>
        </p:sp>
      </p:grpSp>
      <p:sp>
        <p:nvSpPr>
          <p:cNvPr id="185" name="Freeform 7"/>
          <p:cNvSpPr>
            <a:spLocks/>
          </p:cNvSpPr>
          <p:nvPr/>
        </p:nvSpPr>
        <p:spPr bwMode="auto">
          <a:xfrm>
            <a:off x="1507849" y="891627"/>
            <a:ext cx="2382163" cy="539985"/>
          </a:xfrm>
          <a:prstGeom prst="rect">
            <a:avLst/>
          </a:prstGeom>
          <a:solidFill>
            <a:schemeClr val="accent5">
              <a:lumMod val="75000"/>
              <a:alpha val="70000"/>
            </a:schemeClr>
          </a:solidFill>
          <a:ln w="3175" cap="flat" cmpd="sng" algn="ctr">
            <a:noFill/>
            <a:prstDash val="solid"/>
            <a:round/>
            <a:headEnd type="none" w="med" len="med"/>
            <a:tailEnd type="none" w="med" len="med"/>
          </a:ln>
          <a:effectLst/>
          <a:scene3d>
            <a:camera prst="orthographicFront"/>
            <a:lightRig rig="flat" dir="t"/>
          </a:scene3d>
        </p:spPr>
        <p:txBody>
          <a:bodyPr lIns="82093" tIns="41047" rIns="82093" bIns="41047" rtlCol="0" anchor="ctr">
            <a:noAutofit/>
          </a:bodyPr>
          <a:lstStyle/>
          <a:p>
            <a:endParaRPr lang="zh-CN" altLang="en-US" sz="1400" dirty="0">
              <a:solidFill>
                <a:srgbClr val="002060"/>
              </a:solidFill>
              <a:effectLst>
                <a:outerShdw blurRad="38100" dist="38100" dir="2700000" algn="tl">
                  <a:srgbClr val="000000">
                    <a:alpha val="43137"/>
                  </a:srgbClr>
                </a:outerShdw>
              </a:effectLst>
              <a:latin typeface="+mj-lt"/>
              <a:cs typeface="Arial" pitchFamily="34" charset="0"/>
              <a:sym typeface="Arial" pitchFamily="34" charset="0"/>
            </a:endParaRPr>
          </a:p>
        </p:txBody>
      </p:sp>
      <p:sp>
        <p:nvSpPr>
          <p:cNvPr id="186" name="907797442"/>
          <p:cNvSpPr txBox="1"/>
          <p:nvPr/>
        </p:nvSpPr>
        <p:spPr>
          <a:xfrm>
            <a:off x="2256115" y="1024991"/>
            <a:ext cx="1380186" cy="307648"/>
          </a:xfrm>
          <a:prstGeom prst="rect">
            <a:avLst/>
          </a:prstGeom>
          <a:noFill/>
        </p:spPr>
        <p:txBody>
          <a:bodyPr wrap="none" lIns="0" tIns="0" rIns="0" bIns="0" rtlCol="0">
            <a:spAutoFit/>
          </a:bodyPr>
          <a:lstStyle>
            <a:defPPr>
              <a:defRPr lang="zh-CN"/>
            </a:defPPr>
            <a:lvl1pPr defTabSz="685800">
              <a:spcAft>
                <a:spcPts val="450"/>
              </a:spcAft>
              <a:defRPr sz="2000" b="0" kern="0">
                <a:solidFill>
                  <a:schemeClr val="tx1">
                    <a:lumMod val="85000"/>
                    <a:lumOff val="15000"/>
                  </a:schemeClr>
                </a:solidFill>
                <a:latin typeface="Arial" pitchFamily="34" charset="0"/>
                <a:ea typeface="微软雅黑"/>
                <a:cs typeface="Arial" pitchFamily="34" charset="0"/>
              </a:defRPr>
            </a:lvl1pPr>
          </a:lstStyle>
          <a:p>
            <a:r>
              <a:rPr lang="en-US" altLang="zh-CN" dirty="0" err="1">
                <a:solidFill>
                  <a:srgbClr val="002060"/>
                </a:solidFill>
                <a:latin typeface="+mj-lt"/>
                <a:sym typeface="微软雅黑" panose="020B0503020204020204" pitchFamily="34" charset="-122"/>
              </a:rPr>
              <a:t>Plataforma</a:t>
            </a:r>
            <a:endParaRPr lang="en-US" altLang="zh-CN" dirty="0">
              <a:solidFill>
                <a:srgbClr val="002060"/>
              </a:solidFill>
              <a:latin typeface="+mj-lt"/>
              <a:sym typeface="微软雅黑" panose="020B0503020204020204" pitchFamily="34" charset="-122"/>
            </a:endParaRPr>
          </a:p>
        </p:txBody>
      </p:sp>
      <p:sp>
        <p:nvSpPr>
          <p:cNvPr id="200" name="椭圆 199"/>
          <p:cNvSpPr/>
          <p:nvPr/>
        </p:nvSpPr>
        <p:spPr>
          <a:xfrm>
            <a:off x="1255386" y="891627"/>
            <a:ext cx="539985" cy="539985"/>
          </a:xfrm>
          <a:prstGeom prst="ellipse">
            <a:avLst/>
          </a:prstGeom>
          <a:solidFill>
            <a:schemeClr val="bg1"/>
          </a:solidFill>
          <a:ln w="12700" cap="flat" cmpd="sng" algn="ctr">
            <a:solidFill>
              <a:schemeClr val="accent6"/>
            </a:solidFill>
            <a:prstDash val="solid"/>
          </a:ln>
          <a:effectLst/>
        </p:spPr>
        <p:txBody>
          <a:bodyPr rtlCol="0" anchor="ctr"/>
          <a:lstStyle/>
          <a:p>
            <a:pPr algn="ctr">
              <a:defRPr/>
            </a:pPr>
            <a:endParaRPr lang="zh-CN" altLang="en-US" sz="2400" kern="0" dirty="0">
              <a:solidFill>
                <a:srgbClr val="002060"/>
              </a:solidFill>
              <a:latin typeface="+mj-lt"/>
              <a:ea typeface="微软雅黑" panose="020B0503020204020204" pitchFamily="34" charset="-122"/>
              <a:cs typeface="Arial" pitchFamily="34" charset="0"/>
              <a:sym typeface="Arial" panose="020B0604020202020204" pitchFamily="34" charset="0"/>
            </a:endParaRPr>
          </a:p>
        </p:txBody>
      </p:sp>
      <p:pic>
        <p:nvPicPr>
          <p:cNvPr id="201" name="Picture 11" descr="C:\Users\z00124665\Downloads\73068609副本.png"/>
          <p:cNvPicPr>
            <a:picLocks noChangeAspect="1" noChangeArrowheads="1"/>
          </p:cNvPicPr>
          <p:nvPr/>
        </p:nvPicPr>
        <p:blipFill>
          <a:blip r:embed="rId13" cstate="print">
            <a:lum contrast="20000"/>
          </a:blip>
          <a:srcRect/>
          <a:stretch>
            <a:fillRect/>
          </a:stretch>
        </p:blipFill>
        <p:spPr bwMode="auto">
          <a:xfrm>
            <a:off x="1280240" y="916937"/>
            <a:ext cx="490279" cy="489365"/>
          </a:xfrm>
          <a:prstGeom prst="rect">
            <a:avLst/>
          </a:prstGeom>
          <a:noFill/>
          <a:effectLst/>
        </p:spPr>
      </p:pic>
      <p:sp>
        <p:nvSpPr>
          <p:cNvPr id="265" name="椭圆 264"/>
          <p:cNvSpPr/>
          <p:nvPr/>
        </p:nvSpPr>
        <p:spPr>
          <a:xfrm>
            <a:off x="911222" y="2369588"/>
            <a:ext cx="608834" cy="550147"/>
          </a:xfrm>
          <a:prstGeom prst="ellipse">
            <a:avLst/>
          </a:prstGeom>
          <a:noFill/>
          <a:ln w="3175">
            <a:solidFill>
              <a:srgbClr val="00B0F0"/>
            </a:solidFill>
            <a:round/>
            <a:headEnd/>
            <a:tailEnd/>
          </a:ln>
        </p:spPr>
        <p:txBody>
          <a:bodyPr vert="horz" wrap="square" lIns="82075" tIns="41036" rIns="82075" bIns="41036" numCol="1" anchor="ctr" anchorCtr="0" compatLnSpc="1">
            <a:prstTxWarp prst="textNoShape">
              <a:avLst/>
            </a:prstTxWarp>
            <a:noAutofit/>
          </a:bodyPr>
          <a:lstStyle/>
          <a:p>
            <a:pPr algn="ctr"/>
            <a:endParaRPr lang="zh-CN" altLang="en-US" sz="1400">
              <a:latin typeface="+mj-lt"/>
              <a:ea typeface="微软雅黑" panose="020B0503020204020204" pitchFamily="34" charset="-122"/>
              <a:cs typeface="Arial" pitchFamily="34" charset="0"/>
            </a:endParaRPr>
          </a:p>
        </p:txBody>
      </p:sp>
      <p:sp>
        <p:nvSpPr>
          <p:cNvPr id="266" name="椭圆 265"/>
          <p:cNvSpPr/>
          <p:nvPr/>
        </p:nvSpPr>
        <p:spPr>
          <a:xfrm>
            <a:off x="911222" y="3416010"/>
            <a:ext cx="457549" cy="492492"/>
          </a:xfrm>
          <a:prstGeom prst="ellipse">
            <a:avLst/>
          </a:prstGeom>
          <a:noFill/>
          <a:ln w="3175">
            <a:solidFill>
              <a:srgbClr val="00B0F0"/>
            </a:solidFill>
            <a:round/>
            <a:headEnd/>
            <a:tailEnd/>
          </a:ln>
        </p:spPr>
        <p:txBody>
          <a:bodyPr vert="horz" wrap="square" lIns="82075" tIns="41036" rIns="82075" bIns="41036" numCol="1" anchor="ctr" anchorCtr="0" compatLnSpc="1">
            <a:prstTxWarp prst="textNoShape">
              <a:avLst/>
            </a:prstTxWarp>
            <a:noAutofit/>
          </a:bodyPr>
          <a:lstStyle/>
          <a:p>
            <a:pPr algn="ctr"/>
            <a:endParaRPr lang="zh-CN" altLang="en-US" sz="1400">
              <a:latin typeface="+mj-lt"/>
              <a:ea typeface="微软雅黑" panose="020B0503020204020204" pitchFamily="34" charset="-122"/>
              <a:cs typeface="Arial" pitchFamily="34" charset="0"/>
            </a:endParaRPr>
          </a:p>
        </p:txBody>
      </p:sp>
      <p:sp>
        <p:nvSpPr>
          <p:cNvPr id="267" name="椭圆 266"/>
          <p:cNvSpPr/>
          <p:nvPr/>
        </p:nvSpPr>
        <p:spPr>
          <a:xfrm>
            <a:off x="911222" y="4404776"/>
            <a:ext cx="457549" cy="492492"/>
          </a:xfrm>
          <a:prstGeom prst="ellipse">
            <a:avLst/>
          </a:prstGeom>
          <a:noFill/>
          <a:ln w="3175">
            <a:solidFill>
              <a:srgbClr val="00B0F0"/>
            </a:solidFill>
            <a:round/>
            <a:headEnd/>
            <a:tailEnd/>
          </a:ln>
        </p:spPr>
        <p:txBody>
          <a:bodyPr vert="horz" wrap="square" lIns="82075" tIns="41036" rIns="82075" bIns="41036" numCol="1" anchor="ctr" anchorCtr="0" compatLnSpc="1">
            <a:prstTxWarp prst="textNoShape">
              <a:avLst/>
            </a:prstTxWarp>
            <a:noAutofit/>
          </a:bodyPr>
          <a:lstStyle/>
          <a:p>
            <a:pPr algn="ctr"/>
            <a:endParaRPr lang="zh-CN" altLang="en-US" sz="1400">
              <a:latin typeface="+mj-lt"/>
              <a:ea typeface="微软雅黑" panose="020B0503020204020204" pitchFamily="34" charset="-122"/>
              <a:cs typeface="Arial" pitchFamily="34" charset="0"/>
            </a:endParaRPr>
          </a:p>
        </p:txBody>
      </p:sp>
      <p:sp>
        <p:nvSpPr>
          <p:cNvPr id="268" name="728396790"/>
          <p:cNvSpPr/>
          <p:nvPr>
            <p:custDataLst>
              <p:tags r:id="rId1"/>
            </p:custDataLst>
          </p:nvPr>
        </p:nvSpPr>
        <p:spPr>
          <a:xfrm>
            <a:off x="950342" y="2525381"/>
            <a:ext cx="530594" cy="215315"/>
          </a:xfrm>
          <a:prstGeom prst="rect">
            <a:avLst/>
          </a:prstGeom>
          <a:noFill/>
          <a:effectLst>
            <a:outerShdw blurRad="38100" dist="12700" dir="2220000" sx="45000" sy="45000" algn="tl" rotWithShape="0">
              <a:prstClr val="black">
                <a:alpha val="41000"/>
              </a:prstClr>
            </a:outerShdw>
          </a:effectLst>
        </p:spPr>
        <p:txBody>
          <a:bodyPr wrap="none" lIns="0" tIns="0" rIns="0" bIns="0" anchor="ctr" anchorCtr="0">
            <a:spAutoFit/>
          </a:bodyPr>
          <a:lstStyle/>
          <a:p>
            <a:pPr marL="0" lvl="4" algn="ctr" defTabSz="1094677">
              <a:buClr>
                <a:srgbClr val="CC9900"/>
              </a:buClr>
              <a:defRPr/>
            </a:pPr>
            <a:r>
              <a:rPr lang="en-US" altLang="zh-CN" sz="1400" dirty="0">
                <a:latin typeface="+mj-lt"/>
                <a:ea typeface="微软雅黑" panose="020B0503020204020204" pitchFamily="34" charset="-122"/>
                <a:cs typeface="Arial" pitchFamily="34" charset="0"/>
              </a:rPr>
              <a:t>Cloud</a:t>
            </a:r>
          </a:p>
        </p:txBody>
      </p:sp>
      <p:sp>
        <p:nvSpPr>
          <p:cNvPr id="269" name="333930965"/>
          <p:cNvSpPr/>
          <p:nvPr>
            <p:custDataLst>
              <p:tags r:id="rId2"/>
            </p:custDataLst>
          </p:nvPr>
        </p:nvSpPr>
        <p:spPr>
          <a:xfrm>
            <a:off x="945068" y="3572866"/>
            <a:ext cx="379912" cy="215315"/>
          </a:xfrm>
          <a:prstGeom prst="rect">
            <a:avLst/>
          </a:prstGeom>
          <a:noFill/>
          <a:effectLst>
            <a:outerShdw blurRad="38100" dist="12700" dir="2220000" sx="45000" sy="45000" algn="tl" rotWithShape="0">
              <a:prstClr val="black">
                <a:alpha val="41000"/>
              </a:prstClr>
            </a:outerShdw>
          </a:effectLst>
        </p:spPr>
        <p:txBody>
          <a:bodyPr wrap="none" lIns="0" tIns="0" rIns="0" bIns="0" anchor="ctr" anchorCtr="0">
            <a:spAutoFit/>
          </a:bodyPr>
          <a:lstStyle/>
          <a:p>
            <a:pPr marL="0" lvl="4" algn="ctr" defTabSz="1094677">
              <a:buClr>
                <a:srgbClr val="CC9900"/>
              </a:buClr>
              <a:defRPr/>
            </a:pPr>
            <a:r>
              <a:rPr lang="en-US" altLang="zh-CN" sz="1400" dirty="0">
                <a:latin typeface="+mj-lt"/>
                <a:ea typeface="微软雅黑" panose="020B0503020204020204" pitchFamily="34" charset="-122"/>
                <a:cs typeface="Arial" pitchFamily="34" charset="0"/>
              </a:rPr>
              <a:t>Pipe</a:t>
            </a:r>
            <a:endParaRPr lang="zh-CN" altLang="zh-CN" sz="1400" dirty="0">
              <a:latin typeface="+mj-lt"/>
              <a:ea typeface="微软雅黑" panose="020B0503020204020204" pitchFamily="34" charset="-122"/>
              <a:cs typeface="Arial" pitchFamily="34" charset="0"/>
            </a:endParaRPr>
          </a:p>
        </p:txBody>
      </p:sp>
      <p:sp>
        <p:nvSpPr>
          <p:cNvPr id="270" name="967229721"/>
          <p:cNvSpPr/>
          <p:nvPr>
            <p:custDataLst>
              <p:tags r:id="rId3"/>
            </p:custDataLst>
          </p:nvPr>
        </p:nvSpPr>
        <p:spPr>
          <a:xfrm>
            <a:off x="826447" y="4561631"/>
            <a:ext cx="617157" cy="215315"/>
          </a:xfrm>
          <a:prstGeom prst="rect">
            <a:avLst/>
          </a:prstGeom>
          <a:noFill/>
          <a:effectLst>
            <a:outerShdw blurRad="38100" dist="12700" dir="2220000" sx="45000" sy="45000" algn="tl" rotWithShape="0">
              <a:prstClr val="black">
                <a:alpha val="41000"/>
              </a:prstClr>
            </a:outerShdw>
          </a:effectLst>
        </p:spPr>
        <p:txBody>
          <a:bodyPr wrap="none" lIns="0" tIns="0" rIns="0" bIns="0" anchor="ctr" anchorCtr="0">
            <a:spAutoFit/>
          </a:bodyPr>
          <a:lstStyle/>
          <a:p>
            <a:pPr marL="0" lvl="4" algn="ctr" defTabSz="1094677">
              <a:buClr>
                <a:srgbClr val="CC9900"/>
              </a:buClr>
              <a:defRPr/>
            </a:pPr>
            <a:r>
              <a:rPr lang="en-US" altLang="zh-CN" sz="1400" dirty="0">
                <a:latin typeface="+mj-lt"/>
                <a:ea typeface="微软雅黑" panose="020B0503020204020204" pitchFamily="34" charset="-122"/>
                <a:cs typeface="Arial" pitchFamily="34" charset="0"/>
              </a:rPr>
              <a:t>Device</a:t>
            </a:r>
            <a:endParaRPr lang="zh-CN" altLang="zh-CN" sz="1400" dirty="0">
              <a:latin typeface="+mj-lt"/>
              <a:ea typeface="微软雅黑" panose="020B0503020204020204" pitchFamily="34" charset="-122"/>
              <a:cs typeface="Arial" pitchFamily="34" charset="0"/>
            </a:endParaRPr>
          </a:p>
        </p:txBody>
      </p:sp>
      <p:sp>
        <p:nvSpPr>
          <p:cNvPr id="271" name="659454947"/>
          <p:cNvSpPr>
            <a:spLocks/>
          </p:cNvSpPr>
          <p:nvPr>
            <p:custDataLst>
              <p:tags r:id="rId4"/>
            </p:custDataLst>
          </p:nvPr>
        </p:nvSpPr>
        <p:spPr bwMode="auto">
          <a:xfrm>
            <a:off x="1987721" y="2304277"/>
            <a:ext cx="1237265" cy="543447"/>
          </a:xfrm>
          <a:custGeom>
            <a:avLst/>
            <a:gdLst/>
            <a:ahLst/>
            <a:cxnLst>
              <a:cxn ang="0">
                <a:pos x="120" y="754"/>
              </a:cxn>
              <a:cxn ang="0">
                <a:pos x="805" y="754"/>
              </a:cxn>
              <a:cxn ang="0">
                <a:pos x="1176" y="753"/>
              </a:cxn>
              <a:cxn ang="0">
                <a:pos x="1225" y="737"/>
              </a:cxn>
              <a:cxn ang="0">
                <a:pos x="1267" y="707"/>
              </a:cxn>
              <a:cxn ang="0">
                <a:pos x="1297" y="667"/>
              </a:cxn>
              <a:cxn ang="0">
                <a:pos x="1318" y="616"/>
              </a:cxn>
              <a:cxn ang="0">
                <a:pos x="1323" y="560"/>
              </a:cxn>
              <a:cxn ang="0">
                <a:pos x="1318" y="525"/>
              </a:cxn>
              <a:cxn ang="0">
                <a:pos x="1299" y="474"/>
              </a:cxn>
              <a:cxn ang="0">
                <a:pos x="1269" y="434"/>
              </a:cxn>
              <a:cxn ang="0">
                <a:pos x="1230" y="402"/>
              </a:cxn>
              <a:cxn ang="0">
                <a:pos x="1183" y="385"/>
              </a:cxn>
              <a:cxn ang="0">
                <a:pos x="1149" y="381"/>
              </a:cxn>
              <a:cxn ang="0">
                <a:pos x="1144" y="375"/>
              </a:cxn>
              <a:cxn ang="0">
                <a:pos x="1113" y="435"/>
              </a:cxn>
              <a:cxn ang="0">
                <a:pos x="1073" y="484"/>
              </a:cxn>
              <a:cxn ang="0">
                <a:pos x="1103" y="397"/>
              </a:cxn>
              <a:cxn ang="0">
                <a:pos x="1112" y="306"/>
              </a:cxn>
              <a:cxn ang="0">
                <a:pos x="1105" y="248"/>
              </a:cxn>
              <a:cxn ang="0">
                <a:pos x="1076" y="167"/>
              </a:cxn>
              <a:cxn ang="0">
                <a:pos x="1027" y="98"/>
              </a:cxn>
              <a:cxn ang="0">
                <a:pos x="984" y="59"/>
              </a:cxn>
              <a:cxn ang="0">
                <a:pos x="896" y="15"/>
              </a:cxn>
              <a:cxn ang="0">
                <a:pos x="840" y="4"/>
              </a:cxn>
              <a:cxn ang="0">
                <a:pos x="769" y="2"/>
              </a:cxn>
              <a:cxn ang="0">
                <a:pos x="724" y="10"/>
              </a:cxn>
              <a:cxn ang="0">
                <a:pos x="678" y="25"/>
              </a:cxn>
              <a:cxn ang="0">
                <a:pos x="607" y="73"/>
              </a:cxn>
              <a:cxn ang="0">
                <a:pos x="550" y="137"/>
              </a:cxn>
              <a:cxn ang="0">
                <a:pos x="521" y="187"/>
              </a:cxn>
              <a:cxn ang="0">
                <a:pos x="503" y="243"/>
              </a:cxn>
              <a:cxn ang="0">
                <a:pos x="489" y="248"/>
              </a:cxn>
              <a:cxn ang="0">
                <a:pos x="452" y="213"/>
              </a:cxn>
              <a:cxn ang="0">
                <a:pos x="424" y="194"/>
              </a:cxn>
              <a:cxn ang="0">
                <a:pos x="376" y="177"/>
              </a:cxn>
              <a:cxn ang="0">
                <a:pos x="326" y="171"/>
              </a:cxn>
              <a:cxn ang="0">
                <a:pos x="292" y="174"/>
              </a:cxn>
              <a:cxn ang="0">
                <a:pos x="241" y="186"/>
              </a:cxn>
              <a:cxn ang="0">
                <a:pos x="192" y="211"/>
              </a:cxn>
              <a:cxn ang="0">
                <a:pos x="159" y="236"/>
              </a:cxn>
              <a:cxn ang="0">
                <a:pos x="118" y="284"/>
              </a:cxn>
              <a:cxn ang="0">
                <a:pos x="91" y="336"/>
              </a:cxn>
              <a:cxn ang="0">
                <a:pos x="81" y="380"/>
              </a:cxn>
              <a:cxn ang="0">
                <a:pos x="84" y="446"/>
              </a:cxn>
              <a:cxn ang="0">
                <a:pos x="110" y="510"/>
              </a:cxn>
              <a:cxn ang="0">
                <a:pos x="86" y="513"/>
              </a:cxn>
              <a:cxn ang="0">
                <a:pos x="56" y="527"/>
              </a:cxn>
              <a:cxn ang="0">
                <a:pos x="31" y="548"/>
              </a:cxn>
              <a:cxn ang="0">
                <a:pos x="12" y="577"/>
              </a:cxn>
              <a:cxn ang="0">
                <a:pos x="2" y="613"/>
              </a:cxn>
              <a:cxn ang="0">
                <a:pos x="0" y="638"/>
              </a:cxn>
              <a:cxn ang="0">
                <a:pos x="7" y="673"/>
              </a:cxn>
              <a:cxn ang="0">
                <a:pos x="22" y="704"/>
              </a:cxn>
              <a:cxn ang="0">
                <a:pos x="44" y="729"/>
              </a:cxn>
              <a:cxn ang="0">
                <a:pos x="73" y="746"/>
              </a:cxn>
              <a:cxn ang="0">
                <a:pos x="105" y="754"/>
              </a:cxn>
            </a:cxnLst>
            <a:rect l="0" t="0" r="r" b="b"/>
            <a:pathLst>
              <a:path w="1323" h="756">
                <a:moveTo>
                  <a:pt x="115" y="756"/>
                </a:moveTo>
                <a:lnTo>
                  <a:pt x="115" y="756"/>
                </a:lnTo>
                <a:lnTo>
                  <a:pt x="120" y="754"/>
                </a:lnTo>
                <a:lnTo>
                  <a:pt x="618" y="754"/>
                </a:lnTo>
                <a:lnTo>
                  <a:pt x="639" y="754"/>
                </a:lnTo>
                <a:lnTo>
                  <a:pt x="805" y="754"/>
                </a:lnTo>
                <a:lnTo>
                  <a:pt x="1159" y="754"/>
                </a:lnTo>
                <a:lnTo>
                  <a:pt x="1159" y="754"/>
                </a:lnTo>
                <a:lnTo>
                  <a:pt x="1176" y="753"/>
                </a:lnTo>
                <a:lnTo>
                  <a:pt x="1193" y="749"/>
                </a:lnTo>
                <a:lnTo>
                  <a:pt x="1210" y="744"/>
                </a:lnTo>
                <a:lnTo>
                  <a:pt x="1225" y="737"/>
                </a:lnTo>
                <a:lnTo>
                  <a:pt x="1240" y="729"/>
                </a:lnTo>
                <a:lnTo>
                  <a:pt x="1253" y="719"/>
                </a:lnTo>
                <a:lnTo>
                  <a:pt x="1267" y="707"/>
                </a:lnTo>
                <a:lnTo>
                  <a:pt x="1279" y="695"/>
                </a:lnTo>
                <a:lnTo>
                  <a:pt x="1289" y="682"/>
                </a:lnTo>
                <a:lnTo>
                  <a:pt x="1297" y="667"/>
                </a:lnTo>
                <a:lnTo>
                  <a:pt x="1306" y="651"/>
                </a:lnTo>
                <a:lnTo>
                  <a:pt x="1312" y="634"/>
                </a:lnTo>
                <a:lnTo>
                  <a:pt x="1318" y="616"/>
                </a:lnTo>
                <a:lnTo>
                  <a:pt x="1321" y="599"/>
                </a:lnTo>
                <a:lnTo>
                  <a:pt x="1323" y="580"/>
                </a:lnTo>
                <a:lnTo>
                  <a:pt x="1323" y="560"/>
                </a:lnTo>
                <a:lnTo>
                  <a:pt x="1323" y="560"/>
                </a:lnTo>
                <a:lnTo>
                  <a:pt x="1321" y="542"/>
                </a:lnTo>
                <a:lnTo>
                  <a:pt x="1318" y="525"/>
                </a:lnTo>
                <a:lnTo>
                  <a:pt x="1312" y="506"/>
                </a:lnTo>
                <a:lnTo>
                  <a:pt x="1307" y="489"/>
                </a:lnTo>
                <a:lnTo>
                  <a:pt x="1299" y="474"/>
                </a:lnTo>
                <a:lnTo>
                  <a:pt x="1291" y="459"/>
                </a:lnTo>
                <a:lnTo>
                  <a:pt x="1280" y="446"/>
                </a:lnTo>
                <a:lnTo>
                  <a:pt x="1269" y="434"/>
                </a:lnTo>
                <a:lnTo>
                  <a:pt x="1257" y="422"/>
                </a:lnTo>
                <a:lnTo>
                  <a:pt x="1243" y="412"/>
                </a:lnTo>
                <a:lnTo>
                  <a:pt x="1230" y="402"/>
                </a:lnTo>
                <a:lnTo>
                  <a:pt x="1215" y="395"/>
                </a:lnTo>
                <a:lnTo>
                  <a:pt x="1199" y="390"/>
                </a:lnTo>
                <a:lnTo>
                  <a:pt x="1183" y="385"/>
                </a:lnTo>
                <a:lnTo>
                  <a:pt x="1166" y="381"/>
                </a:lnTo>
                <a:lnTo>
                  <a:pt x="1149" y="381"/>
                </a:lnTo>
                <a:lnTo>
                  <a:pt x="1149" y="381"/>
                </a:lnTo>
                <a:lnTo>
                  <a:pt x="1142" y="381"/>
                </a:lnTo>
                <a:lnTo>
                  <a:pt x="1142" y="381"/>
                </a:lnTo>
                <a:lnTo>
                  <a:pt x="1144" y="375"/>
                </a:lnTo>
                <a:lnTo>
                  <a:pt x="1144" y="375"/>
                </a:lnTo>
                <a:lnTo>
                  <a:pt x="1130" y="407"/>
                </a:lnTo>
                <a:lnTo>
                  <a:pt x="1113" y="435"/>
                </a:lnTo>
                <a:lnTo>
                  <a:pt x="1095" y="461"/>
                </a:lnTo>
                <a:lnTo>
                  <a:pt x="1073" y="484"/>
                </a:lnTo>
                <a:lnTo>
                  <a:pt x="1073" y="484"/>
                </a:lnTo>
                <a:lnTo>
                  <a:pt x="1085" y="456"/>
                </a:lnTo>
                <a:lnTo>
                  <a:pt x="1097" y="425"/>
                </a:lnTo>
                <a:lnTo>
                  <a:pt x="1103" y="397"/>
                </a:lnTo>
                <a:lnTo>
                  <a:pt x="1108" y="366"/>
                </a:lnTo>
                <a:lnTo>
                  <a:pt x="1112" y="336"/>
                </a:lnTo>
                <a:lnTo>
                  <a:pt x="1112" y="306"/>
                </a:lnTo>
                <a:lnTo>
                  <a:pt x="1110" y="277"/>
                </a:lnTo>
                <a:lnTo>
                  <a:pt x="1105" y="248"/>
                </a:lnTo>
                <a:lnTo>
                  <a:pt x="1105" y="248"/>
                </a:lnTo>
                <a:lnTo>
                  <a:pt x="1097" y="219"/>
                </a:lnTo>
                <a:lnTo>
                  <a:pt x="1088" y="192"/>
                </a:lnTo>
                <a:lnTo>
                  <a:pt x="1076" y="167"/>
                </a:lnTo>
                <a:lnTo>
                  <a:pt x="1061" y="142"/>
                </a:lnTo>
                <a:lnTo>
                  <a:pt x="1046" y="118"/>
                </a:lnTo>
                <a:lnTo>
                  <a:pt x="1027" y="98"/>
                </a:lnTo>
                <a:lnTo>
                  <a:pt x="1007" y="78"/>
                </a:lnTo>
                <a:lnTo>
                  <a:pt x="984" y="59"/>
                </a:lnTo>
                <a:lnTo>
                  <a:pt x="984" y="59"/>
                </a:lnTo>
                <a:lnTo>
                  <a:pt x="957" y="42"/>
                </a:lnTo>
                <a:lnTo>
                  <a:pt x="926" y="27"/>
                </a:lnTo>
                <a:lnTo>
                  <a:pt x="896" y="15"/>
                </a:lnTo>
                <a:lnTo>
                  <a:pt x="862" y="7"/>
                </a:lnTo>
                <a:lnTo>
                  <a:pt x="862" y="7"/>
                </a:lnTo>
                <a:lnTo>
                  <a:pt x="840" y="4"/>
                </a:lnTo>
                <a:lnTo>
                  <a:pt x="817" y="2"/>
                </a:lnTo>
                <a:lnTo>
                  <a:pt x="793" y="0"/>
                </a:lnTo>
                <a:lnTo>
                  <a:pt x="769" y="2"/>
                </a:lnTo>
                <a:lnTo>
                  <a:pt x="769" y="2"/>
                </a:lnTo>
                <a:lnTo>
                  <a:pt x="746" y="5"/>
                </a:lnTo>
                <a:lnTo>
                  <a:pt x="724" y="10"/>
                </a:lnTo>
                <a:lnTo>
                  <a:pt x="700" y="17"/>
                </a:lnTo>
                <a:lnTo>
                  <a:pt x="678" y="25"/>
                </a:lnTo>
                <a:lnTo>
                  <a:pt x="678" y="25"/>
                </a:lnTo>
                <a:lnTo>
                  <a:pt x="653" y="39"/>
                </a:lnTo>
                <a:lnTo>
                  <a:pt x="629" y="56"/>
                </a:lnTo>
                <a:lnTo>
                  <a:pt x="607" y="73"/>
                </a:lnTo>
                <a:lnTo>
                  <a:pt x="585" y="93"/>
                </a:lnTo>
                <a:lnTo>
                  <a:pt x="567" y="113"/>
                </a:lnTo>
                <a:lnTo>
                  <a:pt x="550" y="137"/>
                </a:lnTo>
                <a:lnTo>
                  <a:pt x="535" y="162"/>
                </a:lnTo>
                <a:lnTo>
                  <a:pt x="521" y="187"/>
                </a:lnTo>
                <a:lnTo>
                  <a:pt x="521" y="187"/>
                </a:lnTo>
                <a:lnTo>
                  <a:pt x="515" y="206"/>
                </a:lnTo>
                <a:lnTo>
                  <a:pt x="508" y="225"/>
                </a:lnTo>
                <a:lnTo>
                  <a:pt x="503" y="243"/>
                </a:lnTo>
                <a:lnTo>
                  <a:pt x="499" y="262"/>
                </a:lnTo>
                <a:lnTo>
                  <a:pt x="499" y="262"/>
                </a:lnTo>
                <a:lnTo>
                  <a:pt x="489" y="248"/>
                </a:lnTo>
                <a:lnTo>
                  <a:pt x="478" y="235"/>
                </a:lnTo>
                <a:lnTo>
                  <a:pt x="466" y="223"/>
                </a:lnTo>
                <a:lnTo>
                  <a:pt x="452" y="213"/>
                </a:lnTo>
                <a:lnTo>
                  <a:pt x="452" y="213"/>
                </a:lnTo>
                <a:lnTo>
                  <a:pt x="439" y="203"/>
                </a:lnTo>
                <a:lnTo>
                  <a:pt x="424" y="194"/>
                </a:lnTo>
                <a:lnTo>
                  <a:pt x="408" y="187"/>
                </a:lnTo>
                <a:lnTo>
                  <a:pt x="393" y="182"/>
                </a:lnTo>
                <a:lnTo>
                  <a:pt x="376" y="177"/>
                </a:lnTo>
                <a:lnTo>
                  <a:pt x="359" y="174"/>
                </a:lnTo>
                <a:lnTo>
                  <a:pt x="343" y="172"/>
                </a:lnTo>
                <a:lnTo>
                  <a:pt x="326" y="171"/>
                </a:lnTo>
                <a:lnTo>
                  <a:pt x="326" y="171"/>
                </a:lnTo>
                <a:lnTo>
                  <a:pt x="309" y="172"/>
                </a:lnTo>
                <a:lnTo>
                  <a:pt x="292" y="174"/>
                </a:lnTo>
                <a:lnTo>
                  <a:pt x="275" y="177"/>
                </a:lnTo>
                <a:lnTo>
                  <a:pt x="258" y="181"/>
                </a:lnTo>
                <a:lnTo>
                  <a:pt x="241" y="186"/>
                </a:lnTo>
                <a:lnTo>
                  <a:pt x="224" y="192"/>
                </a:lnTo>
                <a:lnTo>
                  <a:pt x="209" y="201"/>
                </a:lnTo>
                <a:lnTo>
                  <a:pt x="192" y="211"/>
                </a:lnTo>
                <a:lnTo>
                  <a:pt x="192" y="211"/>
                </a:lnTo>
                <a:lnTo>
                  <a:pt x="176" y="223"/>
                </a:lnTo>
                <a:lnTo>
                  <a:pt x="159" y="236"/>
                </a:lnTo>
                <a:lnTo>
                  <a:pt x="144" y="252"/>
                </a:lnTo>
                <a:lnTo>
                  <a:pt x="130" y="267"/>
                </a:lnTo>
                <a:lnTo>
                  <a:pt x="118" y="284"/>
                </a:lnTo>
                <a:lnTo>
                  <a:pt x="108" y="300"/>
                </a:lnTo>
                <a:lnTo>
                  <a:pt x="100" y="317"/>
                </a:lnTo>
                <a:lnTo>
                  <a:pt x="91" y="336"/>
                </a:lnTo>
                <a:lnTo>
                  <a:pt x="91" y="336"/>
                </a:lnTo>
                <a:lnTo>
                  <a:pt x="86" y="358"/>
                </a:lnTo>
                <a:lnTo>
                  <a:pt x="81" y="380"/>
                </a:lnTo>
                <a:lnTo>
                  <a:pt x="79" y="402"/>
                </a:lnTo>
                <a:lnTo>
                  <a:pt x="81" y="424"/>
                </a:lnTo>
                <a:lnTo>
                  <a:pt x="84" y="446"/>
                </a:lnTo>
                <a:lnTo>
                  <a:pt x="90" y="467"/>
                </a:lnTo>
                <a:lnTo>
                  <a:pt x="98" y="489"/>
                </a:lnTo>
                <a:lnTo>
                  <a:pt x="110" y="510"/>
                </a:lnTo>
                <a:lnTo>
                  <a:pt x="110" y="510"/>
                </a:lnTo>
                <a:lnTo>
                  <a:pt x="98" y="510"/>
                </a:lnTo>
                <a:lnTo>
                  <a:pt x="86" y="513"/>
                </a:lnTo>
                <a:lnTo>
                  <a:pt x="76" y="516"/>
                </a:lnTo>
                <a:lnTo>
                  <a:pt x="66" y="520"/>
                </a:lnTo>
                <a:lnTo>
                  <a:pt x="56" y="527"/>
                </a:lnTo>
                <a:lnTo>
                  <a:pt x="46" y="533"/>
                </a:lnTo>
                <a:lnTo>
                  <a:pt x="37" y="540"/>
                </a:lnTo>
                <a:lnTo>
                  <a:pt x="31" y="548"/>
                </a:lnTo>
                <a:lnTo>
                  <a:pt x="24" y="557"/>
                </a:lnTo>
                <a:lnTo>
                  <a:pt x="17" y="567"/>
                </a:lnTo>
                <a:lnTo>
                  <a:pt x="12" y="577"/>
                </a:lnTo>
                <a:lnTo>
                  <a:pt x="7" y="589"/>
                </a:lnTo>
                <a:lnTo>
                  <a:pt x="4" y="601"/>
                </a:lnTo>
                <a:lnTo>
                  <a:pt x="2" y="613"/>
                </a:lnTo>
                <a:lnTo>
                  <a:pt x="0" y="624"/>
                </a:lnTo>
                <a:lnTo>
                  <a:pt x="0" y="638"/>
                </a:lnTo>
                <a:lnTo>
                  <a:pt x="0" y="638"/>
                </a:lnTo>
                <a:lnTo>
                  <a:pt x="2" y="650"/>
                </a:lnTo>
                <a:lnTo>
                  <a:pt x="4" y="661"/>
                </a:lnTo>
                <a:lnTo>
                  <a:pt x="7" y="673"/>
                </a:lnTo>
                <a:lnTo>
                  <a:pt x="12" y="683"/>
                </a:lnTo>
                <a:lnTo>
                  <a:pt x="17" y="694"/>
                </a:lnTo>
                <a:lnTo>
                  <a:pt x="22" y="704"/>
                </a:lnTo>
                <a:lnTo>
                  <a:pt x="29" y="712"/>
                </a:lnTo>
                <a:lnTo>
                  <a:pt x="36" y="721"/>
                </a:lnTo>
                <a:lnTo>
                  <a:pt x="44" y="729"/>
                </a:lnTo>
                <a:lnTo>
                  <a:pt x="52" y="736"/>
                </a:lnTo>
                <a:lnTo>
                  <a:pt x="63" y="741"/>
                </a:lnTo>
                <a:lnTo>
                  <a:pt x="73" y="746"/>
                </a:lnTo>
                <a:lnTo>
                  <a:pt x="83" y="749"/>
                </a:lnTo>
                <a:lnTo>
                  <a:pt x="93" y="753"/>
                </a:lnTo>
                <a:lnTo>
                  <a:pt x="105" y="754"/>
                </a:lnTo>
                <a:lnTo>
                  <a:pt x="115" y="756"/>
                </a:lnTo>
                <a:lnTo>
                  <a:pt x="115" y="756"/>
                </a:lnTo>
                <a:close/>
              </a:path>
            </a:pathLst>
          </a:custGeom>
          <a:gradFill flip="none" rotWithShape="1">
            <a:gsLst>
              <a:gs pos="0">
                <a:srgbClr val="00B0F0">
                  <a:alpha val="24000"/>
                </a:srgbClr>
              </a:gs>
              <a:gs pos="21000">
                <a:srgbClr val="00B0F0">
                  <a:alpha val="50000"/>
                </a:srgbClr>
              </a:gs>
              <a:gs pos="44000">
                <a:srgbClr val="00B0F0">
                  <a:alpha val="39000"/>
                </a:srgbClr>
              </a:gs>
              <a:gs pos="100000">
                <a:srgbClr val="1F3267">
                  <a:alpha val="14000"/>
                </a:srgbClr>
              </a:gs>
            </a:gsLst>
            <a:lin ang="2700000" scaled="1"/>
            <a:tileRect/>
          </a:gradFill>
          <a:ln w="3175" cap="flat" cmpd="sng" algn="ctr">
            <a:solidFill>
              <a:srgbClr val="6DA6D9"/>
            </a:solidFill>
            <a:prstDash val="solid"/>
            <a:round/>
            <a:headEnd type="none" w="med" len="med"/>
            <a:tailEnd type="none" w="med" len="med"/>
          </a:ln>
          <a:effectLst/>
          <a:scene3d>
            <a:camera prst="orthographicFront"/>
            <a:lightRig rig="flat" dir="t"/>
          </a:scene3d>
        </p:spPr>
        <p:txBody>
          <a:bodyPr lIns="82083" tIns="41042" rIns="82083" bIns="41042" rtlCol="0" anchor="ctr"/>
          <a:lstStyle/>
          <a:p>
            <a:pPr lvl="4"/>
            <a:endParaRPr lang="zh-CN" altLang="en-US" dirty="0">
              <a:latin typeface="+mj-lt"/>
              <a:ea typeface="微软雅黑" panose="020B0503020204020204" pitchFamily="34" charset="-122"/>
              <a:cs typeface="Arial" panose="020B0604020202020204" pitchFamily="34" charset="0"/>
              <a:sym typeface="+mn-lt"/>
            </a:endParaRPr>
          </a:p>
        </p:txBody>
      </p:sp>
      <p:cxnSp>
        <p:nvCxnSpPr>
          <p:cNvPr id="272" name="912684596"/>
          <p:cNvCxnSpPr/>
          <p:nvPr/>
        </p:nvCxnSpPr>
        <p:spPr>
          <a:xfrm>
            <a:off x="1175046" y="3381030"/>
            <a:ext cx="2798530" cy="105"/>
          </a:xfrm>
          <a:prstGeom prst="line">
            <a:avLst/>
          </a:prstGeom>
          <a:gradFill flip="none" rotWithShape="1">
            <a:gsLst>
              <a:gs pos="0">
                <a:srgbClr val="00B0F0">
                  <a:alpha val="0"/>
                </a:srgbClr>
              </a:gs>
              <a:gs pos="100000">
                <a:srgbClr val="00B0F0">
                  <a:alpha val="13000"/>
                </a:srgbClr>
              </a:gs>
            </a:gsLst>
            <a:lin ang="16200000" scaled="1"/>
            <a:tileRect/>
          </a:gradFill>
          <a:ln w="3175" cap="flat" cmpd="sng" algn="ctr">
            <a:noFill/>
            <a:prstDash val="solid"/>
            <a:round/>
            <a:headEnd type="none" w="med" len="med"/>
            <a:tailEnd type="none" w="med" len="med"/>
          </a:ln>
          <a:effectLst/>
          <a:scene3d>
            <a:camera prst="orthographicFront"/>
            <a:lightRig rig="flat" dir="t"/>
          </a:scene3d>
        </p:spPr>
      </p:cxnSp>
      <p:sp>
        <p:nvSpPr>
          <p:cNvPr id="273" name="108785638"/>
          <p:cNvSpPr/>
          <p:nvPr>
            <p:custDataLst>
              <p:tags r:id="rId5"/>
            </p:custDataLst>
          </p:nvPr>
        </p:nvSpPr>
        <p:spPr>
          <a:xfrm>
            <a:off x="743507" y="2922431"/>
            <a:ext cx="1540486" cy="184666"/>
          </a:xfrm>
          <a:prstGeom prst="rect">
            <a:avLst/>
          </a:prstGeom>
        </p:spPr>
        <p:txBody>
          <a:bodyPr wrap="none" lIns="0" tIns="0" rIns="0" bIns="0">
            <a:spAutoFit/>
          </a:bodyPr>
          <a:lstStyle/>
          <a:p>
            <a:pPr algn="ctr" defTabSz="728667">
              <a:defRPr/>
            </a:pPr>
            <a:r>
              <a:rPr kumimoji="1" lang="en-US" altLang="zh-CN" sz="1200" kern="0" dirty="0">
                <a:latin typeface="+mj-lt"/>
                <a:ea typeface="微软雅黑" panose="020B0503020204020204" pitchFamily="34" charset="-122"/>
                <a:cs typeface="Arial" panose="020B0604020202020204" pitchFamily="34" charset="0"/>
                <a:sym typeface="+mn-lt"/>
              </a:rPr>
              <a:t>Cloud Management</a:t>
            </a:r>
            <a:endParaRPr kumimoji="1" lang="zh-CN" altLang="en-US" sz="1200" kern="0" dirty="0">
              <a:latin typeface="+mj-lt"/>
              <a:ea typeface="微软雅黑" panose="020B0503020204020204" pitchFamily="34" charset="-122"/>
              <a:cs typeface="Arial" panose="020B0604020202020204" pitchFamily="34" charset="0"/>
              <a:sym typeface="+mn-lt"/>
            </a:endParaRPr>
          </a:p>
        </p:txBody>
      </p:sp>
      <p:sp>
        <p:nvSpPr>
          <p:cNvPr id="274" name="1658199061"/>
          <p:cNvSpPr/>
          <p:nvPr>
            <p:custDataLst>
              <p:tags r:id="rId6"/>
            </p:custDataLst>
          </p:nvPr>
        </p:nvSpPr>
        <p:spPr>
          <a:xfrm>
            <a:off x="2465210" y="2923770"/>
            <a:ext cx="644407" cy="184666"/>
          </a:xfrm>
          <a:prstGeom prst="rect">
            <a:avLst/>
          </a:prstGeom>
        </p:spPr>
        <p:txBody>
          <a:bodyPr wrap="none" lIns="0" tIns="0" rIns="0" bIns="0">
            <a:spAutoFit/>
          </a:bodyPr>
          <a:lstStyle/>
          <a:p>
            <a:pPr algn="ctr" defTabSz="728667">
              <a:defRPr/>
            </a:pPr>
            <a:r>
              <a:rPr kumimoji="1" lang="en-US" altLang="zh-CN" sz="1200" kern="0" dirty="0">
                <a:latin typeface="+mj-lt"/>
                <a:ea typeface="微软雅黑" panose="020B0503020204020204" pitchFamily="34" charset="-122"/>
                <a:cs typeface="Arial" panose="020B0604020202020204" pitchFamily="34" charset="0"/>
                <a:sym typeface="+mn-lt"/>
              </a:rPr>
              <a:t>Big Data</a:t>
            </a:r>
          </a:p>
        </p:txBody>
      </p:sp>
      <p:sp>
        <p:nvSpPr>
          <p:cNvPr id="275" name="1507440304"/>
          <p:cNvSpPr/>
          <p:nvPr>
            <p:custDataLst>
              <p:tags r:id="rId7"/>
            </p:custDataLst>
          </p:nvPr>
        </p:nvSpPr>
        <p:spPr>
          <a:xfrm>
            <a:off x="3478424" y="2922405"/>
            <a:ext cx="379912" cy="184666"/>
          </a:xfrm>
          <a:prstGeom prst="rect">
            <a:avLst/>
          </a:prstGeom>
        </p:spPr>
        <p:txBody>
          <a:bodyPr wrap="none" lIns="0" tIns="0" rIns="0" bIns="0">
            <a:spAutoFit/>
          </a:bodyPr>
          <a:lstStyle/>
          <a:p>
            <a:pPr algn="ctr" defTabSz="728667">
              <a:defRPr/>
            </a:pPr>
            <a:r>
              <a:rPr kumimoji="1" lang="en-US" altLang="zh-CN" sz="1200" kern="0" dirty="0" err="1">
                <a:latin typeface="+mj-lt"/>
                <a:ea typeface="微软雅黑" panose="020B0503020204020204" pitchFamily="34" charset="-122"/>
                <a:cs typeface="Arial" panose="020B0604020202020204" pitchFamily="34" charset="0"/>
                <a:sym typeface="+mn-lt"/>
              </a:rPr>
              <a:t>PaaS</a:t>
            </a:r>
            <a:endParaRPr kumimoji="1" lang="zh-CN" altLang="en-US" sz="1200" kern="0" dirty="0">
              <a:latin typeface="+mj-lt"/>
              <a:ea typeface="微软雅黑" panose="020B0503020204020204" pitchFamily="34" charset="-122"/>
              <a:cs typeface="Arial" panose="020B0604020202020204" pitchFamily="34" charset="0"/>
              <a:sym typeface="+mn-lt"/>
            </a:endParaRPr>
          </a:p>
        </p:txBody>
      </p:sp>
      <p:sp>
        <p:nvSpPr>
          <p:cNvPr id="276" name="636499424"/>
          <p:cNvSpPr/>
          <p:nvPr/>
        </p:nvSpPr>
        <p:spPr>
          <a:xfrm>
            <a:off x="2482128" y="2551287"/>
            <a:ext cx="426399" cy="215444"/>
          </a:xfrm>
          <a:prstGeom prst="rect">
            <a:avLst/>
          </a:prstGeom>
          <a:noFill/>
          <a:ln w="12700" cap="flat">
            <a:noFill/>
            <a:round/>
          </a:ln>
          <a:effectLst/>
          <a:extLst>
            <a:ext uri="{C572A759-6A51-4108-AA02-DFA0A04FC94B}"/>
          </a:extLst>
        </p:spPr>
        <p:txBody>
          <a:bodyPr wrap="none" lIns="0" tIns="0" rIns="0" bIns="0" anchor="ctr">
            <a:spAutoFit/>
          </a:bodyPr>
          <a:lstStyle/>
          <a:p>
            <a:pPr>
              <a:buClr>
                <a:srgbClr val="6C6C6C"/>
              </a:buClr>
              <a:buFont typeface="Wingdings" pitchFamily="2" charset="2"/>
              <a:buNone/>
              <a:defRPr/>
            </a:pPr>
            <a:r>
              <a:rPr kumimoji="1" lang="en-US" altLang="zh-CN" sz="1400" kern="0" dirty="0">
                <a:latin typeface="+mj-lt"/>
                <a:ea typeface="微软雅黑" panose="020B0503020204020204" pitchFamily="34" charset="-122"/>
                <a:cs typeface="Arial" panose="020B0604020202020204" pitchFamily="34" charset="0"/>
                <a:sym typeface="+mn-lt"/>
              </a:rPr>
              <a:t>SaaS</a:t>
            </a:r>
            <a:endParaRPr kumimoji="1" lang="zh-CN" altLang="zh-CN" sz="1400" kern="0" dirty="0">
              <a:latin typeface="+mj-lt"/>
              <a:ea typeface="微软雅黑" panose="020B0503020204020204" pitchFamily="34" charset="-122"/>
              <a:cs typeface="Arial" panose="020B0604020202020204" pitchFamily="34" charset="0"/>
              <a:sym typeface="+mn-lt"/>
            </a:endParaRPr>
          </a:p>
        </p:txBody>
      </p:sp>
      <p:sp>
        <p:nvSpPr>
          <p:cNvPr id="277" name="698711935"/>
          <p:cNvSpPr/>
          <p:nvPr>
            <p:custDataLst>
              <p:tags r:id="rId8"/>
            </p:custDataLst>
          </p:nvPr>
        </p:nvSpPr>
        <p:spPr>
          <a:xfrm>
            <a:off x="1884372" y="3572186"/>
            <a:ext cx="856455" cy="756726"/>
          </a:xfrm>
          <a:prstGeom prst="rect">
            <a:avLst/>
          </a:prstGeom>
          <a:ln>
            <a:noFill/>
          </a:ln>
        </p:spPr>
        <p:txBody>
          <a:bodyPr wrap="square" lIns="109343" tIns="54664" rIns="109343" bIns="54664">
            <a:spAutoFit/>
          </a:bodyPr>
          <a:lstStyle/>
          <a:p>
            <a:pPr>
              <a:defRPr/>
            </a:pPr>
            <a:r>
              <a:rPr lang="en-US" altLang="zh-CN" sz="1400" kern="0" dirty="0">
                <a:latin typeface="+mj-lt"/>
                <a:ea typeface="微软雅黑" panose="020B0503020204020204" pitchFamily="34" charset="-122"/>
                <a:cs typeface="Arial" panose="020B0604020202020204" pitchFamily="34" charset="0"/>
                <a:sym typeface="+mn-lt"/>
              </a:rPr>
              <a:t>Fixed Network</a:t>
            </a:r>
          </a:p>
        </p:txBody>
      </p:sp>
      <p:grpSp>
        <p:nvGrpSpPr>
          <p:cNvPr id="278" name="组合 277"/>
          <p:cNvGrpSpPr/>
          <p:nvPr/>
        </p:nvGrpSpPr>
        <p:grpSpPr>
          <a:xfrm>
            <a:off x="1559312" y="3462809"/>
            <a:ext cx="395973" cy="431423"/>
            <a:chOff x="1164809" y="4124105"/>
            <a:chExt cx="474804" cy="504000"/>
          </a:xfrm>
        </p:grpSpPr>
        <p:sp>
          <p:nvSpPr>
            <p:cNvPr id="279" name="515092649"/>
            <p:cNvSpPr/>
            <p:nvPr/>
          </p:nvSpPr>
          <p:spPr>
            <a:xfrm>
              <a:off x="1164809" y="4124105"/>
              <a:ext cx="474804" cy="504000"/>
            </a:xfrm>
            <a:prstGeom prst="ellipse">
              <a:avLst/>
            </a:prstGeom>
            <a:noFill/>
            <a:ln w="952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latin typeface="+mj-lt"/>
                <a:ea typeface="微软雅黑" panose="020B0503020204020204" pitchFamily="34" charset="-122"/>
                <a:cs typeface="Arial" panose="020B0604020202020204" pitchFamily="34" charset="0"/>
                <a:sym typeface="+mn-lt"/>
              </a:endParaRPr>
            </a:p>
          </p:txBody>
        </p:sp>
        <p:sp>
          <p:nvSpPr>
            <p:cNvPr id="280" name="1330511064"/>
            <p:cNvSpPr>
              <a:spLocks noEditPoints="1"/>
            </p:cNvSpPr>
            <p:nvPr/>
          </p:nvSpPr>
          <p:spPr bwMode="auto">
            <a:xfrm>
              <a:off x="1232638" y="4178105"/>
              <a:ext cx="339146" cy="396000"/>
            </a:xfrm>
            <a:custGeom>
              <a:avLst/>
              <a:gdLst/>
              <a:ahLst/>
              <a:cxnLst>
                <a:cxn ang="0">
                  <a:pos x="50" y="0"/>
                </a:cxn>
                <a:cxn ang="0">
                  <a:pos x="49" y="0"/>
                </a:cxn>
                <a:cxn ang="0">
                  <a:pos x="49" y="100"/>
                </a:cxn>
                <a:cxn ang="0">
                  <a:pos x="50" y="100"/>
                </a:cxn>
                <a:cxn ang="0">
                  <a:pos x="100" y="50"/>
                </a:cxn>
                <a:cxn ang="0">
                  <a:pos x="4" y="53"/>
                </a:cxn>
                <a:cxn ang="0">
                  <a:pos x="25" y="72"/>
                </a:cxn>
                <a:cxn ang="0">
                  <a:pos x="4" y="53"/>
                </a:cxn>
                <a:cxn ang="0">
                  <a:pos x="52" y="5"/>
                </a:cxn>
                <a:cxn ang="0">
                  <a:pos x="52" y="25"/>
                </a:cxn>
                <a:cxn ang="0">
                  <a:pos x="73" y="49"/>
                </a:cxn>
                <a:cxn ang="0">
                  <a:pos x="52" y="29"/>
                </a:cxn>
                <a:cxn ang="0">
                  <a:pos x="48" y="5"/>
                </a:cxn>
                <a:cxn ang="0">
                  <a:pos x="30" y="25"/>
                </a:cxn>
                <a:cxn ang="0">
                  <a:pos x="48" y="29"/>
                </a:cxn>
                <a:cxn ang="0">
                  <a:pos x="26" y="49"/>
                </a:cxn>
                <a:cxn ang="0">
                  <a:pos x="48" y="29"/>
                </a:cxn>
                <a:cxn ang="0">
                  <a:pos x="4" y="49"/>
                </a:cxn>
                <a:cxn ang="0">
                  <a:pos x="25" y="29"/>
                </a:cxn>
                <a:cxn ang="0">
                  <a:pos x="26" y="53"/>
                </a:cxn>
                <a:cxn ang="0">
                  <a:pos x="48" y="72"/>
                </a:cxn>
                <a:cxn ang="0">
                  <a:pos x="26" y="53"/>
                </a:cxn>
                <a:cxn ang="0">
                  <a:pos x="48" y="96"/>
                </a:cxn>
                <a:cxn ang="0">
                  <a:pos x="48" y="76"/>
                </a:cxn>
                <a:cxn ang="0">
                  <a:pos x="52" y="76"/>
                </a:cxn>
                <a:cxn ang="0">
                  <a:pos x="52" y="96"/>
                </a:cxn>
                <a:cxn ang="0">
                  <a:pos x="52" y="53"/>
                </a:cxn>
                <a:cxn ang="0">
                  <a:pos x="70" y="72"/>
                </a:cxn>
                <a:cxn ang="0">
                  <a:pos x="77" y="53"/>
                </a:cxn>
                <a:cxn ang="0">
                  <a:pos x="91" y="72"/>
                </a:cxn>
                <a:cxn ang="0">
                  <a:pos x="77" y="53"/>
                </a:cxn>
                <a:cxn ang="0">
                  <a:pos x="74" y="29"/>
                </a:cxn>
                <a:cxn ang="0">
                  <a:pos x="96" y="49"/>
                </a:cxn>
                <a:cxn ang="0">
                  <a:pos x="88" y="25"/>
                </a:cxn>
                <a:cxn ang="0">
                  <a:pos x="62" y="6"/>
                </a:cxn>
                <a:cxn ang="0">
                  <a:pos x="36" y="7"/>
                </a:cxn>
                <a:cxn ang="0">
                  <a:pos x="12" y="25"/>
                </a:cxn>
                <a:cxn ang="0">
                  <a:pos x="12" y="76"/>
                </a:cxn>
                <a:cxn ang="0">
                  <a:pos x="36" y="94"/>
                </a:cxn>
                <a:cxn ang="0">
                  <a:pos x="62" y="95"/>
                </a:cxn>
                <a:cxn ang="0">
                  <a:pos x="88" y="76"/>
                </a:cxn>
              </a:cxnLst>
              <a:rect l="0" t="0" r="r" b="b"/>
              <a:pathLst>
                <a:path w="100" h="100">
                  <a:moveTo>
                    <a:pt x="50" y="0"/>
                  </a:moveTo>
                  <a:cubicBezTo>
                    <a:pt x="50" y="0"/>
                    <a:pt x="50" y="0"/>
                    <a:pt x="50" y="0"/>
                  </a:cubicBezTo>
                  <a:cubicBezTo>
                    <a:pt x="50" y="0"/>
                    <a:pt x="50" y="0"/>
                    <a:pt x="50" y="0"/>
                  </a:cubicBezTo>
                  <a:cubicBezTo>
                    <a:pt x="49" y="0"/>
                    <a:pt x="49" y="0"/>
                    <a:pt x="49" y="0"/>
                  </a:cubicBezTo>
                  <a:cubicBezTo>
                    <a:pt x="22" y="1"/>
                    <a:pt x="0" y="23"/>
                    <a:pt x="0" y="50"/>
                  </a:cubicBezTo>
                  <a:cubicBezTo>
                    <a:pt x="0" y="77"/>
                    <a:pt x="22" y="100"/>
                    <a:pt x="49" y="100"/>
                  </a:cubicBezTo>
                  <a:cubicBezTo>
                    <a:pt x="50" y="100"/>
                    <a:pt x="50" y="100"/>
                    <a:pt x="50" y="100"/>
                  </a:cubicBezTo>
                  <a:cubicBezTo>
                    <a:pt x="50" y="100"/>
                    <a:pt x="50" y="100"/>
                    <a:pt x="50" y="100"/>
                  </a:cubicBezTo>
                  <a:cubicBezTo>
                    <a:pt x="50" y="100"/>
                    <a:pt x="50" y="100"/>
                    <a:pt x="50" y="100"/>
                  </a:cubicBezTo>
                  <a:cubicBezTo>
                    <a:pt x="78" y="100"/>
                    <a:pt x="100" y="78"/>
                    <a:pt x="100" y="50"/>
                  </a:cubicBezTo>
                  <a:cubicBezTo>
                    <a:pt x="100" y="23"/>
                    <a:pt x="78" y="0"/>
                    <a:pt x="50" y="0"/>
                  </a:cubicBezTo>
                  <a:close/>
                  <a:moveTo>
                    <a:pt x="4" y="53"/>
                  </a:moveTo>
                  <a:cubicBezTo>
                    <a:pt x="22" y="53"/>
                    <a:pt x="22" y="53"/>
                    <a:pt x="22" y="53"/>
                  </a:cubicBezTo>
                  <a:cubicBezTo>
                    <a:pt x="23" y="60"/>
                    <a:pt x="23" y="66"/>
                    <a:pt x="25" y="72"/>
                  </a:cubicBezTo>
                  <a:cubicBezTo>
                    <a:pt x="9" y="72"/>
                    <a:pt x="9" y="72"/>
                    <a:pt x="9" y="72"/>
                  </a:cubicBezTo>
                  <a:cubicBezTo>
                    <a:pt x="6" y="66"/>
                    <a:pt x="5" y="60"/>
                    <a:pt x="4" y="53"/>
                  </a:cubicBezTo>
                  <a:close/>
                  <a:moveTo>
                    <a:pt x="52" y="25"/>
                  </a:moveTo>
                  <a:cubicBezTo>
                    <a:pt x="52" y="5"/>
                    <a:pt x="52" y="5"/>
                    <a:pt x="52" y="5"/>
                  </a:cubicBezTo>
                  <a:cubicBezTo>
                    <a:pt x="59" y="6"/>
                    <a:pt x="65" y="14"/>
                    <a:pt x="69" y="25"/>
                  </a:cubicBezTo>
                  <a:lnTo>
                    <a:pt x="52" y="25"/>
                  </a:lnTo>
                  <a:close/>
                  <a:moveTo>
                    <a:pt x="70" y="29"/>
                  </a:moveTo>
                  <a:cubicBezTo>
                    <a:pt x="72" y="35"/>
                    <a:pt x="73" y="42"/>
                    <a:pt x="73" y="49"/>
                  </a:cubicBezTo>
                  <a:cubicBezTo>
                    <a:pt x="52" y="49"/>
                    <a:pt x="52" y="49"/>
                    <a:pt x="52" y="49"/>
                  </a:cubicBezTo>
                  <a:cubicBezTo>
                    <a:pt x="52" y="29"/>
                    <a:pt x="52" y="29"/>
                    <a:pt x="52" y="29"/>
                  </a:cubicBezTo>
                  <a:lnTo>
                    <a:pt x="70" y="29"/>
                  </a:lnTo>
                  <a:close/>
                  <a:moveTo>
                    <a:pt x="48" y="5"/>
                  </a:moveTo>
                  <a:cubicBezTo>
                    <a:pt x="48" y="25"/>
                    <a:pt x="48" y="25"/>
                    <a:pt x="48" y="25"/>
                  </a:cubicBezTo>
                  <a:cubicBezTo>
                    <a:pt x="30" y="25"/>
                    <a:pt x="30" y="25"/>
                    <a:pt x="30" y="25"/>
                  </a:cubicBezTo>
                  <a:cubicBezTo>
                    <a:pt x="34" y="13"/>
                    <a:pt x="41" y="5"/>
                    <a:pt x="48" y="5"/>
                  </a:cubicBezTo>
                  <a:close/>
                  <a:moveTo>
                    <a:pt x="48" y="29"/>
                  </a:moveTo>
                  <a:cubicBezTo>
                    <a:pt x="48" y="49"/>
                    <a:pt x="48" y="49"/>
                    <a:pt x="48" y="49"/>
                  </a:cubicBezTo>
                  <a:cubicBezTo>
                    <a:pt x="26" y="49"/>
                    <a:pt x="26" y="49"/>
                    <a:pt x="26" y="49"/>
                  </a:cubicBezTo>
                  <a:cubicBezTo>
                    <a:pt x="26" y="42"/>
                    <a:pt x="27" y="35"/>
                    <a:pt x="29" y="29"/>
                  </a:cubicBezTo>
                  <a:lnTo>
                    <a:pt x="48" y="29"/>
                  </a:lnTo>
                  <a:close/>
                  <a:moveTo>
                    <a:pt x="22" y="49"/>
                  </a:moveTo>
                  <a:cubicBezTo>
                    <a:pt x="4" y="49"/>
                    <a:pt x="4" y="49"/>
                    <a:pt x="4" y="49"/>
                  </a:cubicBezTo>
                  <a:cubicBezTo>
                    <a:pt x="4" y="42"/>
                    <a:pt x="6" y="35"/>
                    <a:pt x="10" y="29"/>
                  </a:cubicBezTo>
                  <a:cubicBezTo>
                    <a:pt x="25" y="29"/>
                    <a:pt x="25" y="29"/>
                    <a:pt x="25" y="29"/>
                  </a:cubicBezTo>
                  <a:cubicBezTo>
                    <a:pt x="23" y="35"/>
                    <a:pt x="22" y="42"/>
                    <a:pt x="22" y="49"/>
                  </a:cubicBezTo>
                  <a:close/>
                  <a:moveTo>
                    <a:pt x="26" y="53"/>
                  </a:moveTo>
                  <a:cubicBezTo>
                    <a:pt x="48" y="53"/>
                    <a:pt x="48" y="53"/>
                    <a:pt x="48" y="53"/>
                  </a:cubicBezTo>
                  <a:cubicBezTo>
                    <a:pt x="48" y="72"/>
                    <a:pt x="48" y="72"/>
                    <a:pt x="48" y="72"/>
                  </a:cubicBezTo>
                  <a:cubicBezTo>
                    <a:pt x="29" y="72"/>
                    <a:pt x="29" y="72"/>
                    <a:pt x="29" y="72"/>
                  </a:cubicBezTo>
                  <a:cubicBezTo>
                    <a:pt x="28" y="66"/>
                    <a:pt x="27" y="60"/>
                    <a:pt x="26" y="53"/>
                  </a:cubicBezTo>
                  <a:close/>
                  <a:moveTo>
                    <a:pt x="48" y="76"/>
                  </a:moveTo>
                  <a:cubicBezTo>
                    <a:pt x="48" y="96"/>
                    <a:pt x="48" y="96"/>
                    <a:pt x="48" y="96"/>
                  </a:cubicBezTo>
                  <a:cubicBezTo>
                    <a:pt x="41" y="95"/>
                    <a:pt x="34" y="87"/>
                    <a:pt x="30" y="76"/>
                  </a:cubicBezTo>
                  <a:lnTo>
                    <a:pt x="48" y="76"/>
                  </a:lnTo>
                  <a:close/>
                  <a:moveTo>
                    <a:pt x="52" y="96"/>
                  </a:moveTo>
                  <a:cubicBezTo>
                    <a:pt x="52" y="76"/>
                    <a:pt x="52" y="76"/>
                    <a:pt x="52" y="76"/>
                  </a:cubicBezTo>
                  <a:cubicBezTo>
                    <a:pt x="69" y="76"/>
                    <a:pt x="69" y="76"/>
                    <a:pt x="69" y="76"/>
                  </a:cubicBezTo>
                  <a:cubicBezTo>
                    <a:pt x="65" y="87"/>
                    <a:pt x="59" y="94"/>
                    <a:pt x="52" y="96"/>
                  </a:cubicBezTo>
                  <a:close/>
                  <a:moveTo>
                    <a:pt x="52" y="72"/>
                  </a:moveTo>
                  <a:cubicBezTo>
                    <a:pt x="52" y="53"/>
                    <a:pt x="52" y="53"/>
                    <a:pt x="52" y="53"/>
                  </a:cubicBezTo>
                  <a:cubicBezTo>
                    <a:pt x="73" y="53"/>
                    <a:pt x="73" y="53"/>
                    <a:pt x="73" y="53"/>
                  </a:cubicBezTo>
                  <a:cubicBezTo>
                    <a:pt x="72" y="60"/>
                    <a:pt x="72" y="66"/>
                    <a:pt x="70" y="72"/>
                  </a:cubicBezTo>
                  <a:lnTo>
                    <a:pt x="52" y="72"/>
                  </a:lnTo>
                  <a:close/>
                  <a:moveTo>
                    <a:pt x="77" y="53"/>
                  </a:moveTo>
                  <a:cubicBezTo>
                    <a:pt x="96" y="53"/>
                    <a:pt x="96" y="53"/>
                    <a:pt x="96" y="53"/>
                  </a:cubicBezTo>
                  <a:cubicBezTo>
                    <a:pt x="96" y="60"/>
                    <a:pt x="94" y="66"/>
                    <a:pt x="91" y="72"/>
                  </a:cubicBezTo>
                  <a:cubicBezTo>
                    <a:pt x="74" y="72"/>
                    <a:pt x="74" y="72"/>
                    <a:pt x="74" y="72"/>
                  </a:cubicBezTo>
                  <a:cubicBezTo>
                    <a:pt x="76" y="66"/>
                    <a:pt x="76" y="60"/>
                    <a:pt x="77" y="53"/>
                  </a:cubicBezTo>
                  <a:close/>
                  <a:moveTo>
                    <a:pt x="77" y="49"/>
                  </a:moveTo>
                  <a:cubicBezTo>
                    <a:pt x="77" y="42"/>
                    <a:pt x="76" y="35"/>
                    <a:pt x="74" y="29"/>
                  </a:cubicBezTo>
                  <a:cubicBezTo>
                    <a:pt x="91" y="29"/>
                    <a:pt x="91" y="29"/>
                    <a:pt x="91" y="29"/>
                  </a:cubicBezTo>
                  <a:cubicBezTo>
                    <a:pt x="94" y="35"/>
                    <a:pt x="96" y="42"/>
                    <a:pt x="96" y="49"/>
                  </a:cubicBezTo>
                  <a:lnTo>
                    <a:pt x="77" y="49"/>
                  </a:lnTo>
                  <a:close/>
                  <a:moveTo>
                    <a:pt x="88" y="25"/>
                  </a:moveTo>
                  <a:cubicBezTo>
                    <a:pt x="73" y="25"/>
                    <a:pt x="73" y="25"/>
                    <a:pt x="73" y="25"/>
                  </a:cubicBezTo>
                  <a:cubicBezTo>
                    <a:pt x="70" y="17"/>
                    <a:pt x="67" y="10"/>
                    <a:pt x="62" y="6"/>
                  </a:cubicBezTo>
                  <a:cubicBezTo>
                    <a:pt x="73" y="9"/>
                    <a:pt x="82" y="16"/>
                    <a:pt x="88" y="25"/>
                  </a:cubicBezTo>
                  <a:close/>
                  <a:moveTo>
                    <a:pt x="36" y="7"/>
                  </a:moveTo>
                  <a:cubicBezTo>
                    <a:pt x="32" y="11"/>
                    <a:pt x="29" y="17"/>
                    <a:pt x="26" y="25"/>
                  </a:cubicBezTo>
                  <a:cubicBezTo>
                    <a:pt x="12" y="25"/>
                    <a:pt x="12" y="25"/>
                    <a:pt x="12" y="25"/>
                  </a:cubicBezTo>
                  <a:cubicBezTo>
                    <a:pt x="18" y="16"/>
                    <a:pt x="26" y="10"/>
                    <a:pt x="36" y="7"/>
                  </a:cubicBezTo>
                  <a:close/>
                  <a:moveTo>
                    <a:pt x="12" y="76"/>
                  </a:moveTo>
                  <a:cubicBezTo>
                    <a:pt x="26" y="76"/>
                    <a:pt x="26" y="76"/>
                    <a:pt x="26" y="76"/>
                  </a:cubicBezTo>
                  <a:cubicBezTo>
                    <a:pt x="28" y="84"/>
                    <a:pt x="32" y="90"/>
                    <a:pt x="36" y="94"/>
                  </a:cubicBezTo>
                  <a:cubicBezTo>
                    <a:pt x="26" y="91"/>
                    <a:pt x="18" y="84"/>
                    <a:pt x="12" y="76"/>
                  </a:cubicBezTo>
                  <a:close/>
                  <a:moveTo>
                    <a:pt x="62" y="95"/>
                  </a:moveTo>
                  <a:cubicBezTo>
                    <a:pt x="67" y="90"/>
                    <a:pt x="71" y="84"/>
                    <a:pt x="73" y="76"/>
                  </a:cubicBezTo>
                  <a:cubicBezTo>
                    <a:pt x="88" y="76"/>
                    <a:pt x="88" y="76"/>
                    <a:pt x="88" y="76"/>
                  </a:cubicBezTo>
                  <a:cubicBezTo>
                    <a:pt x="82" y="85"/>
                    <a:pt x="73" y="92"/>
                    <a:pt x="62" y="95"/>
                  </a:cubicBezTo>
                  <a:close/>
                </a:path>
              </a:pathLst>
            </a:custGeom>
            <a:solidFill>
              <a:schemeClr val="accent1"/>
            </a:solidFill>
            <a:ln w="9525">
              <a:solidFill>
                <a:srgbClr val="00B0F0"/>
              </a:solidFill>
              <a:round/>
              <a:headEnd/>
              <a:tailEnd/>
            </a:ln>
          </p:spPr>
          <p:txBody>
            <a:bodyPr vert="horz" wrap="square" lIns="91437" tIns="45719" rIns="91437" bIns="45719" numCol="1" anchor="t" anchorCtr="0" compatLnSpc="1">
              <a:prstTxWarp prst="textNoShape">
                <a:avLst/>
              </a:prstTxWarp>
            </a:bodyPr>
            <a:lstStyle/>
            <a:p>
              <a:endParaRPr lang="zh-CN" altLang="en-US" dirty="0">
                <a:latin typeface="+mj-lt"/>
                <a:ea typeface="微软雅黑" panose="020B0503020204020204" pitchFamily="34" charset="-122"/>
                <a:cs typeface="Arial" panose="020B0604020202020204" pitchFamily="34" charset="0"/>
                <a:sym typeface="+mn-lt"/>
              </a:endParaRPr>
            </a:p>
          </p:txBody>
        </p:sp>
      </p:grpSp>
      <p:sp>
        <p:nvSpPr>
          <p:cNvPr id="281" name="1914009758"/>
          <p:cNvSpPr/>
          <p:nvPr>
            <p:custDataLst>
              <p:tags r:id="rId9"/>
            </p:custDataLst>
          </p:nvPr>
        </p:nvSpPr>
        <p:spPr>
          <a:xfrm>
            <a:off x="3054429" y="3573701"/>
            <a:ext cx="849779" cy="479707"/>
          </a:xfrm>
          <a:prstGeom prst="rect">
            <a:avLst/>
          </a:prstGeom>
        </p:spPr>
        <p:txBody>
          <a:bodyPr wrap="square" lIns="109321" tIns="54654" rIns="109321" bIns="54654">
            <a:spAutoFit/>
          </a:bodyPr>
          <a:lstStyle/>
          <a:p>
            <a:pPr>
              <a:defRPr/>
            </a:pPr>
            <a:r>
              <a:rPr lang="en-US" altLang="zh-CN" sz="1200" kern="0" dirty="0">
                <a:latin typeface="+mj-lt"/>
                <a:ea typeface="微软雅黑" panose="020B0503020204020204" pitchFamily="34" charset="-122"/>
                <a:cs typeface="Arial" panose="020B0604020202020204" pitchFamily="34" charset="0"/>
                <a:sym typeface="+mn-lt"/>
              </a:rPr>
              <a:t>Mobile Network</a:t>
            </a:r>
            <a:endParaRPr lang="zh-CN" altLang="en-US" sz="1200" kern="0" dirty="0">
              <a:latin typeface="+mj-lt"/>
              <a:ea typeface="微软雅黑" panose="020B0503020204020204" pitchFamily="34" charset="-122"/>
              <a:cs typeface="Arial" panose="020B0604020202020204" pitchFamily="34" charset="0"/>
              <a:sym typeface="+mn-lt"/>
            </a:endParaRPr>
          </a:p>
        </p:txBody>
      </p:sp>
      <p:grpSp>
        <p:nvGrpSpPr>
          <p:cNvPr id="282" name="组合 281"/>
          <p:cNvGrpSpPr/>
          <p:nvPr/>
        </p:nvGrpSpPr>
        <p:grpSpPr>
          <a:xfrm>
            <a:off x="2732792" y="3460036"/>
            <a:ext cx="381291" cy="410410"/>
            <a:chOff x="2533321" y="4124105"/>
            <a:chExt cx="474804" cy="504000"/>
          </a:xfrm>
        </p:grpSpPr>
        <p:sp>
          <p:nvSpPr>
            <p:cNvPr id="283" name="567649975"/>
            <p:cNvSpPr/>
            <p:nvPr/>
          </p:nvSpPr>
          <p:spPr>
            <a:xfrm>
              <a:off x="2533321" y="4124105"/>
              <a:ext cx="474804" cy="504000"/>
            </a:xfrm>
            <a:prstGeom prst="ellipse">
              <a:avLst/>
            </a:prstGeom>
            <a:noFill/>
            <a:ln w="952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91419" tIns="45709" rIns="91419" bIns="45709" rtlCol="0" anchor="ctr"/>
            <a:lstStyle/>
            <a:p>
              <a:pPr algn="ctr"/>
              <a:endParaRPr lang="zh-CN" altLang="en-US" dirty="0">
                <a:solidFill>
                  <a:schemeClr val="tx1"/>
                </a:solidFill>
                <a:latin typeface="+mj-lt"/>
                <a:ea typeface="微软雅黑" panose="020B0503020204020204" pitchFamily="34" charset="-122"/>
                <a:cs typeface="Arial" panose="020B0604020202020204" pitchFamily="34" charset="0"/>
                <a:sym typeface="+mn-lt"/>
              </a:endParaRPr>
            </a:p>
          </p:txBody>
        </p:sp>
        <p:grpSp>
          <p:nvGrpSpPr>
            <p:cNvPr id="284" name="组合 682"/>
            <p:cNvGrpSpPr/>
            <p:nvPr/>
          </p:nvGrpSpPr>
          <p:grpSpPr>
            <a:xfrm>
              <a:off x="2623429" y="4188091"/>
              <a:ext cx="301374" cy="376028"/>
              <a:chOff x="1455187" y="3616281"/>
              <a:chExt cx="185621" cy="376028"/>
            </a:xfrm>
            <a:solidFill>
              <a:schemeClr val="bg1">
                <a:lumMod val="95000"/>
              </a:schemeClr>
            </a:solidFill>
          </p:grpSpPr>
          <p:sp>
            <p:nvSpPr>
              <p:cNvPr id="285" name="2012582134"/>
              <p:cNvSpPr>
                <a:spLocks noEditPoints="1"/>
              </p:cNvSpPr>
              <p:nvPr/>
            </p:nvSpPr>
            <p:spPr bwMode="auto">
              <a:xfrm>
                <a:off x="1480034" y="3678952"/>
                <a:ext cx="138850" cy="313357"/>
              </a:xfrm>
              <a:custGeom>
                <a:avLst/>
                <a:gdLst/>
                <a:ahLst/>
                <a:cxnLst>
                  <a:cxn ang="0">
                    <a:pos x="25" y="10"/>
                  </a:cxn>
                  <a:cxn ang="0">
                    <a:pos x="28" y="6"/>
                  </a:cxn>
                  <a:cxn ang="0">
                    <a:pos x="22" y="0"/>
                  </a:cxn>
                  <a:cxn ang="0">
                    <a:pos x="16" y="6"/>
                  </a:cxn>
                  <a:cxn ang="0">
                    <a:pos x="19" y="10"/>
                  </a:cxn>
                  <a:cxn ang="0">
                    <a:pos x="0" y="77"/>
                  </a:cxn>
                  <a:cxn ang="0">
                    <a:pos x="1" y="80"/>
                  </a:cxn>
                  <a:cxn ang="0">
                    <a:pos x="4" y="79"/>
                  </a:cxn>
                  <a:cxn ang="0">
                    <a:pos x="7" y="68"/>
                  </a:cxn>
                  <a:cxn ang="0">
                    <a:pos x="38" y="68"/>
                  </a:cxn>
                  <a:cxn ang="0">
                    <a:pos x="41" y="79"/>
                  </a:cxn>
                  <a:cxn ang="0">
                    <a:pos x="43" y="80"/>
                  </a:cxn>
                  <a:cxn ang="0">
                    <a:pos x="43" y="80"/>
                  </a:cxn>
                  <a:cxn ang="0">
                    <a:pos x="44" y="77"/>
                  </a:cxn>
                  <a:cxn ang="0">
                    <a:pos x="25" y="10"/>
                  </a:cxn>
                  <a:cxn ang="0">
                    <a:pos x="14" y="44"/>
                  </a:cxn>
                  <a:cxn ang="0">
                    <a:pos x="31" y="44"/>
                  </a:cxn>
                  <a:cxn ang="0">
                    <a:pos x="33" y="52"/>
                  </a:cxn>
                  <a:cxn ang="0">
                    <a:pos x="11" y="52"/>
                  </a:cxn>
                  <a:cxn ang="0">
                    <a:pos x="14" y="44"/>
                  </a:cxn>
                  <a:cxn ang="0">
                    <a:pos x="17" y="32"/>
                  </a:cxn>
                  <a:cxn ang="0">
                    <a:pos x="27" y="32"/>
                  </a:cxn>
                  <a:cxn ang="0">
                    <a:pos x="30" y="40"/>
                  </a:cxn>
                  <a:cxn ang="0">
                    <a:pos x="15" y="40"/>
                  </a:cxn>
                  <a:cxn ang="0">
                    <a:pos x="17" y="32"/>
                  </a:cxn>
                  <a:cxn ang="0">
                    <a:pos x="18" y="28"/>
                  </a:cxn>
                  <a:cxn ang="0">
                    <a:pos x="22" y="13"/>
                  </a:cxn>
                  <a:cxn ang="0">
                    <a:pos x="26" y="28"/>
                  </a:cxn>
                  <a:cxn ang="0">
                    <a:pos x="18" y="28"/>
                  </a:cxn>
                  <a:cxn ang="0">
                    <a:pos x="8" y="64"/>
                  </a:cxn>
                  <a:cxn ang="0">
                    <a:pos x="10" y="56"/>
                  </a:cxn>
                  <a:cxn ang="0">
                    <a:pos x="34" y="56"/>
                  </a:cxn>
                  <a:cxn ang="0">
                    <a:pos x="34" y="56"/>
                  </a:cxn>
                  <a:cxn ang="0">
                    <a:pos x="37" y="64"/>
                  </a:cxn>
                  <a:cxn ang="0">
                    <a:pos x="8" y="64"/>
                  </a:cxn>
                </a:cxnLst>
                <a:rect l="0" t="0" r="r" b="b"/>
                <a:pathLst>
                  <a:path w="45" h="80">
                    <a:moveTo>
                      <a:pt x="25" y="10"/>
                    </a:moveTo>
                    <a:cubicBezTo>
                      <a:pt x="27" y="9"/>
                      <a:pt x="28" y="8"/>
                      <a:pt x="28" y="6"/>
                    </a:cubicBezTo>
                    <a:cubicBezTo>
                      <a:pt x="28" y="3"/>
                      <a:pt x="25" y="0"/>
                      <a:pt x="22" y="0"/>
                    </a:cubicBezTo>
                    <a:cubicBezTo>
                      <a:pt x="19" y="0"/>
                      <a:pt x="16" y="3"/>
                      <a:pt x="16" y="6"/>
                    </a:cubicBezTo>
                    <a:cubicBezTo>
                      <a:pt x="16" y="8"/>
                      <a:pt x="17" y="9"/>
                      <a:pt x="19" y="10"/>
                    </a:cubicBezTo>
                    <a:cubicBezTo>
                      <a:pt x="0" y="77"/>
                      <a:pt x="0" y="77"/>
                      <a:pt x="0" y="77"/>
                    </a:cubicBezTo>
                    <a:cubicBezTo>
                      <a:pt x="0" y="79"/>
                      <a:pt x="0" y="80"/>
                      <a:pt x="1" y="80"/>
                    </a:cubicBezTo>
                    <a:cubicBezTo>
                      <a:pt x="2" y="80"/>
                      <a:pt x="3" y="80"/>
                      <a:pt x="4" y="79"/>
                    </a:cubicBezTo>
                    <a:cubicBezTo>
                      <a:pt x="7" y="68"/>
                      <a:pt x="7" y="68"/>
                      <a:pt x="7" y="68"/>
                    </a:cubicBezTo>
                    <a:cubicBezTo>
                      <a:pt x="38" y="68"/>
                      <a:pt x="38" y="68"/>
                      <a:pt x="38" y="68"/>
                    </a:cubicBezTo>
                    <a:cubicBezTo>
                      <a:pt x="41" y="79"/>
                      <a:pt x="41" y="79"/>
                      <a:pt x="41" y="79"/>
                    </a:cubicBezTo>
                    <a:cubicBezTo>
                      <a:pt x="41" y="79"/>
                      <a:pt x="42" y="80"/>
                      <a:pt x="43" y="80"/>
                    </a:cubicBezTo>
                    <a:cubicBezTo>
                      <a:pt x="43" y="80"/>
                      <a:pt x="43" y="80"/>
                      <a:pt x="43" y="80"/>
                    </a:cubicBezTo>
                    <a:cubicBezTo>
                      <a:pt x="44" y="80"/>
                      <a:pt x="45" y="79"/>
                      <a:pt x="44" y="77"/>
                    </a:cubicBezTo>
                    <a:lnTo>
                      <a:pt x="25" y="10"/>
                    </a:lnTo>
                    <a:close/>
                    <a:moveTo>
                      <a:pt x="14" y="44"/>
                    </a:moveTo>
                    <a:cubicBezTo>
                      <a:pt x="31" y="44"/>
                      <a:pt x="31" y="44"/>
                      <a:pt x="31" y="44"/>
                    </a:cubicBezTo>
                    <a:cubicBezTo>
                      <a:pt x="33" y="52"/>
                      <a:pt x="33" y="52"/>
                      <a:pt x="33" y="52"/>
                    </a:cubicBezTo>
                    <a:cubicBezTo>
                      <a:pt x="11" y="52"/>
                      <a:pt x="11" y="52"/>
                      <a:pt x="11" y="52"/>
                    </a:cubicBezTo>
                    <a:lnTo>
                      <a:pt x="14" y="44"/>
                    </a:lnTo>
                    <a:close/>
                    <a:moveTo>
                      <a:pt x="17" y="32"/>
                    </a:moveTo>
                    <a:cubicBezTo>
                      <a:pt x="27" y="32"/>
                      <a:pt x="27" y="32"/>
                      <a:pt x="27" y="32"/>
                    </a:cubicBezTo>
                    <a:cubicBezTo>
                      <a:pt x="30" y="40"/>
                      <a:pt x="30" y="40"/>
                      <a:pt x="30" y="40"/>
                    </a:cubicBezTo>
                    <a:cubicBezTo>
                      <a:pt x="15" y="40"/>
                      <a:pt x="15" y="40"/>
                      <a:pt x="15" y="40"/>
                    </a:cubicBezTo>
                    <a:lnTo>
                      <a:pt x="17" y="32"/>
                    </a:lnTo>
                    <a:close/>
                    <a:moveTo>
                      <a:pt x="18" y="28"/>
                    </a:moveTo>
                    <a:cubicBezTo>
                      <a:pt x="22" y="13"/>
                      <a:pt x="22" y="13"/>
                      <a:pt x="22" y="13"/>
                    </a:cubicBezTo>
                    <a:cubicBezTo>
                      <a:pt x="26" y="28"/>
                      <a:pt x="26" y="28"/>
                      <a:pt x="26" y="28"/>
                    </a:cubicBezTo>
                    <a:lnTo>
                      <a:pt x="18" y="28"/>
                    </a:lnTo>
                    <a:close/>
                    <a:moveTo>
                      <a:pt x="8" y="64"/>
                    </a:moveTo>
                    <a:cubicBezTo>
                      <a:pt x="10" y="56"/>
                      <a:pt x="10" y="56"/>
                      <a:pt x="10" y="56"/>
                    </a:cubicBezTo>
                    <a:cubicBezTo>
                      <a:pt x="34" y="56"/>
                      <a:pt x="34" y="56"/>
                      <a:pt x="34" y="56"/>
                    </a:cubicBezTo>
                    <a:cubicBezTo>
                      <a:pt x="34" y="56"/>
                      <a:pt x="34" y="56"/>
                      <a:pt x="34" y="56"/>
                    </a:cubicBezTo>
                    <a:cubicBezTo>
                      <a:pt x="37" y="64"/>
                      <a:pt x="37" y="64"/>
                      <a:pt x="37" y="64"/>
                    </a:cubicBezTo>
                    <a:lnTo>
                      <a:pt x="8" y="64"/>
                    </a:lnTo>
                    <a:close/>
                  </a:path>
                </a:pathLst>
              </a:custGeom>
              <a:solidFill>
                <a:schemeClr val="accent1"/>
              </a:solidFill>
              <a:ln w="9525">
                <a:solidFill>
                  <a:srgbClr val="00B0F0"/>
                </a:solidFill>
                <a:round/>
                <a:headEnd/>
                <a:tailEnd/>
              </a:ln>
            </p:spPr>
            <p:txBody>
              <a:bodyPr vert="horz" wrap="square" lIns="91437" tIns="45719" rIns="91437" bIns="45719" numCol="1" anchor="t" anchorCtr="0" compatLnSpc="1">
                <a:prstTxWarp prst="textNoShape">
                  <a:avLst/>
                </a:prstTxWarp>
              </a:bodyPr>
              <a:lstStyle/>
              <a:p>
                <a:endParaRPr lang="zh-CN" altLang="en-US" dirty="0">
                  <a:latin typeface="+mj-lt"/>
                  <a:ea typeface="微软雅黑" panose="020B0503020204020204" pitchFamily="34" charset="-122"/>
                  <a:cs typeface="Arial" panose="020B0604020202020204" pitchFamily="34" charset="0"/>
                  <a:sym typeface="+mn-lt"/>
                </a:endParaRPr>
              </a:p>
            </p:txBody>
          </p:sp>
          <p:sp>
            <p:nvSpPr>
              <p:cNvPr id="286" name="1295437463"/>
              <p:cNvSpPr>
                <a:spLocks/>
              </p:cNvSpPr>
              <p:nvPr/>
            </p:nvSpPr>
            <p:spPr bwMode="auto">
              <a:xfrm>
                <a:off x="1579422" y="3647616"/>
                <a:ext cx="27771" cy="110596"/>
              </a:xfrm>
              <a:custGeom>
                <a:avLst/>
                <a:gdLst/>
                <a:ahLst/>
                <a:cxnLst>
                  <a:cxn ang="0">
                    <a:pos x="1" y="27"/>
                  </a:cxn>
                  <a:cxn ang="0">
                    <a:pos x="2" y="28"/>
                  </a:cxn>
                  <a:cxn ang="0">
                    <a:pos x="3" y="27"/>
                  </a:cxn>
                  <a:cxn ang="0">
                    <a:pos x="9" y="14"/>
                  </a:cxn>
                  <a:cxn ang="0">
                    <a:pos x="4" y="0"/>
                  </a:cxn>
                  <a:cxn ang="0">
                    <a:pos x="1" y="0"/>
                  </a:cxn>
                  <a:cxn ang="0">
                    <a:pos x="1" y="3"/>
                  </a:cxn>
                  <a:cxn ang="0">
                    <a:pos x="5" y="14"/>
                  </a:cxn>
                  <a:cxn ang="0">
                    <a:pos x="1" y="24"/>
                  </a:cxn>
                  <a:cxn ang="0">
                    <a:pos x="1" y="27"/>
                  </a:cxn>
                </a:cxnLst>
                <a:rect l="0" t="0" r="r" b="b"/>
                <a:pathLst>
                  <a:path w="9" h="28">
                    <a:moveTo>
                      <a:pt x="1" y="27"/>
                    </a:moveTo>
                    <a:cubicBezTo>
                      <a:pt x="1" y="28"/>
                      <a:pt x="1" y="28"/>
                      <a:pt x="2" y="28"/>
                    </a:cubicBezTo>
                    <a:cubicBezTo>
                      <a:pt x="2" y="28"/>
                      <a:pt x="3" y="28"/>
                      <a:pt x="3" y="27"/>
                    </a:cubicBezTo>
                    <a:cubicBezTo>
                      <a:pt x="7" y="24"/>
                      <a:pt x="9" y="19"/>
                      <a:pt x="9" y="14"/>
                    </a:cubicBezTo>
                    <a:cubicBezTo>
                      <a:pt x="9" y="9"/>
                      <a:pt x="7" y="4"/>
                      <a:pt x="4" y="0"/>
                    </a:cubicBezTo>
                    <a:cubicBezTo>
                      <a:pt x="3" y="0"/>
                      <a:pt x="1" y="0"/>
                      <a:pt x="1" y="0"/>
                    </a:cubicBezTo>
                    <a:cubicBezTo>
                      <a:pt x="0" y="1"/>
                      <a:pt x="0" y="2"/>
                      <a:pt x="1" y="3"/>
                    </a:cubicBezTo>
                    <a:cubicBezTo>
                      <a:pt x="3" y="6"/>
                      <a:pt x="5" y="10"/>
                      <a:pt x="5" y="14"/>
                    </a:cubicBezTo>
                    <a:cubicBezTo>
                      <a:pt x="5" y="18"/>
                      <a:pt x="3" y="21"/>
                      <a:pt x="1" y="24"/>
                    </a:cubicBezTo>
                    <a:cubicBezTo>
                      <a:pt x="0" y="25"/>
                      <a:pt x="0" y="26"/>
                      <a:pt x="1" y="27"/>
                    </a:cubicBezTo>
                    <a:close/>
                  </a:path>
                </a:pathLst>
              </a:custGeom>
              <a:solidFill>
                <a:schemeClr val="accent1"/>
              </a:solidFill>
              <a:ln w="9525">
                <a:solidFill>
                  <a:srgbClr val="00B0F0"/>
                </a:solidFill>
                <a:round/>
                <a:headEnd/>
                <a:tailEnd/>
              </a:ln>
            </p:spPr>
            <p:txBody>
              <a:bodyPr vert="horz" wrap="square" lIns="91437" tIns="45719" rIns="91437" bIns="45719" numCol="1" anchor="t" anchorCtr="0" compatLnSpc="1">
                <a:prstTxWarp prst="textNoShape">
                  <a:avLst/>
                </a:prstTxWarp>
              </a:bodyPr>
              <a:lstStyle/>
              <a:p>
                <a:endParaRPr lang="zh-CN" altLang="en-US" dirty="0">
                  <a:latin typeface="+mj-lt"/>
                  <a:ea typeface="微软雅黑" panose="020B0503020204020204" pitchFamily="34" charset="-122"/>
                  <a:cs typeface="Arial" panose="020B0604020202020204" pitchFamily="34" charset="0"/>
                  <a:sym typeface="+mn-lt"/>
                </a:endParaRPr>
              </a:p>
            </p:txBody>
          </p:sp>
          <p:sp>
            <p:nvSpPr>
              <p:cNvPr id="287" name="40108575"/>
              <p:cNvSpPr>
                <a:spLocks/>
              </p:cNvSpPr>
              <p:nvPr/>
            </p:nvSpPr>
            <p:spPr bwMode="auto">
              <a:xfrm>
                <a:off x="1488804" y="3647616"/>
                <a:ext cx="27771" cy="110596"/>
              </a:xfrm>
              <a:custGeom>
                <a:avLst/>
                <a:gdLst/>
                <a:ahLst/>
                <a:cxnLst>
                  <a:cxn ang="0">
                    <a:pos x="6" y="27"/>
                  </a:cxn>
                  <a:cxn ang="0">
                    <a:pos x="7" y="28"/>
                  </a:cxn>
                  <a:cxn ang="0">
                    <a:pos x="8" y="27"/>
                  </a:cxn>
                  <a:cxn ang="0">
                    <a:pos x="8" y="24"/>
                  </a:cxn>
                  <a:cxn ang="0">
                    <a:pos x="4" y="14"/>
                  </a:cxn>
                  <a:cxn ang="0">
                    <a:pos x="8" y="3"/>
                  </a:cxn>
                  <a:cxn ang="0">
                    <a:pos x="8" y="0"/>
                  </a:cxn>
                  <a:cxn ang="0">
                    <a:pos x="5" y="0"/>
                  </a:cxn>
                  <a:cxn ang="0">
                    <a:pos x="0" y="14"/>
                  </a:cxn>
                  <a:cxn ang="0">
                    <a:pos x="6" y="27"/>
                  </a:cxn>
                </a:cxnLst>
                <a:rect l="0" t="0" r="r" b="b"/>
                <a:pathLst>
                  <a:path w="9" h="28">
                    <a:moveTo>
                      <a:pt x="6" y="27"/>
                    </a:moveTo>
                    <a:cubicBezTo>
                      <a:pt x="6" y="28"/>
                      <a:pt x="7" y="28"/>
                      <a:pt x="7" y="28"/>
                    </a:cubicBezTo>
                    <a:cubicBezTo>
                      <a:pt x="8" y="28"/>
                      <a:pt x="8" y="28"/>
                      <a:pt x="8" y="27"/>
                    </a:cubicBezTo>
                    <a:cubicBezTo>
                      <a:pt x="9" y="26"/>
                      <a:pt x="9" y="25"/>
                      <a:pt x="8" y="24"/>
                    </a:cubicBezTo>
                    <a:cubicBezTo>
                      <a:pt x="6" y="21"/>
                      <a:pt x="4" y="18"/>
                      <a:pt x="4" y="14"/>
                    </a:cubicBezTo>
                    <a:cubicBezTo>
                      <a:pt x="4" y="10"/>
                      <a:pt x="6" y="6"/>
                      <a:pt x="8" y="3"/>
                    </a:cubicBezTo>
                    <a:cubicBezTo>
                      <a:pt x="9" y="2"/>
                      <a:pt x="9" y="1"/>
                      <a:pt x="8" y="0"/>
                    </a:cubicBezTo>
                    <a:cubicBezTo>
                      <a:pt x="8" y="0"/>
                      <a:pt x="6" y="0"/>
                      <a:pt x="5" y="0"/>
                    </a:cubicBezTo>
                    <a:cubicBezTo>
                      <a:pt x="2" y="4"/>
                      <a:pt x="0" y="9"/>
                      <a:pt x="0" y="14"/>
                    </a:cubicBezTo>
                    <a:cubicBezTo>
                      <a:pt x="0" y="19"/>
                      <a:pt x="2" y="24"/>
                      <a:pt x="6" y="27"/>
                    </a:cubicBezTo>
                    <a:close/>
                  </a:path>
                </a:pathLst>
              </a:custGeom>
              <a:solidFill>
                <a:schemeClr val="accent1"/>
              </a:solidFill>
              <a:ln w="9525">
                <a:solidFill>
                  <a:srgbClr val="00B0F0"/>
                </a:solidFill>
                <a:round/>
                <a:headEnd/>
                <a:tailEnd/>
              </a:ln>
            </p:spPr>
            <p:txBody>
              <a:bodyPr vert="horz" wrap="square" lIns="91437" tIns="45719" rIns="91437" bIns="45719" numCol="1" anchor="t" anchorCtr="0" compatLnSpc="1">
                <a:prstTxWarp prst="textNoShape">
                  <a:avLst/>
                </a:prstTxWarp>
              </a:bodyPr>
              <a:lstStyle/>
              <a:p>
                <a:endParaRPr lang="zh-CN" altLang="en-US" dirty="0">
                  <a:latin typeface="+mj-lt"/>
                  <a:ea typeface="微软雅黑" panose="020B0503020204020204" pitchFamily="34" charset="-122"/>
                  <a:cs typeface="Arial" panose="020B0604020202020204" pitchFamily="34" charset="0"/>
                  <a:sym typeface="+mn-lt"/>
                </a:endParaRPr>
              </a:p>
            </p:txBody>
          </p:sp>
          <p:sp>
            <p:nvSpPr>
              <p:cNvPr id="288" name="848749294"/>
              <p:cNvSpPr>
                <a:spLocks/>
              </p:cNvSpPr>
              <p:nvPr/>
            </p:nvSpPr>
            <p:spPr bwMode="auto">
              <a:xfrm>
                <a:off x="1604268" y="3616281"/>
                <a:ext cx="36540" cy="173268"/>
              </a:xfrm>
              <a:custGeom>
                <a:avLst/>
                <a:gdLst/>
                <a:ahLst/>
                <a:cxnLst>
                  <a:cxn ang="0">
                    <a:pos x="8" y="22"/>
                  </a:cxn>
                  <a:cxn ang="0">
                    <a:pos x="1" y="40"/>
                  </a:cxn>
                  <a:cxn ang="0">
                    <a:pos x="1" y="43"/>
                  </a:cxn>
                  <a:cxn ang="0">
                    <a:pos x="2" y="44"/>
                  </a:cxn>
                  <a:cxn ang="0">
                    <a:pos x="3" y="43"/>
                  </a:cxn>
                  <a:cxn ang="0">
                    <a:pos x="12" y="22"/>
                  </a:cxn>
                  <a:cxn ang="0">
                    <a:pos x="4" y="0"/>
                  </a:cxn>
                  <a:cxn ang="0">
                    <a:pos x="1" y="0"/>
                  </a:cxn>
                  <a:cxn ang="0">
                    <a:pos x="1" y="3"/>
                  </a:cxn>
                  <a:cxn ang="0">
                    <a:pos x="8" y="22"/>
                  </a:cxn>
                </a:cxnLst>
                <a:rect l="0" t="0" r="r" b="b"/>
                <a:pathLst>
                  <a:path w="12" h="44">
                    <a:moveTo>
                      <a:pt x="8" y="22"/>
                    </a:moveTo>
                    <a:cubicBezTo>
                      <a:pt x="8" y="29"/>
                      <a:pt x="6" y="35"/>
                      <a:pt x="1" y="40"/>
                    </a:cubicBezTo>
                    <a:cubicBezTo>
                      <a:pt x="0" y="41"/>
                      <a:pt x="0" y="42"/>
                      <a:pt x="1" y="43"/>
                    </a:cubicBezTo>
                    <a:cubicBezTo>
                      <a:pt x="1" y="44"/>
                      <a:pt x="1" y="44"/>
                      <a:pt x="2" y="44"/>
                    </a:cubicBezTo>
                    <a:cubicBezTo>
                      <a:pt x="2" y="44"/>
                      <a:pt x="3" y="44"/>
                      <a:pt x="3" y="43"/>
                    </a:cubicBezTo>
                    <a:cubicBezTo>
                      <a:pt x="9" y="37"/>
                      <a:pt x="12" y="30"/>
                      <a:pt x="12" y="22"/>
                    </a:cubicBezTo>
                    <a:cubicBezTo>
                      <a:pt x="12" y="14"/>
                      <a:pt x="9" y="6"/>
                      <a:pt x="4" y="0"/>
                    </a:cubicBezTo>
                    <a:cubicBezTo>
                      <a:pt x="3" y="0"/>
                      <a:pt x="1" y="0"/>
                      <a:pt x="1" y="0"/>
                    </a:cubicBezTo>
                    <a:cubicBezTo>
                      <a:pt x="0" y="1"/>
                      <a:pt x="0" y="2"/>
                      <a:pt x="1" y="3"/>
                    </a:cubicBezTo>
                    <a:cubicBezTo>
                      <a:pt x="6" y="8"/>
                      <a:pt x="8" y="15"/>
                      <a:pt x="8" y="22"/>
                    </a:cubicBezTo>
                    <a:close/>
                  </a:path>
                </a:pathLst>
              </a:custGeom>
              <a:solidFill>
                <a:schemeClr val="accent1"/>
              </a:solidFill>
              <a:ln w="9525">
                <a:solidFill>
                  <a:srgbClr val="00B0F0"/>
                </a:solidFill>
                <a:round/>
                <a:headEnd/>
                <a:tailEnd/>
              </a:ln>
            </p:spPr>
            <p:txBody>
              <a:bodyPr vert="horz" wrap="square" lIns="91437" tIns="45719" rIns="91437" bIns="45719" numCol="1" anchor="t" anchorCtr="0" compatLnSpc="1">
                <a:prstTxWarp prst="textNoShape">
                  <a:avLst/>
                </a:prstTxWarp>
              </a:bodyPr>
              <a:lstStyle/>
              <a:p>
                <a:endParaRPr lang="zh-CN" altLang="en-US" dirty="0">
                  <a:latin typeface="+mj-lt"/>
                  <a:ea typeface="微软雅黑" panose="020B0503020204020204" pitchFamily="34" charset="-122"/>
                  <a:cs typeface="Arial" panose="020B0604020202020204" pitchFamily="34" charset="0"/>
                  <a:sym typeface="+mn-lt"/>
                </a:endParaRPr>
              </a:p>
            </p:txBody>
          </p:sp>
          <p:sp>
            <p:nvSpPr>
              <p:cNvPr id="289" name="1604077893"/>
              <p:cNvSpPr>
                <a:spLocks/>
              </p:cNvSpPr>
              <p:nvPr/>
            </p:nvSpPr>
            <p:spPr bwMode="auto">
              <a:xfrm>
                <a:off x="1455187" y="3616281"/>
                <a:ext cx="36540" cy="173268"/>
              </a:xfrm>
              <a:custGeom>
                <a:avLst/>
                <a:gdLst/>
                <a:ahLst/>
                <a:cxnLst>
                  <a:cxn ang="0">
                    <a:pos x="10" y="44"/>
                  </a:cxn>
                  <a:cxn ang="0">
                    <a:pos x="11" y="43"/>
                  </a:cxn>
                  <a:cxn ang="0">
                    <a:pos x="11" y="40"/>
                  </a:cxn>
                  <a:cxn ang="0">
                    <a:pos x="4" y="22"/>
                  </a:cxn>
                  <a:cxn ang="0">
                    <a:pos x="11" y="3"/>
                  </a:cxn>
                  <a:cxn ang="0">
                    <a:pos x="11" y="0"/>
                  </a:cxn>
                  <a:cxn ang="0">
                    <a:pos x="9" y="0"/>
                  </a:cxn>
                  <a:cxn ang="0">
                    <a:pos x="0" y="22"/>
                  </a:cxn>
                  <a:cxn ang="0">
                    <a:pos x="9" y="43"/>
                  </a:cxn>
                  <a:cxn ang="0">
                    <a:pos x="10" y="44"/>
                  </a:cxn>
                </a:cxnLst>
                <a:rect l="0" t="0" r="r" b="b"/>
                <a:pathLst>
                  <a:path w="12" h="44">
                    <a:moveTo>
                      <a:pt x="10" y="44"/>
                    </a:moveTo>
                    <a:cubicBezTo>
                      <a:pt x="11" y="44"/>
                      <a:pt x="11" y="44"/>
                      <a:pt x="11" y="43"/>
                    </a:cubicBezTo>
                    <a:cubicBezTo>
                      <a:pt x="12" y="42"/>
                      <a:pt x="12" y="41"/>
                      <a:pt x="11" y="40"/>
                    </a:cubicBezTo>
                    <a:cubicBezTo>
                      <a:pt x="6" y="35"/>
                      <a:pt x="4" y="29"/>
                      <a:pt x="4" y="22"/>
                    </a:cubicBezTo>
                    <a:cubicBezTo>
                      <a:pt x="4" y="15"/>
                      <a:pt x="6" y="8"/>
                      <a:pt x="11" y="3"/>
                    </a:cubicBezTo>
                    <a:cubicBezTo>
                      <a:pt x="12" y="2"/>
                      <a:pt x="12" y="1"/>
                      <a:pt x="11" y="0"/>
                    </a:cubicBezTo>
                    <a:cubicBezTo>
                      <a:pt x="11" y="0"/>
                      <a:pt x="9" y="0"/>
                      <a:pt x="9" y="0"/>
                    </a:cubicBezTo>
                    <a:cubicBezTo>
                      <a:pt x="3" y="6"/>
                      <a:pt x="0" y="14"/>
                      <a:pt x="0" y="22"/>
                    </a:cubicBezTo>
                    <a:cubicBezTo>
                      <a:pt x="0" y="30"/>
                      <a:pt x="3" y="37"/>
                      <a:pt x="9" y="43"/>
                    </a:cubicBezTo>
                    <a:cubicBezTo>
                      <a:pt x="9" y="44"/>
                      <a:pt x="10" y="44"/>
                      <a:pt x="10" y="44"/>
                    </a:cubicBezTo>
                    <a:close/>
                  </a:path>
                </a:pathLst>
              </a:custGeom>
              <a:solidFill>
                <a:schemeClr val="accent1"/>
              </a:solidFill>
              <a:ln w="9525">
                <a:solidFill>
                  <a:srgbClr val="00B0F0"/>
                </a:solidFill>
                <a:round/>
                <a:headEnd/>
                <a:tailEnd/>
              </a:ln>
            </p:spPr>
            <p:txBody>
              <a:bodyPr vert="horz" wrap="square" lIns="91437" tIns="45719" rIns="91437" bIns="45719" numCol="1" anchor="t" anchorCtr="0" compatLnSpc="1">
                <a:prstTxWarp prst="textNoShape">
                  <a:avLst/>
                </a:prstTxWarp>
              </a:bodyPr>
              <a:lstStyle/>
              <a:p>
                <a:endParaRPr lang="zh-CN" altLang="en-US" dirty="0">
                  <a:latin typeface="+mj-lt"/>
                  <a:ea typeface="微软雅黑" panose="020B0503020204020204" pitchFamily="34" charset="-122"/>
                  <a:cs typeface="Arial" panose="020B0604020202020204" pitchFamily="34" charset="0"/>
                  <a:sym typeface="+mn-lt"/>
                </a:endParaRPr>
              </a:p>
            </p:txBody>
          </p:sp>
        </p:grpSp>
      </p:grpSp>
      <p:sp>
        <p:nvSpPr>
          <p:cNvPr id="293" name="1658199061"/>
          <p:cNvSpPr/>
          <p:nvPr>
            <p:custDataLst>
              <p:tags r:id="rId10"/>
            </p:custDataLst>
          </p:nvPr>
        </p:nvSpPr>
        <p:spPr>
          <a:xfrm>
            <a:off x="3185565" y="2922405"/>
            <a:ext cx="149080" cy="184666"/>
          </a:xfrm>
          <a:prstGeom prst="rect">
            <a:avLst/>
          </a:prstGeom>
        </p:spPr>
        <p:txBody>
          <a:bodyPr wrap="none" lIns="0" tIns="0" rIns="0" bIns="0">
            <a:spAutoFit/>
          </a:bodyPr>
          <a:lstStyle/>
          <a:p>
            <a:pPr algn="ctr" defTabSz="728667">
              <a:defRPr/>
            </a:pPr>
            <a:r>
              <a:rPr kumimoji="1" lang="en-US" altLang="zh-CN" sz="1200" kern="0" dirty="0">
                <a:latin typeface="+mj-lt"/>
                <a:ea typeface="微软雅黑" panose="020B0503020204020204" pitchFamily="34" charset="-122"/>
                <a:cs typeface="Arial" panose="020B0604020202020204" pitchFamily="34" charset="0"/>
                <a:sym typeface="+mn-lt"/>
              </a:rPr>
              <a:t>AI</a:t>
            </a:r>
          </a:p>
        </p:txBody>
      </p:sp>
      <p:grpSp>
        <p:nvGrpSpPr>
          <p:cNvPr id="297" name="组合 296"/>
          <p:cNvGrpSpPr/>
          <p:nvPr/>
        </p:nvGrpSpPr>
        <p:grpSpPr>
          <a:xfrm>
            <a:off x="874788" y="4790529"/>
            <a:ext cx="3279104" cy="286133"/>
            <a:chOff x="3625947" y="3891334"/>
            <a:chExt cx="6758940" cy="680042"/>
          </a:xfrm>
        </p:grpSpPr>
        <p:sp>
          <p:nvSpPr>
            <p:cNvPr id="298" name="梯形 297"/>
            <p:cNvSpPr/>
            <p:nvPr/>
          </p:nvSpPr>
          <p:spPr>
            <a:xfrm>
              <a:off x="3625947" y="3968245"/>
              <a:ext cx="6758940" cy="603131"/>
            </a:xfrm>
            <a:prstGeom prst="trapezoid">
              <a:avLst>
                <a:gd name="adj" fmla="val 177299"/>
              </a:avLst>
            </a:prstGeom>
            <a:gradFill flip="none" rotWithShape="1">
              <a:gsLst>
                <a:gs pos="0">
                  <a:srgbClr val="00B0F0">
                    <a:alpha val="14000"/>
                  </a:srgbClr>
                </a:gs>
                <a:gs pos="21000">
                  <a:srgbClr val="00B0F0">
                    <a:alpha val="12000"/>
                  </a:srgbClr>
                </a:gs>
                <a:gs pos="44000">
                  <a:srgbClr val="00B0F0">
                    <a:alpha val="13000"/>
                  </a:srgbClr>
                </a:gs>
                <a:gs pos="100000">
                  <a:srgbClr val="1F3267">
                    <a:alpha val="0"/>
                  </a:srgbClr>
                </a:gs>
              </a:gsLst>
              <a:lin ang="16200000" scaled="1"/>
              <a:tileRect/>
            </a:gradFill>
            <a:ln w="3175" cap="flat" cmpd="sng" algn="ctr">
              <a:gradFill flip="none" rotWithShape="1">
                <a:gsLst>
                  <a:gs pos="0">
                    <a:schemeClr val="accent5">
                      <a:lumMod val="75000"/>
                    </a:schemeClr>
                  </a:gs>
                  <a:gs pos="100000">
                    <a:schemeClr val="accent1">
                      <a:tint val="23500"/>
                      <a:satMod val="160000"/>
                      <a:alpha val="0"/>
                    </a:schemeClr>
                  </a:gs>
                </a:gsLst>
                <a:lin ang="16200000" scaled="1"/>
                <a:tileRect/>
              </a:gradFill>
              <a:prstDash val="solid"/>
              <a:round/>
              <a:headEnd type="none" w="med" len="med"/>
              <a:tailEnd type="none" w="med" len="med"/>
            </a:ln>
            <a:effectLst/>
            <a:scene3d>
              <a:camera prst="orthographicFront"/>
              <a:lightRig rig="flat" dir="t"/>
            </a:scene3d>
          </p:spPr>
          <p:txBody>
            <a:bodyPr lIns="91428" tIns="45714" rIns="91428" bIns="45714" rtlCol="0" anchor="ctr">
              <a:noAutofit/>
            </a:bodyPr>
            <a:lstStyle/>
            <a:p>
              <a:endParaRPr lang="zh-CN" altLang="en-US">
                <a:effectLst>
                  <a:outerShdw blurRad="38100" dist="38100" dir="2700000" algn="tl">
                    <a:srgbClr val="000000">
                      <a:alpha val="43137"/>
                    </a:srgbClr>
                  </a:outerShdw>
                </a:effectLst>
                <a:latin typeface="+mj-lt"/>
              </a:endParaRPr>
            </a:p>
          </p:txBody>
        </p:sp>
        <p:sp>
          <p:nvSpPr>
            <p:cNvPr id="299" name="梯形 298"/>
            <p:cNvSpPr/>
            <p:nvPr/>
          </p:nvSpPr>
          <p:spPr>
            <a:xfrm>
              <a:off x="3625947" y="3891334"/>
              <a:ext cx="6758940" cy="603131"/>
            </a:xfrm>
            <a:prstGeom prst="trapezoid">
              <a:avLst>
                <a:gd name="adj" fmla="val 177299"/>
              </a:avLst>
            </a:prstGeom>
            <a:gradFill flip="none" rotWithShape="1">
              <a:gsLst>
                <a:gs pos="0">
                  <a:srgbClr val="00B0F0">
                    <a:alpha val="14000"/>
                  </a:srgbClr>
                </a:gs>
                <a:gs pos="21000">
                  <a:srgbClr val="00B0F0">
                    <a:alpha val="12000"/>
                  </a:srgbClr>
                </a:gs>
                <a:gs pos="44000">
                  <a:srgbClr val="00B0F0">
                    <a:alpha val="13000"/>
                  </a:srgbClr>
                </a:gs>
                <a:gs pos="100000">
                  <a:srgbClr val="1F3267">
                    <a:alpha val="0"/>
                  </a:srgbClr>
                </a:gs>
              </a:gsLst>
              <a:lin ang="16200000" scaled="1"/>
              <a:tileRect/>
            </a:gradFill>
            <a:ln w="3175" cap="flat" cmpd="sng" algn="ctr">
              <a:gradFill flip="none" rotWithShape="1">
                <a:gsLst>
                  <a:gs pos="0">
                    <a:schemeClr val="accent5">
                      <a:lumMod val="75000"/>
                    </a:schemeClr>
                  </a:gs>
                  <a:gs pos="100000">
                    <a:schemeClr val="accent1">
                      <a:tint val="23500"/>
                      <a:satMod val="160000"/>
                      <a:alpha val="0"/>
                    </a:schemeClr>
                  </a:gs>
                </a:gsLst>
                <a:lin ang="16200000" scaled="1"/>
                <a:tileRect/>
              </a:gradFill>
              <a:prstDash val="solid"/>
              <a:round/>
              <a:headEnd type="none" w="med" len="med"/>
              <a:tailEnd type="none" w="med" len="med"/>
            </a:ln>
            <a:effectLst/>
            <a:scene3d>
              <a:camera prst="orthographicFront"/>
              <a:lightRig rig="flat" dir="t"/>
            </a:scene3d>
          </p:spPr>
          <p:txBody>
            <a:bodyPr lIns="91428" tIns="45714" rIns="91428" bIns="45714" rtlCol="0" anchor="ctr">
              <a:noAutofit/>
            </a:bodyPr>
            <a:lstStyle/>
            <a:p>
              <a:endParaRPr lang="zh-CN" altLang="en-US">
                <a:effectLst>
                  <a:outerShdw blurRad="38100" dist="38100" dir="2700000" algn="tl">
                    <a:srgbClr val="000000">
                      <a:alpha val="43137"/>
                    </a:srgbClr>
                  </a:outerShdw>
                </a:effectLst>
                <a:latin typeface="+mj-lt"/>
              </a:endParaRPr>
            </a:p>
          </p:txBody>
        </p:sp>
      </p:grpSp>
      <p:grpSp>
        <p:nvGrpSpPr>
          <p:cNvPr id="300" name="组合 350"/>
          <p:cNvGrpSpPr/>
          <p:nvPr/>
        </p:nvGrpSpPr>
        <p:grpSpPr>
          <a:xfrm>
            <a:off x="1635100" y="4705518"/>
            <a:ext cx="322823" cy="235161"/>
            <a:chOff x="13446125" y="2238375"/>
            <a:chExt cx="314325" cy="285750"/>
          </a:xfrm>
          <a:solidFill>
            <a:schemeClr val="tx1"/>
          </a:solidFill>
        </p:grpSpPr>
        <p:sp>
          <p:nvSpPr>
            <p:cNvPr id="301" name="Freeform 34"/>
            <p:cNvSpPr>
              <a:spLocks noEditPoints="1"/>
            </p:cNvSpPr>
            <p:nvPr/>
          </p:nvSpPr>
          <p:spPr bwMode="auto">
            <a:xfrm>
              <a:off x="13446125" y="2416175"/>
              <a:ext cx="314325" cy="107950"/>
            </a:xfrm>
            <a:custGeom>
              <a:avLst/>
              <a:gdLst/>
              <a:ahLst/>
              <a:cxnLst>
                <a:cxn ang="0">
                  <a:pos x="198" y="56"/>
                </a:cxn>
                <a:cxn ang="0">
                  <a:pos x="186" y="12"/>
                </a:cxn>
                <a:cxn ang="0">
                  <a:pos x="186" y="12"/>
                </a:cxn>
                <a:cxn ang="0">
                  <a:pos x="184" y="8"/>
                </a:cxn>
                <a:cxn ang="0">
                  <a:pos x="180" y="4"/>
                </a:cxn>
                <a:cxn ang="0">
                  <a:pos x="176" y="2"/>
                </a:cxn>
                <a:cxn ang="0">
                  <a:pos x="170" y="0"/>
                </a:cxn>
                <a:cxn ang="0">
                  <a:pos x="28" y="0"/>
                </a:cxn>
                <a:cxn ang="0">
                  <a:pos x="28" y="0"/>
                </a:cxn>
                <a:cxn ang="0">
                  <a:pos x="24" y="2"/>
                </a:cxn>
                <a:cxn ang="0">
                  <a:pos x="20" y="4"/>
                </a:cxn>
                <a:cxn ang="0">
                  <a:pos x="16" y="8"/>
                </a:cxn>
                <a:cxn ang="0">
                  <a:pos x="14" y="12"/>
                </a:cxn>
                <a:cxn ang="0">
                  <a:pos x="2" y="56"/>
                </a:cxn>
                <a:cxn ang="0">
                  <a:pos x="2" y="56"/>
                </a:cxn>
                <a:cxn ang="0">
                  <a:pos x="0" y="62"/>
                </a:cxn>
                <a:cxn ang="0">
                  <a:pos x="2" y="66"/>
                </a:cxn>
                <a:cxn ang="0">
                  <a:pos x="6" y="68"/>
                </a:cxn>
                <a:cxn ang="0">
                  <a:pos x="10" y="68"/>
                </a:cxn>
                <a:cxn ang="0">
                  <a:pos x="190" y="68"/>
                </a:cxn>
                <a:cxn ang="0">
                  <a:pos x="190" y="68"/>
                </a:cxn>
                <a:cxn ang="0">
                  <a:pos x="194" y="68"/>
                </a:cxn>
                <a:cxn ang="0">
                  <a:pos x="198" y="66"/>
                </a:cxn>
                <a:cxn ang="0">
                  <a:pos x="198" y="62"/>
                </a:cxn>
                <a:cxn ang="0">
                  <a:pos x="198" y="56"/>
                </a:cxn>
                <a:cxn ang="0">
                  <a:pos x="198" y="56"/>
                </a:cxn>
                <a:cxn ang="0">
                  <a:pos x="174" y="60"/>
                </a:cxn>
                <a:cxn ang="0">
                  <a:pos x="28" y="60"/>
                </a:cxn>
                <a:cxn ang="0">
                  <a:pos x="28" y="60"/>
                </a:cxn>
                <a:cxn ang="0">
                  <a:pos x="24" y="60"/>
                </a:cxn>
                <a:cxn ang="0">
                  <a:pos x="20" y="58"/>
                </a:cxn>
                <a:cxn ang="0">
                  <a:pos x="18" y="56"/>
                </a:cxn>
                <a:cxn ang="0">
                  <a:pos x="18" y="52"/>
                </a:cxn>
                <a:cxn ang="0">
                  <a:pos x="18" y="52"/>
                </a:cxn>
                <a:cxn ang="0">
                  <a:pos x="18" y="48"/>
                </a:cxn>
                <a:cxn ang="0">
                  <a:pos x="28" y="20"/>
                </a:cxn>
                <a:cxn ang="0">
                  <a:pos x="28" y="20"/>
                </a:cxn>
                <a:cxn ang="0">
                  <a:pos x="30" y="16"/>
                </a:cxn>
                <a:cxn ang="0">
                  <a:pos x="34" y="12"/>
                </a:cxn>
                <a:cxn ang="0">
                  <a:pos x="38" y="8"/>
                </a:cxn>
                <a:cxn ang="0">
                  <a:pos x="44" y="8"/>
                </a:cxn>
                <a:cxn ang="0">
                  <a:pos x="158" y="8"/>
                </a:cxn>
                <a:cxn ang="0">
                  <a:pos x="158" y="8"/>
                </a:cxn>
                <a:cxn ang="0">
                  <a:pos x="162" y="8"/>
                </a:cxn>
                <a:cxn ang="0">
                  <a:pos x="168" y="12"/>
                </a:cxn>
                <a:cxn ang="0">
                  <a:pos x="172" y="16"/>
                </a:cxn>
                <a:cxn ang="0">
                  <a:pos x="174" y="20"/>
                </a:cxn>
                <a:cxn ang="0">
                  <a:pos x="184" y="48"/>
                </a:cxn>
                <a:cxn ang="0">
                  <a:pos x="184" y="48"/>
                </a:cxn>
                <a:cxn ang="0">
                  <a:pos x="184" y="52"/>
                </a:cxn>
                <a:cxn ang="0">
                  <a:pos x="184" y="52"/>
                </a:cxn>
                <a:cxn ang="0">
                  <a:pos x="182" y="56"/>
                </a:cxn>
                <a:cxn ang="0">
                  <a:pos x="180" y="58"/>
                </a:cxn>
                <a:cxn ang="0">
                  <a:pos x="178" y="60"/>
                </a:cxn>
                <a:cxn ang="0">
                  <a:pos x="174" y="60"/>
                </a:cxn>
                <a:cxn ang="0">
                  <a:pos x="174" y="60"/>
                </a:cxn>
              </a:cxnLst>
              <a:rect l="0" t="0" r="r" b="b"/>
              <a:pathLst>
                <a:path w="198" h="68">
                  <a:moveTo>
                    <a:pt x="198" y="56"/>
                  </a:moveTo>
                  <a:lnTo>
                    <a:pt x="186" y="12"/>
                  </a:lnTo>
                  <a:lnTo>
                    <a:pt x="186" y="12"/>
                  </a:lnTo>
                  <a:lnTo>
                    <a:pt x="184" y="8"/>
                  </a:lnTo>
                  <a:lnTo>
                    <a:pt x="180" y="4"/>
                  </a:lnTo>
                  <a:lnTo>
                    <a:pt x="176" y="2"/>
                  </a:lnTo>
                  <a:lnTo>
                    <a:pt x="170" y="0"/>
                  </a:lnTo>
                  <a:lnTo>
                    <a:pt x="28" y="0"/>
                  </a:lnTo>
                  <a:lnTo>
                    <a:pt x="28" y="0"/>
                  </a:lnTo>
                  <a:lnTo>
                    <a:pt x="24" y="2"/>
                  </a:lnTo>
                  <a:lnTo>
                    <a:pt x="20" y="4"/>
                  </a:lnTo>
                  <a:lnTo>
                    <a:pt x="16" y="8"/>
                  </a:lnTo>
                  <a:lnTo>
                    <a:pt x="14" y="12"/>
                  </a:lnTo>
                  <a:lnTo>
                    <a:pt x="2" y="56"/>
                  </a:lnTo>
                  <a:lnTo>
                    <a:pt x="2" y="56"/>
                  </a:lnTo>
                  <a:lnTo>
                    <a:pt x="0" y="62"/>
                  </a:lnTo>
                  <a:lnTo>
                    <a:pt x="2" y="66"/>
                  </a:lnTo>
                  <a:lnTo>
                    <a:pt x="6" y="68"/>
                  </a:lnTo>
                  <a:lnTo>
                    <a:pt x="10" y="68"/>
                  </a:lnTo>
                  <a:lnTo>
                    <a:pt x="190" y="68"/>
                  </a:lnTo>
                  <a:lnTo>
                    <a:pt x="190" y="68"/>
                  </a:lnTo>
                  <a:lnTo>
                    <a:pt x="194" y="68"/>
                  </a:lnTo>
                  <a:lnTo>
                    <a:pt x="198" y="66"/>
                  </a:lnTo>
                  <a:lnTo>
                    <a:pt x="198" y="62"/>
                  </a:lnTo>
                  <a:lnTo>
                    <a:pt x="198" y="56"/>
                  </a:lnTo>
                  <a:lnTo>
                    <a:pt x="198" y="56"/>
                  </a:lnTo>
                  <a:close/>
                  <a:moveTo>
                    <a:pt x="174" y="60"/>
                  </a:moveTo>
                  <a:lnTo>
                    <a:pt x="28" y="60"/>
                  </a:lnTo>
                  <a:lnTo>
                    <a:pt x="28" y="60"/>
                  </a:lnTo>
                  <a:lnTo>
                    <a:pt x="24" y="60"/>
                  </a:lnTo>
                  <a:lnTo>
                    <a:pt x="20" y="58"/>
                  </a:lnTo>
                  <a:lnTo>
                    <a:pt x="18" y="56"/>
                  </a:lnTo>
                  <a:lnTo>
                    <a:pt x="18" y="52"/>
                  </a:lnTo>
                  <a:lnTo>
                    <a:pt x="18" y="52"/>
                  </a:lnTo>
                  <a:lnTo>
                    <a:pt x="18" y="48"/>
                  </a:lnTo>
                  <a:lnTo>
                    <a:pt x="28" y="20"/>
                  </a:lnTo>
                  <a:lnTo>
                    <a:pt x="28" y="20"/>
                  </a:lnTo>
                  <a:lnTo>
                    <a:pt x="30" y="16"/>
                  </a:lnTo>
                  <a:lnTo>
                    <a:pt x="34" y="12"/>
                  </a:lnTo>
                  <a:lnTo>
                    <a:pt x="38" y="8"/>
                  </a:lnTo>
                  <a:lnTo>
                    <a:pt x="44" y="8"/>
                  </a:lnTo>
                  <a:lnTo>
                    <a:pt x="158" y="8"/>
                  </a:lnTo>
                  <a:lnTo>
                    <a:pt x="158" y="8"/>
                  </a:lnTo>
                  <a:lnTo>
                    <a:pt x="162" y="8"/>
                  </a:lnTo>
                  <a:lnTo>
                    <a:pt x="168" y="12"/>
                  </a:lnTo>
                  <a:lnTo>
                    <a:pt x="172" y="16"/>
                  </a:lnTo>
                  <a:lnTo>
                    <a:pt x="174" y="20"/>
                  </a:lnTo>
                  <a:lnTo>
                    <a:pt x="184" y="48"/>
                  </a:lnTo>
                  <a:lnTo>
                    <a:pt x="184" y="48"/>
                  </a:lnTo>
                  <a:lnTo>
                    <a:pt x="184" y="52"/>
                  </a:lnTo>
                  <a:lnTo>
                    <a:pt x="184" y="52"/>
                  </a:lnTo>
                  <a:lnTo>
                    <a:pt x="182" y="56"/>
                  </a:lnTo>
                  <a:lnTo>
                    <a:pt x="180" y="58"/>
                  </a:lnTo>
                  <a:lnTo>
                    <a:pt x="178" y="60"/>
                  </a:lnTo>
                  <a:lnTo>
                    <a:pt x="174" y="60"/>
                  </a:lnTo>
                  <a:lnTo>
                    <a:pt x="174" y="60"/>
                  </a:lnTo>
                  <a:close/>
                </a:path>
              </a:pathLst>
            </a:custGeom>
            <a:grpFill/>
            <a:ln w="9525">
              <a:noFill/>
              <a:round/>
              <a:headEnd/>
              <a:tailEnd/>
            </a:ln>
          </p:spPr>
          <p:txBody>
            <a:bodyPr vert="horz" wrap="square" lIns="68560" tIns="34280" rIns="68560" bIns="34280" numCol="1" anchor="t" anchorCtr="0" compatLnSpc="1">
              <a:prstTxWarp prst="textNoShape">
                <a:avLst/>
              </a:prstTxWarp>
            </a:bodyPr>
            <a:lstStyle/>
            <a:p>
              <a:endParaRPr lang="zh-CN" altLang="en-US">
                <a:latin typeface="+mj-lt"/>
              </a:endParaRPr>
            </a:p>
          </p:txBody>
        </p:sp>
        <p:sp>
          <p:nvSpPr>
            <p:cNvPr id="302" name="Freeform 35"/>
            <p:cNvSpPr>
              <a:spLocks noEditPoints="1"/>
            </p:cNvSpPr>
            <p:nvPr/>
          </p:nvSpPr>
          <p:spPr bwMode="auto">
            <a:xfrm>
              <a:off x="13484225" y="2432050"/>
              <a:ext cx="244475" cy="76200"/>
            </a:xfrm>
            <a:custGeom>
              <a:avLst/>
              <a:gdLst/>
              <a:ahLst/>
              <a:cxnLst>
                <a:cxn ang="0">
                  <a:pos x="130" y="0"/>
                </a:cxn>
                <a:cxn ang="0">
                  <a:pos x="22" y="0"/>
                </a:cxn>
                <a:cxn ang="0">
                  <a:pos x="22" y="0"/>
                </a:cxn>
                <a:cxn ang="0">
                  <a:pos x="18" y="2"/>
                </a:cxn>
                <a:cxn ang="0">
                  <a:pos x="14" y="4"/>
                </a:cxn>
                <a:cxn ang="0">
                  <a:pos x="10" y="6"/>
                </a:cxn>
                <a:cxn ang="0">
                  <a:pos x="8" y="12"/>
                </a:cxn>
                <a:cxn ang="0">
                  <a:pos x="0" y="38"/>
                </a:cxn>
                <a:cxn ang="0">
                  <a:pos x="0" y="40"/>
                </a:cxn>
                <a:cxn ang="0">
                  <a:pos x="0" y="40"/>
                </a:cxn>
                <a:cxn ang="0">
                  <a:pos x="0" y="44"/>
                </a:cxn>
                <a:cxn ang="0">
                  <a:pos x="2" y="46"/>
                </a:cxn>
                <a:cxn ang="0">
                  <a:pos x="4" y="48"/>
                </a:cxn>
                <a:cxn ang="0">
                  <a:pos x="8" y="48"/>
                </a:cxn>
                <a:cxn ang="0">
                  <a:pos x="146" y="48"/>
                </a:cxn>
                <a:cxn ang="0">
                  <a:pos x="146" y="48"/>
                </a:cxn>
                <a:cxn ang="0">
                  <a:pos x="150" y="48"/>
                </a:cxn>
                <a:cxn ang="0">
                  <a:pos x="152" y="46"/>
                </a:cxn>
                <a:cxn ang="0">
                  <a:pos x="154" y="44"/>
                </a:cxn>
                <a:cxn ang="0">
                  <a:pos x="154" y="42"/>
                </a:cxn>
                <a:cxn ang="0">
                  <a:pos x="154" y="42"/>
                </a:cxn>
                <a:cxn ang="0">
                  <a:pos x="154" y="38"/>
                </a:cxn>
                <a:cxn ang="0">
                  <a:pos x="146" y="12"/>
                </a:cxn>
                <a:cxn ang="0">
                  <a:pos x="146" y="12"/>
                </a:cxn>
                <a:cxn ang="0">
                  <a:pos x="144" y="6"/>
                </a:cxn>
                <a:cxn ang="0">
                  <a:pos x="140" y="4"/>
                </a:cxn>
                <a:cxn ang="0">
                  <a:pos x="136" y="2"/>
                </a:cxn>
                <a:cxn ang="0">
                  <a:pos x="130" y="0"/>
                </a:cxn>
                <a:cxn ang="0">
                  <a:pos x="130" y="0"/>
                </a:cxn>
                <a:cxn ang="0">
                  <a:pos x="88" y="42"/>
                </a:cxn>
                <a:cxn ang="0">
                  <a:pos x="64" y="42"/>
                </a:cxn>
                <a:cxn ang="0">
                  <a:pos x="64" y="42"/>
                </a:cxn>
                <a:cxn ang="0">
                  <a:pos x="60" y="40"/>
                </a:cxn>
                <a:cxn ang="0">
                  <a:pos x="58" y="38"/>
                </a:cxn>
                <a:cxn ang="0">
                  <a:pos x="60" y="36"/>
                </a:cxn>
                <a:cxn ang="0">
                  <a:pos x="60" y="34"/>
                </a:cxn>
                <a:cxn ang="0">
                  <a:pos x="60" y="34"/>
                </a:cxn>
                <a:cxn ang="0">
                  <a:pos x="62" y="30"/>
                </a:cxn>
                <a:cxn ang="0">
                  <a:pos x="66" y="28"/>
                </a:cxn>
                <a:cxn ang="0">
                  <a:pos x="86" y="28"/>
                </a:cxn>
                <a:cxn ang="0">
                  <a:pos x="86" y="28"/>
                </a:cxn>
                <a:cxn ang="0">
                  <a:pos x="90" y="30"/>
                </a:cxn>
                <a:cxn ang="0">
                  <a:pos x="92" y="34"/>
                </a:cxn>
                <a:cxn ang="0">
                  <a:pos x="92" y="36"/>
                </a:cxn>
                <a:cxn ang="0">
                  <a:pos x="92" y="36"/>
                </a:cxn>
                <a:cxn ang="0">
                  <a:pos x="92" y="36"/>
                </a:cxn>
                <a:cxn ang="0">
                  <a:pos x="94" y="38"/>
                </a:cxn>
                <a:cxn ang="0">
                  <a:pos x="94" y="38"/>
                </a:cxn>
                <a:cxn ang="0">
                  <a:pos x="92" y="40"/>
                </a:cxn>
                <a:cxn ang="0">
                  <a:pos x="88" y="42"/>
                </a:cxn>
                <a:cxn ang="0">
                  <a:pos x="88" y="42"/>
                </a:cxn>
              </a:cxnLst>
              <a:rect l="0" t="0" r="r" b="b"/>
              <a:pathLst>
                <a:path w="154" h="48">
                  <a:moveTo>
                    <a:pt x="130" y="0"/>
                  </a:moveTo>
                  <a:lnTo>
                    <a:pt x="22" y="0"/>
                  </a:lnTo>
                  <a:lnTo>
                    <a:pt x="22" y="0"/>
                  </a:lnTo>
                  <a:lnTo>
                    <a:pt x="18" y="2"/>
                  </a:lnTo>
                  <a:lnTo>
                    <a:pt x="14" y="4"/>
                  </a:lnTo>
                  <a:lnTo>
                    <a:pt x="10" y="6"/>
                  </a:lnTo>
                  <a:lnTo>
                    <a:pt x="8" y="12"/>
                  </a:lnTo>
                  <a:lnTo>
                    <a:pt x="0" y="38"/>
                  </a:lnTo>
                  <a:lnTo>
                    <a:pt x="0" y="40"/>
                  </a:lnTo>
                  <a:lnTo>
                    <a:pt x="0" y="40"/>
                  </a:lnTo>
                  <a:lnTo>
                    <a:pt x="0" y="44"/>
                  </a:lnTo>
                  <a:lnTo>
                    <a:pt x="2" y="46"/>
                  </a:lnTo>
                  <a:lnTo>
                    <a:pt x="4" y="48"/>
                  </a:lnTo>
                  <a:lnTo>
                    <a:pt x="8" y="48"/>
                  </a:lnTo>
                  <a:lnTo>
                    <a:pt x="146" y="48"/>
                  </a:lnTo>
                  <a:lnTo>
                    <a:pt x="146" y="48"/>
                  </a:lnTo>
                  <a:lnTo>
                    <a:pt x="150" y="48"/>
                  </a:lnTo>
                  <a:lnTo>
                    <a:pt x="152" y="46"/>
                  </a:lnTo>
                  <a:lnTo>
                    <a:pt x="154" y="44"/>
                  </a:lnTo>
                  <a:lnTo>
                    <a:pt x="154" y="42"/>
                  </a:lnTo>
                  <a:lnTo>
                    <a:pt x="154" y="42"/>
                  </a:lnTo>
                  <a:lnTo>
                    <a:pt x="154" y="38"/>
                  </a:lnTo>
                  <a:lnTo>
                    <a:pt x="146" y="12"/>
                  </a:lnTo>
                  <a:lnTo>
                    <a:pt x="146" y="12"/>
                  </a:lnTo>
                  <a:lnTo>
                    <a:pt x="144" y="6"/>
                  </a:lnTo>
                  <a:lnTo>
                    <a:pt x="140" y="4"/>
                  </a:lnTo>
                  <a:lnTo>
                    <a:pt x="136" y="2"/>
                  </a:lnTo>
                  <a:lnTo>
                    <a:pt x="130" y="0"/>
                  </a:lnTo>
                  <a:lnTo>
                    <a:pt x="130" y="0"/>
                  </a:lnTo>
                  <a:close/>
                  <a:moveTo>
                    <a:pt x="88" y="42"/>
                  </a:moveTo>
                  <a:lnTo>
                    <a:pt x="64" y="42"/>
                  </a:lnTo>
                  <a:lnTo>
                    <a:pt x="64" y="42"/>
                  </a:lnTo>
                  <a:lnTo>
                    <a:pt x="60" y="40"/>
                  </a:lnTo>
                  <a:lnTo>
                    <a:pt x="58" y="38"/>
                  </a:lnTo>
                  <a:lnTo>
                    <a:pt x="60" y="36"/>
                  </a:lnTo>
                  <a:lnTo>
                    <a:pt x="60" y="34"/>
                  </a:lnTo>
                  <a:lnTo>
                    <a:pt x="60" y="34"/>
                  </a:lnTo>
                  <a:lnTo>
                    <a:pt x="62" y="30"/>
                  </a:lnTo>
                  <a:lnTo>
                    <a:pt x="66" y="28"/>
                  </a:lnTo>
                  <a:lnTo>
                    <a:pt x="86" y="28"/>
                  </a:lnTo>
                  <a:lnTo>
                    <a:pt x="86" y="28"/>
                  </a:lnTo>
                  <a:lnTo>
                    <a:pt x="90" y="30"/>
                  </a:lnTo>
                  <a:lnTo>
                    <a:pt x="92" y="34"/>
                  </a:lnTo>
                  <a:lnTo>
                    <a:pt x="92" y="36"/>
                  </a:lnTo>
                  <a:lnTo>
                    <a:pt x="92" y="36"/>
                  </a:lnTo>
                  <a:lnTo>
                    <a:pt x="92" y="36"/>
                  </a:lnTo>
                  <a:lnTo>
                    <a:pt x="94" y="38"/>
                  </a:lnTo>
                  <a:lnTo>
                    <a:pt x="94" y="38"/>
                  </a:lnTo>
                  <a:lnTo>
                    <a:pt x="92" y="40"/>
                  </a:lnTo>
                  <a:lnTo>
                    <a:pt x="88" y="42"/>
                  </a:lnTo>
                  <a:lnTo>
                    <a:pt x="88" y="42"/>
                  </a:lnTo>
                  <a:close/>
                </a:path>
              </a:pathLst>
            </a:custGeom>
            <a:grpFill/>
            <a:ln w="9525">
              <a:noFill/>
              <a:round/>
              <a:headEnd/>
              <a:tailEnd/>
            </a:ln>
          </p:spPr>
          <p:txBody>
            <a:bodyPr vert="horz" wrap="square" lIns="68560" tIns="34280" rIns="68560" bIns="34280" numCol="1" anchor="t" anchorCtr="0" compatLnSpc="1">
              <a:prstTxWarp prst="textNoShape">
                <a:avLst/>
              </a:prstTxWarp>
            </a:bodyPr>
            <a:lstStyle/>
            <a:p>
              <a:endParaRPr lang="zh-CN" altLang="en-US">
                <a:latin typeface="+mj-lt"/>
              </a:endParaRPr>
            </a:p>
          </p:txBody>
        </p:sp>
        <p:sp>
          <p:nvSpPr>
            <p:cNvPr id="303" name="Freeform 36"/>
            <p:cNvSpPr>
              <a:spLocks/>
            </p:cNvSpPr>
            <p:nvPr/>
          </p:nvSpPr>
          <p:spPr bwMode="auto">
            <a:xfrm>
              <a:off x="13474700" y="2428875"/>
              <a:ext cx="263525" cy="82550"/>
            </a:xfrm>
            <a:custGeom>
              <a:avLst/>
              <a:gdLst/>
              <a:ahLst/>
              <a:cxnLst>
                <a:cxn ang="0">
                  <a:pos x="164" y="40"/>
                </a:cxn>
                <a:cxn ang="0">
                  <a:pos x="164" y="40"/>
                </a:cxn>
                <a:cxn ang="0">
                  <a:pos x="164" y="40"/>
                </a:cxn>
                <a:cxn ang="0">
                  <a:pos x="166" y="46"/>
                </a:cxn>
                <a:cxn ang="0">
                  <a:pos x="164" y="48"/>
                </a:cxn>
                <a:cxn ang="0">
                  <a:pos x="160" y="52"/>
                </a:cxn>
                <a:cxn ang="0">
                  <a:pos x="156" y="52"/>
                </a:cxn>
                <a:cxn ang="0">
                  <a:pos x="10" y="52"/>
                </a:cxn>
                <a:cxn ang="0">
                  <a:pos x="10" y="52"/>
                </a:cxn>
                <a:cxn ang="0">
                  <a:pos x="6" y="52"/>
                </a:cxn>
                <a:cxn ang="0">
                  <a:pos x="2" y="48"/>
                </a:cxn>
                <a:cxn ang="0">
                  <a:pos x="0" y="46"/>
                </a:cxn>
                <a:cxn ang="0">
                  <a:pos x="2" y="40"/>
                </a:cxn>
                <a:cxn ang="0">
                  <a:pos x="10" y="12"/>
                </a:cxn>
                <a:cxn ang="0">
                  <a:pos x="10" y="12"/>
                </a:cxn>
                <a:cxn ang="0">
                  <a:pos x="12" y="8"/>
                </a:cxn>
                <a:cxn ang="0">
                  <a:pos x="16" y="4"/>
                </a:cxn>
                <a:cxn ang="0">
                  <a:pos x="20" y="2"/>
                </a:cxn>
                <a:cxn ang="0">
                  <a:pos x="26" y="0"/>
                </a:cxn>
                <a:cxn ang="0">
                  <a:pos x="140" y="0"/>
                </a:cxn>
                <a:cxn ang="0">
                  <a:pos x="140" y="0"/>
                </a:cxn>
                <a:cxn ang="0">
                  <a:pos x="144" y="2"/>
                </a:cxn>
                <a:cxn ang="0">
                  <a:pos x="150" y="4"/>
                </a:cxn>
                <a:cxn ang="0">
                  <a:pos x="154" y="8"/>
                </a:cxn>
                <a:cxn ang="0">
                  <a:pos x="156" y="12"/>
                </a:cxn>
                <a:cxn ang="0">
                  <a:pos x="164" y="40"/>
                </a:cxn>
                <a:cxn ang="0">
                  <a:pos x="166" y="40"/>
                </a:cxn>
                <a:cxn ang="0">
                  <a:pos x="156" y="12"/>
                </a:cxn>
                <a:cxn ang="0">
                  <a:pos x="156" y="12"/>
                </a:cxn>
                <a:cxn ang="0">
                  <a:pos x="154" y="8"/>
                </a:cxn>
                <a:cxn ang="0">
                  <a:pos x="150" y="4"/>
                </a:cxn>
                <a:cxn ang="0">
                  <a:pos x="144" y="0"/>
                </a:cxn>
                <a:cxn ang="0">
                  <a:pos x="140" y="0"/>
                </a:cxn>
                <a:cxn ang="0">
                  <a:pos x="26" y="0"/>
                </a:cxn>
                <a:cxn ang="0">
                  <a:pos x="26" y="0"/>
                </a:cxn>
                <a:cxn ang="0">
                  <a:pos x="20" y="0"/>
                </a:cxn>
                <a:cxn ang="0">
                  <a:pos x="16" y="4"/>
                </a:cxn>
                <a:cxn ang="0">
                  <a:pos x="12" y="8"/>
                </a:cxn>
                <a:cxn ang="0">
                  <a:pos x="10" y="12"/>
                </a:cxn>
                <a:cxn ang="0">
                  <a:pos x="0" y="40"/>
                </a:cxn>
                <a:cxn ang="0">
                  <a:pos x="0" y="40"/>
                </a:cxn>
                <a:cxn ang="0">
                  <a:pos x="0" y="44"/>
                </a:cxn>
                <a:cxn ang="0">
                  <a:pos x="0" y="44"/>
                </a:cxn>
                <a:cxn ang="0">
                  <a:pos x="0" y="48"/>
                </a:cxn>
                <a:cxn ang="0">
                  <a:pos x="2" y="50"/>
                </a:cxn>
                <a:cxn ang="0">
                  <a:pos x="6" y="52"/>
                </a:cxn>
                <a:cxn ang="0">
                  <a:pos x="10" y="52"/>
                </a:cxn>
                <a:cxn ang="0">
                  <a:pos x="156" y="52"/>
                </a:cxn>
                <a:cxn ang="0">
                  <a:pos x="156" y="52"/>
                </a:cxn>
                <a:cxn ang="0">
                  <a:pos x="160" y="52"/>
                </a:cxn>
                <a:cxn ang="0">
                  <a:pos x="162" y="50"/>
                </a:cxn>
                <a:cxn ang="0">
                  <a:pos x="164" y="48"/>
                </a:cxn>
                <a:cxn ang="0">
                  <a:pos x="166" y="44"/>
                </a:cxn>
                <a:cxn ang="0">
                  <a:pos x="166" y="44"/>
                </a:cxn>
                <a:cxn ang="0">
                  <a:pos x="166" y="40"/>
                </a:cxn>
                <a:cxn ang="0">
                  <a:pos x="164" y="40"/>
                </a:cxn>
              </a:cxnLst>
              <a:rect l="0" t="0" r="r" b="b"/>
              <a:pathLst>
                <a:path w="166" h="52">
                  <a:moveTo>
                    <a:pt x="164" y="40"/>
                  </a:moveTo>
                  <a:lnTo>
                    <a:pt x="164" y="40"/>
                  </a:lnTo>
                  <a:lnTo>
                    <a:pt x="164" y="40"/>
                  </a:lnTo>
                  <a:lnTo>
                    <a:pt x="166" y="46"/>
                  </a:lnTo>
                  <a:lnTo>
                    <a:pt x="164" y="48"/>
                  </a:lnTo>
                  <a:lnTo>
                    <a:pt x="160" y="52"/>
                  </a:lnTo>
                  <a:lnTo>
                    <a:pt x="156" y="52"/>
                  </a:lnTo>
                  <a:lnTo>
                    <a:pt x="10" y="52"/>
                  </a:lnTo>
                  <a:lnTo>
                    <a:pt x="10" y="52"/>
                  </a:lnTo>
                  <a:lnTo>
                    <a:pt x="6" y="52"/>
                  </a:lnTo>
                  <a:lnTo>
                    <a:pt x="2" y="48"/>
                  </a:lnTo>
                  <a:lnTo>
                    <a:pt x="0" y="46"/>
                  </a:lnTo>
                  <a:lnTo>
                    <a:pt x="2" y="40"/>
                  </a:lnTo>
                  <a:lnTo>
                    <a:pt x="10" y="12"/>
                  </a:lnTo>
                  <a:lnTo>
                    <a:pt x="10" y="12"/>
                  </a:lnTo>
                  <a:lnTo>
                    <a:pt x="12" y="8"/>
                  </a:lnTo>
                  <a:lnTo>
                    <a:pt x="16" y="4"/>
                  </a:lnTo>
                  <a:lnTo>
                    <a:pt x="20" y="2"/>
                  </a:lnTo>
                  <a:lnTo>
                    <a:pt x="26" y="0"/>
                  </a:lnTo>
                  <a:lnTo>
                    <a:pt x="140" y="0"/>
                  </a:lnTo>
                  <a:lnTo>
                    <a:pt x="140" y="0"/>
                  </a:lnTo>
                  <a:lnTo>
                    <a:pt x="144" y="2"/>
                  </a:lnTo>
                  <a:lnTo>
                    <a:pt x="150" y="4"/>
                  </a:lnTo>
                  <a:lnTo>
                    <a:pt x="154" y="8"/>
                  </a:lnTo>
                  <a:lnTo>
                    <a:pt x="156" y="12"/>
                  </a:lnTo>
                  <a:lnTo>
                    <a:pt x="164" y="40"/>
                  </a:lnTo>
                  <a:lnTo>
                    <a:pt x="166" y="40"/>
                  </a:lnTo>
                  <a:lnTo>
                    <a:pt x="156" y="12"/>
                  </a:lnTo>
                  <a:lnTo>
                    <a:pt x="156" y="12"/>
                  </a:lnTo>
                  <a:lnTo>
                    <a:pt x="154" y="8"/>
                  </a:lnTo>
                  <a:lnTo>
                    <a:pt x="150" y="4"/>
                  </a:lnTo>
                  <a:lnTo>
                    <a:pt x="144" y="0"/>
                  </a:lnTo>
                  <a:lnTo>
                    <a:pt x="140" y="0"/>
                  </a:lnTo>
                  <a:lnTo>
                    <a:pt x="26" y="0"/>
                  </a:lnTo>
                  <a:lnTo>
                    <a:pt x="26" y="0"/>
                  </a:lnTo>
                  <a:lnTo>
                    <a:pt x="20" y="0"/>
                  </a:lnTo>
                  <a:lnTo>
                    <a:pt x="16" y="4"/>
                  </a:lnTo>
                  <a:lnTo>
                    <a:pt x="12" y="8"/>
                  </a:lnTo>
                  <a:lnTo>
                    <a:pt x="10" y="12"/>
                  </a:lnTo>
                  <a:lnTo>
                    <a:pt x="0" y="40"/>
                  </a:lnTo>
                  <a:lnTo>
                    <a:pt x="0" y="40"/>
                  </a:lnTo>
                  <a:lnTo>
                    <a:pt x="0" y="44"/>
                  </a:lnTo>
                  <a:lnTo>
                    <a:pt x="0" y="44"/>
                  </a:lnTo>
                  <a:lnTo>
                    <a:pt x="0" y="48"/>
                  </a:lnTo>
                  <a:lnTo>
                    <a:pt x="2" y="50"/>
                  </a:lnTo>
                  <a:lnTo>
                    <a:pt x="6" y="52"/>
                  </a:lnTo>
                  <a:lnTo>
                    <a:pt x="10" y="52"/>
                  </a:lnTo>
                  <a:lnTo>
                    <a:pt x="156" y="52"/>
                  </a:lnTo>
                  <a:lnTo>
                    <a:pt x="156" y="52"/>
                  </a:lnTo>
                  <a:lnTo>
                    <a:pt x="160" y="52"/>
                  </a:lnTo>
                  <a:lnTo>
                    <a:pt x="162" y="50"/>
                  </a:lnTo>
                  <a:lnTo>
                    <a:pt x="164" y="48"/>
                  </a:lnTo>
                  <a:lnTo>
                    <a:pt x="166" y="44"/>
                  </a:lnTo>
                  <a:lnTo>
                    <a:pt x="166" y="44"/>
                  </a:lnTo>
                  <a:lnTo>
                    <a:pt x="166" y="40"/>
                  </a:lnTo>
                  <a:lnTo>
                    <a:pt x="164" y="40"/>
                  </a:lnTo>
                  <a:close/>
                </a:path>
              </a:pathLst>
            </a:custGeom>
            <a:grpFill/>
            <a:ln w="9525">
              <a:noFill/>
              <a:round/>
              <a:headEnd/>
              <a:tailEnd/>
            </a:ln>
          </p:spPr>
          <p:txBody>
            <a:bodyPr vert="horz" wrap="square" lIns="68560" tIns="34280" rIns="68560" bIns="34280" numCol="1" anchor="t" anchorCtr="0" compatLnSpc="1">
              <a:prstTxWarp prst="textNoShape">
                <a:avLst/>
              </a:prstTxWarp>
            </a:bodyPr>
            <a:lstStyle/>
            <a:p>
              <a:endParaRPr lang="zh-CN" altLang="en-US">
                <a:latin typeface="+mj-lt"/>
              </a:endParaRPr>
            </a:p>
          </p:txBody>
        </p:sp>
        <p:sp>
          <p:nvSpPr>
            <p:cNvPr id="304" name="Freeform 37"/>
            <p:cNvSpPr>
              <a:spLocks noEditPoints="1"/>
            </p:cNvSpPr>
            <p:nvPr/>
          </p:nvSpPr>
          <p:spPr bwMode="auto">
            <a:xfrm>
              <a:off x="13471525" y="2238375"/>
              <a:ext cx="266700" cy="174625"/>
            </a:xfrm>
            <a:custGeom>
              <a:avLst/>
              <a:gdLst/>
              <a:ahLst/>
              <a:cxnLst>
                <a:cxn ang="0">
                  <a:pos x="0" y="0"/>
                </a:cxn>
                <a:cxn ang="0">
                  <a:pos x="0" y="110"/>
                </a:cxn>
                <a:cxn ang="0">
                  <a:pos x="168" y="110"/>
                </a:cxn>
                <a:cxn ang="0">
                  <a:pos x="168" y="0"/>
                </a:cxn>
                <a:cxn ang="0">
                  <a:pos x="0" y="0"/>
                </a:cxn>
                <a:cxn ang="0">
                  <a:pos x="152" y="96"/>
                </a:cxn>
                <a:cxn ang="0">
                  <a:pos x="16" y="96"/>
                </a:cxn>
                <a:cxn ang="0">
                  <a:pos x="16" y="14"/>
                </a:cxn>
                <a:cxn ang="0">
                  <a:pos x="152" y="14"/>
                </a:cxn>
                <a:cxn ang="0">
                  <a:pos x="152" y="96"/>
                </a:cxn>
              </a:cxnLst>
              <a:rect l="0" t="0" r="r" b="b"/>
              <a:pathLst>
                <a:path w="168" h="110">
                  <a:moveTo>
                    <a:pt x="0" y="0"/>
                  </a:moveTo>
                  <a:lnTo>
                    <a:pt x="0" y="110"/>
                  </a:lnTo>
                  <a:lnTo>
                    <a:pt x="168" y="110"/>
                  </a:lnTo>
                  <a:lnTo>
                    <a:pt x="168" y="0"/>
                  </a:lnTo>
                  <a:lnTo>
                    <a:pt x="0" y="0"/>
                  </a:lnTo>
                  <a:close/>
                  <a:moveTo>
                    <a:pt x="152" y="96"/>
                  </a:moveTo>
                  <a:lnTo>
                    <a:pt x="16" y="96"/>
                  </a:lnTo>
                  <a:lnTo>
                    <a:pt x="16" y="14"/>
                  </a:lnTo>
                  <a:lnTo>
                    <a:pt x="152" y="14"/>
                  </a:lnTo>
                  <a:lnTo>
                    <a:pt x="152" y="96"/>
                  </a:lnTo>
                  <a:close/>
                </a:path>
              </a:pathLst>
            </a:custGeom>
            <a:grpFill/>
            <a:ln w="9525">
              <a:noFill/>
              <a:round/>
              <a:headEnd/>
              <a:tailEnd/>
            </a:ln>
          </p:spPr>
          <p:txBody>
            <a:bodyPr vert="horz" wrap="square" lIns="68560" tIns="34280" rIns="68560" bIns="34280" numCol="1" anchor="t" anchorCtr="0" compatLnSpc="1">
              <a:prstTxWarp prst="textNoShape">
                <a:avLst/>
              </a:prstTxWarp>
            </a:bodyPr>
            <a:lstStyle/>
            <a:p>
              <a:endParaRPr lang="zh-CN" altLang="en-US">
                <a:latin typeface="+mj-lt"/>
              </a:endParaRPr>
            </a:p>
          </p:txBody>
        </p:sp>
      </p:grpSp>
      <p:grpSp>
        <p:nvGrpSpPr>
          <p:cNvPr id="305" name="组合 200"/>
          <p:cNvGrpSpPr/>
          <p:nvPr/>
        </p:nvGrpSpPr>
        <p:grpSpPr>
          <a:xfrm>
            <a:off x="2785125" y="4614905"/>
            <a:ext cx="327380" cy="375758"/>
            <a:chOff x="11015663" y="180975"/>
            <a:chExt cx="722312" cy="1000125"/>
          </a:xfrm>
          <a:solidFill>
            <a:schemeClr val="tx1"/>
          </a:solidFill>
        </p:grpSpPr>
        <p:sp>
          <p:nvSpPr>
            <p:cNvPr id="306" name="Freeform 29"/>
            <p:cNvSpPr>
              <a:spLocks/>
            </p:cNvSpPr>
            <p:nvPr/>
          </p:nvSpPr>
          <p:spPr bwMode="auto">
            <a:xfrm>
              <a:off x="11493500" y="180975"/>
              <a:ext cx="244475" cy="268288"/>
            </a:xfrm>
            <a:custGeom>
              <a:avLst/>
              <a:gdLst/>
              <a:ahLst/>
              <a:cxnLst>
                <a:cxn ang="0">
                  <a:pos x="15" y="72"/>
                </a:cxn>
                <a:cxn ang="0">
                  <a:pos x="58" y="77"/>
                </a:cxn>
                <a:cxn ang="0">
                  <a:pos x="98" y="91"/>
                </a:cxn>
                <a:cxn ang="0">
                  <a:pos x="135" y="113"/>
                </a:cxn>
                <a:cxn ang="0">
                  <a:pos x="169" y="140"/>
                </a:cxn>
                <a:cxn ang="0">
                  <a:pos x="179" y="150"/>
                </a:cxn>
                <a:cxn ang="0">
                  <a:pos x="193" y="168"/>
                </a:cxn>
                <a:cxn ang="0">
                  <a:pos x="216" y="207"/>
                </a:cxn>
                <a:cxn ang="0">
                  <a:pos x="231" y="249"/>
                </a:cxn>
                <a:cxn ang="0">
                  <a:pos x="236" y="295"/>
                </a:cxn>
                <a:cxn ang="0">
                  <a:pos x="236" y="319"/>
                </a:cxn>
                <a:cxn ang="0">
                  <a:pos x="241" y="330"/>
                </a:cxn>
                <a:cxn ang="0">
                  <a:pos x="247" y="334"/>
                </a:cxn>
                <a:cxn ang="0">
                  <a:pos x="292" y="337"/>
                </a:cxn>
                <a:cxn ang="0">
                  <a:pos x="299" y="337"/>
                </a:cxn>
                <a:cxn ang="0">
                  <a:pos x="304" y="334"/>
                </a:cxn>
                <a:cxn ang="0">
                  <a:pos x="309" y="324"/>
                </a:cxn>
                <a:cxn ang="0">
                  <a:pos x="309" y="293"/>
                </a:cxn>
                <a:cxn ang="0">
                  <a:pos x="302" y="233"/>
                </a:cxn>
                <a:cxn ang="0">
                  <a:pos x="282" y="177"/>
                </a:cxn>
                <a:cxn ang="0">
                  <a:pos x="252" y="125"/>
                </a:cxn>
                <a:cxn ang="0">
                  <a:pos x="233" y="101"/>
                </a:cxn>
                <a:cxn ang="0">
                  <a:pos x="221" y="88"/>
                </a:cxn>
                <a:cxn ang="0">
                  <a:pos x="177" y="52"/>
                </a:cxn>
                <a:cxn ang="0">
                  <a:pos x="128" y="25"/>
                </a:cxn>
                <a:cxn ang="0">
                  <a:pos x="74" y="7"/>
                </a:cxn>
                <a:cxn ang="0">
                  <a:pos x="19" y="0"/>
                </a:cxn>
                <a:cxn ang="0">
                  <a:pos x="12" y="0"/>
                </a:cxn>
                <a:cxn ang="0">
                  <a:pos x="4" y="8"/>
                </a:cxn>
                <a:cxn ang="0">
                  <a:pos x="0" y="55"/>
                </a:cxn>
                <a:cxn ang="0">
                  <a:pos x="2" y="62"/>
                </a:cxn>
                <a:cxn ang="0">
                  <a:pos x="5" y="67"/>
                </a:cxn>
                <a:cxn ang="0">
                  <a:pos x="15" y="72"/>
                </a:cxn>
              </a:cxnLst>
              <a:rect l="0" t="0" r="r" b="b"/>
              <a:pathLst>
                <a:path w="309" h="337">
                  <a:moveTo>
                    <a:pt x="15" y="72"/>
                  </a:moveTo>
                  <a:lnTo>
                    <a:pt x="15" y="72"/>
                  </a:lnTo>
                  <a:lnTo>
                    <a:pt x="37" y="74"/>
                  </a:lnTo>
                  <a:lnTo>
                    <a:pt x="58" y="77"/>
                  </a:lnTo>
                  <a:lnTo>
                    <a:pt x="78" y="84"/>
                  </a:lnTo>
                  <a:lnTo>
                    <a:pt x="98" y="91"/>
                  </a:lnTo>
                  <a:lnTo>
                    <a:pt x="118" y="101"/>
                  </a:lnTo>
                  <a:lnTo>
                    <a:pt x="135" y="113"/>
                  </a:lnTo>
                  <a:lnTo>
                    <a:pt x="154" y="125"/>
                  </a:lnTo>
                  <a:lnTo>
                    <a:pt x="169" y="140"/>
                  </a:lnTo>
                  <a:lnTo>
                    <a:pt x="169" y="140"/>
                  </a:lnTo>
                  <a:lnTo>
                    <a:pt x="179" y="150"/>
                  </a:lnTo>
                  <a:lnTo>
                    <a:pt x="179" y="150"/>
                  </a:lnTo>
                  <a:lnTo>
                    <a:pt x="193" y="168"/>
                  </a:lnTo>
                  <a:lnTo>
                    <a:pt x="206" y="187"/>
                  </a:lnTo>
                  <a:lnTo>
                    <a:pt x="216" y="207"/>
                  </a:lnTo>
                  <a:lnTo>
                    <a:pt x="225" y="228"/>
                  </a:lnTo>
                  <a:lnTo>
                    <a:pt x="231" y="249"/>
                  </a:lnTo>
                  <a:lnTo>
                    <a:pt x="235" y="271"/>
                  </a:lnTo>
                  <a:lnTo>
                    <a:pt x="236" y="295"/>
                  </a:lnTo>
                  <a:lnTo>
                    <a:pt x="236" y="319"/>
                  </a:lnTo>
                  <a:lnTo>
                    <a:pt x="236" y="319"/>
                  </a:lnTo>
                  <a:lnTo>
                    <a:pt x="238" y="325"/>
                  </a:lnTo>
                  <a:lnTo>
                    <a:pt x="241" y="330"/>
                  </a:lnTo>
                  <a:lnTo>
                    <a:pt x="241" y="330"/>
                  </a:lnTo>
                  <a:lnTo>
                    <a:pt x="247" y="334"/>
                  </a:lnTo>
                  <a:lnTo>
                    <a:pt x="252" y="336"/>
                  </a:lnTo>
                  <a:lnTo>
                    <a:pt x="292" y="337"/>
                  </a:lnTo>
                  <a:lnTo>
                    <a:pt x="292" y="337"/>
                  </a:lnTo>
                  <a:lnTo>
                    <a:pt x="299" y="337"/>
                  </a:lnTo>
                  <a:lnTo>
                    <a:pt x="304" y="334"/>
                  </a:lnTo>
                  <a:lnTo>
                    <a:pt x="304" y="334"/>
                  </a:lnTo>
                  <a:lnTo>
                    <a:pt x="307" y="329"/>
                  </a:lnTo>
                  <a:lnTo>
                    <a:pt x="309" y="324"/>
                  </a:lnTo>
                  <a:lnTo>
                    <a:pt x="309" y="324"/>
                  </a:lnTo>
                  <a:lnTo>
                    <a:pt x="309" y="293"/>
                  </a:lnTo>
                  <a:lnTo>
                    <a:pt x="307" y="263"/>
                  </a:lnTo>
                  <a:lnTo>
                    <a:pt x="302" y="233"/>
                  </a:lnTo>
                  <a:lnTo>
                    <a:pt x="294" y="204"/>
                  </a:lnTo>
                  <a:lnTo>
                    <a:pt x="282" y="177"/>
                  </a:lnTo>
                  <a:lnTo>
                    <a:pt x="268" y="150"/>
                  </a:lnTo>
                  <a:lnTo>
                    <a:pt x="252" y="125"/>
                  </a:lnTo>
                  <a:lnTo>
                    <a:pt x="233" y="101"/>
                  </a:lnTo>
                  <a:lnTo>
                    <a:pt x="233" y="101"/>
                  </a:lnTo>
                  <a:lnTo>
                    <a:pt x="221" y="88"/>
                  </a:lnTo>
                  <a:lnTo>
                    <a:pt x="221" y="88"/>
                  </a:lnTo>
                  <a:lnTo>
                    <a:pt x="199" y="69"/>
                  </a:lnTo>
                  <a:lnTo>
                    <a:pt x="177" y="52"/>
                  </a:lnTo>
                  <a:lnTo>
                    <a:pt x="154" y="37"/>
                  </a:lnTo>
                  <a:lnTo>
                    <a:pt x="128" y="25"/>
                  </a:lnTo>
                  <a:lnTo>
                    <a:pt x="101" y="15"/>
                  </a:lnTo>
                  <a:lnTo>
                    <a:pt x="74" y="7"/>
                  </a:lnTo>
                  <a:lnTo>
                    <a:pt x="47" y="1"/>
                  </a:lnTo>
                  <a:lnTo>
                    <a:pt x="19" y="0"/>
                  </a:lnTo>
                  <a:lnTo>
                    <a:pt x="19" y="0"/>
                  </a:lnTo>
                  <a:lnTo>
                    <a:pt x="12" y="0"/>
                  </a:lnTo>
                  <a:lnTo>
                    <a:pt x="7" y="3"/>
                  </a:lnTo>
                  <a:lnTo>
                    <a:pt x="4" y="8"/>
                  </a:lnTo>
                  <a:lnTo>
                    <a:pt x="2" y="15"/>
                  </a:lnTo>
                  <a:lnTo>
                    <a:pt x="0" y="55"/>
                  </a:lnTo>
                  <a:lnTo>
                    <a:pt x="0" y="55"/>
                  </a:lnTo>
                  <a:lnTo>
                    <a:pt x="2" y="62"/>
                  </a:lnTo>
                  <a:lnTo>
                    <a:pt x="5" y="67"/>
                  </a:lnTo>
                  <a:lnTo>
                    <a:pt x="5" y="67"/>
                  </a:lnTo>
                  <a:lnTo>
                    <a:pt x="9" y="71"/>
                  </a:lnTo>
                  <a:lnTo>
                    <a:pt x="15" y="72"/>
                  </a:lnTo>
                  <a:lnTo>
                    <a:pt x="15" y="72"/>
                  </a:lnTo>
                  <a:close/>
                </a:path>
              </a:pathLst>
            </a:custGeom>
            <a:grpFill/>
            <a:ln w="9525">
              <a:noFill/>
              <a:round/>
              <a:headEnd/>
              <a:tailEnd/>
            </a:ln>
          </p:spPr>
          <p:txBody>
            <a:bodyPr vert="horz" wrap="square" lIns="91437" tIns="45719" rIns="91437" bIns="45719" numCol="1" anchor="t" anchorCtr="0" compatLnSpc="1">
              <a:prstTxWarp prst="textNoShape">
                <a:avLst/>
              </a:prstTxWarp>
            </a:bodyPr>
            <a:lstStyle/>
            <a:p>
              <a:endParaRPr lang="zh-CN" altLang="en-US">
                <a:latin typeface="+mj-lt"/>
              </a:endParaRPr>
            </a:p>
          </p:txBody>
        </p:sp>
        <p:sp>
          <p:nvSpPr>
            <p:cNvPr id="307" name="Freeform 30"/>
            <p:cNvSpPr>
              <a:spLocks/>
            </p:cNvSpPr>
            <p:nvPr/>
          </p:nvSpPr>
          <p:spPr bwMode="auto">
            <a:xfrm>
              <a:off x="11496675" y="280988"/>
              <a:ext cx="142875" cy="152400"/>
            </a:xfrm>
            <a:custGeom>
              <a:avLst/>
              <a:gdLst/>
              <a:ahLst/>
              <a:cxnLst>
                <a:cxn ang="0">
                  <a:pos x="112" y="184"/>
                </a:cxn>
                <a:cxn ang="0">
                  <a:pos x="112" y="184"/>
                </a:cxn>
                <a:cxn ang="0">
                  <a:pos x="117" y="188"/>
                </a:cxn>
                <a:cxn ang="0">
                  <a:pos x="122" y="189"/>
                </a:cxn>
                <a:cxn ang="0">
                  <a:pos x="164" y="193"/>
                </a:cxn>
                <a:cxn ang="0">
                  <a:pos x="164" y="193"/>
                </a:cxn>
                <a:cxn ang="0">
                  <a:pos x="169" y="191"/>
                </a:cxn>
                <a:cxn ang="0">
                  <a:pos x="176" y="189"/>
                </a:cxn>
                <a:cxn ang="0">
                  <a:pos x="176" y="189"/>
                </a:cxn>
                <a:cxn ang="0">
                  <a:pos x="179" y="184"/>
                </a:cxn>
                <a:cxn ang="0">
                  <a:pos x="181" y="177"/>
                </a:cxn>
                <a:cxn ang="0">
                  <a:pos x="181" y="177"/>
                </a:cxn>
                <a:cxn ang="0">
                  <a:pos x="181" y="161"/>
                </a:cxn>
                <a:cxn ang="0">
                  <a:pos x="179" y="145"/>
                </a:cxn>
                <a:cxn ang="0">
                  <a:pos x="176" y="129"/>
                </a:cxn>
                <a:cxn ang="0">
                  <a:pos x="171" y="113"/>
                </a:cxn>
                <a:cxn ang="0">
                  <a:pos x="164" y="98"/>
                </a:cxn>
                <a:cxn ang="0">
                  <a:pos x="157" y="83"/>
                </a:cxn>
                <a:cxn ang="0">
                  <a:pos x="149" y="69"/>
                </a:cxn>
                <a:cxn ang="0">
                  <a:pos x="137" y="56"/>
                </a:cxn>
                <a:cxn ang="0">
                  <a:pos x="137" y="56"/>
                </a:cxn>
                <a:cxn ang="0">
                  <a:pos x="130" y="49"/>
                </a:cxn>
                <a:cxn ang="0">
                  <a:pos x="130" y="49"/>
                </a:cxn>
                <a:cxn ang="0">
                  <a:pos x="118" y="37"/>
                </a:cxn>
                <a:cxn ang="0">
                  <a:pos x="107" y="29"/>
                </a:cxn>
                <a:cxn ang="0">
                  <a:pos x="93" y="21"/>
                </a:cxn>
                <a:cxn ang="0">
                  <a:pos x="80" y="14"/>
                </a:cxn>
                <a:cxn ang="0">
                  <a:pos x="64" y="9"/>
                </a:cxn>
                <a:cxn ang="0">
                  <a:pos x="49" y="4"/>
                </a:cxn>
                <a:cxn ang="0">
                  <a:pos x="34" y="0"/>
                </a:cxn>
                <a:cxn ang="0">
                  <a:pos x="19" y="0"/>
                </a:cxn>
                <a:cxn ang="0">
                  <a:pos x="19" y="0"/>
                </a:cxn>
                <a:cxn ang="0">
                  <a:pos x="12" y="0"/>
                </a:cxn>
                <a:cxn ang="0">
                  <a:pos x="7" y="4"/>
                </a:cxn>
                <a:cxn ang="0">
                  <a:pos x="4" y="9"/>
                </a:cxn>
                <a:cxn ang="0">
                  <a:pos x="2" y="14"/>
                </a:cxn>
                <a:cxn ang="0">
                  <a:pos x="0" y="56"/>
                </a:cxn>
                <a:cxn ang="0">
                  <a:pos x="0" y="56"/>
                </a:cxn>
                <a:cxn ang="0">
                  <a:pos x="0" y="63"/>
                </a:cxn>
                <a:cxn ang="0">
                  <a:pos x="5" y="68"/>
                </a:cxn>
                <a:cxn ang="0">
                  <a:pos x="5" y="68"/>
                </a:cxn>
                <a:cxn ang="0">
                  <a:pos x="9" y="71"/>
                </a:cxn>
                <a:cxn ang="0">
                  <a:pos x="16" y="73"/>
                </a:cxn>
                <a:cxn ang="0">
                  <a:pos x="16" y="73"/>
                </a:cxn>
                <a:cxn ang="0">
                  <a:pos x="32" y="75"/>
                </a:cxn>
                <a:cxn ang="0">
                  <a:pos x="49" y="81"/>
                </a:cxn>
                <a:cxn ang="0">
                  <a:pos x="66" y="90"/>
                </a:cxn>
                <a:cxn ang="0">
                  <a:pos x="80" y="100"/>
                </a:cxn>
                <a:cxn ang="0">
                  <a:pos x="80" y="100"/>
                </a:cxn>
                <a:cxn ang="0">
                  <a:pos x="83" y="105"/>
                </a:cxn>
                <a:cxn ang="0">
                  <a:pos x="83" y="105"/>
                </a:cxn>
                <a:cxn ang="0">
                  <a:pos x="95" y="120"/>
                </a:cxn>
                <a:cxn ang="0">
                  <a:pos x="102" y="137"/>
                </a:cxn>
                <a:cxn ang="0">
                  <a:pos x="107" y="154"/>
                </a:cxn>
                <a:cxn ang="0">
                  <a:pos x="107" y="172"/>
                </a:cxn>
                <a:cxn ang="0">
                  <a:pos x="107" y="172"/>
                </a:cxn>
                <a:cxn ang="0">
                  <a:pos x="108" y="179"/>
                </a:cxn>
                <a:cxn ang="0">
                  <a:pos x="112" y="184"/>
                </a:cxn>
                <a:cxn ang="0">
                  <a:pos x="112" y="184"/>
                </a:cxn>
              </a:cxnLst>
              <a:rect l="0" t="0" r="r" b="b"/>
              <a:pathLst>
                <a:path w="181" h="193">
                  <a:moveTo>
                    <a:pt x="112" y="184"/>
                  </a:moveTo>
                  <a:lnTo>
                    <a:pt x="112" y="184"/>
                  </a:lnTo>
                  <a:lnTo>
                    <a:pt x="117" y="188"/>
                  </a:lnTo>
                  <a:lnTo>
                    <a:pt x="122" y="189"/>
                  </a:lnTo>
                  <a:lnTo>
                    <a:pt x="164" y="193"/>
                  </a:lnTo>
                  <a:lnTo>
                    <a:pt x="164" y="193"/>
                  </a:lnTo>
                  <a:lnTo>
                    <a:pt x="169" y="191"/>
                  </a:lnTo>
                  <a:lnTo>
                    <a:pt x="176" y="189"/>
                  </a:lnTo>
                  <a:lnTo>
                    <a:pt x="176" y="189"/>
                  </a:lnTo>
                  <a:lnTo>
                    <a:pt x="179" y="184"/>
                  </a:lnTo>
                  <a:lnTo>
                    <a:pt x="181" y="177"/>
                  </a:lnTo>
                  <a:lnTo>
                    <a:pt x="181" y="177"/>
                  </a:lnTo>
                  <a:lnTo>
                    <a:pt x="181" y="161"/>
                  </a:lnTo>
                  <a:lnTo>
                    <a:pt x="179" y="145"/>
                  </a:lnTo>
                  <a:lnTo>
                    <a:pt x="176" y="129"/>
                  </a:lnTo>
                  <a:lnTo>
                    <a:pt x="171" y="113"/>
                  </a:lnTo>
                  <a:lnTo>
                    <a:pt x="164" y="98"/>
                  </a:lnTo>
                  <a:lnTo>
                    <a:pt x="157" y="83"/>
                  </a:lnTo>
                  <a:lnTo>
                    <a:pt x="149" y="69"/>
                  </a:lnTo>
                  <a:lnTo>
                    <a:pt x="137" y="56"/>
                  </a:lnTo>
                  <a:lnTo>
                    <a:pt x="137" y="56"/>
                  </a:lnTo>
                  <a:lnTo>
                    <a:pt x="130" y="49"/>
                  </a:lnTo>
                  <a:lnTo>
                    <a:pt x="130" y="49"/>
                  </a:lnTo>
                  <a:lnTo>
                    <a:pt x="118" y="37"/>
                  </a:lnTo>
                  <a:lnTo>
                    <a:pt x="107" y="29"/>
                  </a:lnTo>
                  <a:lnTo>
                    <a:pt x="93" y="21"/>
                  </a:lnTo>
                  <a:lnTo>
                    <a:pt x="80" y="14"/>
                  </a:lnTo>
                  <a:lnTo>
                    <a:pt x="64" y="9"/>
                  </a:lnTo>
                  <a:lnTo>
                    <a:pt x="49" y="4"/>
                  </a:lnTo>
                  <a:lnTo>
                    <a:pt x="34" y="0"/>
                  </a:lnTo>
                  <a:lnTo>
                    <a:pt x="19" y="0"/>
                  </a:lnTo>
                  <a:lnTo>
                    <a:pt x="19" y="0"/>
                  </a:lnTo>
                  <a:lnTo>
                    <a:pt x="12" y="0"/>
                  </a:lnTo>
                  <a:lnTo>
                    <a:pt x="7" y="4"/>
                  </a:lnTo>
                  <a:lnTo>
                    <a:pt x="4" y="9"/>
                  </a:lnTo>
                  <a:lnTo>
                    <a:pt x="2" y="14"/>
                  </a:lnTo>
                  <a:lnTo>
                    <a:pt x="0" y="56"/>
                  </a:lnTo>
                  <a:lnTo>
                    <a:pt x="0" y="56"/>
                  </a:lnTo>
                  <a:lnTo>
                    <a:pt x="0" y="63"/>
                  </a:lnTo>
                  <a:lnTo>
                    <a:pt x="5" y="68"/>
                  </a:lnTo>
                  <a:lnTo>
                    <a:pt x="5" y="68"/>
                  </a:lnTo>
                  <a:lnTo>
                    <a:pt x="9" y="71"/>
                  </a:lnTo>
                  <a:lnTo>
                    <a:pt x="16" y="73"/>
                  </a:lnTo>
                  <a:lnTo>
                    <a:pt x="16" y="73"/>
                  </a:lnTo>
                  <a:lnTo>
                    <a:pt x="32" y="75"/>
                  </a:lnTo>
                  <a:lnTo>
                    <a:pt x="49" y="81"/>
                  </a:lnTo>
                  <a:lnTo>
                    <a:pt x="66" y="90"/>
                  </a:lnTo>
                  <a:lnTo>
                    <a:pt x="80" y="100"/>
                  </a:lnTo>
                  <a:lnTo>
                    <a:pt x="80" y="100"/>
                  </a:lnTo>
                  <a:lnTo>
                    <a:pt x="83" y="105"/>
                  </a:lnTo>
                  <a:lnTo>
                    <a:pt x="83" y="105"/>
                  </a:lnTo>
                  <a:lnTo>
                    <a:pt x="95" y="120"/>
                  </a:lnTo>
                  <a:lnTo>
                    <a:pt x="102" y="137"/>
                  </a:lnTo>
                  <a:lnTo>
                    <a:pt x="107" y="154"/>
                  </a:lnTo>
                  <a:lnTo>
                    <a:pt x="107" y="172"/>
                  </a:lnTo>
                  <a:lnTo>
                    <a:pt x="107" y="172"/>
                  </a:lnTo>
                  <a:lnTo>
                    <a:pt x="108" y="179"/>
                  </a:lnTo>
                  <a:lnTo>
                    <a:pt x="112" y="184"/>
                  </a:lnTo>
                  <a:lnTo>
                    <a:pt x="112" y="184"/>
                  </a:lnTo>
                  <a:close/>
                </a:path>
              </a:pathLst>
            </a:custGeom>
            <a:grpFill/>
            <a:ln w="9525">
              <a:noFill/>
              <a:round/>
              <a:headEnd/>
              <a:tailEnd/>
            </a:ln>
          </p:spPr>
          <p:txBody>
            <a:bodyPr vert="horz" wrap="square" lIns="91437" tIns="45719" rIns="91437" bIns="45719" numCol="1" anchor="t" anchorCtr="0" compatLnSpc="1">
              <a:prstTxWarp prst="textNoShape">
                <a:avLst/>
              </a:prstTxWarp>
            </a:bodyPr>
            <a:lstStyle/>
            <a:p>
              <a:endParaRPr lang="zh-CN" altLang="en-US">
                <a:latin typeface="+mj-lt"/>
              </a:endParaRPr>
            </a:p>
          </p:txBody>
        </p:sp>
        <p:sp>
          <p:nvSpPr>
            <p:cNvPr id="308" name="Freeform 31"/>
            <p:cNvSpPr>
              <a:spLocks noEditPoints="1"/>
            </p:cNvSpPr>
            <p:nvPr/>
          </p:nvSpPr>
          <p:spPr bwMode="auto">
            <a:xfrm>
              <a:off x="11015663" y="377825"/>
              <a:ext cx="522288" cy="803275"/>
            </a:xfrm>
            <a:custGeom>
              <a:avLst/>
              <a:gdLst/>
              <a:ahLst/>
              <a:cxnLst>
                <a:cxn ang="0">
                  <a:pos x="639" y="1012"/>
                </a:cxn>
                <a:cxn ang="0">
                  <a:pos x="647" y="1012"/>
                </a:cxn>
                <a:cxn ang="0">
                  <a:pos x="656" y="1002"/>
                </a:cxn>
                <a:cxn ang="0">
                  <a:pos x="658" y="103"/>
                </a:cxn>
                <a:cxn ang="0">
                  <a:pos x="658" y="93"/>
                </a:cxn>
                <a:cxn ang="0">
                  <a:pos x="653" y="72"/>
                </a:cxn>
                <a:cxn ang="0">
                  <a:pos x="641" y="45"/>
                </a:cxn>
                <a:cxn ang="0">
                  <a:pos x="612" y="18"/>
                </a:cxn>
                <a:cxn ang="0">
                  <a:pos x="585" y="5"/>
                </a:cxn>
                <a:cxn ang="0">
                  <a:pos x="565" y="0"/>
                </a:cxn>
                <a:cxn ang="0">
                  <a:pos x="103" y="0"/>
                </a:cxn>
                <a:cxn ang="0">
                  <a:pos x="93" y="0"/>
                </a:cxn>
                <a:cxn ang="0">
                  <a:pos x="72" y="5"/>
                </a:cxn>
                <a:cxn ang="0">
                  <a:pos x="45" y="18"/>
                </a:cxn>
                <a:cxn ang="0">
                  <a:pos x="17" y="45"/>
                </a:cxn>
                <a:cxn ang="0">
                  <a:pos x="3" y="72"/>
                </a:cxn>
                <a:cxn ang="0">
                  <a:pos x="0" y="93"/>
                </a:cxn>
                <a:cxn ang="0">
                  <a:pos x="0" y="995"/>
                </a:cxn>
                <a:cxn ang="0">
                  <a:pos x="1" y="1002"/>
                </a:cxn>
                <a:cxn ang="0">
                  <a:pos x="10" y="1012"/>
                </a:cxn>
                <a:cxn ang="0">
                  <a:pos x="17" y="1012"/>
                </a:cxn>
                <a:cxn ang="0">
                  <a:pos x="361" y="926"/>
                </a:cxn>
                <a:cxn ang="0">
                  <a:pos x="356" y="939"/>
                </a:cxn>
                <a:cxn ang="0">
                  <a:pos x="342" y="945"/>
                </a:cxn>
                <a:cxn ang="0">
                  <a:pos x="314" y="945"/>
                </a:cxn>
                <a:cxn ang="0">
                  <a:pos x="302" y="939"/>
                </a:cxn>
                <a:cxn ang="0">
                  <a:pos x="297" y="926"/>
                </a:cxn>
                <a:cxn ang="0">
                  <a:pos x="297" y="911"/>
                </a:cxn>
                <a:cxn ang="0">
                  <a:pos x="302" y="897"/>
                </a:cxn>
                <a:cxn ang="0">
                  <a:pos x="314" y="892"/>
                </a:cxn>
                <a:cxn ang="0">
                  <a:pos x="342" y="892"/>
                </a:cxn>
                <a:cxn ang="0">
                  <a:pos x="356" y="897"/>
                </a:cxn>
                <a:cxn ang="0">
                  <a:pos x="361" y="911"/>
                </a:cxn>
                <a:cxn ang="0">
                  <a:pos x="114" y="126"/>
                </a:cxn>
                <a:cxn ang="0">
                  <a:pos x="116" y="120"/>
                </a:cxn>
                <a:cxn ang="0">
                  <a:pos x="126" y="109"/>
                </a:cxn>
                <a:cxn ang="0">
                  <a:pos x="524" y="108"/>
                </a:cxn>
                <a:cxn ang="0">
                  <a:pos x="531" y="109"/>
                </a:cxn>
                <a:cxn ang="0">
                  <a:pos x="541" y="120"/>
                </a:cxn>
                <a:cxn ang="0">
                  <a:pos x="543" y="821"/>
                </a:cxn>
                <a:cxn ang="0">
                  <a:pos x="541" y="828"/>
                </a:cxn>
                <a:cxn ang="0">
                  <a:pos x="531" y="838"/>
                </a:cxn>
                <a:cxn ang="0">
                  <a:pos x="133" y="840"/>
                </a:cxn>
                <a:cxn ang="0">
                  <a:pos x="126" y="838"/>
                </a:cxn>
                <a:cxn ang="0">
                  <a:pos x="116" y="828"/>
                </a:cxn>
                <a:cxn ang="0">
                  <a:pos x="114" y="126"/>
                </a:cxn>
              </a:cxnLst>
              <a:rect l="0" t="0" r="r" b="b"/>
              <a:pathLst>
                <a:path w="658" h="1012">
                  <a:moveTo>
                    <a:pt x="17" y="1012"/>
                  </a:moveTo>
                  <a:lnTo>
                    <a:pt x="639" y="1012"/>
                  </a:lnTo>
                  <a:lnTo>
                    <a:pt x="639" y="1012"/>
                  </a:lnTo>
                  <a:lnTo>
                    <a:pt x="647" y="1012"/>
                  </a:lnTo>
                  <a:lnTo>
                    <a:pt x="653" y="1007"/>
                  </a:lnTo>
                  <a:lnTo>
                    <a:pt x="656" y="1002"/>
                  </a:lnTo>
                  <a:lnTo>
                    <a:pt x="658" y="995"/>
                  </a:lnTo>
                  <a:lnTo>
                    <a:pt x="658" y="103"/>
                  </a:lnTo>
                  <a:lnTo>
                    <a:pt x="658" y="103"/>
                  </a:lnTo>
                  <a:lnTo>
                    <a:pt x="658" y="93"/>
                  </a:lnTo>
                  <a:lnTo>
                    <a:pt x="656" y="82"/>
                  </a:lnTo>
                  <a:lnTo>
                    <a:pt x="653" y="72"/>
                  </a:lnTo>
                  <a:lnTo>
                    <a:pt x="649" y="64"/>
                  </a:lnTo>
                  <a:lnTo>
                    <a:pt x="641" y="45"/>
                  </a:lnTo>
                  <a:lnTo>
                    <a:pt x="627" y="30"/>
                  </a:lnTo>
                  <a:lnTo>
                    <a:pt x="612" y="18"/>
                  </a:lnTo>
                  <a:lnTo>
                    <a:pt x="595" y="8"/>
                  </a:lnTo>
                  <a:lnTo>
                    <a:pt x="585" y="5"/>
                  </a:lnTo>
                  <a:lnTo>
                    <a:pt x="575" y="1"/>
                  </a:lnTo>
                  <a:lnTo>
                    <a:pt x="565" y="0"/>
                  </a:lnTo>
                  <a:lnTo>
                    <a:pt x="555" y="0"/>
                  </a:lnTo>
                  <a:lnTo>
                    <a:pt x="103" y="0"/>
                  </a:lnTo>
                  <a:lnTo>
                    <a:pt x="103" y="0"/>
                  </a:lnTo>
                  <a:lnTo>
                    <a:pt x="93" y="0"/>
                  </a:lnTo>
                  <a:lnTo>
                    <a:pt x="82" y="1"/>
                  </a:lnTo>
                  <a:lnTo>
                    <a:pt x="72" y="5"/>
                  </a:lnTo>
                  <a:lnTo>
                    <a:pt x="62" y="8"/>
                  </a:lnTo>
                  <a:lnTo>
                    <a:pt x="45" y="18"/>
                  </a:lnTo>
                  <a:lnTo>
                    <a:pt x="30" y="30"/>
                  </a:lnTo>
                  <a:lnTo>
                    <a:pt x="17" y="45"/>
                  </a:lnTo>
                  <a:lnTo>
                    <a:pt x="7" y="64"/>
                  </a:lnTo>
                  <a:lnTo>
                    <a:pt x="3" y="72"/>
                  </a:lnTo>
                  <a:lnTo>
                    <a:pt x="1" y="82"/>
                  </a:lnTo>
                  <a:lnTo>
                    <a:pt x="0" y="93"/>
                  </a:lnTo>
                  <a:lnTo>
                    <a:pt x="0" y="103"/>
                  </a:lnTo>
                  <a:lnTo>
                    <a:pt x="0" y="995"/>
                  </a:lnTo>
                  <a:lnTo>
                    <a:pt x="0" y="995"/>
                  </a:lnTo>
                  <a:lnTo>
                    <a:pt x="1" y="1002"/>
                  </a:lnTo>
                  <a:lnTo>
                    <a:pt x="5" y="1007"/>
                  </a:lnTo>
                  <a:lnTo>
                    <a:pt x="10" y="1012"/>
                  </a:lnTo>
                  <a:lnTo>
                    <a:pt x="17" y="1012"/>
                  </a:lnTo>
                  <a:lnTo>
                    <a:pt x="17" y="1012"/>
                  </a:lnTo>
                  <a:close/>
                  <a:moveTo>
                    <a:pt x="361" y="926"/>
                  </a:moveTo>
                  <a:lnTo>
                    <a:pt x="361" y="926"/>
                  </a:lnTo>
                  <a:lnTo>
                    <a:pt x="359" y="933"/>
                  </a:lnTo>
                  <a:lnTo>
                    <a:pt x="356" y="939"/>
                  </a:lnTo>
                  <a:lnTo>
                    <a:pt x="351" y="943"/>
                  </a:lnTo>
                  <a:lnTo>
                    <a:pt x="342" y="945"/>
                  </a:lnTo>
                  <a:lnTo>
                    <a:pt x="314" y="945"/>
                  </a:lnTo>
                  <a:lnTo>
                    <a:pt x="314" y="945"/>
                  </a:lnTo>
                  <a:lnTo>
                    <a:pt x="307" y="943"/>
                  </a:lnTo>
                  <a:lnTo>
                    <a:pt x="302" y="939"/>
                  </a:lnTo>
                  <a:lnTo>
                    <a:pt x="297" y="933"/>
                  </a:lnTo>
                  <a:lnTo>
                    <a:pt x="297" y="926"/>
                  </a:lnTo>
                  <a:lnTo>
                    <a:pt x="297" y="911"/>
                  </a:lnTo>
                  <a:lnTo>
                    <a:pt x="297" y="911"/>
                  </a:lnTo>
                  <a:lnTo>
                    <a:pt x="297" y="904"/>
                  </a:lnTo>
                  <a:lnTo>
                    <a:pt x="302" y="897"/>
                  </a:lnTo>
                  <a:lnTo>
                    <a:pt x="307" y="894"/>
                  </a:lnTo>
                  <a:lnTo>
                    <a:pt x="314" y="892"/>
                  </a:lnTo>
                  <a:lnTo>
                    <a:pt x="342" y="892"/>
                  </a:lnTo>
                  <a:lnTo>
                    <a:pt x="342" y="892"/>
                  </a:lnTo>
                  <a:lnTo>
                    <a:pt x="351" y="894"/>
                  </a:lnTo>
                  <a:lnTo>
                    <a:pt x="356" y="897"/>
                  </a:lnTo>
                  <a:lnTo>
                    <a:pt x="359" y="904"/>
                  </a:lnTo>
                  <a:lnTo>
                    <a:pt x="361" y="911"/>
                  </a:lnTo>
                  <a:lnTo>
                    <a:pt x="361" y="926"/>
                  </a:lnTo>
                  <a:close/>
                  <a:moveTo>
                    <a:pt x="114" y="126"/>
                  </a:moveTo>
                  <a:lnTo>
                    <a:pt x="114" y="126"/>
                  </a:lnTo>
                  <a:lnTo>
                    <a:pt x="116" y="120"/>
                  </a:lnTo>
                  <a:lnTo>
                    <a:pt x="120" y="113"/>
                  </a:lnTo>
                  <a:lnTo>
                    <a:pt x="126" y="109"/>
                  </a:lnTo>
                  <a:lnTo>
                    <a:pt x="133" y="108"/>
                  </a:lnTo>
                  <a:lnTo>
                    <a:pt x="524" y="108"/>
                  </a:lnTo>
                  <a:lnTo>
                    <a:pt x="524" y="108"/>
                  </a:lnTo>
                  <a:lnTo>
                    <a:pt x="531" y="109"/>
                  </a:lnTo>
                  <a:lnTo>
                    <a:pt x="538" y="113"/>
                  </a:lnTo>
                  <a:lnTo>
                    <a:pt x="541" y="120"/>
                  </a:lnTo>
                  <a:lnTo>
                    <a:pt x="543" y="126"/>
                  </a:lnTo>
                  <a:lnTo>
                    <a:pt x="543" y="821"/>
                  </a:lnTo>
                  <a:lnTo>
                    <a:pt x="543" y="821"/>
                  </a:lnTo>
                  <a:lnTo>
                    <a:pt x="541" y="828"/>
                  </a:lnTo>
                  <a:lnTo>
                    <a:pt x="538" y="835"/>
                  </a:lnTo>
                  <a:lnTo>
                    <a:pt x="531" y="838"/>
                  </a:lnTo>
                  <a:lnTo>
                    <a:pt x="524" y="840"/>
                  </a:lnTo>
                  <a:lnTo>
                    <a:pt x="133" y="840"/>
                  </a:lnTo>
                  <a:lnTo>
                    <a:pt x="133" y="840"/>
                  </a:lnTo>
                  <a:lnTo>
                    <a:pt x="126" y="838"/>
                  </a:lnTo>
                  <a:lnTo>
                    <a:pt x="120" y="835"/>
                  </a:lnTo>
                  <a:lnTo>
                    <a:pt x="116" y="828"/>
                  </a:lnTo>
                  <a:lnTo>
                    <a:pt x="114" y="821"/>
                  </a:lnTo>
                  <a:lnTo>
                    <a:pt x="114" y="126"/>
                  </a:lnTo>
                  <a:close/>
                </a:path>
              </a:pathLst>
            </a:custGeom>
            <a:grpFill/>
            <a:ln w="9525">
              <a:noFill/>
              <a:round/>
              <a:headEnd/>
              <a:tailEnd/>
            </a:ln>
          </p:spPr>
          <p:txBody>
            <a:bodyPr vert="horz" wrap="square" lIns="91437" tIns="45719" rIns="91437" bIns="45719" numCol="1" anchor="t" anchorCtr="0" compatLnSpc="1">
              <a:prstTxWarp prst="textNoShape">
                <a:avLst/>
              </a:prstTxWarp>
            </a:bodyPr>
            <a:lstStyle/>
            <a:p>
              <a:endParaRPr lang="zh-CN" altLang="en-US">
                <a:latin typeface="+mj-lt"/>
              </a:endParaRPr>
            </a:p>
          </p:txBody>
        </p:sp>
      </p:grpSp>
      <p:grpSp>
        <p:nvGrpSpPr>
          <p:cNvPr id="309" name="组合 229"/>
          <p:cNvGrpSpPr/>
          <p:nvPr/>
        </p:nvGrpSpPr>
        <p:grpSpPr>
          <a:xfrm>
            <a:off x="2207625" y="4650031"/>
            <a:ext cx="317277" cy="328499"/>
            <a:chOff x="12457113" y="177800"/>
            <a:chExt cx="898525" cy="993776"/>
          </a:xfrm>
          <a:solidFill>
            <a:schemeClr val="tx1"/>
          </a:solidFill>
        </p:grpSpPr>
        <p:sp>
          <p:nvSpPr>
            <p:cNvPr id="310" name="Freeform 83"/>
            <p:cNvSpPr>
              <a:spLocks/>
            </p:cNvSpPr>
            <p:nvPr/>
          </p:nvSpPr>
          <p:spPr bwMode="auto">
            <a:xfrm>
              <a:off x="12726988" y="177800"/>
              <a:ext cx="352425" cy="125413"/>
            </a:xfrm>
            <a:custGeom>
              <a:avLst/>
              <a:gdLst/>
              <a:ahLst/>
              <a:cxnLst>
                <a:cxn ang="0">
                  <a:pos x="33" y="134"/>
                </a:cxn>
                <a:cxn ang="0">
                  <a:pos x="44" y="139"/>
                </a:cxn>
                <a:cxn ang="0">
                  <a:pos x="49" y="137"/>
                </a:cxn>
                <a:cxn ang="0">
                  <a:pos x="54" y="135"/>
                </a:cxn>
                <a:cxn ang="0">
                  <a:pos x="90" y="108"/>
                </a:cxn>
                <a:cxn ang="0">
                  <a:pos x="127" y="90"/>
                </a:cxn>
                <a:cxn ang="0">
                  <a:pos x="169" y="78"/>
                </a:cxn>
                <a:cxn ang="0">
                  <a:pos x="211" y="73"/>
                </a:cxn>
                <a:cxn ang="0">
                  <a:pos x="225" y="75"/>
                </a:cxn>
                <a:cxn ang="0">
                  <a:pos x="248" y="76"/>
                </a:cxn>
                <a:cxn ang="0">
                  <a:pos x="292" y="88"/>
                </a:cxn>
                <a:cxn ang="0">
                  <a:pos x="333" y="108"/>
                </a:cxn>
                <a:cxn ang="0">
                  <a:pos x="370" y="135"/>
                </a:cxn>
                <a:cxn ang="0">
                  <a:pos x="385" y="152"/>
                </a:cxn>
                <a:cxn ang="0">
                  <a:pos x="397" y="157"/>
                </a:cxn>
                <a:cxn ang="0">
                  <a:pos x="402" y="156"/>
                </a:cxn>
                <a:cxn ang="0">
                  <a:pos x="439" y="127"/>
                </a:cxn>
                <a:cxn ang="0">
                  <a:pos x="442" y="122"/>
                </a:cxn>
                <a:cxn ang="0">
                  <a:pos x="444" y="115"/>
                </a:cxn>
                <a:cxn ang="0">
                  <a:pos x="441" y="103"/>
                </a:cxn>
                <a:cxn ang="0">
                  <a:pos x="419" y="81"/>
                </a:cxn>
                <a:cxn ang="0">
                  <a:pos x="372" y="46"/>
                </a:cxn>
                <a:cxn ang="0">
                  <a:pos x="318" y="19"/>
                </a:cxn>
                <a:cxn ang="0">
                  <a:pos x="260" y="4"/>
                </a:cxn>
                <a:cxn ang="0">
                  <a:pos x="230" y="2"/>
                </a:cxn>
                <a:cxn ang="0">
                  <a:pos x="211" y="0"/>
                </a:cxn>
                <a:cxn ang="0">
                  <a:pos x="156" y="5"/>
                </a:cxn>
                <a:cxn ang="0">
                  <a:pos x="102" y="21"/>
                </a:cxn>
                <a:cxn ang="0">
                  <a:pos x="51" y="46"/>
                </a:cxn>
                <a:cxn ang="0">
                  <a:pos x="6" y="81"/>
                </a:cxn>
                <a:cxn ang="0">
                  <a:pos x="2" y="86"/>
                </a:cxn>
                <a:cxn ang="0">
                  <a:pos x="2" y="98"/>
                </a:cxn>
                <a:cxn ang="0">
                  <a:pos x="33" y="134"/>
                </a:cxn>
              </a:cxnLst>
              <a:rect l="0" t="0" r="r" b="b"/>
              <a:pathLst>
                <a:path w="444" h="157">
                  <a:moveTo>
                    <a:pt x="33" y="134"/>
                  </a:moveTo>
                  <a:lnTo>
                    <a:pt x="33" y="134"/>
                  </a:lnTo>
                  <a:lnTo>
                    <a:pt x="38" y="137"/>
                  </a:lnTo>
                  <a:lnTo>
                    <a:pt x="44" y="139"/>
                  </a:lnTo>
                  <a:lnTo>
                    <a:pt x="44" y="139"/>
                  </a:lnTo>
                  <a:lnTo>
                    <a:pt x="49" y="137"/>
                  </a:lnTo>
                  <a:lnTo>
                    <a:pt x="54" y="135"/>
                  </a:lnTo>
                  <a:lnTo>
                    <a:pt x="54" y="135"/>
                  </a:lnTo>
                  <a:lnTo>
                    <a:pt x="71" y="120"/>
                  </a:lnTo>
                  <a:lnTo>
                    <a:pt x="90" y="108"/>
                  </a:lnTo>
                  <a:lnTo>
                    <a:pt x="108" y="98"/>
                  </a:lnTo>
                  <a:lnTo>
                    <a:pt x="127" y="90"/>
                  </a:lnTo>
                  <a:lnTo>
                    <a:pt x="147" y="83"/>
                  </a:lnTo>
                  <a:lnTo>
                    <a:pt x="169" y="78"/>
                  </a:lnTo>
                  <a:lnTo>
                    <a:pt x="189" y="75"/>
                  </a:lnTo>
                  <a:lnTo>
                    <a:pt x="211" y="73"/>
                  </a:lnTo>
                  <a:lnTo>
                    <a:pt x="211" y="73"/>
                  </a:lnTo>
                  <a:lnTo>
                    <a:pt x="225" y="75"/>
                  </a:lnTo>
                  <a:lnTo>
                    <a:pt x="225" y="75"/>
                  </a:lnTo>
                  <a:lnTo>
                    <a:pt x="248" y="76"/>
                  </a:lnTo>
                  <a:lnTo>
                    <a:pt x="270" y="81"/>
                  </a:lnTo>
                  <a:lnTo>
                    <a:pt x="292" y="88"/>
                  </a:lnTo>
                  <a:lnTo>
                    <a:pt x="313" y="97"/>
                  </a:lnTo>
                  <a:lnTo>
                    <a:pt x="333" y="108"/>
                  </a:lnTo>
                  <a:lnTo>
                    <a:pt x="351" y="120"/>
                  </a:lnTo>
                  <a:lnTo>
                    <a:pt x="370" y="135"/>
                  </a:lnTo>
                  <a:lnTo>
                    <a:pt x="385" y="152"/>
                  </a:lnTo>
                  <a:lnTo>
                    <a:pt x="385" y="152"/>
                  </a:lnTo>
                  <a:lnTo>
                    <a:pt x="390" y="156"/>
                  </a:lnTo>
                  <a:lnTo>
                    <a:pt x="397" y="157"/>
                  </a:lnTo>
                  <a:lnTo>
                    <a:pt x="397" y="157"/>
                  </a:lnTo>
                  <a:lnTo>
                    <a:pt x="402" y="156"/>
                  </a:lnTo>
                  <a:lnTo>
                    <a:pt x="407" y="154"/>
                  </a:lnTo>
                  <a:lnTo>
                    <a:pt x="439" y="127"/>
                  </a:lnTo>
                  <a:lnTo>
                    <a:pt x="439" y="127"/>
                  </a:lnTo>
                  <a:lnTo>
                    <a:pt x="442" y="122"/>
                  </a:lnTo>
                  <a:lnTo>
                    <a:pt x="444" y="115"/>
                  </a:lnTo>
                  <a:lnTo>
                    <a:pt x="444" y="115"/>
                  </a:lnTo>
                  <a:lnTo>
                    <a:pt x="444" y="110"/>
                  </a:lnTo>
                  <a:lnTo>
                    <a:pt x="441" y="103"/>
                  </a:lnTo>
                  <a:lnTo>
                    <a:pt x="441" y="103"/>
                  </a:lnTo>
                  <a:lnTo>
                    <a:pt x="419" y="81"/>
                  </a:lnTo>
                  <a:lnTo>
                    <a:pt x="395" y="63"/>
                  </a:lnTo>
                  <a:lnTo>
                    <a:pt x="372" y="46"/>
                  </a:lnTo>
                  <a:lnTo>
                    <a:pt x="345" y="31"/>
                  </a:lnTo>
                  <a:lnTo>
                    <a:pt x="318" y="19"/>
                  </a:lnTo>
                  <a:lnTo>
                    <a:pt x="289" y="11"/>
                  </a:lnTo>
                  <a:lnTo>
                    <a:pt x="260" y="4"/>
                  </a:lnTo>
                  <a:lnTo>
                    <a:pt x="230" y="2"/>
                  </a:lnTo>
                  <a:lnTo>
                    <a:pt x="230" y="2"/>
                  </a:lnTo>
                  <a:lnTo>
                    <a:pt x="211" y="0"/>
                  </a:lnTo>
                  <a:lnTo>
                    <a:pt x="211" y="0"/>
                  </a:lnTo>
                  <a:lnTo>
                    <a:pt x="183" y="2"/>
                  </a:lnTo>
                  <a:lnTo>
                    <a:pt x="156" y="5"/>
                  </a:lnTo>
                  <a:lnTo>
                    <a:pt x="129" y="12"/>
                  </a:lnTo>
                  <a:lnTo>
                    <a:pt x="102" y="21"/>
                  </a:lnTo>
                  <a:lnTo>
                    <a:pt x="76" y="32"/>
                  </a:lnTo>
                  <a:lnTo>
                    <a:pt x="51" y="46"/>
                  </a:lnTo>
                  <a:lnTo>
                    <a:pt x="27" y="63"/>
                  </a:lnTo>
                  <a:lnTo>
                    <a:pt x="6" y="81"/>
                  </a:lnTo>
                  <a:lnTo>
                    <a:pt x="6" y="81"/>
                  </a:lnTo>
                  <a:lnTo>
                    <a:pt x="2" y="86"/>
                  </a:lnTo>
                  <a:lnTo>
                    <a:pt x="0" y="92"/>
                  </a:lnTo>
                  <a:lnTo>
                    <a:pt x="2" y="98"/>
                  </a:lnTo>
                  <a:lnTo>
                    <a:pt x="6" y="103"/>
                  </a:lnTo>
                  <a:lnTo>
                    <a:pt x="33" y="134"/>
                  </a:lnTo>
                  <a:close/>
                </a:path>
              </a:pathLst>
            </a:custGeom>
            <a:grpFill/>
            <a:ln w="9525">
              <a:noFill/>
              <a:round/>
              <a:headEnd/>
              <a:tailEnd/>
            </a:ln>
          </p:spPr>
          <p:txBody>
            <a:bodyPr vert="horz" wrap="square" lIns="91437" tIns="45719" rIns="91437" bIns="45719" numCol="1" anchor="t" anchorCtr="0" compatLnSpc="1">
              <a:prstTxWarp prst="textNoShape">
                <a:avLst/>
              </a:prstTxWarp>
            </a:bodyPr>
            <a:lstStyle/>
            <a:p>
              <a:endParaRPr lang="zh-CN" altLang="en-US">
                <a:latin typeface="+mj-lt"/>
              </a:endParaRPr>
            </a:p>
          </p:txBody>
        </p:sp>
        <p:sp>
          <p:nvSpPr>
            <p:cNvPr id="311" name="Freeform 84"/>
            <p:cNvSpPr>
              <a:spLocks/>
            </p:cNvSpPr>
            <p:nvPr/>
          </p:nvSpPr>
          <p:spPr bwMode="auto">
            <a:xfrm>
              <a:off x="12801600" y="274638"/>
              <a:ext cx="196850" cy="87313"/>
            </a:xfrm>
            <a:custGeom>
              <a:avLst/>
              <a:gdLst/>
              <a:ahLst/>
              <a:cxnLst>
                <a:cxn ang="0">
                  <a:pos x="130" y="0"/>
                </a:cxn>
                <a:cxn ang="0">
                  <a:pos x="130" y="0"/>
                </a:cxn>
                <a:cxn ang="0">
                  <a:pos x="120" y="0"/>
                </a:cxn>
                <a:cxn ang="0">
                  <a:pos x="120" y="0"/>
                </a:cxn>
                <a:cxn ang="0">
                  <a:pos x="103" y="0"/>
                </a:cxn>
                <a:cxn ang="0">
                  <a:pos x="88" y="3"/>
                </a:cxn>
                <a:cxn ang="0">
                  <a:pos x="73" y="7"/>
                </a:cxn>
                <a:cxn ang="0">
                  <a:pos x="58" y="12"/>
                </a:cxn>
                <a:cxn ang="0">
                  <a:pos x="44" y="18"/>
                </a:cxn>
                <a:cxn ang="0">
                  <a:pos x="31" y="25"/>
                </a:cxn>
                <a:cxn ang="0">
                  <a:pos x="17" y="34"/>
                </a:cxn>
                <a:cxn ang="0">
                  <a:pos x="5" y="44"/>
                </a:cxn>
                <a:cxn ang="0">
                  <a:pos x="5" y="44"/>
                </a:cxn>
                <a:cxn ang="0">
                  <a:pos x="2" y="49"/>
                </a:cxn>
                <a:cxn ang="0">
                  <a:pos x="0" y="56"/>
                </a:cxn>
                <a:cxn ang="0">
                  <a:pos x="2" y="61"/>
                </a:cxn>
                <a:cxn ang="0">
                  <a:pos x="4" y="67"/>
                </a:cxn>
                <a:cxn ang="0">
                  <a:pos x="32" y="98"/>
                </a:cxn>
                <a:cxn ang="0">
                  <a:pos x="32" y="98"/>
                </a:cxn>
                <a:cxn ang="0">
                  <a:pos x="37" y="101"/>
                </a:cxn>
                <a:cxn ang="0">
                  <a:pos x="44" y="103"/>
                </a:cxn>
                <a:cxn ang="0">
                  <a:pos x="44" y="103"/>
                </a:cxn>
                <a:cxn ang="0">
                  <a:pos x="49" y="101"/>
                </a:cxn>
                <a:cxn ang="0">
                  <a:pos x="54" y="98"/>
                </a:cxn>
                <a:cxn ang="0">
                  <a:pos x="54" y="98"/>
                </a:cxn>
                <a:cxn ang="0">
                  <a:pos x="69" y="88"/>
                </a:cxn>
                <a:cxn ang="0">
                  <a:pos x="85" y="79"/>
                </a:cxn>
                <a:cxn ang="0">
                  <a:pos x="101" y="74"/>
                </a:cxn>
                <a:cxn ang="0">
                  <a:pos x="120" y="72"/>
                </a:cxn>
                <a:cxn ang="0">
                  <a:pos x="120" y="72"/>
                </a:cxn>
                <a:cxn ang="0">
                  <a:pos x="125" y="72"/>
                </a:cxn>
                <a:cxn ang="0">
                  <a:pos x="125" y="72"/>
                </a:cxn>
                <a:cxn ang="0">
                  <a:pos x="144" y="76"/>
                </a:cxn>
                <a:cxn ang="0">
                  <a:pos x="161" y="83"/>
                </a:cxn>
                <a:cxn ang="0">
                  <a:pos x="177" y="91"/>
                </a:cxn>
                <a:cxn ang="0">
                  <a:pos x="191" y="104"/>
                </a:cxn>
                <a:cxn ang="0">
                  <a:pos x="191" y="104"/>
                </a:cxn>
                <a:cxn ang="0">
                  <a:pos x="196" y="108"/>
                </a:cxn>
                <a:cxn ang="0">
                  <a:pos x="203" y="110"/>
                </a:cxn>
                <a:cxn ang="0">
                  <a:pos x="203" y="110"/>
                </a:cxn>
                <a:cxn ang="0">
                  <a:pos x="208" y="108"/>
                </a:cxn>
                <a:cxn ang="0">
                  <a:pos x="213" y="106"/>
                </a:cxn>
                <a:cxn ang="0">
                  <a:pos x="245" y="79"/>
                </a:cxn>
                <a:cxn ang="0">
                  <a:pos x="245" y="79"/>
                </a:cxn>
                <a:cxn ang="0">
                  <a:pos x="248" y="74"/>
                </a:cxn>
                <a:cxn ang="0">
                  <a:pos x="250" y="67"/>
                </a:cxn>
                <a:cxn ang="0">
                  <a:pos x="250" y="67"/>
                </a:cxn>
                <a:cxn ang="0">
                  <a:pos x="248" y="61"/>
                </a:cxn>
                <a:cxn ang="0">
                  <a:pos x="247" y="56"/>
                </a:cxn>
                <a:cxn ang="0">
                  <a:pos x="247" y="56"/>
                </a:cxn>
                <a:cxn ang="0">
                  <a:pos x="235" y="44"/>
                </a:cxn>
                <a:cxn ang="0">
                  <a:pos x="221" y="34"/>
                </a:cxn>
                <a:cxn ang="0">
                  <a:pos x="208" y="25"/>
                </a:cxn>
                <a:cxn ang="0">
                  <a:pos x="193" y="17"/>
                </a:cxn>
                <a:cxn ang="0">
                  <a:pos x="177" y="10"/>
                </a:cxn>
                <a:cxn ang="0">
                  <a:pos x="162" y="5"/>
                </a:cxn>
                <a:cxn ang="0">
                  <a:pos x="147" y="2"/>
                </a:cxn>
                <a:cxn ang="0">
                  <a:pos x="130" y="0"/>
                </a:cxn>
                <a:cxn ang="0">
                  <a:pos x="130" y="0"/>
                </a:cxn>
              </a:cxnLst>
              <a:rect l="0" t="0" r="r" b="b"/>
              <a:pathLst>
                <a:path w="250" h="110">
                  <a:moveTo>
                    <a:pt x="130" y="0"/>
                  </a:moveTo>
                  <a:lnTo>
                    <a:pt x="130" y="0"/>
                  </a:lnTo>
                  <a:lnTo>
                    <a:pt x="120" y="0"/>
                  </a:lnTo>
                  <a:lnTo>
                    <a:pt x="120" y="0"/>
                  </a:lnTo>
                  <a:lnTo>
                    <a:pt x="103" y="0"/>
                  </a:lnTo>
                  <a:lnTo>
                    <a:pt x="88" y="3"/>
                  </a:lnTo>
                  <a:lnTo>
                    <a:pt x="73" y="7"/>
                  </a:lnTo>
                  <a:lnTo>
                    <a:pt x="58" y="12"/>
                  </a:lnTo>
                  <a:lnTo>
                    <a:pt x="44" y="18"/>
                  </a:lnTo>
                  <a:lnTo>
                    <a:pt x="31" y="25"/>
                  </a:lnTo>
                  <a:lnTo>
                    <a:pt x="17" y="34"/>
                  </a:lnTo>
                  <a:lnTo>
                    <a:pt x="5" y="44"/>
                  </a:lnTo>
                  <a:lnTo>
                    <a:pt x="5" y="44"/>
                  </a:lnTo>
                  <a:lnTo>
                    <a:pt x="2" y="49"/>
                  </a:lnTo>
                  <a:lnTo>
                    <a:pt x="0" y="56"/>
                  </a:lnTo>
                  <a:lnTo>
                    <a:pt x="2" y="61"/>
                  </a:lnTo>
                  <a:lnTo>
                    <a:pt x="4" y="67"/>
                  </a:lnTo>
                  <a:lnTo>
                    <a:pt x="32" y="98"/>
                  </a:lnTo>
                  <a:lnTo>
                    <a:pt x="32" y="98"/>
                  </a:lnTo>
                  <a:lnTo>
                    <a:pt x="37" y="101"/>
                  </a:lnTo>
                  <a:lnTo>
                    <a:pt x="44" y="103"/>
                  </a:lnTo>
                  <a:lnTo>
                    <a:pt x="44" y="103"/>
                  </a:lnTo>
                  <a:lnTo>
                    <a:pt x="49" y="101"/>
                  </a:lnTo>
                  <a:lnTo>
                    <a:pt x="54" y="98"/>
                  </a:lnTo>
                  <a:lnTo>
                    <a:pt x="54" y="98"/>
                  </a:lnTo>
                  <a:lnTo>
                    <a:pt x="69" y="88"/>
                  </a:lnTo>
                  <a:lnTo>
                    <a:pt x="85" y="79"/>
                  </a:lnTo>
                  <a:lnTo>
                    <a:pt x="101" y="74"/>
                  </a:lnTo>
                  <a:lnTo>
                    <a:pt x="120" y="72"/>
                  </a:lnTo>
                  <a:lnTo>
                    <a:pt x="120" y="72"/>
                  </a:lnTo>
                  <a:lnTo>
                    <a:pt x="125" y="72"/>
                  </a:lnTo>
                  <a:lnTo>
                    <a:pt x="125" y="72"/>
                  </a:lnTo>
                  <a:lnTo>
                    <a:pt x="144" y="76"/>
                  </a:lnTo>
                  <a:lnTo>
                    <a:pt x="161" y="83"/>
                  </a:lnTo>
                  <a:lnTo>
                    <a:pt x="177" y="91"/>
                  </a:lnTo>
                  <a:lnTo>
                    <a:pt x="191" y="104"/>
                  </a:lnTo>
                  <a:lnTo>
                    <a:pt x="191" y="104"/>
                  </a:lnTo>
                  <a:lnTo>
                    <a:pt x="196" y="108"/>
                  </a:lnTo>
                  <a:lnTo>
                    <a:pt x="203" y="110"/>
                  </a:lnTo>
                  <a:lnTo>
                    <a:pt x="203" y="110"/>
                  </a:lnTo>
                  <a:lnTo>
                    <a:pt x="208" y="108"/>
                  </a:lnTo>
                  <a:lnTo>
                    <a:pt x="213" y="106"/>
                  </a:lnTo>
                  <a:lnTo>
                    <a:pt x="245" y="79"/>
                  </a:lnTo>
                  <a:lnTo>
                    <a:pt x="245" y="79"/>
                  </a:lnTo>
                  <a:lnTo>
                    <a:pt x="248" y="74"/>
                  </a:lnTo>
                  <a:lnTo>
                    <a:pt x="250" y="67"/>
                  </a:lnTo>
                  <a:lnTo>
                    <a:pt x="250" y="67"/>
                  </a:lnTo>
                  <a:lnTo>
                    <a:pt x="248" y="61"/>
                  </a:lnTo>
                  <a:lnTo>
                    <a:pt x="247" y="56"/>
                  </a:lnTo>
                  <a:lnTo>
                    <a:pt x="247" y="56"/>
                  </a:lnTo>
                  <a:lnTo>
                    <a:pt x="235" y="44"/>
                  </a:lnTo>
                  <a:lnTo>
                    <a:pt x="221" y="34"/>
                  </a:lnTo>
                  <a:lnTo>
                    <a:pt x="208" y="25"/>
                  </a:lnTo>
                  <a:lnTo>
                    <a:pt x="193" y="17"/>
                  </a:lnTo>
                  <a:lnTo>
                    <a:pt x="177" y="10"/>
                  </a:lnTo>
                  <a:lnTo>
                    <a:pt x="162" y="5"/>
                  </a:lnTo>
                  <a:lnTo>
                    <a:pt x="147" y="2"/>
                  </a:lnTo>
                  <a:lnTo>
                    <a:pt x="130" y="0"/>
                  </a:lnTo>
                  <a:lnTo>
                    <a:pt x="130" y="0"/>
                  </a:lnTo>
                  <a:close/>
                </a:path>
              </a:pathLst>
            </a:custGeom>
            <a:grpFill/>
            <a:ln w="9525">
              <a:noFill/>
              <a:round/>
              <a:headEnd/>
              <a:tailEnd/>
            </a:ln>
          </p:spPr>
          <p:txBody>
            <a:bodyPr vert="horz" wrap="square" lIns="91437" tIns="45719" rIns="91437" bIns="45719" numCol="1" anchor="t" anchorCtr="0" compatLnSpc="1">
              <a:prstTxWarp prst="textNoShape">
                <a:avLst/>
              </a:prstTxWarp>
            </a:bodyPr>
            <a:lstStyle/>
            <a:p>
              <a:endParaRPr lang="zh-CN" altLang="en-US">
                <a:latin typeface="+mj-lt"/>
              </a:endParaRPr>
            </a:p>
          </p:txBody>
        </p:sp>
        <p:sp>
          <p:nvSpPr>
            <p:cNvPr id="312" name="Freeform 85"/>
            <p:cNvSpPr>
              <a:spLocks noEditPoints="1"/>
            </p:cNvSpPr>
            <p:nvPr/>
          </p:nvSpPr>
          <p:spPr bwMode="auto">
            <a:xfrm>
              <a:off x="12457113" y="398463"/>
              <a:ext cx="898525" cy="639763"/>
            </a:xfrm>
            <a:custGeom>
              <a:avLst/>
              <a:gdLst/>
              <a:ahLst/>
              <a:cxnLst>
                <a:cxn ang="0">
                  <a:pos x="605" y="804"/>
                </a:cxn>
                <a:cxn ang="0">
                  <a:pos x="592" y="771"/>
                </a:cxn>
                <a:cxn ang="0">
                  <a:pos x="582" y="742"/>
                </a:cxn>
                <a:cxn ang="0">
                  <a:pos x="583" y="713"/>
                </a:cxn>
                <a:cxn ang="0">
                  <a:pos x="583" y="707"/>
                </a:cxn>
                <a:cxn ang="0">
                  <a:pos x="120" y="707"/>
                </a:cxn>
                <a:cxn ang="0">
                  <a:pos x="103" y="700"/>
                </a:cxn>
                <a:cxn ang="0">
                  <a:pos x="96" y="683"/>
                </a:cxn>
                <a:cxn ang="0">
                  <a:pos x="96" y="120"/>
                </a:cxn>
                <a:cxn ang="0">
                  <a:pos x="103" y="103"/>
                </a:cxn>
                <a:cxn ang="0">
                  <a:pos x="120" y="96"/>
                </a:cxn>
                <a:cxn ang="0">
                  <a:pos x="936" y="96"/>
                </a:cxn>
                <a:cxn ang="0">
                  <a:pos x="953" y="103"/>
                </a:cxn>
                <a:cxn ang="0">
                  <a:pos x="960" y="120"/>
                </a:cxn>
                <a:cxn ang="0">
                  <a:pos x="990" y="661"/>
                </a:cxn>
                <a:cxn ang="0">
                  <a:pos x="998" y="664"/>
                </a:cxn>
                <a:cxn ang="0">
                  <a:pos x="1014" y="675"/>
                </a:cxn>
                <a:cxn ang="0">
                  <a:pos x="1024" y="690"/>
                </a:cxn>
                <a:cxn ang="0">
                  <a:pos x="1029" y="707"/>
                </a:cxn>
                <a:cxn ang="0">
                  <a:pos x="1030" y="804"/>
                </a:cxn>
                <a:cxn ang="0">
                  <a:pos x="1089" y="804"/>
                </a:cxn>
                <a:cxn ang="0">
                  <a:pos x="1106" y="801"/>
                </a:cxn>
                <a:cxn ang="0">
                  <a:pos x="1120" y="793"/>
                </a:cxn>
                <a:cxn ang="0">
                  <a:pos x="1128" y="779"/>
                </a:cxn>
                <a:cxn ang="0">
                  <a:pos x="1132" y="762"/>
                </a:cxn>
                <a:cxn ang="0">
                  <a:pos x="1132" y="42"/>
                </a:cxn>
                <a:cxn ang="0">
                  <a:pos x="1128" y="25"/>
                </a:cxn>
                <a:cxn ang="0">
                  <a:pos x="1120" y="12"/>
                </a:cxn>
                <a:cxn ang="0">
                  <a:pos x="1106" y="3"/>
                </a:cxn>
                <a:cxn ang="0">
                  <a:pos x="1089" y="0"/>
                </a:cxn>
                <a:cxn ang="0">
                  <a:pos x="44" y="0"/>
                </a:cxn>
                <a:cxn ang="0">
                  <a:pos x="27" y="3"/>
                </a:cxn>
                <a:cxn ang="0">
                  <a:pos x="13" y="12"/>
                </a:cxn>
                <a:cxn ang="0">
                  <a:pos x="3" y="25"/>
                </a:cxn>
                <a:cxn ang="0">
                  <a:pos x="0" y="42"/>
                </a:cxn>
                <a:cxn ang="0">
                  <a:pos x="0" y="762"/>
                </a:cxn>
                <a:cxn ang="0">
                  <a:pos x="3" y="779"/>
                </a:cxn>
                <a:cxn ang="0">
                  <a:pos x="13" y="793"/>
                </a:cxn>
                <a:cxn ang="0">
                  <a:pos x="27" y="801"/>
                </a:cxn>
                <a:cxn ang="0">
                  <a:pos x="44" y="804"/>
                </a:cxn>
                <a:cxn ang="0">
                  <a:pos x="1015" y="384"/>
                </a:cxn>
                <a:cxn ang="0">
                  <a:pos x="1017" y="374"/>
                </a:cxn>
                <a:cxn ang="0">
                  <a:pos x="1030" y="362"/>
                </a:cxn>
                <a:cxn ang="0">
                  <a:pos x="1074" y="361"/>
                </a:cxn>
                <a:cxn ang="0">
                  <a:pos x="1084" y="362"/>
                </a:cxn>
                <a:cxn ang="0">
                  <a:pos x="1096" y="374"/>
                </a:cxn>
                <a:cxn ang="0">
                  <a:pos x="1098" y="418"/>
                </a:cxn>
                <a:cxn ang="0">
                  <a:pos x="1096" y="428"/>
                </a:cxn>
                <a:cxn ang="0">
                  <a:pos x="1084" y="442"/>
                </a:cxn>
                <a:cxn ang="0">
                  <a:pos x="1041" y="443"/>
                </a:cxn>
                <a:cxn ang="0">
                  <a:pos x="1030" y="442"/>
                </a:cxn>
                <a:cxn ang="0">
                  <a:pos x="1017" y="428"/>
                </a:cxn>
                <a:cxn ang="0">
                  <a:pos x="1015" y="384"/>
                </a:cxn>
              </a:cxnLst>
              <a:rect l="0" t="0" r="r" b="b"/>
              <a:pathLst>
                <a:path w="1132" h="804">
                  <a:moveTo>
                    <a:pt x="44" y="804"/>
                  </a:moveTo>
                  <a:lnTo>
                    <a:pt x="605" y="804"/>
                  </a:lnTo>
                  <a:lnTo>
                    <a:pt x="592" y="771"/>
                  </a:lnTo>
                  <a:lnTo>
                    <a:pt x="592" y="771"/>
                  </a:lnTo>
                  <a:lnTo>
                    <a:pt x="585" y="757"/>
                  </a:lnTo>
                  <a:lnTo>
                    <a:pt x="582" y="742"/>
                  </a:lnTo>
                  <a:lnTo>
                    <a:pt x="582" y="729"/>
                  </a:lnTo>
                  <a:lnTo>
                    <a:pt x="583" y="713"/>
                  </a:lnTo>
                  <a:lnTo>
                    <a:pt x="583" y="713"/>
                  </a:lnTo>
                  <a:lnTo>
                    <a:pt x="583" y="707"/>
                  </a:lnTo>
                  <a:lnTo>
                    <a:pt x="120" y="707"/>
                  </a:lnTo>
                  <a:lnTo>
                    <a:pt x="120" y="707"/>
                  </a:lnTo>
                  <a:lnTo>
                    <a:pt x="111" y="705"/>
                  </a:lnTo>
                  <a:lnTo>
                    <a:pt x="103" y="700"/>
                  </a:lnTo>
                  <a:lnTo>
                    <a:pt x="98" y="693"/>
                  </a:lnTo>
                  <a:lnTo>
                    <a:pt x="96" y="683"/>
                  </a:lnTo>
                  <a:lnTo>
                    <a:pt x="96" y="120"/>
                  </a:lnTo>
                  <a:lnTo>
                    <a:pt x="96" y="120"/>
                  </a:lnTo>
                  <a:lnTo>
                    <a:pt x="98" y="111"/>
                  </a:lnTo>
                  <a:lnTo>
                    <a:pt x="103" y="103"/>
                  </a:lnTo>
                  <a:lnTo>
                    <a:pt x="111" y="98"/>
                  </a:lnTo>
                  <a:lnTo>
                    <a:pt x="120" y="96"/>
                  </a:lnTo>
                  <a:lnTo>
                    <a:pt x="936" y="96"/>
                  </a:lnTo>
                  <a:lnTo>
                    <a:pt x="936" y="96"/>
                  </a:lnTo>
                  <a:lnTo>
                    <a:pt x="946" y="98"/>
                  </a:lnTo>
                  <a:lnTo>
                    <a:pt x="953" y="103"/>
                  </a:lnTo>
                  <a:lnTo>
                    <a:pt x="958" y="111"/>
                  </a:lnTo>
                  <a:lnTo>
                    <a:pt x="960" y="120"/>
                  </a:lnTo>
                  <a:lnTo>
                    <a:pt x="960" y="651"/>
                  </a:lnTo>
                  <a:lnTo>
                    <a:pt x="990" y="661"/>
                  </a:lnTo>
                  <a:lnTo>
                    <a:pt x="990" y="661"/>
                  </a:lnTo>
                  <a:lnTo>
                    <a:pt x="998" y="664"/>
                  </a:lnTo>
                  <a:lnTo>
                    <a:pt x="1007" y="670"/>
                  </a:lnTo>
                  <a:lnTo>
                    <a:pt x="1014" y="675"/>
                  </a:lnTo>
                  <a:lnTo>
                    <a:pt x="1019" y="681"/>
                  </a:lnTo>
                  <a:lnTo>
                    <a:pt x="1024" y="690"/>
                  </a:lnTo>
                  <a:lnTo>
                    <a:pt x="1027" y="698"/>
                  </a:lnTo>
                  <a:lnTo>
                    <a:pt x="1029" y="707"/>
                  </a:lnTo>
                  <a:lnTo>
                    <a:pt x="1030" y="717"/>
                  </a:lnTo>
                  <a:lnTo>
                    <a:pt x="1030" y="804"/>
                  </a:lnTo>
                  <a:lnTo>
                    <a:pt x="1089" y="804"/>
                  </a:lnTo>
                  <a:lnTo>
                    <a:pt x="1089" y="804"/>
                  </a:lnTo>
                  <a:lnTo>
                    <a:pt x="1098" y="803"/>
                  </a:lnTo>
                  <a:lnTo>
                    <a:pt x="1106" y="801"/>
                  </a:lnTo>
                  <a:lnTo>
                    <a:pt x="1113" y="798"/>
                  </a:lnTo>
                  <a:lnTo>
                    <a:pt x="1120" y="793"/>
                  </a:lnTo>
                  <a:lnTo>
                    <a:pt x="1125" y="786"/>
                  </a:lnTo>
                  <a:lnTo>
                    <a:pt x="1128" y="779"/>
                  </a:lnTo>
                  <a:lnTo>
                    <a:pt x="1132" y="771"/>
                  </a:lnTo>
                  <a:lnTo>
                    <a:pt x="1132" y="762"/>
                  </a:lnTo>
                  <a:lnTo>
                    <a:pt x="1132" y="42"/>
                  </a:lnTo>
                  <a:lnTo>
                    <a:pt x="1132" y="42"/>
                  </a:lnTo>
                  <a:lnTo>
                    <a:pt x="1132" y="34"/>
                  </a:lnTo>
                  <a:lnTo>
                    <a:pt x="1128" y="25"/>
                  </a:lnTo>
                  <a:lnTo>
                    <a:pt x="1125" y="18"/>
                  </a:lnTo>
                  <a:lnTo>
                    <a:pt x="1120" y="12"/>
                  </a:lnTo>
                  <a:lnTo>
                    <a:pt x="1113" y="7"/>
                  </a:lnTo>
                  <a:lnTo>
                    <a:pt x="1106" y="3"/>
                  </a:lnTo>
                  <a:lnTo>
                    <a:pt x="1098" y="0"/>
                  </a:lnTo>
                  <a:lnTo>
                    <a:pt x="1089" y="0"/>
                  </a:lnTo>
                  <a:lnTo>
                    <a:pt x="44" y="0"/>
                  </a:lnTo>
                  <a:lnTo>
                    <a:pt x="44" y="0"/>
                  </a:lnTo>
                  <a:lnTo>
                    <a:pt x="33" y="0"/>
                  </a:lnTo>
                  <a:lnTo>
                    <a:pt x="27" y="3"/>
                  </a:lnTo>
                  <a:lnTo>
                    <a:pt x="18" y="7"/>
                  </a:lnTo>
                  <a:lnTo>
                    <a:pt x="13" y="12"/>
                  </a:lnTo>
                  <a:lnTo>
                    <a:pt x="8" y="18"/>
                  </a:lnTo>
                  <a:lnTo>
                    <a:pt x="3" y="25"/>
                  </a:lnTo>
                  <a:lnTo>
                    <a:pt x="1" y="34"/>
                  </a:lnTo>
                  <a:lnTo>
                    <a:pt x="0" y="42"/>
                  </a:lnTo>
                  <a:lnTo>
                    <a:pt x="0" y="762"/>
                  </a:lnTo>
                  <a:lnTo>
                    <a:pt x="0" y="762"/>
                  </a:lnTo>
                  <a:lnTo>
                    <a:pt x="1" y="771"/>
                  </a:lnTo>
                  <a:lnTo>
                    <a:pt x="3" y="779"/>
                  </a:lnTo>
                  <a:lnTo>
                    <a:pt x="8" y="786"/>
                  </a:lnTo>
                  <a:lnTo>
                    <a:pt x="13" y="793"/>
                  </a:lnTo>
                  <a:lnTo>
                    <a:pt x="18" y="798"/>
                  </a:lnTo>
                  <a:lnTo>
                    <a:pt x="27" y="801"/>
                  </a:lnTo>
                  <a:lnTo>
                    <a:pt x="33" y="803"/>
                  </a:lnTo>
                  <a:lnTo>
                    <a:pt x="44" y="804"/>
                  </a:lnTo>
                  <a:lnTo>
                    <a:pt x="44" y="804"/>
                  </a:lnTo>
                  <a:close/>
                  <a:moveTo>
                    <a:pt x="1015" y="384"/>
                  </a:moveTo>
                  <a:lnTo>
                    <a:pt x="1015" y="384"/>
                  </a:lnTo>
                  <a:lnTo>
                    <a:pt x="1017" y="374"/>
                  </a:lnTo>
                  <a:lnTo>
                    <a:pt x="1022" y="368"/>
                  </a:lnTo>
                  <a:lnTo>
                    <a:pt x="1030" y="362"/>
                  </a:lnTo>
                  <a:lnTo>
                    <a:pt x="1041" y="361"/>
                  </a:lnTo>
                  <a:lnTo>
                    <a:pt x="1074" y="361"/>
                  </a:lnTo>
                  <a:lnTo>
                    <a:pt x="1074" y="361"/>
                  </a:lnTo>
                  <a:lnTo>
                    <a:pt x="1084" y="362"/>
                  </a:lnTo>
                  <a:lnTo>
                    <a:pt x="1091" y="368"/>
                  </a:lnTo>
                  <a:lnTo>
                    <a:pt x="1096" y="374"/>
                  </a:lnTo>
                  <a:lnTo>
                    <a:pt x="1098" y="384"/>
                  </a:lnTo>
                  <a:lnTo>
                    <a:pt x="1098" y="418"/>
                  </a:lnTo>
                  <a:lnTo>
                    <a:pt x="1098" y="418"/>
                  </a:lnTo>
                  <a:lnTo>
                    <a:pt x="1096" y="428"/>
                  </a:lnTo>
                  <a:lnTo>
                    <a:pt x="1091" y="437"/>
                  </a:lnTo>
                  <a:lnTo>
                    <a:pt x="1084" y="442"/>
                  </a:lnTo>
                  <a:lnTo>
                    <a:pt x="1074" y="443"/>
                  </a:lnTo>
                  <a:lnTo>
                    <a:pt x="1041" y="443"/>
                  </a:lnTo>
                  <a:lnTo>
                    <a:pt x="1041" y="443"/>
                  </a:lnTo>
                  <a:lnTo>
                    <a:pt x="1030" y="442"/>
                  </a:lnTo>
                  <a:lnTo>
                    <a:pt x="1022" y="437"/>
                  </a:lnTo>
                  <a:lnTo>
                    <a:pt x="1017" y="428"/>
                  </a:lnTo>
                  <a:lnTo>
                    <a:pt x="1015" y="418"/>
                  </a:lnTo>
                  <a:lnTo>
                    <a:pt x="1015" y="384"/>
                  </a:lnTo>
                  <a:close/>
                </a:path>
              </a:pathLst>
            </a:custGeom>
            <a:grpFill/>
            <a:ln w="9525">
              <a:noFill/>
              <a:round/>
              <a:headEnd/>
              <a:tailEnd/>
            </a:ln>
          </p:spPr>
          <p:txBody>
            <a:bodyPr vert="horz" wrap="square" lIns="91437" tIns="45719" rIns="91437" bIns="45719" numCol="1" anchor="t" anchorCtr="0" compatLnSpc="1">
              <a:prstTxWarp prst="textNoShape">
                <a:avLst/>
              </a:prstTxWarp>
            </a:bodyPr>
            <a:lstStyle/>
            <a:p>
              <a:endParaRPr lang="zh-CN" altLang="en-US">
                <a:latin typeface="+mj-lt"/>
              </a:endParaRPr>
            </a:p>
          </p:txBody>
        </p:sp>
        <p:sp>
          <p:nvSpPr>
            <p:cNvPr id="313" name="Freeform 86"/>
            <p:cNvSpPr>
              <a:spLocks/>
            </p:cNvSpPr>
            <p:nvPr/>
          </p:nvSpPr>
          <p:spPr bwMode="auto">
            <a:xfrm>
              <a:off x="12592050" y="544513"/>
              <a:ext cx="209550" cy="165100"/>
            </a:xfrm>
            <a:custGeom>
              <a:avLst/>
              <a:gdLst/>
              <a:ahLst/>
              <a:cxnLst>
                <a:cxn ang="0">
                  <a:pos x="253" y="207"/>
                </a:cxn>
                <a:cxn ang="0">
                  <a:pos x="253" y="207"/>
                </a:cxn>
                <a:cxn ang="0">
                  <a:pos x="258" y="207"/>
                </a:cxn>
                <a:cxn ang="0">
                  <a:pos x="262" y="204"/>
                </a:cxn>
                <a:cxn ang="0">
                  <a:pos x="265" y="200"/>
                </a:cxn>
                <a:cxn ang="0">
                  <a:pos x="265" y="195"/>
                </a:cxn>
                <a:cxn ang="0">
                  <a:pos x="265" y="11"/>
                </a:cxn>
                <a:cxn ang="0">
                  <a:pos x="265" y="11"/>
                </a:cxn>
                <a:cxn ang="0">
                  <a:pos x="265" y="8"/>
                </a:cxn>
                <a:cxn ang="0">
                  <a:pos x="262" y="3"/>
                </a:cxn>
                <a:cxn ang="0">
                  <a:pos x="258" y="1"/>
                </a:cxn>
                <a:cxn ang="0">
                  <a:pos x="253" y="0"/>
                </a:cxn>
                <a:cxn ang="0">
                  <a:pos x="14" y="0"/>
                </a:cxn>
                <a:cxn ang="0">
                  <a:pos x="14" y="0"/>
                </a:cxn>
                <a:cxn ang="0">
                  <a:pos x="9" y="1"/>
                </a:cxn>
                <a:cxn ang="0">
                  <a:pos x="3" y="3"/>
                </a:cxn>
                <a:cxn ang="0">
                  <a:pos x="2" y="8"/>
                </a:cxn>
                <a:cxn ang="0">
                  <a:pos x="0" y="11"/>
                </a:cxn>
                <a:cxn ang="0">
                  <a:pos x="0" y="195"/>
                </a:cxn>
                <a:cxn ang="0">
                  <a:pos x="0" y="195"/>
                </a:cxn>
                <a:cxn ang="0">
                  <a:pos x="2" y="200"/>
                </a:cxn>
                <a:cxn ang="0">
                  <a:pos x="3" y="204"/>
                </a:cxn>
                <a:cxn ang="0">
                  <a:pos x="9" y="207"/>
                </a:cxn>
                <a:cxn ang="0">
                  <a:pos x="14" y="207"/>
                </a:cxn>
                <a:cxn ang="0">
                  <a:pos x="253" y="207"/>
                </a:cxn>
              </a:cxnLst>
              <a:rect l="0" t="0" r="r" b="b"/>
              <a:pathLst>
                <a:path w="265" h="207">
                  <a:moveTo>
                    <a:pt x="253" y="207"/>
                  </a:moveTo>
                  <a:lnTo>
                    <a:pt x="253" y="207"/>
                  </a:lnTo>
                  <a:lnTo>
                    <a:pt x="258" y="207"/>
                  </a:lnTo>
                  <a:lnTo>
                    <a:pt x="262" y="204"/>
                  </a:lnTo>
                  <a:lnTo>
                    <a:pt x="265" y="200"/>
                  </a:lnTo>
                  <a:lnTo>
                    <a:pt x="265" y="195"/>
                  </a:lnTo>
                  <a:lnTo>
                    <a:pt x="265" y="11"/>
                  </a:lnTo>
                  <a:lnTo>
                    <a:pt x="265" y="11"/>
                  </a:lnTo>
                  <a:lnTo>
                    <a:pt x="265" y="8"/>
                  </a:lnTo>
                  <a:lnTo>
                    <a:pt x="262" y="3"/>
                  </a:lnTo>
                  <a:lnTo>
                    <a:pt x="258" y="1"/>
                  </a:lnTo>
                  <a:lnTo>
                    <a:pt x="253" y="0"/>
                  </a:lnTo>
                  <a:lnTo>
                    <a:pt x="14" y="0"/>
                  </a:lnTo>
                  <a:lnTo>
                    <a:pt x="14" y="0"/>
                  </a:lnTo>
                  <a:lnTo>
                    <a:pt x="9" y="1"/>
                  </a:lnTo>
                  <a:lnTo>
                    <a:pt x="3" y="3"/>
                  </a:lnTo>
                  <a:lnTo>
                    <a:pt x="2" y="8"/>
                  </a:lnTo>
                  <a:lnTo>
                    <a:pt x="0" y="11"/>
                  </a:lnTo>
                  <a:lnTo>
                    <a:pt x="0" y="195"/>
                  </a:lnTo>
                  <a:lnTo>
                    <a:pt x="0" y="195"/>
                  </a:lnTo>
                  <a:lnTo>
                    <a:pt x="2" y="200"/>
                  </a:lnTo>
                  <a:lnTo>
                    <a:pt x="3" y="204"/>
                  </a:lnTo>
                  <a:lnTo>
                    <a:pt x="9" y="207"/>
                  </a:lnTo>
                  <a:lnTo>
                    <a:pt x="14" y="207"/>
                  </a:lnTo>
                  <a:lnTo>
                    <a:pt x="253" y="207"/>
                  </a:lnTo>
                  <a:close/>
                </a:path>
              </a:pathLst>
            </a:custGeom>
            <a:grpFill/>
            <a:ln w="9525">
              <a:noFill/>
              <a:round/>
              <a:headEnd/>
              <a:tailEnd/>
            </a:ln>
          </p:spPr>
          <p:txBody>
            <a:bodyPr vert="horz" wrap="square" lIns="91437" tIns="45719" rIns="91437" bIns="45719" numCol="1" anchor="t" anchorCtr="0" compatLnSpc="1">
              <a:prstTxWarp prst="textNoShape">
                <a:avLst/>
              </a:prstTxWarp>
            </a:bodyPr>
            <a:lstStyle/>
            <a:p>
              <a:endParaRPr lang="zh-CN" altLang="en-US">
                <a:latin typeface="+mj-lt"/>
              </a:endParaRPr>
            </a:p>
          </p:txBody>
        </p:sp>
        <p:sp>
          <p:nvSpPr>
            <p:cNvPr id="314" name="Freeform 87"/>
            <p:cNvSpPr>
              <a:spLocks/>
            </p:cNvSpPr>
            <p:nvPr/>
          </p:nvSpPr>
          <p:spPr bwMode="auto">
            <a:xfrm>
              <a:off x="12592050" y="755650"/>
              <a:ext cx="411163" cy="44450"/>
            </a:xfrm>
            <a:custGeom>
              <a:avLst/>
              <a:gdLst/>
              <a:ahLst/>
              <a:cxnLst>
                <a:cxn ang="0">
                  <a:pos x="518" y="0"/>
                </a:cxn>
                <a:cxn ang="0">
                  <a:pos x="0" y="0"/>
                </a:cxn>
                <a:cxn ang="0">
                  <a:pos x="0" y="55"/>
                </a:cxn>
                <a:cxn ang="0">
                  <a:pos x="493" y="55"/>
                </a:cxn>
                <a:cxn ang="0">
                  <a:pos x="493" y="55"/>
                </a:cxn>
                <a:cxn ang="0">
                  <a:pos x="494" y="38"/>
                </a:cxn>
                <a:cxn ang="0">
                  <a:pos x="499" y="23"/>
                </a:cxn>
                <a:cxn ang="0">
                  <a:pos x="508" y="11"/>
                </a:cxn>
                <a:cxn ang="0">
                  <a:pos x="518" y="0"/>
                </a:cxn>
                <a:cxn ang="0">
                  <a:pos x="518" y="0"/>
                </a:cxn>
              </a:cxnLst>
              <a:rect l="0" t="0" r="r" b="b"/>
              <a:pathLst>
                <a:path w="518" h="55">
                  <a:moveTo>
                    <a:pt x="518" y="0"/>
                  </a:moveTo>
                  <a:lnTo>
                    <a:pt x="0" y="0"/>
                  </a:lnTo>
                  <a:lnTo>
                    <a:pt x="0" y="55"/>
                  </a:lnTo>
                  <a:lnTo>
                    <a:pt x="493" y="55"/>
                  </a:lnTo>
                  <a:lnTo>
                    <a:pt x="493" y="55"/>
                  </a:lnTo>
                  <a:lnTo>
                    <a:pt x="494" y="38"/>
                  </a:lnTo>
                  <a:lnTo>
                    <a:pt x="499" y="23"/>
                  </a:lnTo>
                  <a:lnTo>
                    <a:pt x="508" y="11"/>
                  </a:lnTo>
                  <a:lnTo>
                    <a:pt x="518" y="0"/>
                  </a:lnTo>
                  <a:lnTo>
                    <a:pt x="518" y="0"/>
                  </a:lnTo>
                  <a:close/>
                </a:path>
              </a:pathLst>
            </a:custGeom>
            <a:grpFill/>
            <a:ln w="9525">
              <a:noFill/>
              <a:round/>
              <a:headEnd/>
              <a:tailEnd/>
            </a:ln>
          </p:spPr>
          <p:txBody>
            <a:bodyPr vert="horz" wrap="square" lIns="91437" tIns="45719" rIns="91437" bIns="45719" numCol="1" anchor="t" anchorCtr="0" compatLnSpc="1">
              <a:prstTxWarp prst="textNoShape">
                <a:avLst/>
              </a:prstTxWarp>
            </a:bodyPr>
            <a:lstStyle/>
            <a:p>
              <a:endParaRPr lang="zh-CN" altLang="en-US">
                <a:latin typeface="+mj-lt"/>
              </a:endParaRPr>
            </a:p>
          </p:txBody>
        </p:sp>
        <p:sp>
          <p:nvSpPr>
            <p:cNvPr id="315" name="Rectangle 88"/>
            <p:cNvSpPr>
              <a:spLocks noChangeArrowheads="1"/>
            </p:cNvSpPr>
            <p:nvPr/>
          </p:nvSpPr>
          <p:spPr bwMode="auto">
            <a:xfrm>
              <a:off x="12592050" y="850900"/>
              <a:ext cx="265113" cy="44450"/>
            </a:xfrm>
            <a:prstGeom prst="rect">
              <a:avLst/>
            </a:prstGeom>
            <a:grpFill/>
            <a:ln w="9525">
              <a:noFill/>
              <a:miter lim="800000"/>
              <a:headEnd/>
              <a:tailEnd/>
            </a:ln>
          </p:spPr>
          <p:txBody>
            <a:bodyPr vert="horz" wrap="square" lIns="91437" tIns="45719" rIns="91437" bIns="45719" numCol="1" anchor="t" anchorCtr="0" compatLnSpc="1">
              <a:prstTxWarp prst="textNoShape">
                <a:avLst/>
              </a:prstTxWarp>
            </a:bodyPr>
            <a:lstStyle/>
            <a:p>
              <a:endParaRPr lang="zh-CN" altLang="en-US">
                <a:latin typeface="+mj-lt"/>
              </a:endParaRPr>
            </a:p>
          </p:txBody>
        </p:sp>
        <p:sp>
          <p:nvSpPr>
            <p:cNvPr id="316" name="Rectangle 89"/>
            <p:cNvSpPr>
              <a:spLocks noChangeArrowheads="1"/>
            </p:cNvSpPr>
            <p:nvPr/>
          </p:nvSpPr>
          <p:spPr bwMode="auto">
            <a:xfrm>
              <a:off x="12847638" y="654050"/>
              <a:ext cx="298450" cy="42863"/>
            </a:xfrm>
            <a:prstGeom prst="rect">
              <a:avLst/>
            </a:prstGeom>
            <a:grpFill/>
            <a:ln w="9525">
              <a:noFill/>
              <a:miter lim="800000"/>
              <a:headEnd/>
              <a:tailEnd/>
            </a:ln>
          </p:spPr>
          <p:txBody>
            <a:bodyPr vert="horz" wrap="square" lIns="91437" tIns="45719" rIns="91437" bIns="45719" numCol="1" anchor="t" anchorCtr="0" compatLnSpc="1">
              <a:prstTxWarp prst="textNoShape">
                <a:avLst/>
              </a:prstTxWarp>
            </a:bodyPr>
            <a:lstStyle/>
            <a:p>
              <a:endParaRPr lang="zh-CN" altLang="en-US">
                <a:latin typeface="+mj-lt"/>
              </a:endParaRPr>
            </a:p>
          </p:txBody>
        </p:sp>
        <p:sp>
          <p:nvSpPr>
            <p:cNvPr id="317" name="Rectangle 90"/>
            <p:cNvSpPr>
              <a:spLocks noChangeArrowheads="1"/>
            </p:cNvSpPr>
            <p:nvPr/>
          </p:nvSpPr>
          <p:spPr bwMode="auto">
            <a:xfrm>
              <a:off x="12847638" y="557213"/>
              <a:ext cx="173038" cy="44450"/>
            </a:xfrm>
            <a:prstGeom prst="rect">
              <a:avLst/>
            </a:prstGeom>
            <a:grpFill/>
            <a:ln w="9525">
              <a:noFill/>
              <a:miter lim="800000"/>
              <a:headEnd/>
              <a:tailEnd/>
            </a:ln>
          </p:spPr>
          <p:txBody>
            <a:bodyPr vert="horz" wrap="square" lIns="91437" tIns="45719" rIns="91437" bIns="45719" numCol="1" anchor="t" anchorCtr="0" compatLnSpc="1">
              <a:prstTxWarp prst="textNoShape">
                <a:avLst/>
              </a:prstTxWarp>
            </a:bodyPr>
            <a:lstStyle/>
            <a:p>
              <a:endParaRPr lang="zh-CN" altLang="en-US">
                <a:latin typeface="+mj-lt"/>
              </a:endParaRPr>
            </a:p>
          </p:txBody>
        </p:sp>
        <p:sp>
          <p:nvSpPr>
            <p:cNvPr id="318" name="Freeform 91"/>
            <p:cNvSpPr>
              <a:spLocks/>
            </p:cNvSpPr>
            <p:nvPr/>
          </p:nvSpPr>
          <p:spPr bwMode="auto">
            <a:xfrm>
              <a:off x="12954000" y="773113"/>
              <a:ext cx="284163" cy="398463"/>
            </a:xfrm>
            <a:custGeom>
              <a:avLst/>
              <a:gdLst/>
              <a:ahLst/>
              <a:cxnLst>
                <a:cxn ang="0">
                  <a:pos x="286" y="503"/>
                </a:cxn>
                <a:cxn ang="0">
                  <a:pos x="290" y="501"/>
                </a:cxn>
                <a:cxn ang="0">
                  <a:pos x="295" y="496"/>
                </a:cxn>
                <a:cxn ang="0">
                  <a:pos x="296" y="471"/>
                </a:cxn>
                <a:cxn ang="0">
                  <a:pos x="296" y="466"/>
                </a:cxn>
                <a:cxn ang="0">
                  <a:pos x="350" y="421"/>
                </a:cxn>
                <a:cxn ang="0">
                  <a:pos x="354" y="417"/>
                </a:cxn>
                <a:cxn ang="0">
                  <a:pos x="359" y="409"/>
                </a:cxn>
                <a:cxn ang="0">
                  <a:pos x="359" y="334"/>
                </a:cxn>
                <a:cxn ang="0">
                  <a:pos x="359" y="247"/>
                </a:cxn>
                <a:cxn ang="0">
                  <a:pos x="355" y="238"/>
                </a:cxn>
                <a:cxn ang="0">
                  <a:pos x="349" y="233"/>
                </a:cxn>
                <a:cxn ang="0">
                  <a:pos x="195" y="184"/>
                </a:cxn>
                <a:cxn ang="0">
                  <a:pos x="192" y="181"/>
                </a:cxn>
                <a:cxn ang="0">
                  <a:pos x="192" y="34"/>
                </a:cxn>
                <a:cxn ang="0">
                  <a:pos x="192" y="33"/>
                </a:cxn>
                <a:cxn ang="0">
                  <a:pos x="188" y="21"/>
                </a:cxn>
                <a:cxn ang="0">
                  <a:pos x="182" y="11"/>
                </a:cxn>
                <a:cxn ang="0">
                  <a:pos x="172" y="4"/>
                </a:cxn>
                <a:cxn ang="0">
                  <a:pos x="160" y="0"/>
                </a:cxn>
                <a:cxn ang="0">
                  <a:pos x="118" y="0"/>
                </a:cxn>
                <a:cxn ang="0">
                  <a:pos x="106" y="4"/>
                </a:cxn>
                <a:cxn ang="0">
                  <a:pos x="94" y="11"/>
                </a:cxn>
                <a:cxn ang="0">
                  <a:pos x="86" y="21"/>
                </a:cxn>
                <a:cxn ang="0">
                  <a:pos x="82" y="34"/>
                </a:cxn>
                <a:cxn ang="0">
                  <a:pos x="81" y="38"/>
                </a:cxn>
                <a:cxn ang="0">
                  <a:pos x="82" y="159"/>
                </a:cxn>
                <a:cxn ang="0">
                  <a:pos x="82" y="237"/>
                </a:cxn>
                <a:cxn ang="0">
                  <a:pos x="82" y="280"/>
                </a:cxn>
                <a:cxn ang="0">
                  <a:pos x="79" y="287"/>
                </a:cxn>
                <a:cxn ang="0">
                  <a:pos x="72" y="291"/>
                </a:cxn>
                <a:cxn ang="0">
                  <a:pos x="72" y="291"/>
                </a:cxn>
                <a:cxn ang="0">
                  <a:pos x="65" y="287"/>
                </a:cxn>
                <a:cxn ang="0">
                  <a:pos x="62" y="280"/>
                </a:cxn>
                <a:cxn ang="0">
                  <a:pos x="62" y="218"/>
                </a:cxn>
                <a:cxn ang="0">
                  <a:pos x="55" y="216"/>
                </a:cxn>
                <a:cxn ang="0">
                  <a:pos x="48" y="216"/>
                </a:cxn>
                <a:cxn ang="0">
                  <a:pos x="30" y="221"/>
                </a:cxn>
                <a:cxn ang="0">
                  <a:pos x="16" y="230"/>
                </a:cxn>
                <a:cxn ang="0">
                  <a:pos x="8" y="237"/>
                </a:cxn>
                <a:cxn ang="0">
                  <a:pos x="0" y="259"/>
                </a:cxn>
                <a:cxn ang="0">
                  <a:pos x="6" y="279"/>
                </a:cxn>
                <a:cxn ang="0">
                  <a:pos x="64" y="415"/>
                </a:cxn>
                <a:cxn ang="0">
                  <a:pos x="123" y="461"/>
                </a:cxn>
                <a:cxn ang="0">
                  <a:pos x="126" y="471"/>
                </a:cxn>
                <a:cxn ang="0">
                  <a:pos x="126" y="493"/>
                </a:cxn>
                <a:cxn ang="0">
                  <a:pos x="129" y="500"/>
                </a:cxn>
                <a:cxn ang="0">
                  <a:pos x="136" y="503"/>
                </a:cxn>
              </a:cxnLst>
              <a:rect l="0" t="0" r="r" b="b"/>
              <a:pathLst>
                <a:path w="359" h="503">
                  <a:moveTo>
                    <a:pt x="136" y="503"/>
                  </a:moveTo>
                  <a:lnTo>
                    <a:pt x="286" y="503"/>
                  </a:lnTo>
                  <a:lnTo>
                    <a:pt x="286" y="503"/>
                  </a:lnTo>
                  <a:lnTo>
                    <a:pt x="290" y="501"/>
                  </a:lnTo>
                  <a:lnTo>
                    <a:pt x="293" y="500"/>
                  </a:lnTo>
                  <a:lnTo>
                    <a:pt x="295" y="496"/>
                  </a:lnTo>
                  <a:lnTo>
                    <a:pt x="296" y="493"/>
                  </a:lnTo>
                  <a:lnTo>
                    <a:pt x="296" y="471"/>
                  </a:lnTo>
                  <a:lnTo>
                    <a:pt x="296" y="471"/>
                  </a:lnTo>
                  <a:lnTo>
                    <a:pt x="296" y="466"/>
                  </a:lnTo>
                  <a:lnTo>
                    <a:pt x="300" y="463"/>
                  </a:lnTo>
                  <a:lnTo>
                    <a:pt x="350" y="421"/>
                  </a:lnTo>
                  <a:lnTo>
                    <a:pt x="350" y="421"/>
                  </a:lnTo>
                  <a:lnTo>
                    <a:pt x="354" y="417"/>
                  </a:lnTo>
                  <a:lnTo>
                    <a:pt x="357" y="414"/>
                  </a:lnTo>
                  <a:lnTo>
                    <a:pt x="359" y="409"/>
                  </a:lnTo>
                  <a:lnTo>
                    <a:pt x="359" y="404"/>
                  </a:lnTo>
                  <a:lnTo>
                    <a:pt x="359" y="334"/>
                  </a:lnTo>
                  <a:lnTo>
                    <a:pt x="359" y="247"/>
                  </a:lnTo>
                  <a:lnTo>
                    <a:pt x="359" y="247"/>
                  </a:lnTo>
                  <a:lnTo>
                    <a:pt x="359" y="243"/>
                  </a:lnTo>
                  <a:lnTo>
                    <a:pt x="355" y="238"/>
                  </a:lnTo>
                  <a:lnTo>
                    <a:pt x="354" y="235"/>
                  </a:lnTo>
                  <a:lnTo>
                    <a:pt x="349" y="233"/>
                  </a:lnTo>
                  <a:lnTo>
                    <a:pt x="330" y="227"/>
                  </a:lnTo>
                  <a:lnTo>
                    <a:pt x="195" y="184"/>
                  </a:lnTo>
                  <a:lnTo>
                    <a:pt x="195" y="184"/>
                  </a:lnTo>
                  <a:lnTo>
                    <a:pt x="192" y="181"/>
                  </a:lnTo>
                  <a:lnTo>
                    <a:pt x="192" y="178"/>
                  </a:lnTo>
                  <a:lnTo>
                    <a:pt x="192" y="34"/>
                  </a:lnTo>
                  <a:lnTo>
                    <a:pt x="192" y="33"/>
                  </a:lnTo>
                  <a:lnTo>
                    <a:pt x="192" y="33"/>
                  </a:lnTo>
                  <a:lnTo>
                    <a:pt x="190" y="26"/>
                  </a:lnTo>
                  <a:lnTo>
                    <a:pt x="188" y="21"/>
                  </a:lnTo>
                  <a:lnTo>
                    <a:pt x="185" y="16"/>
                  </a:lnTo>
                  <a:lnTo>
                    <a:pt x="182" y="11"/>
                  </a:lnTo>
                  <a:lnTo>
                    <a:pt x="177" y="7"/>
                  </a:lnTo>
                  <a:lnTo>
                    <a:pt x="172" y="4"/>
                  </a:lnTo>
                  <a:lnTo>
                    <a:pt x="167" y="2"/>
                  </a:lnTo>
                  <a:lnTo>
                    <a:pt x="160" y="0"/>
                  </a:lnTo>
                  <a:lnTo>
                    <a:pt x="118" y="0"/>
                  </a:lnTo>
                  <a:lnTo>
                    <a:pt x="118" y="0"/>
                  </a:lnTo>
                  <a:lnTo>
                    <a:pt x="111" y="2"/>
                  </a:lnTo>
                  <a:lnTo>
                    <a:pt x="106" y="4"/>
                  </a:lnTo>
                  <a:lnTo>
                    <a:pt x="99" y="7"/>
                  </a:lnTo>
                  <a:lnTo>
                    <a:pt x="94" y="11"/>
                  </a:lnTo>
                  <a:lnTo>
                    <a:pt x="89" y="16"/>
                  </a:lnTo>
                  <a:lnTo>
                    <a:pt x="86" y="21"/>
                  </a:lnTo>
                  <a:lnTo>
                    <a:pt x="84" y="27"/>
                  </a:lnTo>
                  <a:lnTo>
                    <a:pt x="82" y="34"/>
                  </a:lnTo>
                  <a:lnTo>
                    <a:pt x="82" y="34"/>
                  </a:lnTo>
                  <a:lnTo>
                    <a:pt x="81" y="38"/>
                  </a:lnTo>
                  <a:lnTo>
                    <a:pt x="81" y="159"/>
                  </a:lnTo>
                  <a:lnTo>
                    <a:pt x="82" y="159"/>
                  </a:lnTo>
                  <a:lnTo>
                    <a:pt x="82" y="237"/>
                  </a:lnTo>
                  <a:lnTo>
                    <a:pt x="82" y="237"/>
                  </a:lnTo>
                  <a:lnTo>
                    <a:pt x="82" y="280"/>
                  </a:lnTo>
                  <a:lnTo>
                    <a:pt x="82" y="280"/>
                  </a:lnTo>
                  <a:lnTo>
                    <a:pt x="81" y="284"/>
                  </a:lnTo>
                  <a:lnTo>
                    <a:pt x="79" y="287"/>
                  </a:lnTo>
                  <a:lnTo>
                    <a:pt x="75" y="289"/>
                  </a:lnTo>
                  <a:lnTo>
                    <a:pt x="72" y="291"/>
                  </a:lnTo>
                  <a:lnTo>
                    <a:pt x="72" y="291"/>
                  </a:lnTo>
                  <a:lnTo>
                    <a:pt x="72" y="291"/>
                  </a:lnTo>
                  <a:lnTo>
                    <a:pt x="67" y="289"/>
                  </a:lnTo>
                  <a:lnTo>
                    <a:pt x="65" y="287"/>
                  </a:lnTo>
                  <a:lnTo>
                    <a:pt x="62" y="284"/>
                  </a:lnTo>
                  <a:lnTo>
                    <a:pt x="62" y="280"/>
                  </a:lnTo>
                  <a:lnTo>
                    <a:pt x="62" y="237"/>
                  </a:lnTo>
                  <a:lnTo>
                    <a:pt x="62" y="218"/>
                  </a:lnTo>
                  <a:lnTo>
                    <a:pt x="62" y="218"/>
                  </a:lnTo>
                  <a:lnTo>
                    <a:pt x="55" y="216"/>
                  </a:lnTo>
                  <a:lnTo>
                    <a:pt x="48" y="216"/>
                  </a:lnTo>
                  <a:lnTo>
                    <a:pt x="48" y="216"/>
                  </a:lnTo>
                  <a:lnTo>
                    <a:pt x="40" y="218"/>
                  </a:lnTo>
                  <a:lnTo>
                    <a:pt x="30" y="221"/>
                  </a:lnTo>
                  <a:lnTo>
                    <a:pt x="16" y="230"/>
                  </a:lnTo>
                  <a:lnTo>
                    <a:pt x="16" y="230"/>
                  </a:lnTo>
                  <a:lnTo>
                    <a:pt x="8" y="237"/>
                  </a:lnTo>
                  <a:lnTo>
                    <a:pt x="8" y="237"/>
                  </a:lnTo>
                  <a:lnTo>
                    <a:pt x="3" y="247"/>
                  </a:lnTo>
                  <a:lnTo>
                    <a:pt x="0" y="259"/>
                  </a:lnTo>
                  <a:lnTo>
                    <a:pt x="1" y="269"/>
                  </a:lnTo>
                  <a:lnTo>
                    <a:pt x="6" y="279"/>
                  </a:lnTo>
                  <a:lnTo>
                    <a:pt x="28" y="334"/>
                  </a:lnTo>
                  <a:lnTo>
                    <a:pt x="64" y="415"/>
                  </a:lnTo>
                  <a:lnTo>
                    <a:pt x="123" y="461"/>
                  </a:lnTo>
                  <a:lnTo>
                    <a:pt x="123" y="461"/>
                  </a:lnTo>
                  <a:lnTo>
                    <a:pt x="126" y="466"/>
                  </a:lnTo>
                  <a:lnTo>
                    <a:pt x="126" y="471"/>
                  </a:lnTo>
                  <a:lnTo>
                    <a:pt x="126" y="493"/>
                  </a:lnTo>
                  <a:lnTo>
                    <a:pt x="126" y="493"/>
                  </a:lnTo>
                  <a:lnTo>
                    <a:pt x="128" y="496"/>
                  </a:lnTo>
                  <a:lnTo>
                    <a:pt x="129" y="500"/>
                  </a:lnTo>
                  <a:lnTo>
                    <a:pt x="133" y="501"/>
                  </a:lnTo>
                  <a:lnTo>
                    <a:pt x="136" y="503"/>
                  </a:lnTo>
                  <a:lnTo>
                    <a:pt x="136" y="503"/>
                  </a:lnTo>
                  <a:close/>
                </a:path>
              </a:pathLst>
            </a:custGeom>
            <a:grpFill/>
            <a:ln w="9525">
              <a:noFill/>
              <a:round/>
              <a:headEnd/>
              <a:tailEnd/>
            </a:ln>
          </p:spPr>
          <p:txBody>
            <a:bodyPr vert="horz" wrap="square" lIns="91437" tIns="45719" rIns="91437" bIns="45719" numCol="1" anchor="t" anchorCtr="0" compatLnSpc="1">
              <a:prstTxWarp prst="textNoShape">
                <a:avLst/>
              </a:prstTxWarp>
            </a:bodyPr>
            <a:lstStyle/>
            <a:p>
              <a:endParaRPr lang="zh-CN" altLang="en-US">
                <a:latin typeface="+mj-lt"/>
              </a:endParaRPr>
            </a:p>
          </p:txBody>
        </p:sp>
      </p:grpSp>
      <p:grpSp>
        <p:nvGrpSpPr>
          <p:cNvPr id="319" name="组合 617"/>
          <p:cNvGrpSpPr/>
          <p:nvPr/>
        </p:nvGrpSpPr>
        <p:grpSpPr>
          <a:xfrm>
            <a:off x="3302940" y="4698064"/>
            <a:ext cx="346366" cy="261892"/>
            <a:chOff x="15468600" y="1463675"/>
            <a:chExt cx="747713" cy="687388"/>
          </a:xfrm>
          <a:solidFill>
            <a:schemeClr val="tx1"/>
          </a:solidFill>
        </p:grpSpPr>
        <p:sp>
          <p:nvSpPr>
            <p:cNvPr id="320" name="Freeform 19"/>
            <p:cNvSpPr>
              <a:spLocks/>
            </p:cNvSpPr>
            <p:nvPr/>
          </p:nvSpPr>
          <p:spPr bwMode="auto">
            <a:xfrm>
              <a:off x="15468600" y="1477962"/>
              <a:ext cx="101600" cy="646113"/>
            </a:xfrm>
            <a:custGeom>
              <a:avLst/>
              <a:gdLst/>
              <a:ahLst/>
              <a:cxnLst>
                <a:cxn ang="0">
                  <a:pos x="64" y="47"/>
                </a:cxn>
                <a:cxn ang="0">
                  <a:pos x="64" y="47"/>
                </a:cxn>
                <a:cxn ang="0">
                  <a:pos x="64" y="0"/>
                </a:cxn>
                <a:cxn ang="0">
                  <a:pos x="64" y="0"/>
                </a:cxn>
                <a:cxn ang="0">
                  <a:pos x="38" y="4"/>
                </a:cxn>
                <a:cxn ang="0">
                  <a:pos x="17" y="17"/>
                </a:cxn>
                <a:cxn ang="0">
                  <a:pos x="4" y="26"/>
                </a:cxn>
                <a:cxn ang="0">
                  <a:pos x="0" y="43"/>
                </a:cxn>
                <a:cxn ang="0">
                  <a:pos x="0" y="368"/>
                </a:cxn>
                <a:cxn ang="0">
                  <a:pos x="0" y="368"/>
                </a:cxn>
                <a:cxn ang="0">
                  <a:pos x="4" y="381"/>
                </a:cxn>
                <a:cxn ang="0">
                  <a:pos x="17" y="394"/>
                </a:cxn>
                <a:cxn ang="0">
                  <a:pos x="38" y="402"/>
                </a:cxn>
                <a:cxn ang="0">
                  <a:pos x="64" y="407"/>
                </a:cxn>
                <a:cxn ang="0">
                  <a:pos x="64" y="407"/>
                </a:cxn>
                <a:cxn ang="0">
                  <a:pos x="64" y="376"/>
                </a:cxn>
                <a:cxn ang="0">
                  <a:pos x="64" y="47"/>
                </a:cxn>
              </a:cxnLst>
              <a:rect l="0" t="0" r="r" b="b"/>
              <a:pathLst>
                <a:path w="64" h="407">
                  <a:moveTo>
                    <a:pt x="64" y="47"/>
                  </a:moveTo>
                  <a:lnTo>
                    <a:pt x="64" y="47"/>
                  </a:lnTo>
                  <a:lnTo>
                    <a:pt x="64" y="0"/>
                  </a:lnTo>
                  <a:lnTo>
                    <a:pt x="64" y="0"/>
                  </a:lnTo>
                  <a:lnTo>
                    <a:pt x="38" y="4"/>
                  </a:lnTo>
                  <a:lnTo>
                    <a:pt x="17" y="17"/>
                  </a:lnTo>
                  <a:lnTo>
                    <a:pt x="4" y="26"/>
                  </a:lnTo>
                  <a:lnTo>
                    <a:pt x="0" y="43"/>
                  </a:lnTo>
                  <a:lnTo>
                    <a:pt x="0" y="368"/>
                  </a:lnTo>
                  <a:lnTo>
                    <a:pt x="0" y="368"/>
                  </a:lnTo>
                  <a:lnTo>
                    <a:pt x="4" y="381"/>
                  </a:lnTo>
                  <a:lnTo>
                    <a:pt x="17" y="394"/>
                  </a:lnTo>
                  <a:lnTo>
                    <a:pt x="38" y="402"/>
                  </a:lnTo>
                  <a:lnTo>
                    <a:pt x="64" y="407"/>
                  </a:lnTo>
                  <a:lnTo>
                    <a:pt x="64" y="407"/>
                  </a:lnTo>
                  <a:lnTo>
                    <a:pt x="64" y="376"/>
                  </a:lnTo>
                  <a:lnTo>
                    <a:pt x="64" y="47"/>
                  </a:lnTo>
                  <a:close/>
                </a:path>
              </a:pathLst>
            </a:custGeom>
            <a:grpFill/>
            <a:ln>
              <a:noFill/>
            </a:ln>
            <a:effectLst/>
          </p:spPr>
          <p:txBody>
            <a:bodyPr vert="horz" wrap="square" lIns="91437" tIns="45719" rIns="91437" bIns="45719" numCol="1" rtlCol="0" anchor="t" anchorCtr="0" compatLnSpc="1">
              <a:prstTxWarp prst="textNoShape">
                <a:avLst/>
              </a:prstTxWarp>
            </a:bodyPr>
            <a:lstStyle/>
            <a:p>
              <a:pPr>
                <a:buClr>
                  <a:srgbClr val="CC9900"/>
                </a:buClr>
                <a:buFont typeface="Wingdings" pitchFamily="2" charset="2"/>
                <a:buChar char="n"/>
              </a:pPr>
              <a:endParaRPr lang="zh-CN" altLang="en-US">
                <a:latin typeface="+mj-lt"/>
              </a:endParaRPr>
            </a:p>
          </p:txBody>
        </p:sp>
        <p:sp>
          <p:nvSpPr>
            <p:cNvPr id="321" name="Freeform 20"/>
            <p:cNvSpPr>
              <a:spLocks noEditPoints="1"/>
            </p:cNvSpPr>
            <p:nvPr/>
          </p:nvSpPr>
          <p:spPr bwMode="auto">
            <a:xfrm>
              <a:off x="15797213" y="1477962"/>
              <a:ext cx="419100" cy="646113"/>
            </a:xfrm>
            <a:custGeom>
              <a:avLst/>
              <a:gdLst/>
              <a:ahLst/>
              <a:cxnLst>
                <a:cxn ang="0">
                  <a:pos x="5" y="376"/>
                </a:cxn>
                <a:cxn ang="0">
                  <a:pos x="217" y="407"/>
                </a:cxn>
                <a:cxn ang="0">
                  <a:pos x="264" y="43"/>
                </a:cxn>
                <a:cxn ang="0">
                  <a:pos x="217" y="4"/>
                </a:cxn>
                <a:cxn ang="0">
                  <a:pos x="44" y="60"/>
                </a:cxn>
                <a:cxn ang="0">
                  <a:pos x="195" y="30"/>
                </a:cxn>
                <a:cxn ang="0">
                  <a:pos x="221" y="60"/>
                </a:cxn>
                <a:cxn ang="0">
                  <a:pos x="208" y="108"/>
                </a:cxn>
                <a:cxn ang="0">
                  <a:pos x="48" y="104"/>
                </a:cxn>
                <a:cxn ang="0">
                  <a:pos x="225" y="160"/>
                </a:cxn>
                <a:cxn ang="0">
                  <a:pos x="165" y="173"/>
                </a:cxn>
                <a:cxn ang="0">
                  <a:pos x="160" y="143"/>
                </a:cxn>
                <a:cxn ang="0">
                  <a:pos x="225" y="147"/>
                </a:cxn>
                <a:cxn ang="0">
                  <a:pos x="130" y="169"/>
                </a:cxn>
                <a:cxn ang="0">
                  <a:pos x="61" y="160"/>
                </a:cxn>
                <a:cxn ang="0">
                  <a:pos x="121" y="138"/>
                </a:cxn>
                <a:cxn ang="0">
                  <a:pos x="83" y="359"/>
                </a:cxn>
                <a:cxn ang="0">
                  <a:pos x="57" y="337"/>
                </a:cxn>
                <a:cxn ang="0">
                  <a:pos x="83" y="312"/>
                </a:cxn>
                <a:cxn ang="0">
                  <a:pos x="104" y="337"/>
                </a:cxn>
                <a:cxn ang="0">
                  <a:pos x="83" y="359"/>
                </a:cxn>
                <a:cxn ang="0">
                  <a:pos x="65" y="290"/>
                </a:cxn>
                <a:cxn ang="0">
                  <a:pos x="65" y="255"/>
                </a:cxn>
                <a:cxn ang="0">
                  <a:pos x="100" y="255"/>
                </a:cxn>
                <a:cxn ang="0">
                  <a:pos x="100" y="290"/>
                </a:cxn>
                <a:cxn ang="0">
                  <a:pos x="83" y="238"/>
                </a:cxn>
                <a:cxn ang="0">
                  <a:pos x="57" y="216"/>
                </a:cxn>
                <a:cxn ang="0">
                  <a:pos x="83" y="190"/>
                </a:cxn>
                <a:cxn ang="0">
                  <a:pos x="104" y="216"/>
                </a:cxn>
                <a:cxn ang="0">
                  <a:pos x="83" y="238"/>
                </a:cxn>
                <a:cxn ang="0">
                  <a:pos x="121" y="346"/>
                </a:cxn>
                <a:cxn ang="0">
                  <a:pos x="130" y="312"/>
                </a:cxn>
                <a:cxn ang="0">
                  <a:pos x="165" y="324"/>
                </a:cxn>
                <a:cxn ang="0">
                  <a:pos x="152" y="359"/>
                </a:cxn>
                <a:cxn ang="0">
                  <a:pos x="130" y="294"/>
                </a:cxn>
                <a:cxn ang="0">
                  <a:pos x="121" y="264"/>
                </a:cxn>
                <a:cxn ang="0">
                  <a:pos x="152" y="251"/>
                </a:cxn>
                <a:cxn ang="0">
                  <a:pos x="165" y="281"/>
                </a:cxn>
                <a:cxn ang="0">
                  <a:pos x="143" y="238"/>
                </a:cxn>
                <a:cxn ang="0">
                  <a:pos x="117" y="216"/>
                </a:cxn>
                <a:cxn ang="0">
                  <a:pos x="143" y="190"/>
                </a:cxn>
                <a:cxn ang="0">
                  <a:pos x="165" y="216"/>
                </a:cxn>
                <a:cxn ang="0">
                  <a:pos x="143" y="238"/>
                </a:cxn>
                <a:cxn ang="0">
                  <a:pos x="186" y="355"/>
                </a:cxn>
                <a:cxn ang="0">
                  <a:pos x="186" y="320"/>
                </a:cxn>
                <a:cxn ang="0">
                  <a:pos x="217" y="320"/>
                </a:cxn>
                <a:cxn ang="0">
                  <a:pos x="217" y="355"/>
                </a:cxn>
                <a:cxn ang="0">
                  <a:pos x="204" y="299"/>
                </a:cxn>
                <a:cxn ang="0">
                  <a:pos x="178" y="273"/>
                </a:cxn>
                <a:cxn ang="0">
                  <a:pos x="204" y="247"/>
                </a:cxn>
                <a:cxn ang="0">
                  <a:pos x="225" y="273"/>
                </a:cxn>
                <a:cxn ang="0">
                  <a:pos x="204" y="299"/>
                </a:cxn>
                <a:cxn ang="0">
                  <a:pos x="178" y="225"/>
                </a:cxn>
                <a:cxn ang="0">
                  <a:pos x="191" y="195"/>
                </a:cxn>
                <a:cxn ang="0">
                  <a:pos x="225" y="208"/>
                </a:cxn>
                <a:cxn ang="0">
                  <a:pos x="212" y="238"/>
                </a:cxn>
              </a:cxnLst>
              <a:rect l="0" t="0" r="r" b="b"/>
              <a:pathLst>
                <a:path w="264" h="407">
                  <a:moveTo>
                    <a:pt x="182" y="0"/>
                  </a:moveTo>
                  <a:lnTo>
                    <a:pt x="0" y="0"/>
                  </a:lnTo>
                  <a:lnTo>
                    <a:pt x="0" y="0"/>
                  </a:lnTo>
                  <a:lnTo>
                    <a:pt x="5" y="47"/>
                  </a:lnTo>
                  <a:lnTo>
                    <a:pt x="5" y="376"/>
                  </a:lnTo>
                  <a:lnTo>
                    <a:pt x="5" y="376"/>
                  </a:lnTo>
                  <a:lnTo>
                    <a:pt x="5" y="407"/>
                  </a:lnTo>
                  <a:lnTo>
                    <a:pt x="182" y="407"/>
                  </a:lnTo>
                  <a:lnTo>
                    <a:pt x="182" y="407"/>
                  </a:lnTo>
                  <a:lnTo>
                    <a:pt x="217" y="407"/>
                  </a:lnTo>
                  <a:lnTo>
                    <a:pt x="238" y="398"/>
                  </a:lnTo>
                  <a:lnTo>
                    <a:pt x="256" y="385"/>
                  </a:lnTo>
                  <a:lnTo>
                    <a:pt x="260" y="376"/>
                  </a:lnTo>
                  <a:lnTo>
                    <a:pt x="264" y="368"/>
                  </a:lnTo>
                  <a:lnTo>
                    <a:pt x="264" y="43"/>
                  </a:lnTo>
                  <a:lnTo>
                    <a:pt x="264" y="43"/>
                  </a:lnTo>
                  <a:lnTo>
                    <a:pt x="260" y="34"/>
                  </a:lnTo>
                  <a:lnTo>
                    <a:pt x="256" y="26"/>
                  </a:lnTo>
                  <a:lnTo>
                    <a:pt x="238" y="13"/>
                  </a:lnTo>
                  <a:lnTo>
                    <a:pt x="217" y="4"/>
                  </a:lnTo>
                  <a:lnTo>
                    <a:pt x="182" y="0"/>
                  </a:lnTo>
                  <a:lnTo>
                    <a:pt x="182" y="0"/>
                  </a:lnTo>
                  <a:close/>
                  <a:moveTo>
                    <a:pt x="44" y="82"/>
                  </a:moveTo>
                  <a:lnTo>
                    <a:pt x="44" y="60"/>
                  </a:lnTo>
                  <a:lnTo>
                    <a:pt x="44" y="60"/>
                  </a:lnTo>
                  <a:lnTo>
                    <a:pt x="44" y="47"/>
                  </a:lnTo>
                  <a:lnTo>
                    <a:pt x="48" y="39"/>
                  </a:lnTo>
                  <a:lnTo>
                    <a:pt x="57" y="30"/>
                  </a:lnTo>
                  <a:lnTo>
                    <a:pt x="70" y="30"/>
                  </a:lnTo>
                  <a:lnTo>
                    <a:pt x="195" y="30"/>
                  </a:lnTo>
                  <a:lnTo>
                    <a:pt x="195" y="30"/>
                  </a:lnTo>
                  <a:lnTo>
                    <a:pt x="208" y="30"/>
                  </a:lnTo>
                  <a:lnTo>
                    <a:pt x="217" y="39"/>
                  </a:lnTo>
                  <a:lnTo>
                    <a:pt x="221" y="47"/>
                  </a:lnTo>
                  <a:lnTo>
                    <a:pt x="221" y="60"/>
                  </a:lnTo>
                  <a:lnTo>
                    <a:pt x="221" y="82"/>
                  </a:lnTo>
                  <a:lnTo>
                    <a:pt x="221" y="82"/>
                  </a:lnTo>
                  <a:lnTo>
                    <a:pt x="221" y="95"/>
                  </a:lnTo>
                  <a:lnTo>
                    <a:pt x="217" y="104"/>
                  </a:lnTo>
                  <a:lnTo>
                    <a:pt x="208" y="108"/>
                  </a:lnTo>
                  <a:lnTo>
                    <a:pt x="195" y="112"/>
                  </a:lnTo>
                  <a:lnTo>
                    <a:pt x="70" y="112"/>
                  </a:lnTo>
                  <a:lnTo>
                    <a:pt x="70" y="112"/>
                  </a:lnTo>
                  <a:lnTo>
                    <a:pt x="57" y="108"/>
                  </a:lnTo>
                  <a:lnTo>
                    <a:pt x="48" y="104"/>
                  </a:lnTo>
                  <a:lnTo>
                    <a:pt x="44" y="95"/>
                  </a:lnTo>
                  <a:lnTo>
                    <a:pt x="44" y="82"/>
                  </a:lnTo>
                  <a:lnTo>
                    <a:pt x="44" y="82"/>
                  </a:lnTo>
                  <a:close/>
                  <a:moveTo>
                    <a:pt x="225" y="147"/>
                  </a:moveTo>
                  <a:lnTo>
                    <a:pt x="225" y="160"/>
                  </a:lnTo>
                  <a:lnTo>
                    <a:pt x="225" y="160"/>
                  </a:lnTo>
                  <a:lnTo>
                    <a:pt x="221" y="169"/>
                  </a:lnTo>
                  <a:lnTo>
                    <a:pt x="212" y="173"/>
                  </a:lnTo>
                  <a:lnTo>
                    <a:pt x="165" y="173"/>
                  </a:lnTo>
                  <a:lnTo>
                    <a:pt x="165" y="173"/>
                  </a:lnTo>
                  <a:lnTo>
                    <a:pt x="160" y="169"/>
                  </a:lnTo>
                  <a:lnTo>
                    <a:pt x="156" y="160"/>
                  </a:lnTo>
                  <a:lnTo>
                    <a:pt x="156" y="147"/>
                  </a:lnTo>
                  <a:lnTo>
                    <a:pt x="156" y="147"/>
                  </a:lnTo>
                  <a:lnTo>
                    <a:pt x="160" y="143"/>
                  </a:lnTo>
                  <a:lnTo>
                    <a:pt x="165" y="138"/>
                  </a:lnTo>
                  <a:lnTo>
                    <a:pt x="212" y="138"/>
                  </a:lnTo>
                  <a:lnTo>
                    <a:pt x="212" y="138"/>
                  </a:lnTo>
                  <a:lnTo>
                    <a:pt x="221" y="143"/>
                  </a:lnTo>
                  <a:lnTo>
                    <a:pt x="225" y="147"/>
                  </a:lnTo>
                  <a:lnTo>
                    <a:pt x="225" y="147"/>
                  </a:lnTo>
                  <a:close/>
                  <a:moveTo>
                    <a:pt x="130" y="147"/>
                  </a:moveTo>
                  <a:lnTo>
                    <a:pt x="130" y="160"/>
                  </a:lnTo>
                  <a:lnTo>
                    <a:pt x="130" y="160"/>
                  </a:lnTo>
                  <a:lnTo>
                    <a:pt x="130" y="169"/>
                  </a:lnTo>
                  <a:lnTo>
                    <a:pt x="121" y="173"/>
                  </a:lnTo>
                  <a:lnTo>
                    <a:pt x="70" y="173"/>
                  </a:lnTo>
                  <a:lnTo>
                    <a:pt x="70" y="173"/>
                  </a:lnTo>
                  <a:lnTo>
                    <a:pt x="65" y="169"/>
                  </a:lnTo>
                  <a:lnTo>
                    <a:pt x="61" y="160"/>
                  </a:lnTo>
                  <a:lnTo>
                    <a:pt x="61" y="147"/>
                  </a:lnTo>
                  <a:lnTo>
                    <a:pt x="61" y="147"/>
                  </a:lnTo>
                  <a:lnTo>
                    <a:pt x="65" y="143"/>
                  </a:lnTo>
                  <a:lnTo>
                    <a:pt x="70" y="138"/>
                  </a:lnTo>
                  <a:lnTo>
                    <a:pt x="121" y="138"/>
                  </a:lnTo>
                  <a:lnTo>
                    <a:pt x="121" y="138"/>
                  </a:lnTo>
                  <a:lnTo>
                    <a:pt x="130" y="143"/>
                  </a:lnTo>
                  <a:lnTo>
                    <a:pt x="130" y="147"/>
                  </a:lnTo>
                  <a:lnTo>
                    <a:pt x="130" y="147"/>
                  </a:lnTo>
                  <a:close/>
                  <a:moveTo>
                    <a:pt x="83" y="359"/>
                  </a:moveTo>
                  <a:lnTo>
                    <a:pt x="83" y="359"/>
                  </a:lnTo>
                  <a:lnTo>
                    <a:pt x="74" y="359"/>
                  </a:lnTo>
                  <a:lnTo>
                    <a:pt x="65" y="355"/>
                  </a:lnTo>
                  <a:lnTo>
                    <a:pt x="61" y="346"/>
                  </a:lnTo>
                  <a:lnTo>
                    <a:pt x="57" y="337"/>
                  </a:lnTo>
                  <a:lnTo>
                    <a:pt x="57" y="337"/>
                  </a:lnTo>
                  <a:lnTo>
                    <a:pt x="61" y="324"/>
                  </a:lnTo>
                  <a:lnTo>
                    <a:pt x="65" y="320"/>
                  </a:lnTo>
                  <a:lnTo>
                    <a:pt x="74" y="312"/>
                  </a:lnTo>
                  <a:lnTo>
                    <a:pt x="83" y="312"/>
                  </a:lnTo>
                  <a:lnTo>
                    <a:pt x="83" y="312"/>
                  </a:lnTo>
                  <a:lnTo>
                    <a:pt x="91" y="312"/>
                  </a:lnTo>
                  <a:lnTo>
                    <a:pt x="100" y="320"/>
                  </a:lnTo>
                  <a:lnTo>
                    <a:pt x="104" y="324"/>
                  </a:lnTo>
                  <a:lnTo>
                    <a:pt x="104" y="337"/>
                  </a:lnTo>
                  <a:lnTo>
                    <a:pt x="104" y="337"/>
                  </a:lnTo>
                  <a:lnTo>
                    <a:pt x="104" y="346"/>
                  </a:lnTo>
                  <a:lnTo>
                    <a:pt x="100" y="355"/>
                  </a:lnTo>
                  <a:lnTo>
                    <a:pt x="91" y="359"/>
                  </a:lnTo>
                  <a:lnTo>
                    <a:pt x="83" y="359"/>
                  </a:lnTo>
                  <a:lnTo>
                    <a:pt x="83" y="359"/>
                  </a:lnTo>
                  <a:close/>
                  <a:moveTo>
                    <a:pt x="83" y="299"/>
                  </a:moveTo>
                  <a:lnTo>
                    <a:pt x="83" y="299"/>
                  </a:lnTo>
                  <a:lnTo>
                    <a:pt x="74" y="294"/>
                  </a:lnTo>
                  <a:lnTo>
                    <a:pt x="65" y="290"/>
                  </a:lnTo>
                  <a:lnTo>
                    <a:pt x="61" y="281"/>
                  </a:lnTo>
                  <a:lnTo>
                    <a:pt x="57" y="273"/>
                  </a:lnTo>
                  <a:lnTo>
                    <a:pt x="57" y="273"/>
                  </a:lnTo>
                  <a:lnTo>
                    <a:pt x="61" y="264"/>
                  </a:lnTo>
                  <a:lnTo>
                    <a:pt x="65" y="255"/>
                  </a:lnTo>
                  <a:lnTo>
                    <a:pt x="74" y="251"/>
                  </a:lnTo>
                  <a:lnTo>
                    <a:pt x="83" y="247"/>
                  </a:lnTo>
                  <a:lnTo>
                    <a:pt x="83" y="247"/>
                  </a:lnTo>
                  <a:lnTo>
                    <a:pt x="91" y="251"/>
                  </a:lnTo>
                  <a:lnTo>
                    <a:pt x="100" y="255"/>
                  </a:lnTo>
                  <a:lnTo>
                    <a:pt x="104" y="264"/>
                  </a:lnTo>
                  <a:lnTo>
                    <a:pt x="104" y="273"/>
                  </a:lnTo>
                  <a:lnTo>
                    <a:pt x="104" y="273"/>
                  </a:lnTo>
                  <a:lnTo>
                    <a:pt x="104" y="281"/>
                  </a:lnTo>
                  <a:lnTo>
                    <a:pt x="100" y="290"/>
                  </a:lnTo>
                  <a:lnTo>
                    <a:pt x="91" y="294"/>
                  </a:lnTo>
                  <a:lnTo>
                    <a:pt x="83" y="299"/>
                  </a:lnTo>
                  <a:lnTo>
                    <a:pt x="83" y="299"/>
                  </a:lnTo>
                  <a:close/>
                  <a:moveTo>
                    <a:pt x="83" y="238"/>
                  </a:moveTo>
                  <a:lnTo>
                    <a:pt x="83" y="238"/>
                  </a:lnTo>
                  <a:lnTo>
                    <a:pt x="74" y="238"/>
                  </a:lnTo>
                  <a:lnTo>
                    <a:pt x="65" y="234"/>
                  </a:lnTo>
                  <a:lnTo>
                    <a:pt x="61" y="225"/>
                  </a:lnTo>
                  <a:lnTo>
                    <a:pt x="57" y="216"/>
                  </a:lnTo>
                  <a:lnTo>
                    <a:pt x="57" y="216"/>
                  </a:lnTo>
                  <a:lnTo>
                    <a:pt x="61" y="208"/>
                  </a:lnTo>
                  <a:lnTo>
                    <a:pt x="65" y="199"/>
                  </a:lnTo>
                  <a:lnTo>
                    <a:pt x="74" y="195"/>
                  </a:lnTo>
                  <a:lnTo>
                    <a:pt x="83" y="190"/>
                  </a:lnTo>
                  <a:lnTo>
                    <a:pt x="83" y="190"/>
                  </a:lnTo>
                  <a:lnTo>
                    <a:pt x="91" y="195"/>
                  </a:lnTo>
                  <a:lnTo>
                    <a:pt x="100" y="199"/>
                  </a:lnTo>
                  <a:lnTo>
                    <a:pt x="104" y="208"/>
                  </a:lnTo>
                  <a:lnTo>
                    <a:pt x="104" y="216"/>
                  </a:lnTo>
                  <a:lnTo>
                    <a:pt x="104" y="216"/>
                  </a:lnTo>
                  <a:lnTo>
                    <a:pt x="104" y="225"/>
                  </a:lnTo>
                  <a:lnTo>
                    <a:pt x="100" y="234"/>
                  </a:lnTo>
                  <a:lnTo>
                    <a:pt x="91" y="238"/>
                  </a:lnTo>
                  <a:lnTo>
                    <a:pt x="83" y="238"/>
                  </a:lnTo>
                  <a:lnTo>
                    <a:pt x="83" y="238"/>
                  </a:lnTo>
                  <a:close/>
                  <a:moveTo>
                    <a:pt x="143" y="359"/>
                  </a:moveTo>
                  <a:lnTo>
                    <a:pt x="143" y="359"/>
                  </a:lnTo>
                  <a:lnTo>
                    <a:pt x="130" y="359"/>
                  </a:lnTo>
                  <a:lnTo>
                    <a:pt x="126" y="355"/>
                  </a:lnTo>
                  <a:lnTo>
                    <a:pt x="121" y="346"/>
                  </a:lnTo>
                  <a:lnTo>
                    <a:pt x="117" y="337"/>
                  </a:lnTo>
                  <a:lnTo>
                    <a:pt x="117" y="337"/>
                  </a:lnTo>
                  <a:lnTo>
                    <a:pt x="121" y="324"/>
                  </a:lnTo>
                  <a:lnTo>
                    <a:pt x="126" y="320"/>
                  </a:lnTo>
                  <a:lnTo>
                    <a:pt x="130" y="312"/>
                  </a:lnTo>
                  <a:lnTo>
                    <a:pt x="143" y="312"/>
                  </a:lnTo>
                  <a:lnTo>
                    <a:pt x="143" y="312"/>
                  </a:lnTo>
                  <a:lnTo>
                    <a:pt x="152" y="312"/>
                  </a:lnTo>
                  <a:lnTo>
                    <a:pt x="160" y="320"/>
                  </a:lnTo>
                  <a:lnTo>
                    <a:pt x="165" y="324"/>
                  </a:lnTo>
                  <a:lnTo>
                    <a:pt x="165" y="337"/>
                  </a:lnTo>
                  <a:lnTo>
                    <a:pt x="165" y="337"/>
                  </a:lnTo>
                  <a:lnTo>
                    <a:pt x="165" y="346"/>
                  </a:lnTo>
                  <a:lnTo>
                    <a:pt x="160" y="355"/>
                  </a:lnTo>
                  <a:lnTo>
                    <a:pt x="152" y="359"/>
                  </a:lnTo>
                  <a:lnTo>
                    <a:pt x="143" y="359"/>
                  </a:lnTo>
                  <a:lnTo>
                    <a:pt x="143" y="359"/>
                  </a:lnTo>
                  <a:close/>
                  <a:moveTo>
                    <a:pt x="143" y="299"/>
                  </a:moveTo>
                  <a:lnTo>
                    <a:pt x="143" y="299"/>
                  </a:lnTo>
                  <a:lnTo>
                    <a:pt x="130" y="294"/>
                  </a:lnTo>
                  <a:lnTo>
                    <a:pt x="126" y="290"/>
                  </a:lnTo>
                  <a:lnTo>
                    <a:pt x="121" y="281"/>
                  </a:lnTo>
                  <a:lnTo>
                    <a:pt x="117" y="273"/>
                  </a:lnTo>
                  <a:lnTo>
                    <a:pt x="117" y="273"/>
                  </a:lnTo>
                  <a:lnTo>
                    <a:pt x="121" y="264"/>
                  </a:lnTo>
                  <a:lnTo>
                    <a:pt x="126" y="255"/>
                  </a:lnTo>
                  <a:lnTo>
                    <a:pt x="130" y="251"/>
                  </a:lnTo>
                  <a:lnTo>
                    <a:pt x="143" y="247"/>
                  </a:lnTo>
                  <a:lnTo>
                    <a:pt x="143" y="247"/>
                  </a:lnTo>
                  <a:lnTo>
                    <a:pt x="152" y="251"/>
                  </a:lnTo>
                  <a:lnTo>
                    <a:pt x="160" y="255"/>
                  </a:lnTo>
                  <a:lnTo>
                    <a:pt x="165" y="264"/>
                  </a:lnTo>
                  <a:lnTo>
                    <a:pt x="165" y="273"/>
                  </a:lnTo>
                  <a:lnTo>
                    <a:pt x="165" y="273"/>
                  </a:lnTo>
                  <a:lnTo>
                    <a:pt x="165" y="281"/>
                  </a:lnTo>
                  <a:lnTo>
                    <a:pt x="160" y="290"/>
                  </a:lnTo>
                  <a:lnTo>
                    <a:pt x="152" y="294"/>
                  </a:lnTo>
                  <a:lnTo>
                    <a:pt x="143" y="299"/>
                  </a:lnTo>
                  <a:lnTo>
                    <a:pt x="143" y="299"/>
                  </a:lnTo>
                  <a:close/>
                  <a:moveTo>
                    <a:pt x="143" y="238"/>
                  </a:moveTo>
                  <a:lnTo>
                    <a:pt x="143" y="238"/>
                  </a:lnTo>
                  <a:lnTo>
                    <a:pt x="130" y="238"/>
                  </a:lnTo>
                  <a:lnTo>
                    <a:pt x="126" y="234"/>
                  </a:lnTo>
                  <a:lnTo>
                    <a:pt x="121" y="225"/>
                  </a:lnTo>
                  <a:lnTo>
                    <a:pt x="117" y="216"/>
                  </a:lnTo>
                  <a:lnTo>
                    <a:pt x="117" y="216"/>
                  </a:lnTo>
                  <a:lnTo>
                    <a:pt x="121" y="208"/>
                  </a:lnTo>
                  <a:lnTo>
                    <a:pt x="126" y="199"/>
                  </a:lnTo>
                  <a:lnTo>
                    <a:pt x="130" y="195"/>
                  </a:lnTo>
                  <a:lnTo>
                    <a:pt x="143" y="190"/>
                  </a:lnTo>
                  <a:lnTo>
                    <a:pt x="143" y="190"/>
                  </a:lnTo>
                  <a:lnTo>
                    <a:pt x="152" y="195"/>
                  </a:lnTo>
                  <a:lnTo>
                    <a:pt x="160" y="199"/>
                  </a:lnTo>
                  <a:lnTo>
                    <a:pt x="165" y="208"/>
                  </a:lnTo>
                  <a:lnTo>
                    <a:pt x="165" y="216"/>
                  </a:lnTo>
                  <a:lnTo>
                    <a:pt x="165" y="216"/>
                  </a:lnTo>
                  <a:lnTo>
                    <a:pt x="165" y="225"/>
                  </a:lnTo>
                  <a:lnTo>
                    <a:pt x="160" y="234"/>
                  </a:lnTo>
                  <a:lnTo>
                    <a:pt x="152" y="238"/>
                  </a:lnTo>
                  <a:lnTo>
                    <a:pt x="143" y="238"/>
                  </a:lnTo>
                  <a:lnTo>
                    <a:pt x="143" y="238"/>
                  </a:lnTo>
                  <a:close/>
                  <a:moveTo>
                    <a:pt x="204" y="359"/>
                  </a:moveTo>
                  <a:lnTo>
                    <a:pt x="204" y="359"/>
                  </a:lnTo>
                  <a:lnTo>
                    <a:pt x="191" y="359"/>
                  </a:lnTo>
                  <a:lnTo>
                    <a:pt x="186" y="355"/>
                  </a:lnTo>
                  <a:lnTo>
                    <a:pt x="178" y="346"/>
                  </a:lnTo>
                  <a:lnTo>
                    <a:pt x="178" y="337"/>
                  </a:lnTo>
                  <a:lnTo>
                    <a:pt x="178" y="337"/>
                  </a:lnTo>
                  <a:lnTo>
                    <a:pt x="178" y="324"/>
                  </a:lnTo>
                  <a:lnTo>
                    <a:pt x="186" y="320"/>
                  </a:lnTo>
                  <a:lnTo>
                    <a:pt x="191" y="312"/>
                  </a:lnTo>
                  <a:lnTo>
                    <a:pt x="204" y="312"/>
                  </a:lnTo>
                  <a:lnTo>
                    <a:pt x="204" y="312"/>
                  </a:lnTo>
                  <a:lnTo>
                    <a:pt x="212" y="312"/>
                  </a:lnTo>
                  <a:lnTo>
                    <a:pt x="217" y="320"/>
                  </a:lnTo>
                  <a:lnTo>
                    <a:pt x="225" y="324"/>
                  </a:lnTo>
                  <a:lnTo>
                    <a:pt x="225" y="337"/>
                  </a:lnTo>
                  <a:lnTo>
                    <a:pt x="225" y="337"/>
                  </a:lnTo>
                  <a:lnTo>
                    <a:pt x="225" y="346"/>
                  </a:lnTo>
                  <a:lnTo>
                    <a:pt x="217" y="355"/>
                  </a:lnTo>
                  <a:lnTo>
                    <a:pt x="212" y="359"/>
                  </a:lnTo>
                  <a:lnTo>
                    <a:pt x="204" y="359"/>
                  </a:lnTo>
                  <a:lnTo>
                    <a:pt x="204" y="359"/>
                  </a:lnTo>
                  <a:close/>
                  <a:moveTo>
                    <a:pt x="204" y="299"/>
                  </a:moveTo>
                  <a:lnTo>
                    <a:pt x="204" y="299"/>
                  </a:lnTo>
                  <a:lnTo>
                    <a:pt x="191" y="294"/>
                  </a:lnTo>
                  <a:lnTo>
                    <a:pt x="186" y="290"/>
                  </a:lnTo>
                  <a:lnTo>
                    <a:pt x="178" y="281"/>
                  </a:lnTo>
                  <a:lnTo>
                    <a:pt x="178" y="273"/>
                  </a:lnTo>
                  <a:lnTo>
                    <a:pt x="178" y="273"/>
                  </a:lnTo>
                  <a:lnTo>
                    <a:pt x="178" y="264"/>
                  </a:lnTo>
                  <a:lnTo>
                    <a:pt x="186" y="255"/>
                  </a:lnTo>
                  <a:lnTo>
                    <a:pt x="191" y="251"/>
                  </a:lnTo>
                  <a:lnTo>
                    <a:pt x="204" y="247"/>
                  </a:lnTo>
                  <a:lnTo>
                    <a:pt x="204" y="247"/>
                  </a:lnTo>
                  <a:lnTo>
                    <a:pt x="212" y="251"/>
                  </a:lnTo>
                  <a:lnTo>
                    <a:pt x="217" y="255"/>
                  </a:lnTo>
                  <a:lnTo>
                    <a:pt x="225" y="264"/>
                  </a:lnTo>
                  <a:lnTo>
                    <a:pt x="225" y="273"/>
                  </a:lnTo>
                  <a:lnTo>
                    <a:pt x="225" y="273"/>
                  </a:lnTo>
                  <a:lnTo>
                    <a:pt x="225" y="281"/>
                  </a:lnTo>
                  <a:lnTo>
                    <a:pt x="217" y="290"/>
                  </a:lnTo>
                  <a:lnTo>
                    <a:pt x="212" y="294"/>
                  </a:lnTo>
                  <a:lnTo>
                    <a:pt x="204" y="299"/>
                  </a:lnTo>
                  <a:lnTo>
                    <a:pt x="204" y="299"/>
                  </a:lnTo>
                  <a:close/>
                  <a:moveTo>
                    <a:pt x="204" y="238"/>
                  </a:moveTo>
                  <a:lnTo>
                    <a:pt x="204" y="238"/>
                  </a:lnTo>
                  <a:lnTo>
                    <a:pt x="191" y="238"/>
                  </a:lnTo>
                  <a:lnTo>
                    <a:pt x="186" y="234"/>
                  </a:lnTo>
                  <a:lnTo>
                    <a:pt x="178" y="225"/>
                  </a:lnTo>
                  <a:lnTo>
                    <a:pt x="178" y="216"/>
                  </a:lnTo>
                  <a:lnTo>
                    <a:pt x="178" y="216"/>
                  </a:lnTo>
                  <a:lnTo>
                    <a:pt x="178" y="208"/>
                  </a:lnTo>
                  <a:lnTo>
                    <a:pt x="186" y="199"/>
                  </a:lnTo>
                  <a:lnTo>
                    <a:pt x="191" y="195"/>
                  </a:lnTo>
                  <a:lnTo>
                    <a:pt x="204" y="190"/>
                  </a:lnTo>
                  <a:lnTo>
                    <a:pt x="204" y="190"/>
                  </a:lnTo>
                  <a:lnTo>
                    <a:pt x="212" y="195"/>
                  </a:lnTo>
                  <a:lnTo>
                    <a:pt x="217" y="199"/>
                  </a:lnTo>
                  <a:lnTo>
                    <a:pt x="225" y="208"/>
                  </a:lnTo>
                  <a:lnTo>
                    <a:pt x="225" y="216"/>
                  </a:lnTo>
                  <a:lnTo>
                    <a:pt x="225" y="216"/>
                  </a:lnTo>
                  <a:lnTo>
                    <a:pt x="225" y="225"/>
                  </a:lnTo>
                  <a:lnTo>
                    <a:pt x="217" y="234"/>
                  </a:lnTo>
                  <a:lnTo>
                    <a:pt x="212" y="238"/>
                  </a:lnTo>
                  <a:lnTo>
                    <a:pt x="204" y="238"/>
                  </a:lnTo>
                  <a:lnTo>
                    <a:pt x="204" y="238"/>
                  </a:lnTo>
                  <a:close/>
                </a:path>
              </a:pathLst>
            </a:custGeom>
            <a:grpFill/>
            <a:ln>
              <a:noFill/>
            </a:ln>
            <a:effectLst/>
          </p:spPr>
          <p:txBody>
            <a:bodyPr vert="horz" wrap="square" lIns="91437" tIns="45719" rIns="91437" bIns="45719" numCol="1" rtlCol="0" anchor="t" anchorCtr="0" compatLnSpc="1">
              <a:prstTxWarp prst="textNoShape">
                <a:avLst/>
              </a:prstTxWarp>
            </a:bodyPr>
            <a:lstStyle/>
            <a:p>
              <a:pPr>
                <a:buClr>
                  <a:srgbClr val="CC9900"/>
                </a:buClr>
                <a:buFont typeface="Wingdings" pitchFamily="2" charset="2"/>
                <a:buChar char="n"/>
              </a:pPr>
              <a:endParaRPr lang="zh-CN" altLang="en-US">
                <a:latin typeface="+mj-lt"/>
              </a:endParaRPr>
            </a:p>
          </p:txBody>
        </p:sp>
        <p:sp>
          <p:nvSpPr>
            <p:cNvPr id="322" name="Freeform 21"/>
            <p:cNvSpPr>
              <a:spLocks noEditPoints="1"/>
            </p:cNvSpPr>
            <p:nvPr/>
          </p:nvSpPr>
          <p:spPr bwMode="auto">
            <a:xfrm>
              <a:off x="15578138" y="1463675"/>
              <a:ext cx="212725" cy="687388"/>
            </a:xfrm>
            <a:custGeom>
              <a:avLst/>
              <a:gdLst/>
              <a:ahLst/>
              <a:cxnLst>
                <a:cxn ang="0">
                  <a:pos x="130" y="0"/>
                </a:cxn>
                <a:cxn ang="0">
                  <a:pos x="130" y="0"/>
                </a:cxn>
                <a:cxn ang="0">
                  <a:pos x="69" y="0"/>
                </a:cxn>
                <a:cxn ang="0">
                  <a:pos x="69" y="0"/>
                </a:cxn>
                <a:cxn ang="0">
                  <a:pos x="26" y="0"/>
                </a:cxn>
                <a:cxn ang="0">
                  <a:pos x="4" y="5"/>
                </a:cxn>
                <a:cxn ang="0">
                  <a:pos x="4" y="5"/>
                </a:cxn>
                <a:cxn ang="0">
                  <a:pos x="0" y="82"/>
                </a:cxn>
                <a:cxn ang="0">
                  <a:pos x="0" y="346"/>
                </a:cxn>
                <a:cxn ang="0">
                  <a:pos x="0" y="346"/>
                </a:cxn>
                <a:cxn ang="0">
                  <a:pos x="4" y="403"/>
                </a:cxn>
                <a:cxn ang="0">
                  <a:pos x="4" y="429"/>
                </a:cxn>
                <a:cxn ang="0">
                  <a:pos x="4" y="429"/>
                </a:cxn>
                <a:cxn ang="0">
                  <a:pos x="69" y="433"/>
                </a:cxn>
                <a:cxn ang="0">
                  <a:pos x="69" y="433"/>
                </a:cxn>
                <a:cxn ang="0">
                  <a:pos x="112" y="429"/>
                </a:cxn>
                <a:cxn ang="0">
                  <a:pos x="130" y="429"/>
                </a:cxn>
                <a:cxn ang="0">
                  <a:pos x="130" y="429"/>
                </a:cxn>
                <a:cxn ang="0">
                  <a:pos x="134" y="346"/>
                </a:cxn>
                <a:cxn ang="0">
                  <a:pos x="134" y="82"/>
                </a:cxn>
                <a:cxn ang="0">
                  <a:pos x="134" y="82"/>
                </a:cxn>
                <a:cxn ang="0">
                  <a:pos x="134" y="26"/>
                </a:cxn>
                <a:cxn ang="0">
                  <a:pos x="130" y="0"/>
                </a:cxn>
                <a:cxn ang="0">
                  <a:pos x="130" y="0"/>
                </a:cxn>
                <a:cxn ang="0">
                  <a:pos x="99" y="199"/>
                </a:cxn>
                <a:cxn ang="0">
                  <a:pos x="39" y="199"/>
                </a:cxn>
                <a:cxn ang="0">
                  <a:pos x="39" y="199"/>
                </a:cxn>
                <a:cxn ang="0">
                  <a:pos x="30" y="195"/>
                </a:cxn>
                <a:cxn ang="0">
                  <a:pos x="26" y="186"/>
                </a:cxn>
                <a:cxn ang="0">
                  <a:pos x="26" y="186"/>
                </a:cxn>
                <a:cxn ang="0">
                  <a:pos x="30" y="178"/>
                </a:cxn>
                <a:cxn ang="0">
                  <a:pos x="39" y="178"/>
                </a:cxn>
                <a:cxn ang="0">
                  <a:pos x="99" y="178"/>
                </a:cxn>
                <a:cxn ang="0">
                  <a:pos x="99" y="178"/>
                </a:cxn>
                <a:cxn ang="0">
                  <a:pos x="108" y="178"/>
                </a:cxn>
                <a:cxn ang="0">
                  <a:pos x="112" y="186"/>
                </a:cxn>
                <a:cxn ang="0">
                  <a:pos x="112" y="186"/>
                </a:cxn>
                <a:cxn ang="0">
                  <a:pos x="108" y="195"/>
                </a:cxn>
                <a:cxn ang="0">
                  <a:pos x="99" y="199"/>
                </a:cxn>
                <a:cxn ang="0">
                  <a:pos x="99" y="199"/>
                </a:cxn>
                <a:cxn ang="0">
                  <a:pos x="99" y="165"/>
                </a:cxn>
                <a:cxn ang="0">
                  <a:pos x="39" y="165"/>
                </a:cxn>
                <a:cxn ang="0">
                  <a:pos x="39" y="165"/>
                </a:cxn>
                <a:cxn ang="0">
                  <a:pos x="30" y="160"/>
                </a:cxn>
                <a:cxn ang="0">
                  <a:pos x="26" y="152"/>
                </a:cxn>
                <a:cxn ang="0">
                  <a:pos x="26" y="152"/>
                </a:cxn>
                <a:cxn ang="0">
                  <a:pos x="30" y="143"/>
                </a:cxn>
                <a:cxn ang="0">
                  <a:pos x="39" y="139"/>
                </a:cxn>
                <a:cxn ang="0">
                  <a:pos x="99" y="139"/>
                </a:cxn>
                <a:cxn ang="0">
                  <a:pos x="99" y="139"/>
                </a:cxn>
                <a:cxn ang="0">
                  <a:pos x="108" y="143"/>
                </a:cxn>
                <a:cxn ang="0">
                  <a:pos x="112" y="152"/>
                </a:cxn>
                <a:cxn ang="0">
                  <a:pos x="112" y="152"/>
                </a:cxn>
                <a:cxn ang="0">
                  <a:pos x="108" y="160"/>
                </a:cxn>
                <a:cxn ang="0">
                  <a:pos x="99" y="165"/>
                </a:cxn>
                <a:cxn ang="0">
                  <a:pos x="99" y="165"/>
                </a:cxn>
              </a:cxnLst>
              <a:rect l="0" t="0" r="r" b="b"/>
              <a:pathLst>
                <a:path w="134" h="433">
                  <a:moveTo>
                    <a:pt x="130" y="0"/>
                  </a:moveTo>
                  <a:lnTo>
                    <a:pt x="130" y="0"/>
                  </a:lnTo>
                  <a:lnTo>
                    <a:pt x="69" y="0"/>
                  </a:lnTo>
                  <a:lnTo>
                    <a:pt x="69" y="0"/>
                  </a:lnTo>
                  <a:lnTo>
                    <a:pt x="26" y="0"/>
                  </a:lnTo>
                  <a:lnTo>
                    <a:pt x="4" y="5"/>
                  </a:lnTo>
                  <a:lnTo>
                    <a:pt x="4" y="5"/>
                  </a:lnTo>
                  <a:lnTo>
                    <a:pt x="0" y="82"/>
                  </a:lnTo>
                  <a:lnTo>
                    <a:pt x="0" y="346"/>
                  </a:lnTo>
                  <a:lnTo>
                    <a:pt x="0" y="346"/>
                  </a:lnTo>
                  <a:lnTo>
                    <a:pt x="4" y="403"/>
                  </a:lnTo>
                  <a:lnTo>
                    <a:pt x="4" y="429"/>
                  </a:lnTo>
                  <a:lnTo>
                    <a:pt x="4" y="429"/>
                  </a:lnTo>
                  <a:lnTo>
                    <a:pt x="69" y="433"/>
                  </a:lnTo>
                  <a:lnTo>
                    <a:pt x="69" y="433"/>
                  </a:lnTo>
                  <a:lnTo>
                    <a:pt x="112" y="429"/>
                  </a:lnTo>
                  <a:lnTo>
                    <a:pt x="130" y="429"/>
                  </a:lnTo>
                  <a:lnTo>
                    <a:pt x="130" y="429"/>
                  </a:lnTo>
                  <a:lnTo>
                    <a:pt x="134" y="346"/>
                  </a:lnTo>
                  <a:lnTo>
                    <a:pt x="134" y="82"/>
                  </a:lnTo>
                  <a:lnTo>
                    <a:pt x="134" y="82"/>
                  </a:lnTo>
                  <a:lnTo>
                    <a:pt x="134" y="26"/>
                  </a:lnTo>
                  <a:lnTo>
                    <a:pt x="130" y="0"/>
                  </a:lnTo>
                  <a:lnTo>
                    <a:pt x="130" y="0"/>
                  </a:lnTo>
                  <a:close/>
                  <a:moveTo>
                    <a:pt x="99" y="199"/>
                  </a:moveTo>
                  <a:lnTo>
                    <a:pt x="39" y="199"/>
                  </a:lnTo>
                  <a:lnTo>
                    <a:pt x="39" y="199"/>
                  </a:lnTo>
                  <a:lnTo>
                    <a:pt x="30" y="195"/>
                  </a:lnTo>
                  <a:lnTo>
                    <a:pt x="26" y="186"/>
                  </a:lnTo>
                  <a:lnTo>
                    <a:pt x="26" y="186"/>
                  </a:lnTo>
                  <a:lnTo>
                    <a:pt x="30" y="178"/>
                  </a:lnTo>
                  <a:lnTo>
                    <a:pt x="39" y="178"/>
                  </a:lnTo>
                  <a:lnTo>
                    <a:pt x="99" y="178"/>
                  </a:lnTo>
                  <a:lnTo>
                    <a:pt x="99" y="178"/>
                  </a:lnTo>
                  <a:lnTo>
                    <a:pt x="108" y="178"/>
                  </a:lnTo>
                  <a:lnTo>
                    <a:pt x="112" y="186"/>
                  </a:lnTo>
                  <a:lnTo>
                    <a:pt x="112" y="186"/>
                  </a:lnTo>
                  <a:lnTo>
                    <a:pt x="108" y="195"/>
                  </a:lnTo>
                  <a:lnTo>
                    <a:pt x="99" y="199"/>
                  </a:lnTo>
                  <a:lnTo>
                    <a:pt x="99" y="199"/>
                  </a:lnTo>
                  <a:close/>
                  <a:moveTo>
                    <a:pt x="99" y="165"/>
                  </a:moveTo>
                  <a:lnTo>
                    <a:pt x="39" y="165"/>
                  </a:lnTo>
                  <a:lnTo>
                    <a:pt x="39" y="165"/>
                  </a:lnTo>
                  <a:lnTo>
                    <a:pt x="30" y="160"/>
                  </a:lnTo>
                  <a:lnTo>
                    <a:pt x="26" y="152"/>
                  </a:lnTo>
                  <a:lnTo>
                    <a:pt x="26" y="152"/>
                  </a:lnTo>
                  <a:lnTo>
                    <a:pt x="30" y="143"/>
                  </a:lnTo>
                  <a:lnTo>
                    <a:pt x="39" y="139"/>
                  </a:lnTo>
                  <a:lnTo>
                    <a:pt x="99" y="139"/>
                  </a:lnTo>
                  <a:lnTo>
                    <a:pt x="99" y="139"/>
                  </a:lnTo>
                  <a:lnTo>
                    <a:pt x="108" y="143"/>
                  </a:lnTo>
                  <a:lnTo>
                    <a:pt x="112" y="152"/>
                  </a:lnTo>
                  <a:lnTo>
                    <a:pt x="112" y="152"/>
                  </a:lnTo>
                  <a:lnTo>
                    <a:pt x="108" y="160"/>
                  </a:lnTo>
                  <a:lnTo>
                    <a:pt x="99" y="165"/>
                  </a:lnTo>
                  <a:lnTo>
                    <a:pt x="99" y="165"/>
                  </a:lnTo>
                  <a:close/>
                </a:path>
              </a:pathLst>
            </a:custGeom>
            <a:grpFill/>
            <a:ln>
              <a:noFill/>
            </a:ln>
            <a:effectLst/>
          </p:spPr>
          <p:txBody>
            <a:bodyPr vert="horz" wrap="square" lIns="91437" tIns="45719" rIns="91437" bIns="45719" numCol="1" rtlCol="0" anchor="t" anchorCtr="0" compatLnSpc="1">
              <a:prstTxWarp prst="textNoShape">
                <a:avLst/>
              </a:prstTxWarp>
            </a:bodyPr>
            <a:lstStyle/>
            <a:p>
              <a:pPr>
                <a:buClr>
                  <a:srgbClr val="CC9900"/>
                </a:buClr>
                <a:buFont typeface="Wingdings" pitchFamily="2" charset="2"/>
                <a:buChar char="n"/>
              </a:pPr>
              <a:endParaRPr lang="zh-CN" altLang="en-US">
                <a:latin typeface="+mj-lt"/>
              </a:endParaRPr>
            </a:p>
          </p:txBody>
        </p:sp>
      </p:grpSp>
      <p:cxnSp>
        <p:nvCxnSpPr>
          <p:cNvPr id="323" name="直接连接符 322"/>
          <p:cNvCxnSpPr/>
          <p:nvPr/>
        </p:nvCxnSpPr>
        <p:spPr>
          <a:xfrm flipH="1">
            <a:off x="4349310" y="2298089"/>
            <a:ext cx="0" cy="2807919"/>
          </a:xfrm>
          <a:prstGeom prst="line">
            <a:avLst/>
          </a:prstGeom>
          <a:ln w="19050">
            <a:solidFill>
              <a:srgbClr val="00FFFF"/>
            </a:solidFill>
          </a:ln>
        </p:spPr>
        <p:style>
          <a:lnRef idx="1">
            <a:schemeClr val="accent1"/>
          </a:lnRef>
          <a:fillRef idx="0">
            <a:schemeClr val="accent1"/>
          </a:fillRef>
          <a:effectRef idx="0">
            <a:schemeClr val="accent1"/>
          </a:effectRef>
          <a:fontRef idx="minor">
            <a:schemeClr val="tx1"/>
          </a:fontRef>
        </p:style>
      </p:cxnSp>
      <p:cxnSp>
        <p:nvCxnSpPr>
          <p:cNvPr id="327" name="直接连接符 326"/>
          <p:cNvCxnSpPr/>
          <p:nvPr/>
        </p:nvCxnSpPr>
        <p:spPr>
          <a:xfrm flipH="1">
            <a:off x="7895930" y="2298089"/>
            <a:ext cx="0" cy="2807919"/>
          </a:xfrm>
          <a:prstGeom prst="line">
            <a:avLst/>
          </a:prstGeom>
          <a:ln w="19050">
            <a:solidFill>
              <a:srgbClr val="00FFFF"/>
            </a:solidFill>
          </a:ln>
        </p:spPr>
        <p:style>
          <a:lnRef idx="1">
            <a:schemeClr val="accent1"/>
          </a:lnRef>
          <a:fillRef idx="0">
            <a:schemeClr val="accent1"/>
          </a:fillRef>
          <a:effectRef idx="0">
            <a:schemeClr val="accent1"/>
          </a:effectRef>
          <a:fontRef idx="minor">
            <a:schemeClr val="tx1"/>
          </a:fontRef>
        </p:style>
      </p:cxnSp>
      <p:grpSp>
        <p:nvGrpSpPr>
          <p:cNvPr id="328" name="组合 327"/>
          <p:cNvGrpSpPr/>
          <p:nvPr/>
        </p:nvGrpSpPr>
        <p:grpSpPr>
          <a:xfrm>
            <a:off x="4917312" y="2249406"/>
            <a:ext cx="2556149" cy="573582"/>
            <a:chOff x="6772727" y="1554664"/>
            <a:chExt cx="4832350" cy="638974"/>
          </a:xfrm>
        </p:grpSpPr>
        <p:sp>
          <p:nvSpPr>
            <p:cNvPr id="329" name="文本框 8"/>
            <p:cNvSpPr txBox="1">
              <a:spLocks noChangeArrowheads="1"/>
            </p:cNvSpPr>
            <p:nvPr/>
          </p:nvSpPr>
          <p:spPr bwMode="auto">
            <a:xfrm>
              <a:off x="6983903" y="1554664"/>
              <a:ext cx="2431251" cy="342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000">
                  <a:solidFill>
                    <a:schemeClr val="tx1"/>
                  </a:solidFill>
                  <a:latin typeface="Arial" panose="020B0604020202020204" pitchFamily="34" charset="0"/>
                  <a:ea typeface="微软雅黑" panose="020B0503020204020204" pitchFamily="34" charset="-122"/>
                </a:defRPr>
              </a:lvl1pPr>
              <a:lvl2pPr marL="742950" indent="-285750">
                <a:defRPr sz="1000">
                  <a:solidFill>
                    <a:schemeClr val="tx1"/>
                  </a:solidFill>
                  <a:latin typeface="Arial" panose="020B0604020202020204" pitchFamily="34" charset="0"/>
                  <a:ea typeface="微软雅黑" panose="020B0503020204020204" pitchFamily="34" charset="-122"/>
                </a:defRPr>
              </a:lvl2pPr>
              <a:lvl3pPr marL="1143000" indent="-228600">
                <a:defRPr sz="1000">
                  <a:solidFill>
                    <a:schemeClr val="tx1"/>
                  </a:solidFill>
                  <a:latin typeface="Arial" panose="020B0604020202020204" pitchFamily="34" charset="0"/>
                  <a:ea typeface="微软雅黑" panose="020B0503020204020204" pitchFamily="34" charset="-122"/>
                </a:defRPr>
              </a:lvl3pPr>
              <a:lvl4pPr marL="1600200" indent="-228600">
                <a:defRPr sz="1000">
                  <a:solidFill>
                    <a:schemeClr val="tx1"/>
                  </a:solidFill>
                  <a:latin typeface="Arial" panose="020B0604020202020204" pitchFamily="34" charset="0"/>
                  <a:ea typeface="微软雅黑" panose="020B0503020204020204" pitchFamily="34" charset="-122"/>
                </a:defRPr>
              </a:lvl4pPr>
              <a:lvl5pPr marL="2057400" indent="-228600">
                <a:defRPr sz="1000">
                  <a:solidFill>
                    <a:schemeClr val="tx1"/>
                  </a:solidFill>
                  <a:latin typeface="Arial" panose="020B0604020202020204" pitchFamily="34" charset="0"/>
                  <a:ea typeface="微软雅黑" panose="020B0503020204020204" pitchFamily="34" charset="-122"/>
                </a:defRPr>
              </a:lvl5pPr>
              <a:lvl6pPr marL="2514600" indent="-228600" defTabSz="276225" fontAlgn="base">
                <a:spcBef>
                  <a:spcPct val="0"/>
                </a:spcBef>
                <a:spcAft>
                  <a:spcPct val="0"/>
                </a:spcAft>
                <a:defRPr sz="1000">
                  <a:solidFill>
                    <a:schemeClr val="tx1"/>
                  </a:solidFill>
                  <a:latin typeface="Arial" panose="020B0604020202020204" pitchFamily="34" charset="0"/>
                  <a:ea typeface="微软雅黑" panose="020B0503020204020204" pitchFamily="34" charset="-122"/>
                </a:defRPr>
              </a:lvl6pPr>
              <a:lvl7pPr marL="2971800" indent="-228600" defTabSz="276225" fontAlgn="base">
                <a:spcBef>
                  <a:spcPct val="0"/>
                </a:spcBef>
                <a:spcAft>
                  <a:spcPct val="0"/>
                </a:spcAft>
                <a:defRPr sz="1000">
                  <a:solidFill>
                    <a:schemeClr val="tx1"/>
                  </a:solidFill>
                  <a:latin typeface="Arial" panose="020B0604020202020204" pitchFamily="34" charset="0"/>
                  <a:ea typeface="微软雅黑" panose="020B0503020204020204" pitchFamily="34" charset="-122"/>
                </a:defRPr>
              </a:lvl7pPr>
              <a:lvl8pPr marL="3429000" indent="-228600" defTabSz="276225" fontAlgn="base">
                <a:spcBef>
                  <a:spcPct val="0"/>
                </a:spcBef>
                <a:spcAft>
                  <a:spcPct val="0"/>
                </a:spcAft>
                <a:defRPr sz="1000">
                  <a:solidFill>
                    <a:schemeClr val="tx1"/>
                  </a:solidFill>
                  <a:latin typeface="Arial" panose="020B0604020202020204" pitchFamily="34" charset="0"/>
                  <a:ea typeface="微软雅黑" panose="020B0503020204020204" pitchFamily="34" charset="-122"/>
                </a:defRPr>
              </a:lvl8pPr>
              <a:lvl9pPr marL="3886200" indent="-228600" defTabSz="276225" fontAlgn="base">
                <a:spcBef>
                  <a:spcPct val="0"/>
                </a:spcBef>
                <a:spcAft>
                  <a:spcPct val="0"/>
                </a:spcAft>
                <a:defRPr sz="1000">
                  <a:solidFill>
                    <a:schemeClr val="tx1"/>
                  </a:solidFill>
                  <a:latin typeface="Arial" panose="020B0604020202020204" pitchFamily="34" charset="0"/>
                  <a:ea typeface="微软雅黑" panose="020B0503020204020204" pitchFamily="34" charset="-122"/>
                </a:defRPr>
              </a:lvl9pPr>
            </a:lstStyle>
            <a:p>
              <a:r>
                <a:rPr lang="en-US" altLang="zh-CN" sz="1400" b="1" dirty="0" err="1">
                  <a:latin typeface="+mj-lt"/>
                </a:rPr>
                <a:t>Inteligencia</a:t>
              </a:r>
              <a:endParaRPr lang="en-US" altLang="zh-CN" sz="1400" b="1" dirty="0">
                <a:latin typeface="+mj-lt"/>
              </a:endParaRPr>
            </a:p>
          </p:txBody>
        </p:sp>
        <p:sp>
          <p:nvSpPr>
            <p:cNvPr id="330" name="文本框 11"/>
            <p:cNvSpPr txBox="1">
              <a:spLocks noChangeArrowheads="1"/>
            </p:cNvSpPr>
            <p:nvPr/>
          </p:nvSpPr>
          <p:spPr bwMode="auto">
            <a:xfrm>
              <a:off x="6772727" y="1850916"/>
              <a:ext cx="4832350" cy="342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sz="1000">
                  <a:solidFill>
                    <a:schemeClr val="tx1"/>
                  </a:solidFill>
                  <a:latin typeface="Arial" panose="020B0604020202020204" pitchFamily="34" charset="0"/>
                  <a:ea typeface="微软雅黑" panose="020B0503020204020204" pitchFamily="34" charset="-122"/>
                </a:defRPr>
              </a:lvl1pPr>
              <a:lvl2pPr marL="742950" indent="-285750">
                <a:defRPr sz="1000">
                  <a:solidFill>
                    <a:schemeClr val="tx1"/>
                  </a:solidFill>
                  <a:latin typeface="Arial" panose="020B0604020202020204" pitchFamily="34" charset="0"/>
                  <a:ea typeface="微软雅黑" panose="020B0503020204020204" pitchFamily="34" charset="-122"/>
                </a:defRPr>
              </a:lvl2pPr>
              <a:lvl3pPr marL="1143000" indent="-228600">
                <a:defRPr sz="1000">
                  <a:solidFill>
                    <a:schemeClr val="tx1"/>
                  </a:solidFill>
                  <a:latin typeface="Arial" panose="020B0604020202020204" pitchFamily="34" charset="0"/>
                  <a:ea typeface="微软雅黑" panose="020B0503020204020204" pitchFamily="34" charset="-122"/>
                </a:defRPr>
              </a:lvl3pPr>
              <a:lvl4pPr marL="1600200" indent="-228600">
                <a:defRPr sz="1000">
                  <a:solidFill>
                    <a:schemeClr val="tx1"/>
                  </a:solidFill>
                  <a:latin typeface="Arial" panose="020B0604020202020204" pitchFamily="34" charset="0"/>
                  <a:ea typeface="微软雅黑" panose="020B0503020204020204" pitchFamily="34" charset="-122"/>
                </a:defRPr>
              </a:lvl4pPr>
              <a:lvl5pPr marL="2057400" indent="-228600">
                <a:defRPr sz="1000">
                  <a:solidFill>
                    <a:schemeClr val="tx1"/>
                  </a:solidFill>
                  <a:latin typeface="Arial" panose="020B0604020202020204" pitchFamily="34" charset="0"/>
                  <a:ea typeface="微软雅黑" panose="020B0503020204020204" pitchFamily="34" charset="-122"/>
                </a:defRPr>
              </a:lvl5pPr>
              <a:lvl6pPr marL="2514600" indent="-228600" defTabSz="276225" fontAlgn="base">
                <a:spcBef>
                  <a:spcPct val="0"/>
                </a:spcBef>
                <a:spcAft>
                  <a:spcPct val="0"/>
                </a:spcAft>
                <a:defRPr sz="1000">
                  <a:solidFill>
                    <a:schemeClr val="tx1"/>
                  </a:solidFill>
                  <a:latin typeface="Arial" panose="020B0604020202020204" pitchFamily="34" charset="0"/>
                  <a:ea typeface="微软雅黑" panose="020B0503020204020204" pitchFamily="34" charset="-122"/>
                </a:defRPr>
              </a:lvl6pPr>
              <a:lvl7pPr marL="2971800" indent="-228600" defTabSz="276225" fontAlgn="base">
                <a:spcBef>
                  <a:spcPct val="0"/>
                </a:spcBef>
                <a:spcAft>
                  <a:spcPct val="0"/>
                </a:spcAft>
                <a:defRPr sz="1000">
                  <a:solidFill>
                    <a:schemeClr val="tx1"/>
                  </a:solidFill>
                  <a:latin typeface="Arial" panose="020B0604020202020204" pitchFamily="34" charset="0"/>
                  <a:ea typeface="微软雅黑" panose="020B0503020204020204" pitchFamily="34" charset="-122"/>
                </a:defRPr>
              </a:lvl7pPr>
              <a:lvl8pPr marL="3429000" indent="-228600" defTabSz="276225" fontAlgn="base">
                <a:spcBef>
                  <a:spcPct val="0"/>
                </a:spcBef>
                <a:spcAft>
                  <a:spcPct val="0"/>
                </a:spcAft>
                <a:defRPr sz="1000">
                  <a:solidFill>
                    <a:schemeClr val="tx1"/>
                  </a:solidFill>
                  <a:latin typeface="Arial" panose="020B0604020202020204" pitchFamily="34" charset="0"/>
                  <a:ea typeface="微软雅黑" panose="020B0503020204020204" pitchFamily="34" charset="-122"/>
                </a:defRPr>
              </a:lvl8pPr>
              <a:lvl9pPr marL="3886200" indent="-228600" defTabSz="276225" fontAlgn="base">
                <a:spcBef>
                  <a:spcPct val="0"/>
                </a:spcBef>
                <a:spcAft>
                  <a:spcPct val="0"/>
                </a:spcAft>
                <a:defRPr sz="1000">
                  <a:solidFill>
                    <a:schemeClr val="tx1"/>
                  </a:solidFill>
                  <a:latin typeface="Arial" panose="020B0604020202020204" pitchFamily="34" charset="0"/>
                  <a:ea typeface="微软雅黑" panose="020B0503020204020204" pitchFamily="34" charset="-122"/>
                </a:defRPr>
              </a:lvl9pPr>
            </a:lstStyle>
            <a:p>
              <a:pPr marL="0" indent="0"/>
              <a:endParaRPr lang="zh-CN" altLang="en-US" sz="1400" dirty="0">
                <a:latin typeface="+mj-lt"/>
              </a:endParaRPr>
            </a:p>
          </p:txBody>
        </p:sp>
      </p:grpSp>
      <p:grpSp>
        <p:nvGrpSpPr>
          <p:cNvPr id="331" name="组合 330"/>
          <p:cNvGrpSpPr/>
          <p:nvPr/>
        </p:nvGrpSpPr>
        <p:grpSpPr>
          <a:xfrm>
            <a:off x="5029018" y="2947992"/>
            <a:ext cx="2485115" cy="701445"/>
            <a:chOff x="6779116" y="2651309"/>
            <a:chExt cx="2768127" cy="781414"/>
          </a:xfrm>
        </p:grpSpPr>
        <p:sp>
          <p:nvSpPr>
            <p:cNvPr id="332" name="文本框 10"/>
            <p:cNvSpPr txBox="1">
              <a:spLocks noChangeArrowheads="1"/>
            </p:cNvSpPr>
            <p:nvPr/>
          </p:nvSpPr>
          <p:spPr bwMode="auto">
            <a:xfrm>
              <a:off x="6788974" y="2651309"/>
              <a:ext cx="1684338" cy="5828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000">
                  <a:solidFill>
                    <a:schemeClr val="tx1"/>
                  </a:solidFill>
                  <a:latin typeface="Arial" panose="020B0604020202020204" pitchFamily="34" charset="0"/>
                  <a:ea typeface="微软雅黑" panose="020B0503020204020204" pitchFamily="34" charset="-122"/>
                </a:defRPr>
              </a:lvl1pPr>
              <a:lvl2pPr marL="742950" indent="-285750">
                <a:defRPr sz="1000">
                  <a:solidFill>
                    <a:schemeClr val="tx1"/>
                  </a:solidFill>
                  <a:latin typeface="Arial" panose="020B0604020202020204" pitchFamily="34" charset="0"/>
                  <a:ea typeface="微软雅黑" panose="020B0503020204020204" pitchFamily="34" charset="-122"/>
                </a:defRPr>
              </a:lvl2pPr>
              <a:lvl3pPr marL="1143000" indent="-228600">
                <a:defRPr sz="1000">
                  <a:solidFill>
                    <a:schemeClr val="tx1"/>
                  </a:solidFill>
                  <a:latin typeface="Arial" panose="020B0604020202020204" pitchFamily="34" charset="0"/>
                  <a:ea typeface="微软雅黑" panose="020B0503020204020204" pitchFamily="34" charset="-122"/>
                </a:defRPr>
              </a:lvl3pPr>
              <a:lvl4pPr marL="1600200" indent="-228600">
                <a:defRPr sz="1000">
                  <a:solidFill>
                    <a:schemeClr val="tx1"/>
                  </a:solidFill>
                  <a:latin typeface="Arial" panose="020B0604020202020204" pitchFamily="34" charset="0"/>
                  <a:ea typeface="微软雅黑" panose="020B0503020204020204" pitchFamily="34" charset="-122"/>
                </a:defRPr>
              </a:lvl4pPr>
              <a:lvl5pPr marL="2057400" indent="-228600">
                <a:defRPr sz="1000">
                  <a:solidFill>
                    <a:schemeClr val="tx1"/>
                  </a:solidFill>
                  <a:latin typeface="Arial" panose="020B0604020202020204" pitchFamily="34" charset="0"/>
                  <a:ea typeface="微软雅黑" panose="020B0503020204020204" pitchFamily="34" charset="-122"/>
                </a:defRPr>
              </a:lvl5pPr>
              <a:lvl6pPr marL="2514600" indent="-228600" defTabSz="276225" fontAlgn="base">
                <a:spcBef>
                  <a:spcPct val="0"/>
                </a:spcBef>
                <a:spcAft>
                  <a:spcPct val="0"/>
                </a:spcAft>
                <a:defRPr sz="1000">
                  <a:solidFill>
                    <a:schemeClr val="tx1"/>
                  </a:solidFill>
                  <a:latin typeface="Arial" panose="020B0604020202020204" pitchFamily="34" charset="0"/>
                  <a:ea typeface="微软雅黑" panose="020B0503020204020204" pitchFamily="34" charset="-122"/>
                </a:defRPr>
              </a:lvl6pPr>
              <a:lvl7pPr marL="2971800" indent="-228600" defTabSz="276225" fontAlgn="base">
                <a:spcBef>
                  <a:spcPct val="0"/>
                </a:spcBef>
                <a:spcAft>
                  <a:spcPct val="0"/>
                </a:spcAft>
                <a:defRPr sz="1000">
                  <a:solidFill>
                    <a:schemeClr val="tx1"/>
                  </a:solidFill>
                  <a:latin typeface="Arial" panose="020B0604020202020204" pitchFamily="34" charset="0"/>
                  <a:ea typeface="微软雅黑" panose="020B0503020204020204" pitchFamily="34" charset="-122"/>
                </a:defRPr>
              </a:lvl7pPr>
              <a:lvl8pPr marL="3429000" indent="-228600" defTabSz="276225" fontAlgn="base">
                <a:spcBef>
                  <a:spcPct val="0"/>
                </a:spcBef>
                <a:spcAft>
                  <a:spcPct val="0"/>
                </a:spcAft>
                <a:defRPr sz="1000">
                  <a:solidFill>
                    <a:schemeClr val="tx1"/>
                  </a:solidFill>
                  <a:latin typeface="Arial" panose="020B0604020202020204" pitchFamily="34" charset="0"/>
                  <a:ea typeface="微软雅黑" panose="020B0503020204020204" pitchFamily="34" charset="-122"/>
                </a:defRPr>
              </a:lvl8pPr>
              <a:lvl9pPr marL="3886200" indent="-228600" defTabSz="276225" fontAlgn="base">
                <a:spcBef>
                  <a:spcPct val="0"/>
                </a:spcBef>
                <a:spcAft>
                  <a:spcPct val="0"/>
                </a:spcAft>
                <a:defRPr sz="1000">
                  <a:solidFill>
                    <a:schemeClr val="tx1"/>
                  </a:solidFill>
                  <a:latin typeface="Arial" panose="020B0604020202020204" pitchFamily="34" charset="0"/>
                  <a:ea typeface="微软雅黑" panose="020B0503020204020204" pitchFamily="34" charset="-122"/>
                </a:defRPr>
              </a:lvl9pPr>
            </a:lstStyle>
            <a:p>
              <a:r>
                <a:rPr lang="en-US" altLang="zh-CN" sz="1400" b="1" dirty="0" err="1">
                  <a:latin typeface="+mj-lt"/>
                  <a:sym typeface="+mn-lt"/>
                </a:rPr>
                <a:t>Simplicidad</a:t>
              </a:r>
              <a:endParaRPr lang="zh-CN" altLang="en-US" sz="1400" b="1" dirty="0">
                <a:latin typeface="+mj-lt"/>
                <a:sym typeface="+mn-lt"/>
              </a:endParaRPr>
            </a:p>
            <a:p>
              <a:endParaRPr lang="zh-CN" altLang="en-US" sz="1400" b="1" dirty="0">
                <a:latin typeface="+mj-lt"/>
              </a:endParaRPr>
            </a:p>
          </p:txBody>
        </p:sp>
        <p:sp>
          <p:nvSpPr>
            <p:cNvPr id="333" name="文本框 12"/>
            <p:cNvSpPr txBox="1">
              <a:spLocks noChangeArrowheads="1"/>
            </p:cNvSpPr>
            <p:nvPr/>
          </p:nvSpPr>
          <p:spPr bwMode="auto">
            <a:xfrm>
              <a:off x="6779116" y="2918426"/>
              <a:ext cx="2768127" cy="514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28600" indent="-228600">
                <a:defRPr sz="1000">
                  <a:solidFill>
                    <a:schemeClr val="tx1"/>
                  </a:solidFill>
                  <a:latin typeface="Arial" panose="020B0604020202020204" pitchFamily="34" charset="0"/>
                  <a:ea typeface="微软雅黑" panose="020B0503020204020204" pitchFamily="34" charset="-122"/>
                </a:defRPr>
              </a:lvl1pPr>
              <a:lvl2pPr marL="742950" indent="-285750">
                <a:defRPr sz="1000">
                  <a:solidFill>
                    <a:schemeClr val="tx1"/>
                  </a:solidFill>
                  <a:latin typeface="Arial" panose="020B0604020202020204" pitchFamily="34" charset="0"/>
                  <a:ea typeface="微软雅黑" panose="020B0503020204020204" pitchFamily="34" charset="-122"/>
                </a:defRPr>
              </a:lvl2pPr>
              <a:lvl3pPr marL="1143000" indent="-228600">
                <a:defRPr sz="1000">
                  <a:solidFill>
                    <a:schemeClr val="tx1"/>
                  </a:solidFill>
                  <a:latin typeface="Arial" panose="020B0604020202020204" pitchFamily="34" charset="0"/>
                  <a:ea typeface="微软雅黑" panose="020B0503020204020204" pitchFamily="34" charset="-122"/>
                </a:defRPr>
              </a:lvl3pPr>
              <a:lvl4pPr marL="1600200" indent="-228600">
                <a:defRPr sz="1000">
                  <a:solidFill>
                    <a:schemeClr val="tx1"/>
                  </a:solidFill>
                  <a:latin typeface="Arial" panose="020B0604020202020204" pitchFamily="34" charset="0"/>
                  <a:ea typeface="微软雅黑" panose="020B0503020204020204" pitchFamily="34" charset="-122"/>
                </a:defRPr>
              </a:lvl4pPr>
              <a:lvl5pPr marL="2057400" indent="-228600">
                <a:defRPr sz="1000">
                  <a:solidFill>
                    <a:schemeClr val="tx1"/>
                  </a:solidFill>
                  <a:latin typeface="Arial" panose="020B0604020202020204" pitchFamily="34" charset="0"/>
                  <a:ea typeface="微软雅黑" panose="020B0503020204020204" pitchFamily="34" charset="-122"/>
                </a:defRPr>
              </a:lvl5pPr>
              <a:lvl6pPr marL="2514600" indent="-228600" defTabSz="276225" fontAlgn="base">
                <a:spcBef>
                  <a:spcPct val="0"/>
                </a:spcBef>
                <a:spcAft>
                  <a:spcPct val="0"/>
                </a:spcAft>
                <a:defRPr sz="1000">
                  <a:solidFill>
                    <a:schemeClr val="tx1"/>
                  </a:solidFill>
                  <a:latin typeface="Arial" panose="020B0604020202020204" pitchFamily="34" charset="0"/>
                  <a:ea typeface="微软雅黑" panose="020B0503020204020204" pitchFamily="34" charset="-122"/>
                </a:defRPr>
              </a:lvl6pPr>
              <a:lvl7pPr marL="2971800" indent="-228600" defTabSz="276225" fontAlgn="base">
                <a:spcBef>
                  <a:spcPct val="0"/>
                </a:spcBef>
                <a:spcAft>
                  <a:spcPct val="0"/>
                </a:spcAft>
                <a:defRPr sz="1000">
                  <a:solidFill>
                    <a:schemeClr val="tx1"/>
                  </a:solidFill>
                  <a:latin typeface="Arial" panose="020B0604020202020204" pitchFamily="34" charset="0"/>
                  <a:ea typeface="微软雅黑" panose="020B0503020204020204" pitchFamily="34" charset="-122"/>
                </a:defRPr>
              </a:lvl7pPr>
              <a:lvl8pPr marL="3429000" indent="-228600" defTabSz="276225" fontAlgn="base">
                <a:spcBef>
                  <a:spcPct val="0"/>
                </a:spcBef>
                <a:spcAft>
                  <a:spcPct val="0"/>
                </a:spcAft>
                <a:defRPr sz="1000">
                  <a:solidFill>
                    <a:schemeClr val="tx1"/>
                  </a:solidFill>
                  <a:latin typeface="Arial" panose="020B0604020202020204" pitchFamily="34" charset="0"/>
                  <a:ea typeface="微软雅黑" panose="020B0503020204020204" pitchFamily="34" charset="-122"/>
                </a:defRPr>
              </a:lvl8pPr>
              <a:lvl9pPr marL="3886200" indent="-228600" defTabSz="276225" fontAlgn="base">
                <a:spcBef>
                  <a:spcPct val="0"/>
                </a:spcBef>
                <a:spcAft>
                  <a:spcPct val="0"/>
                </a:spcAft>
                <a:defRPr sz="1000">
                  <a:solidFill>
                    <a:schemeClr val="tx1"/>
                  </a:solidFill>
                  <a:latin typeface="Arial" panose="020B0604020202020204" pitchFamily="34" charset="0"/>
                  <a:ea typeface="微软雅黑" panose="020B0503020204020204" pitchFamily="34" charset="-122"/>
                </a:defRPr>
              </a:lvl9pPr>
            </a:lstStyle>
            <a:p>
              <a:pPr marL="0" indent="0"/>
              <a:r>
                <a:rPr lang="en-US" altLang="zh-CN" sz="1200" dirty="0" err="1">
                  <a:latin typeface="+mj-lt"/>
                </a:rPr>
                <a:t>Arquitectura</a:t>
              </a:r>
              <a:r>
                <a:rPr lang="en-US" altLang="zh-CN" sz="1200" dirty="0">
                  <a:latin typeface="+mj-lt"/>
                </a:rPr>
                <a:t> Simple, </a:t>
              </a:r>
              <a:r>
                <a:rPr lang="en-US" altLang="zh-CN" sz="1200" dirty="0" err="1">
                  <a:latin typeface="+mj-lt"/>
                </a:rPr>
                <a:t>Operaciones</a:t>
              </a:r>
              <a:r>
                <a:rPr lang="en-US" altLang="zh-CN" sz="1200" dirty="0">
                  <a:latin typeface="+mj-lt"/>
                </a:rPr>
                <a:t> </a:t>
              </a:r>
              <a:r>
                <a:rPr lang="en-US" altLang="zh-CN" sz="1200" dirty="0" err="1">
                  <a:latin typeface="+mj-lt"/>
                </a:rPr>
                <a:t>eficientes</a:t>
              </a:r>
              <a:endParaRPr lang="zh-CN" altLang="en-US" sz="1200" dirty="0">
                <a:latin typeface="+mj-lt"/>
              </a:endParaRPr>
            </a:p>
          </p:txBody>
        </p:sp>
      </p:grpSp>
      <p:sp>
        <p:nvSpPr>
          <p:cNvPr id="334" name="文本框 13"/>
          <p:cNvSpPr txBox="1">
            <a:spLocks noChangeArrowheads="1"/>
          </p:cNvSpPr>
          <p:nvPr/>
        </p:nvSpPr>
        <p:spPr bwMode="auto">
          <a:xfrm>
            <a:off x="5114255" y="4507209"/>
            <a:ext cx="1510707" cy="298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83" tIns="41042" rIns="82083" bIns="41042">
            <a:spAutoFit/>
          </a:bodyPr>
          <a:lstStyle>
            <a:lvl1pPr>
              <a:defRPr sz="1000">
                <a:solidFill>
                  <a:schemeClr val="tx1"/>
                </a:solidFill>
                <a:latin typeface="Arial" panose="020B0604020202020204" pitchFamily="34" charset="0"/>
                <a:ea typeface="微软雅黑" panose="020B0503020204020204" pitchFamily="34" charset="-122"/>
              </a:defRPr>
            </a:lvl1pPr>
            <a:lvl2pPr marL="742950" indent="-285750">
              <a:defRPr sz="1000">
                <a:solidFill>
                  <a:schemeClr val="tx1"/>
                </a:solidFill>
                <a:latin typeface="Arial" panose="020B0604020202020204" pitchFamily="34" charset="0"/>
                <a:ea typeface="微软雅黑" panose="020B0503020204020204" pitchFamily="34" charset="-122"/>
              </a:defRPr>
            </a:lvl2pPr>
            <a:lvl3pPr marL="1143000" indent="-228600">
              <a:defRPr sz="1000">
                <a:solidFill>
                  <a:schemeClr val="tx1"/>
                </a:solidFill>
                <a:latin typeface="Arial" panose="020B0604020202020204" pitchFamily="34" charset="0"/>
                <a:ea typeface="微软雅黑" panose="020B0503020204020204" pitchFamily="34" charset="-122"/>
              </a:defRPr>
            </a:lvl3pPr>
            <a:lvl4pPr marL="1600200" indent="-228600">
              <a:defRPr sz="1000">
                <a:solidFill>
                  <a:schemeClr val="tx1"/>
                </a:solidFill>
                <a:latin typeface="Arial" panose="020B0604020202020204" pitchFamily="34" charset="0"/>
                <a:ea typeface="微软雅黑" panose="020B0503020204020204" pitchFamily="34" charset="-122"/>
              </a:defRPr>
            </a:lvl4pPr>
            <a:lvl5pPr marL="2057400" indent="-228600">
              <a:defRPr sz="1000">
                <a:solidFill>
                  <a:schemeClr val="tx1"/>
                </a:solidFill>
                <a:latin typeface="Arial" panose="020B0604020202020204" pitchFamily="34" charset="0"/>
                <a:ea typeface="微软雅黑" panose="020B0503020204020204" pitchFamily="34" charset="-122"/>
              </a:defRPr>
            </a:lvl5pPr>
            <a:lvl6pPr marL="2514600" indent="-228600" defTabSz="276225" fontAlgn="base">
              <a:spcBef>
                <a:spcPct val="0"/>
              </a:spcBef>
              <a:spcAft>
                <a:spcPct val="0"/>
              </a:spcAft>
              <a:defRPr sz="1000">
                <a:solidFill>
                  <a:schemeClr val="tx1"/>
                </a:solidFill>
                <a:latin typeface="Arial" panose="020B0604020202020204" pitchFamily="34" charset="0"/>
                <a:ea typeface="微软雅黑" panose="020B0503020204020204" pitchFamily="34" charset="-122"/>
              </a:defRPr>
            </a:lvl6pPr>
            <a:lvl7pPr marL="2971800" indent="-228600" defTabSz="276225" fontAlgn="base">
              <a:spcBef>
                <a:spcPct val="0"/>
              </a:spcBef>
              <a:spcAft>
                <a:spcPct val="0"/>
              </a:spcAft>
              <a:defRPr sz="1000">
                <a:solidFill>
                  <a:schemeClr val="tx1"/>
                </a:solidFill>
                <a:latin typeface="Arial" panose="020B0604020202020204" pitchFamily="34" charset="0"/>
                <a:ea typeface="微软雅黑" panose="020B0503020204020204" pitchFamily="34" charset="-122"/>
              </a:defRPr>
            </a:lvl7pPr>
            <a:lvl8pPr marL="3429000" indent="-228600" defTabSz="276225" fontAlgn="base">
              <a:spcBef>
                <a:spcPct val="0"/>
              </a:spcBef>
              <a:spcAft>
                <a:spcPct val="0"/>
              </a:spcAft>
              <a:defRPr sz="1000">
                <a:solidFill>
                  <a:schemeClr val="tx1"/>
                </a:solidFill>
                <a:latin typeface="Arial" panose="020B0604020202020204" pitchFamily="34" charset="0"/>
                <a:ea typeface="微软雅黑" panose="020B0503020204020204" pitchFamily="34" charset="-122"/>
              </a:defRPr>
            </a:lvl8pPr>
            <a:lvl9pPr marL="3886200" indent="-228600" defTabSz="276225" fontAlgn="base">
              <a:spcBef>
                <a:spcPct val="0"/>
              </a:spcBef>
              <a:spcAft>
                <a:spcPct val="0"/>
              </a:spcAft>
              <a:defRPr sz="1000">
                <a:solidFill>
                  <a:schemeClr val="tx1"/>
                </a:solidFill>
                <a:latin typeface="Arial" panose="020B0604020202020204" pitchFamily="34" charset="0"/>
                <a:ea typeface="微软雅黑" panose="020B0503020204020204" pitchFamily="34" charset="-122"/>
              </a:defRPr>
            </a:lvl9pPr>
          </a:lstStyle>
          <a:p>
            <a:r>
              <a:rPr lang="en-US" altLang="zh-CN" sz="1400" b="1" dirty="0" err="1">
                <a:latin typeface="+mj-lt"/>
              </a:rPr>
              <a:t>Seguridad</a:t>
            </a:r>
            <a:endParaRPr lang="zh-CN" altLang="en-US" sz="1400" b="1" dirty="0">
              <a:latin typeface="+mj-lt"/>
            </a:endParaRPr>
          </a:p>
        </p:txBody>
      </p:sp>
      <p:grpSp>
        <p:nvGrpSpPr>
          <p:cNvPr id="335" name="组合 334"/>
          <p:cNvGrpSpPr/>
          <p:nvPr/>
        </p:nvGrpSpPr>
        <p:grpSpPr>
          <a:xfrm>
            <a:off x="5048017" y="3730699"/>
            <a:ext cx="2691432" cy="755663"/>
            <a:chOff x="6756066" y="4507691"/>
            <a:chExt cx="3116629" cy="841814"/>
          </a:xfrm>
        </p:grpSpPr>
        <p:sp>
          <p:nvSpPr>
            <p:cNvPr id="336" name="文本框 64"/>
            <p:cNvSpPr txBox="1">
              <a:spLocks noChangeArrowheads="1"/>
            </p:cNvSpPr>
            <p:nvPr/>
          </p:nvSpPr>
          <p:spPr bwMode="auto">
            <a:xfrm>
              <a:off x="6785796" y="4507691"/>
              <a:ext cx="2359025" cy="342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000">
                  <a:solidFill>
                    <a:schemeClr val="tx1"/>
                  </a:solidFill>
                  <a:latin typeface="Arial" panose="020B0604020202020204" pitchFamily="34" charset="0"/>
                  <a:ea typeface="微软雅黑" panose="020B0503020204020204" pitchFamily="34" charset="-122"/>
                </a:defRPr>
              </a:lvl1pPr>
              <a:lvl2pPr marL="742950" indent="-285750">
                <a:defRPr sz="1000">
                  <a:solidFill>
                    <a:schemeClr val="tx1"/>
                  </a:solidFill>
                  <a:latin typeface="Arial" panose="020B0604020202020204" pitchFamily="34" charset="0"/>
                  <a:ea typeface="微软雅黑" panose="020B0503020204020204" pitchFamily="34" charset="-122"/>
                </a:defRPr>
              </a:lvl2pPr>
              <a:lvl3pPr marL="1143000" indent="-228600">
                <a:defRPr sz="1000">
                  <a:solidFill>
                    <a:schemeClr val="tx1"/>
                  </a:solidFill>
                  <a:latin typeface="Arial" panose="020B0604020202020204" pitchFamily="34" charset="0"/>
                  <a:ea typeface="微软雅黑" panose="020B0503020204020204" pitchFamily="34" charset="-122"/>
                </a:defRPr>
              </a:lvl3pPr>
              <a:lvl4pPr marL="1600200" indent="-228600">
                <a:defRPr sz="1000">
                  <a:solidFill>
                    <a:schemeClr val="tx1"/>
                  </a:solidFill>
                  <a:latin typeface="Arial" panose="020B0604020202020204" pitchFamily="34" charset="0"/>
                  <a:ea typeface="微软雅黑" panose="020B0503020204020204" pitchFamily="34" charset="-122"/>
                </a:defRPr>
              </a:lvl4pPr>
              <a:lvl5pPr marL="2057400" indent="-228600">
                <a:defRPr sz="1000">
                  <a:solidFill>
                    <a:schemeClr val="tx1"/>
                  </a:solidFill>
                  <a:latin typeface="Arial" panose="020B0604020202020204" pitchFamily="34" charset="0"/>
                  <a:ea typeface="微软雅黑" panose="020B0503020204020204" pitchFamily="34" charset="-122"/>
                </a:defRPr>
              </a:lvl5pPr>
              <a:lvl6pPr marL="2514600" indent="-228600" defTabSz="276225" fontAlgn="base">
                <a:spcBef>
                  <a:spcPct val="0"/>
                </a:spcBef>
                <a:spcAft>
                  <a:spcPct val="0"/>
                </a:spcAft>
                <a:defRPr sz="1000">
                  <a:solidFill>
                    <a:schemeClr val="tx1"/>
                  </a:solidFill>
                  <a:latin typeface="Arial" panose="020B0604020202020204" pitchFamily="34" charset="0"/>
                  <a:ea typeface="微软雅黑" panose="020B0503020204020204" pitchFamily="34" charset="-122"/>
                </a:defRPr>
              </a:lvl6pPr>
              <a:lvl7pPr marL="2971800" indent="-228600" defTabSz="276225" fontAlgn="base">
                <a:spcBef>
                  <a:spcPct val="0"/>
                </a:spcBef>
                <a:spcAft>
                  <a:spcPct val="0"/>
                </a:spcAft>
                <a:defRPr sz="1000">
                  <a:solidFill>
                    <a:schemeClr val="tx1"/>
                  </a:solidFill>
                  <a:latin typeface="Arial" panose="020B0604020202020204" pitchFamily="34" charset="0"/>
                  <a:ea typeface="微软雅黑" panose="020B0503020204020204" pitchFamily="34" charset="-122"/>
                </a:defRPr>
              </a:lvl7pPr>
              <a:lvl8pPr marL="3429000" indent="-228600" defTabSz="276225" fontAlgn="base">
                <a:spcBef>
                  <a:spcPct val="0"/>
                </a:spcBef>
                <a:spcAft>
                  <a:spcPct val="0"/>
                </a:spcAft>
                <a:defRPr sz="1000">
                  <a:solidFill>
                    <a:schemeClr val="tx1"/>
                  </a:solidFill>
                  <a:latin typeface="Arial" panose="020B0604020202020204" pitchFamily="34" charset="0"/>
                  <a:ea typeface="微软雅黑" panose="020B0503020204020204" pitchFamily="34" charset="-122"/>
                </a:defRPr>
              </a:lvl8pPr>
              <a:lvl9pPr marL="3886200" indent="-228600" defTabSz="276225" fontAlgn="base">
                <a:spcBef>
                  <a:spcPct val="0"/>
                </a:spcBef>
                <a:spcAft>
                  <a:spcPct val="0"/>
                </a:spcAft>
                <a:defRPr sz="1000">
                  <a:solidFill>
                    <a:schemeClr val="tx1"/>
                  </a:solidFill>
                  <a:latin typeface="Arial" panose="020B0604020202020204" pitchFamily="34" charset="0"/>
                  <a:ea typeface="微软雅黑" panose="020B0503020204020204" pitchFamily="34" charset="-122"/>
                </a:defRPr>
              </a:lvl9pPr>
            </a:lstStyle>
            <a:p>
              <a:r>
                <a:rPr lang="es-ES" altLang="zh-CN" sz="1400" b="1" dirty="0">
                  <a:latin typeface="+mj-lt"/>
                </a:rPr>
                <a:t>Plataforma abierta</a:t>
              </a:r>
              <a:endParaRPr lang="zh-CN" altLang="en-US" sz="1400" b="1" dirty="0">
                <a:latin typeface="+mj-lt"/>
              </a:endParaRPr>
            </a:p>
          </p:txBody>
        </p:sp>
        <p:sp>
          <p:nvSpPr>
            <p:cNvPr id="337" name="文本框 20"/>
            <p:cNvSpPr txBox="1">
              <a:spLocks noChangeArrowheads="1"/>
            </p:cNvSpPr>
            <p:nvPr/>
          </p:nvSpPr>
          <p:spPr bwMode="auto">
            <a:xfrm>
              <a:off x="6756066" y="4776562"/>
              <a:ext cx="3116629" cy="572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defRPr sz="1000">
                  <a:solidFill>
                    <a:schemeClr val="tx1"/>
                  </a:solidFill>
                  <a:latin typeface="Arial" panose="020B0604020202020204" pitchFamily="34" charset="0"/>
                  <a:ea typeface="微软雅黑" panose="020B0503020204020204" pitchFamily="34" charset="-122"/>
                </a:defRPr>
              </a:lvl1pPr>
              <a:lvl2pPr marL="742950" indent="-285750">
                <a:defRPr sz="1000">
                  <a:solidFill>
                    <a:schemeClr val="tx1"/>
                  </a:solidFill>
                  <a:latin typeface="Arial" panose="020B0604020202020204" pitchFamily="34" charset="0"/>
                  <a:ea typeface="微软雅黑" panose="020B0503020204020204" pitchFamily="34" charset="-122"/>
                </a:defRPr>
              </a:lvl2pPr>
              <a:lvl3pPr marL="1143000" indent="-228600">
                <a:defRPr sz="1000">
                  <a:solidFill>
                    <a:schemeClr val="tx1"/>
                  </a:solidFill>
                  <a:latin typeface="Arial" panose="020B0604020202020204" pitchFamily="34" charset="0"/>
                  <a:ea typeface="微软雅黑" panose="020B0503020204020204" pitchFamily="34" charset="-122"/>
                </a:defRPr>
              </a:lvl3pPr>
              <a:lvl4pPr marL="1600200" indent="-228600">
                <a:defRPr sz="1000">
                  <a:solidFill>
                    <a:schemeClr val="tx1"/>
                  </a:solidFill>
                  <a:latin typeface="Arial" panose="020B0604020202020204" pitchFamily="34" charset="0"/>
                  <a:ea typeface="微软雅黑" panose="020B0503020204020204" pitchFamily="34" charset="-122"/>
                </a:defRPr>
              </a:lvl4pPr>
              <a:lvl5pPr marL="2057400" indent="-228600">
                <a:defRPr sz="1000">
                  <a:solidFill>
                    <a:schemeClr val="tx1"/>
                  </a:solidFill>
                  <a:latin typeface="Arial" panose="020B0604020202020204" pitchFamily="34" charset="0"/>
                  <a:ea typeface="微软雅黑" panose="020B0503020204020204" pitchFamily="34" charset="-122"/>
                </a:defRPr>
              </a:lvl5pPr>
              <a:lvl6pPr marL="2514600" indent="-228600" defTabSz="276225" fontAlgn="base">
                <a:spcBef>
                  <a:spcPct val="0"/>
                </a:spcBef>
                <a:spcAft>
                  <a:spcPct val="0"/>
                </a:spcAft>
                <a:defRPr sz="1000">
                  <a:solidFill>
                    <a:schemeClr val="tx1"/>
                  </a:solidFill>
                  <a:latin typeface="Arial" panose="020B0604020202020204" pitchFamily="34" charset="0"/>
                  <a:ea typeface="微软雅黑" panose="020B0503020204020204" pitchFamily="34" charset="-122"/>
                </a:defRPr>
              </a:lvl6pPr>
              <a:lvl7pPr marL="2971800" indent="-228600" defTabSz="276225" fontAlgn="base">
                <a:spcBef>
                  <a:spcPct val="0"/>
                </a:spcBef>
                <a:spcAft>
                  <a:spcPct val="0"/>
                </a:spcAft>
                <a:defRPr sz="1000">
                  <a:solidFill>
                    <a:schemeClr val="tx1"/>
                  </a:solidFill>
                  <a:latin typeface="Arial" panose="020B0604020202020204" pitchFamily="34" charset="0"/>
                  <a:ea typeface="微软雅黑" panose="020B0503020204020204" pitchFamily="34" charset="-122"/>
                </a:defRPr>
              </a:lvl7pPr>
              <a:lvl8pPr marL="3429000" indent="-228600" defTabSz="276225" fontAlgn="base">
                <a:spcBef>
                  <a:spcPct val="0"/>
                </a:spcBef>
                <a:spcAft>
                  <a:spcPct val="0"/>
                </a:spcAft>
                <a:defRPr sz="1000">
                  <a:solidFill>
                    <a:schemeClr val="tx1"/>
                  </a:solidFill>
                  <a:latin typeface="Arial" panose="020B0604020202020204" pitchFamily="34" charset="0"/>
                  <a:ea typeface="微软雅黑" panose="020B0503020204020204" pitchFamily="34" charset="-122"/>
                </a:defRPr>
              </a:lvl8pPr>
              <a:lvl9pPr marL="3886200" indent="-228600" defTabSz="276225" fontAlgn="base">
                <a:spcBef>
                  <a:spcPct val="0"/>
                </a:spcBef>
                <a:spcAft>
                  <a:spcPct val="0"/>
                </a:spcAft>
                <a:defRPr sz="1000">
                  <a:solidFill>
                    <a:schemeClr val="tx1"/>
                  </a:solidFill>
                  <a:latin typeface="Arial" panose="020B0604020202020204" pitchFamily="34" charset="0"/>
                  <a:ea typeface="微软雅黑" panose="020B0503020204020204" pitchFamily="34" charset="-122"/>
                </a:defRPr>
              </a:lvl9pPr>
            </a:lstStyle>
            <a:p>
              <a:pPr marL="0" indent="0" fontAlgn="base">
                <a:lnSpc>
                  <a:spcPct val="120000"/>
                </a:lnSpc>
                <a:spcBef>
                  <a:spcPct val="0"/>
                </a:spcBef>
                <a:spcAft>
                  <a:spcPct val="0"/>
                </a:spcAft>
              </a:pPr>
              <a:r>
                <a:rPr lang="en-US" altLang="zh-CN" sz="1200" dirty="0" err="1">
                  <a:latin typeface="+mj-lt"/>
                  <a:sym typeface="Arial" panose="020B0604020202020204" pitchFamily="34" charset="0"/>
                </a:rPr>
                <a:t>Ofrecer</a:t>
              </a:r>
              <a:r>
                <a:rPr lang="en-US" altLang="zh-CN" sz="1200" dirty="0">
                  <a:latin typeface="+mj-lt"/>
                  <a:sym typeface="Arial" panose="020B0604020202020204" pitchFamily="34" charset="0"/>
                </a:rPr>
                <a:t> APIs para </a:t>
              </a:r>
              <a:r>
                <a:rPr lang="en-US" altLang="zh-CN" sz="1200" dirty="0" err="1">
                  <a:latin typeface="+mj-lt"/>
                  <a:sym typeface="Arial" panose="020B0604020202020204" pitchFamily="34" charset="0"/>
                </a:rPr>
                <a:t>construir</a:t>
              </a:r>
              <a:r>
                <a:rPr lang="en-US" altLang="zh-CN" sz="1200" dirty="0">
                  <a:latin typeface="+mj-lt"/>
                  <a:sym typeface="Arial" panose="020B0604020202020204" pitchFamily="34" charset="0"/>
                </a:rPr>
                <a:t> un </a:t>
              </a:r>
              <a:r>
                <a:rPr lang="en-US" altLang="zh-CN" sz="1200" dirty="0" err="1">
                  <a:latin typeface="+mj-lt"/>
                  <a:sym typeface="Arial" panose="020B0604020202020204" pitchFamily="34" charset="0"/>
                </a:rPr>
                <a:t>ecosistema</a:t>
              </a:r>
              <a:r>
                <a:rPr lang="en-US" altLang="zh-CN" sz="1200" dirty="0">
                  <a:latin typeface="+mj-lt"/>
                  <a:sym typeface="Arial" panose="020B0604020202020204" pitchFamily="34" charset="0"/>
                </a:rPr>
                <a:t> </a:t>
              </a:r>
              <a:r>
                <a:rPr lang="en-US" altLang="zh-CN" sz="1200" dirty="0" err="1">
                  <a:latin typeface="+mj-lt"/>
                  <a:sym typeface="Arial" panose="020B0604020202020204" pitchFamily="34" charset="0"/>
                </a:rPr>
                <a:t>sostenible</a:t>
              </a:r>
              <a:endParaRPr lang="en-US" altLang="zh-CN" sz="1200" dirty="0">
                <a:latin typeface="+mj-lt"/>
                <a:sym typeface="Arial" panose="020B0604020202020204" pitchFamily="34" charset="0"/>
              </a:endParaRPr>
            </a:p>
          </p:txBody>
        </p:sp>
      </p:grpSp>
      <p:grpSp>
        <p:nvGrpSpPr>
          <p:cNvPr id="338" name="组合 337"/>
          <p:cNvGrpSpPr/>
          <p:nvPr/>
        </p:nvGrpSpPr>
        <p:grpSpPr>
          <a:xfrm>
            <a:off x="4558679" y="2292636"/>
            <a:ext cx="410456" cy="410410"/>
            <a:chOff x="7230451" y="6942668"/>
            <a:chExt cx="540000" cy="540000"/>
          </a:xfrm>
        </p:grpSpPr>
        <p:sp>
          <p:nvSpPr>
            <p:cNvPr id="339" name="椭圆 338"/>
            <p:cNvSpPr/>
            <p:nvPr/>
          </p:nvSpPr>
          <p:spPr>
            <a:xfrm>
              <a:off x="7230451" y="6942668"/>
              <a:ext cx="540000" cy="540000"/>
            </a:xfrm>
            <a:prstGeom prst="ellipse">
              <a:avLst/>
            </a:prstGeom>
            <a:noFill/>
            <a:ln w="31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mj-lt"/>
              </a:endParaRPr>
            </a:p>
          </p:txBody>
        </p:sp>
        <p:grpSp>
          <p:nvGrpSpPr>
            <p:cNvPr id="340" name="组合 339"/>
            <p:cNvGrpSpPr/>
            <p:nvPr/>
          </p:nvGrpSpPr>
          <p:grpSpPr>
            <a:xfrm>
              <a:off x="7364099" y="7028091"/>
              <a:ext cx="272704" cy="369154"/>
              <a:chOff x="7762061" y="5579009"/>
              <a:chExt cx="315834" cy="427538"/>
            </a:xfrm>
          </p:grpSpPr>
          <p:sp>
            <p:nvSpPr>
              <p:cNvPr id="341" name="1465717562"/>
              <p:cNvSpPr>
                <a:spLocks noEditPoints="1"/>
              </p:cNvSpPr>
              <p:nvPr/>
            </p:nvSpPr>
            <p:spPr bwMode="auto">
              <a:xfrm>
                <a:off x="7825384" y="5963069"/>
                <a:ext cx="78959" cy="26570"/>
              </a:xfrm>
              <a:custGeom>
                <a:avLst/>
                <a:gdLst>
                  <a:gd name="T0" fmla="*/ 15 w 15"/>
                  <a:gd name="T1" fmla="*/ 5 h 5"/>
                  <a:gd name="T2" fmla="*/ 15 w 15"/>
                  <a:gd name="T3" fmla="*/ 5 h 5"/>
                  <a:gd name="T4" fmla="*/ 14 w 15"/>
                  <a:gd name="T5" fmla="*/ 5 h 5"/>
                  <a:gd name="T6" fmla="*/ 14 w 15"/>
                  <a:gd name="T7" fmla="*/ 4 h 5"/>
                  <a:gd name="T8" fmla="*/ 14 w 15"/>
                  <a:gd name="T9" fmla="*/ 3 h 5"/>
                  <a:gd name="T10" fmla="*/ 14 w 15"/>
                  <a:gd name="T11" fmla="*/ 3 h 5"/>
                  <a:gd name="T12" fmla="*/ 13 w 15"/>
                  <a:gd name="T13" fmla="*/ 2 h 5"/>
                  <a:gd name="T14" fmla="*/ 11 w 15"/>
                  <a:gd name="T15" fmla="*/ 1 h 5"/>
                  <a:gd name="T16" fmla="*/ 11 w 15"/>
                  <a:gd name="T17" fmla="*/ 1 h 5"/>
                  <a:gd name="T18" fmla="*/ 10 w 15"/>
                  <a:gd name="T19" fmla="*/ 0 h 5"/>
                  <a:gd name="T20" fmla="*/ 10 w 15"/>
                  <a:gd name="T21" fmla="*/ 0 h 5"/>
                  <a:gd name="T22" fmla="*/ 7 w 15"/>
                  <a:gd name="T23" fmla="*/ 0 h 5"/>
                  <a:gd name="T24" fmla="*/ 5 w 15"/>
                  <a:gd name="T25" fmla="*/ 0 h 5"/>
                  <a:gd name="T26" fmla="*/ 4 w 15"/>
                  <a:gd name="T27" fmla="*/ 0 h 5"/>
                  <a:gd name="T28" fmla="*/ 3 w 15"/>
                  <a:gd name="T29" fmla="*/ 1 h 5"/>
                  <a:gd name="T30" fmla="*/ 3 w 15"/>
                  <a:gd name="T31" fmla="*/ 1 h 5"/>
                  <a:gd name="T32" fmla="*/ 1 w 15"/>
                  <a:gd name="T33" fmla="*/ 2 h 5"/>
                  <a:gd name="T34" fmla="*/ 1 w 15"/>
                  <a:gd name="T35" fmla="*/ 3 h 5"/>
                  <a:gd name="T36" fmla="*/ 0 w 15"/>
                  <a:gd name="T37" fmla="*/ 3 h 5"/>
                  <a:gd name="T38" fmla="*/ 0 w 15"/>
                  <a:gd name="T39" fmla="*/ 4 h 5"/>
                  <a:gd name="T40" fmla="*/ 0 w 15"/>
                  <a:gd name="T41" fmla="*/ 5 h 5"/>
                  <a:gd name="T42" fmla="*/ 0 w 15"/>
                  <a:gd name="T43" fmla="*/ 5 h 5"/>
                  <a:gd name="T44" fmla="*/ 0 w 15"/>
                  <a:gd name="T45" fmla="*/ 5 h 5"/>
                  <a:gd name="T46" fmla="*/ 15 w 15"/>
                  <a:gd name="T47" fmla="*/ 5 h 5"/>
                  <a:gd name="T48" fmla="*/ 14 w 15"/>
                  <a:gd name="T49" fmla="*/ 4 h 5"/>
                  <a:gd name="T50" fmla="*/ 14 w 15"/>
                  <a:gd name="T51" fmla="*/ 4 h 5"/>
                  <a:gd name="T52" fmla="*/ 14 w 15"/>
                  <a:gd name="T53" fmla="*/ 4 h 5"/>
                  <a:gd name="T54" fmla="*/ 0 w 15"/>
                  <a:gd name="T55" fmla="*/ 4 h 5"/>
                  <a:gd name="T56" fmla="*/ 0 w 15"/>
                  <a:gd name="T57" fmla="*/ 4 h 5"/>
                  <a:gd name="T58" fmla="*/ 0 w 15"/>
                  <a:gd name="T5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 h="5">
                    <a:moveTo>
                      <a:pt x="15" y="5"/>
                    </a:moveTo>
                    <a:cubicBezTo>
                      <a:pt x="15" y="5"/>
                      <a:pt x="15" y="5"/>
                      <a:pt x="15" y="5"/>
                    </a:cubicBezTo>
                    <a:cubicBezTo>
                      <a:pt x="15" y="5"/>
                      <a:pt x="15" y="5"/>
                      <a:pt x="14" y="5"/>
                    </a:cubicBezTo>
                    <a:cubicBezTo>
                      <a:pt x="14" y="4"/>
                      <a:pt x="14" y="4"/>
                      <a:pt x="14" y="4"/>
                    </a:cubicBezTo>
                    <a:cubicBezTo>
                      <a:pt x="14" y="4"/>
                      <a:pt x="14" y="3"/>
                      <a:pt x="14" y="3"/>
                    </a:cubicBezTo>
                    <a:cubicBezTo>
                      <a:pt x="14" y="3"/>
                      <a:pt x="14" y="3"/>
                      <a:pt x="14" y="3"/>
                    </a:cubicBezTo>
                    <a:cubicBezTo>
                      <a:pt x="13" y="2"/>
                      <a:pt x="13" y="2"/>
                      <a:pt x="13" y="2"/>
                    </a:cubicBezTo>
                    <a:cubicBezTo>
                      <a:pt x="13" y="2"/>
                      <a:pt x="12" y="1"/>
                      <a:pt x="11" y="1"/>
                    </a:cubicBezTo>
                    <a:cubicBezTo>
                      <a:pt x="11" y="1"/>
                      <a:pt x="11" y="1"/>
                      <a:pt x="11" y="1"/>
                    </a:cubicBezTo>
                    <a:cubicBezTo>
                      <a:pt x="11" y="1"/>
                      <a:pt x="10" y="0"/>
                      <a:pt x="10" y="0"/>
                    </a:cubicBezTo>
                    <a:cubicBezTo>
                      <a:pt x="10" y="0"/>
                      <a:pt x="10" y="0"/>
                      <a:pt x="10" y="0"/>
                    </a:cubicBezTo>
                    <a:cubicBezTo>
                      <a:pt x="9" y="0"/>
                      <a:pt x="8" y="0"/>
                      <a:pt x="7" y="0"/>
                    </a:cubicBezTo>
                    <a:cubicBezTo>
                      <a:pt x="6" y="0"/>
                      <a:pt x="5" y="0"/>
                      <a:pt x="5" y="0"/>
                    </a:cubicBezTo>
                    <a:cubicBezTo>
                      <a:pt x="5" y="0"/>
                      <a:pt x="4" y="0"/>
                      <a:pt x="4" y="0"/>
                    </a:cubicBezTo>
                    <a:cubicBezTo>
                      <a:pt x="4" y="0"/>
                      <a:pt x="4" y="1"/>
                      <a:pt x="3" y="1"/>
                    </a:cubicBezTo>
                    <a:cubicBezTo>
                      <a:pt x="3" y="1"/>
                      <a:pt x="3" y="1"/>
                      <a:pt x="3" y="1"/>
                    </a:cubicBezTo>
                    <a:cubicBezTo>
                      <a:pt x="2" y="1"/>
                      <a:pt x="2" y="2"/>
                      <a:pt x="1" y="2"/>
                    </a:cubicBezTo>
                    <a:cubicBezTo>
                      <a:pt x="1" y="2"/>
                      <a:pt x="1" y="2"/>
                      <a:pt x="1" y="3"/>
                    </a:cubicBezTo>
                    <a:cubicBezTo>
                      <a:pt x="1" y="3"/>
                      <a:pt x="1" y="3"/>
                      <a:pt x="0" y="3"/>
                    </a:cubicBezTo>
                    <a:cubicBezTo>
                      <a:pt x="0" y="3"/>
                      <a:pt x="0" y="4"/>
                      <a:pt x="0" y="4"/>
                    </a:cubicBezTo>
                    <a:cubicBezTo>
                      <a:pt x="0" y="4"/>
                      <a:pt x="0" y="4"/>
                      <a:pt x="0" y="5"/>
                    </a:cubicBezTo>
                    <a:cubicBezTo>
                      <a:pt x="0" y="5"/>
                      <a:pt x="0" y="5"/>
                      <a:pt x="0" y="5"/>
                    </a:cubicBezTo>
                    <a:cubicBezTo>
                      <a:pt x="0" y="5"/>
                      <a:pt x="0" y="5"/>
                      <a:pt x="0" y="5"/>
                    </a:cubicBezTo>
                    <a:cubicBezTo>
                      <a:pt x="15" y="5"/>
                      <a:pt x="15" y="5"/>
                      <a:pt x="15" y="5"/>
                    </a:cubicBezTo>
                    <a:close/>
                    <a:moveTo>
                      <a:pt x="14" y="4"/>
                    </a:moveTo>
                    <a:cubicBezTo>
                      <a:pt x="14" y="4"/>
                      <a:pt x="14" y="4"/>
                      <a:pt x="14" y="4"/>
                    </a:cubicBezTo>
                    <a:cubicBezTo>
                      <a:pt x="14" y="4"/>
                      <a:pt x="14" y="4"/>
                      <a:pt x="14" y="4"/>
                    </a:cubicBezTo>
                    <a:close/>
                    <a:moveTo>
                      <a:pt x="0" y="4"/>
                    </a:moveTo>
                    <a:cubicBezTo>
                      <a:pt x="0" y="4"/>
                      <a:pt x="0" y="4"/>
                      <a:pt x="0" y="4"/>
                    </a:cubicBezTo>
                    <a:cubicBezTo>
                      <a:pt x="0" y="4"/>
                      <a:pt x="0" y="4"/>
                      <a:pt x="0" y="4"/>
                    </a:cubicBezTo>
                    <a:close/>
                  </a:path>
                </a:pathLst>
              </a:custGeom>
              <a:noFill/>
              <a:ln w="6350">
                <a:solidFill>
                  <a:srgbClr val="00B0F0"/>
                </a:solidFill>
                <a:round/>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itchFamily="34" charset="-122"/>
                </a:endParaRPr>
              </a:p>
            </p:txBody>
          </p:sp>
          <p:sp>
            <p:nvSpPr>
              <p:cNvPr id="342" name="1423344781"/>
              <p:cNvSpPr>
                <a:spLocks noChangeArrowheads="1"/>
              </p:cNvSpPr>
              <p:nvPr/>
            </p:nvSpPr>
            <p:spPr bwMode="auto">
              <a:xfrm>
                <a:off x="7825384" y="5995275"/>
                <a:ext cx="78959" cy="11272"/>
              </a:xfrm>
              <a:prstGeom prst="rect">
                <a:avLst/>
              </a:prstGeom>
              <a:noFill/>
              <a:ln w="6350">
                <a:solidFill>
                  <a:srgbClr val="00B0F0"/>
                </a:solidFill>
                <a:miter lim="800000"/>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itchFamily="34" charset="-122"/>
                </a:endParaRPr>
              </a:p>
            </p:txBody>
          </p:sp>
          <p:sp>
            <p:nvSpPr>
              <p:cNvPr id="343" name="305683168"/>
              <p:cNvSpPr>
                <a:spLocks noEditPoints="1"/>
              </p:cNvSpPr>
              <p:nvPr/>
            </p:nvSpPr>
            <p:spPr bwMode="auto">
              <a:xfrm>
                <a:off x="7941086" y="5963069"/>
                <a:ext cx="78959" cy="26570"/>
              </a:xfrm>
              <a:custGeom>
                <a:avLst/>
                <a:gdLst>
                  <a:gd name="T0" fmla="*/ 15 w 15"/>
                  <a:gd name="T1" fmla="*/ 5 h 5"/>
                  <a:gd name="T2" fmla="*/ 15 w 15"/>
                  <a:gd name="T3" fmla="*/ 5 h 5"/>
                  <a:gd name="T4" fmla="*/ 15 w 15"/>
                  <a:gd name="T5" fmla="*/ 5 h 5"/>
                  <a:gd name="T6" fmla="*/ 15 w 15"/>
                  <a:gd name="T7" fmla="*/ 4 h 5"/>
                  <a:gd name="T8" fmla="*/ 14 w 15"/>
                  <a:gd name="T9" fmla="*/ 3 h 5"/>
                  <a:gd name="T10" fmla="*/ 14 w 15"/>
                  <a:gd name="T11" fmla="*/ 3 h 5"/>
                  <a:gd name="T12" fmla="*/ 13 w 15"/>
                  <a:gd name="T13" fmla="*/ 2 h 5"/>
                  <a:gd name="T14" fmla="*/ 11 w 15"/>
                  <a:gd name="T15" fmla="*/ 1 h 5"/>
                  <a:gd name="T16" fmla="*/ 11 w 15"/>
                  <a:gd name="T17" fmla="*/ 1 h 5"/>
                  <a:gd name="T18" fmla="*/ 10 w 15"/>
                  <a:gd name="T19" fmla="*/ 0 h 5"/>
                  <a:gd name="T20" fmla="*/ 10 w 15"/>
                  <a:gd name="T21" fmla="*/ 0 h 5"/>
                  <a:gd name="T22" fmla="*/ 7 w 15"/>
                  <a:gd name="T23" fmla="*/ 0 h 5"/>
                  <a:gd name="T24" fmla="*/ 5 w 15"/>
                  <a:gd name="T25" fmla="*/ 0 h 5"/>
                  <a:gd name="T26" fmla="*/ 5 w 15"/>
                  <a:gd name="T27" fmla="*/ 0 h 5"/>
                  <a:gd name="T28" fmla="*/ 3 w 15"/>
                  <a:gd name="T29" fmla="*/ 1 h 5"/>
                  <a:gd name="T30" fmla="*/ 3 w 15"/>
                  <a:gd name="T31" fmla="*/ 1 h 5"/>
                  <a:gd name="T32" fmla="*/ 1 w 15"/>
                  <a:gd name="T33" fmla="*/ 2 h 5"/>
                  <a:gd name="T34" fmla="*/ 1 w 15"/>
                  <a:gd name="T35" fmla="*/ 3 h 5"/>
                  <a:gd name="T36" fmla="*/ 1 w 15"/>
                  <a:gd name="T37" fmla="*/ 3 h 5"/>
                  <a:gd name="T38" fmla="*/ 0 w 15"/>
                  <a:gd name="T39" fmla="*/ 4 h 5"/>
                  <a:gd name="T40" fmla="*/ 0 w 15"/>
                  <a:gd name="T41" fmla="*/ 5 h 5"/>
                  <a:gd name="T42" fmla="*/ 0 w 15"/>
                  <a:gd name="T43" fmla="*/ 5 h 5"/>
                  <a:gd name="T44" fmla="*/ 0 w 15"/>
                  <a:gd name="T45" fmla="*/ 5 h 5"/>
                  <a:gd name="T46" fmla="*/ 15 w 15"/>
                  <a:gd name="T47" fmla="*/ 5 h 5"/>
                  <a:gd name="T48" fmla="*/ 14 w 15"/>
                  <a:gd name="T49" fmla="*/ 4 h 5"/>
                  <a:gd name="T50" fmla="*/ 14 w 15"/>
                  <a:gd name="T51" fmla="*/ 4 h 5"/>
                  <a:gd name="T52" fmla="*/ 14 w 15"/>
                  <a:gd name="T53" fmla="*/ 4 h 5"/>
                  <a:gd name="T54" fmla="*/ 0 w 15"/>
                  <a:gd name="T55" fmla="*/ 4 h 5"/>
                  <a:gd name="T56" fmla="*/ 0 w 15"/>
                  <a:gd name="T57" fmla="*/ 4 h 5"/>
                  <a:gd name="T58" fmla="*/ 0 w 15"/>
                  <a:gd name="T5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 h="5">
                    <a:moveTo>
                      <a:pt x="15" y="5"/>
                    </a:moveTo>
                    <a:cubicBezTo>
                      <a:pt x="15" y="5"/>
                      <a:pt x="15" y="5"/>
                      <a:pt x="15" y="5"/>
                    </a:cubicBezTo>
                    <a:cubicBezTo>
                      <a:pt x="15" y="5"/>
                      <a:pt x="15" y="5"/>
                      <a:pt x="15" y="5"/>
                    </a:cubicBezTo>
                    <a:cubicBezTo>
                      <a:pt x="15" y="4"/>
                      <a:pt x="15" y="4"/>
                      <a:pt x="15" y="4"/>
                    </a:cubicBezTo>
                    <a:cubicBezTo>
                      <a:pt x="14" y="4"/>
                      <a:pt x="14" y="3"/>
                      <a:pt x="14" y="3"/>
                    </a:cubicBezTo>
                    <a:cubicBezTo>
                      <a:pt x="14" y="3"/>
                      <a:pt x="14" y="3"/>
                      <a:pt x="14" y="3"/>
                    </a:cubicBezTo>
                    <a:cubicBezTo>
                      <a:pt x="14" y="2"/>
                      <a:pt x="14" y="2"/>
                      <a:pt x="13" y="2"/>
                    </a:cubicBezTo>
                    <a:cubicBezTo>
                      <a:pt x="13" y="2"/>
                      <a:pt x="12" y="1"/>
                      <a:pt x="11" y="1"/>
                    </a:cubicBezTo>
                    <a:cubicBezTo>
                      <a:pt x="11" y="1"/>
                      <a:pt x="11" y="1"/>
                      <a:pt x="11" y="1"/>
                    </a:cubicBezTo>
                    <a:cubicBezTo>
                      <a:pt x="11" y="1"/>
                      <a:pt x="11" y="0"/>
                      <a:pt x="10" y="0"/>
                    </a:cubicBezTo>
                    <a:cubicBezTo>
                      <a:pt x="10" y="0"/>
                      <a:pt x="10" y="0"/>
                      <a:pt x="10" y="0"/>
                    </a:cubicBezTo>
                    <a:cubicBezTo>
                      <a:pt x="9" y="0"/>
                      <a:pt x="8" y="0"/>
                      <a:pt x="7" y="0"/>
                    </a:cubicBezTo>
                    <a:cubicBezTo>
                      <a:pt x="6" y="0"/>
                      <a:pt x="6" y="0"/>
                      <a:pt x="5" y="0"/>
                    </a:cubicBezTo>
                    <a:cubicBezTo>
                      <a:pt x="5" y="0"/>
                      <a:pt x="5" y="0"/>
                      <a:pt x="5" y="0"/>
                    </a:cubicBezTo>
                    <a:cubicBezTo>
                      <a:pt x="4" y="0"/>
                      <a:pt x="4" y="1"/>
                      <a:pt x="3" y="1"/>
                    </a:cubicBezTo>
                    <a:cubicBezTo>
                      <a:pt x="3" y="1"/>
                      <a:pt x="3" y="1"/>
                      <a:pt x="3" y="1"/>
                    </a:cubicBezTo>
                    <a:cubicBezTo>
                      <a:pt x="3" y="1"/>
                      <a:pt x="2" y="2"/>
                      <a:pt x="1" y="2"/>
                    </a:cubicBezTo>
                    <a:cubicBezTo>
                      <a:pt x="1" y="2"/>
                      <a:pt x="1" y="2"/>
                      <a:pt x="1" y="3"/>
                    </a:cubicBezTo>
                    <a:cubicBezTo>
                      <a:pt x="1" y="3"/>
                      <a:pt x="1" y="3"/>
                      <a:pt x="1" y="3"/>
                    </a:cubicBezTo>
                    <a:cubicBezTo>
                      <a:pt x="0" y="3"/>
                      <a:pt x="0" y="4"/>
                      <a:pt x="0" y="4"/>
                    </a:cubicBezTo>
                    <a:cubicBezTo>
                      <a:pt x="0" y="4"/>
                      <a:pt x="0" y="4"/>
                      <a:pt x="0" y="5"/>
                    </a:cubicBezTo>
                    <a:cubicBezTo>
                      <a:pt x="0" y="5"/>
                      <a:pt x="0" y="5"/>
                      <a:pt x="0" y="5"/>
                    </a:cubicBezTo>
                    <a:cubicBezTo>
                      <a:pt x="0" y="5"/>
                      <a:pt x="0" y="5"/>
                      <a:pt x="0" y="5"/>
                    </a:cubicBezTo>
                    <a:cubicBezTo>
                      <a:pt x="15" y="5"/>
                      <a:pt x="15" y="5"/>
                      <a:pt x="15" y="5"/>
                    </a:cubicBezTo>
                    <a:close/>
                    <a:moveTo>
                      <a:pt x="14" y="4"/>
                    </a:moveTo>
                    <a:cubicBezTo>
                      <a:pt x="14" y="4"/>
                      <a:pt x="14" y="4"/>
                      <a:pt x="14" y="4"/>
                    </a:cubicBezTo>
                    <a:cubicBezTo>
                      <a:pt x="14" y="4"/>
                      <a:pt x="14" y="4"/>
                      <a:pt x="14" y="4"/>
                    </a:cubicBezTo>
                    <a:close/>
                    <a:moveTo>
                      <a:pt x="0" y="4"/>
                    </a:moveTo>
                    <a:cubicBezTo>
                      <a:pt x="0" y="4"/>
                      <a:pt x="0" y="4"/>
                      <a:pt x="0" y="4"/>
                    </a:cubicBezTo>
                    <a:cubicBezTo>
                      <a:pt x="0" y="4"/>
                      <a:pt x="0" y="4"/>
                      <a:pt x="0" y="4"/>
                    </a:cubicBezTo>
                    <a:close/>
                  </a:path>
                </a:pathLst>
              </a:custGeom>
              <a:noFill/>
              <a:ln w="6350">
                <a:solidFill>
                  <a:srgbClr val="00B0F0"/>
                </a:solidFill>
                <a:round/>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itchFamily="34" charset="-122"/>
                </a:endParaRPr>
              </a:p>
            </p:txBody>
          </p:sp>
          <p:sp>
            <p:nvSpPr>
              <p:cNvPr id="344" name="1164037813"/>
              <p:cNvSpPr>
                <a:spLocks noChangeArrowheads="1"/>
              </p:cNvSpPr>
              <p:nvPr/>
            </p:nvSpPr>
            <p:spPr bwMode="auto">
              <a:xfrm>
                <a:off x="7941086" y="5995275"/>
                <a:ext cx="78959" cy="11272"/>
              </a:xfrm>
              <a:prstGeom prst="rect">
                <a:avLst/>
              </a:prstGeom>
              <a:noFill/>
              <a:ln w="6350">
                <a:solidFill>
                  <a:srgbClr val="00B0F0"/>
                </a:solidFill>
                <a:miter lim="800000"/>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itchFamily="34" charset="-122"/>
                </a:endParaRPr>
              </a:p>
            </p:txBody>
          </p:sp>
          <p:sp>
            <p:nvSpPr>
              <p:cNvPr id="345" name="795993772"/>
              <p:cNvSpPr>
                <a:spLocks/>
              </p:cNvSpPr>
              <p:nvPr/>
            </p:nvSpPr>
            <p:spPr bwMode="auto">
              <a:xfrm>
                <a:off x="8030207" y="5697367"/>
                <a:ext cx="47688" cy="140903"/>
              </a:xfrm>
              <a:custGeom>
                <a:avLst/>
                <a:gdLst>
                  <a:gd name="T0" fmla="*/ 9 w 9"/>
                  <a:gd name="T1" fmla="*/ 6 h 26"/>
                  <a:gd name="T2" fmla="*/ 0 w 9"/>
                  <a:gd name="T3" fmla="*/ 0 h 26"/>
                  <a:gd name="T4" fmla="*/ 0 w 9"/>
                  <a:gd name="T5" fmla="*/ 26 h 26"/>
                  <a:gd name="T6" fmla="*/ 9 w 9"/>
                  <a:gd name="T7" fmla="*/ 26 h 26"/>
                  <a:gd name="T8" fmla="*/ 9 w 9"/>
                  <a:gd name="T9" fmla="*/ 6 h 26"/>
                </a:gdLst>
                <a:ahLst/>
                <a:cxnLst>
                  <a:cxn ang="0">
                    <a:pos x="T0" y="T1"/>
                  </a:cxn>
                  <a:cxn ang="0">
                    <a:pos x="T2" y="T3"/>
                  </a:cxn>
                  <a:cxn ang="0">
                    <a:pos x="T4" y="T5"/>
                  </a:cxn>
                  <a:cxn ang="0">
                    <a:pos x="T6" y="T7"/>
                  </a:cxn>
                  <a:cxn ang="0">
                    <a:pos x="T8" y="T9"/>
                  </a:cxn>
                </a:cxnLst>
                <a:rect l="0" t="0" r="r" b="b"/>
                <a:pathLst>
                  <a:path w="9" h="26">
                    <a:moveTo>
                      <a:pt x="9" y="6"/>
                    </a:moveTo>
                    <a:cubicBezTo>
                      <a:pt x="9" y="0"/>
                      <a:pt x="5" y="0"/>
                      <a:pt x="0" y="0"/>
                    </a:cubicBezTo>
                    <a:cubicBezTo>
                      <a:pt x="0" y="26"/>
                      <a:pt x="0" y="26"/>
                      <a:pt x="0" y="26"/>
                    </a:cubicBezTo>
                    <a:cubicBezTo>
                      <a:pt x="9" y="26"/>
                      <a:pt x="9" y="26"/>
                      <a:pt x="9" y="26"/>
                    </a:cubicBezTo>
                    <a:lnTo>
                      <a:pt x="9" y="6"/>
                    </a:lnTo>
                    <a:close/>
                  </a:path>
                </a:pathLst>
              </a:custGeom>
              <a:noFill/>
              <a:ln w="6350">
                <a:solidFill>
                  <a:srgbClr val="00B0F0"/>
                </a:solidFill>
                <a:round/>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itchFamily="34" charset="-122"/>
                </a:endParaRPr>
              </a:p>
            </p:txBody>
          </p:sp>
          <p:sp>
            <p:nvSpPr>
              <p:cNvPr id="346" name="2055598120"/>
              <p:cNvSpPr>
                <a:spLocks/>
              </p:cNvSpPr>
              <p:nvPr/>
            </p:nvSpPr>
            <p:spPr bwMode="auto">
              <a:xfrm>
                <a:off x="7762061" y="5843905"/>
                <a:ext cx="63323" cy="59582"/>
              </a:xfrm>
              <a:custGeom>
                <a:avLst/>
                <a:gdLst>
                  <a:gd name="T0" fmla="*/ 9 w 12"/>
                  <a:gd name="T1" fmla="*/ 0 h 11"/>
                  <a:gd name="T2" fmla="*/ 1 w 12"/>
                  <a:gd name="T3" fmla="*/ 3 h 11"/>
                  <a:gd name="T4" fmla="*/ 2 w 12"/>
                  <a:gd name="T5" fmla="*/ 8 h 11"/>
                  <a:gd name="T6" fmla="*/ 7 w 12"/>
                  <a:gd name="T7" fmla="*/ 11 h 11"/>
                  <a:gd name="T8" fmla="*/ 9 w 12"/>
                  <a:gd name="T9" fmla="*/ 11 h 11"/>
                  <a:gd name="T10" fmla="*/ 10 w 12"/>
                  <a:gd name="T11" fmla="*/ 9 h 11"/>
                  <a:gd name="T12" fmla="*/ 8 w 12"/>
                  <a:gd name="T13" fmla="*/ 7 h 11"/>
                  <a:gd name="T14" fmla="*/ 5 w 12"/>
                  <a:gd name="T15" fmla="*/ 6 h 11"/>
                  <a:gd name="T16" fmla="*/ 4 w 12"/>
                  <a:gd name="T17" fmla="*/ 4 h 11"/>
                  <a:gd name="T18" fmla="*/ 8 w 12"/>
                  <a:gd name="T19" fmla="*/ 3 h 11"/>
                  <a:gd name="T20" fmla="*/ 8 w 12"/>
                  <a:gd name="T21" fmla="*/ 3 h 11"/>
                  <a:gd name="T22" fmla="*/ 8 w 12"/>
                  <a:gd name="T23" fmla="*/ 4 h 11"/>
                  <a:gd name="T24" fmla="*/ 10 w 12"/>
                  <a:gd name="T25" fmla="*/ 6 h 11"/>
                  <a:gd name="T26" fmla="*/ 11 w 12"/>
                  <a:gd name="T27" fmla="*/ 4 h 11"/>
                  <a:gd name="T28" fmla="*/ 11 w 12"/>
                  <a:gd name="T29" fmla="*/ 4 h 11"/>
                  <a:gd name="T30" fmla="*/ 9 w 12"/>
                  <a:gd name="T3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1">
                    <a:moveTo>
                      <a:pt x="9" y="0"/>
                    </a:moveTo>
                    <a:cubicBezTo>
                      <a:pt x="6" y="0"/>
                      <a:pt x="3" y="1"/>
                      <a:pt x="1" y="3"/>
                    </a:cubicBezTo>
                    <a:cubicBezTo>
                      <a:pt x="1" y="4"/>
                      <a:pt x="0" y="6"/>
                      <a:pt x="2" y="8"/>
                    </a:cubicBezTo>
                    <a:cubicBezTo>
                      <a:pt x="4" y="10"/>
                      <a:pt x="5" y="11"/>
                      <a:pt x="7" y="11"/>
                    </a:cubicBezTo>
                    <a:cubicBezTo>
                      <a:pt x="8" y="11"/>
                      <a:pt x="8" y="11"/>
                      <a:pt x="9" y="11"/>
                    </a:cubicBezTo>
                    <a:cubicBezTo>
                      <a:pt x="10" y="11"/>
                      <a:pt x="10" y="10"/>
                      <a:pt x="10" y="9"/>
                    </a:cubicBezTo>
                    <a:cubicBezTo>
                      <a:pt x="10" y="8"/>
                      <a:pt x="9" y="7"/>
                      <a:pt x="8" y="7"/>
                    </a:cubicBezTo>
                    <a:cubicBezTo>
                      <a:pt x="6" y="8"/>
                      <a:pt x="6" y="8"/>
                      <a:pt x="5" y="6"/>
                    </a:cubicBezTo>
                    <a:cubicBezTo>
                      <a:pt x="4" y="5"/>
                      <a:pt x="4" y="5"/>
                      <a:pt x="4" y="4"/>
                    </a:cubicBezTo>
                    <a:cubicBezTo>
                      <a:pt x="5" y="4"/>
                      <a:pt x="6" y="3"/>
                      <a:pt x="8" y="3"/>
                    </a:cubicBezTo>
                    <a:cubicBezTo>
                      <a:pt x="8" y="3"/>
                      <a:pt x="8" y="3"/>
                      <a:pt x="8" y="3"/>
                    </a:cubicBezTo>
                    <a:cubicBezTo>
                      <a:pt x="8" y="4"/>
                      <a:pt x="8" y="4"/>
                      <a:pt x="8" y="4"/>
                    </a:cubicBezTo>
                    <a:cubicBezTo>
                      <a:pt x="8" y="5"/>
                      <a:pt x="9" y="6"/>
                      <a:pt x="10" y="6"/>
                    </a:cubicBezTo>
                    <a:cubicBezTo>
                      <a:pt x="11" y="6"/>
                      <a:pt x="11" y="5"/>
                      <a:pt x="11" y="4"/>
                    </a:cubicBezTo>
                    <a:cubicBezTo>
                      <a:pt x="11" y="4"/>
                      <a:pt x="11" y="4"/>
                      <a:pt x="11" y="4"/>
                    </a:cubicBezTo>
                    <a:cubicBezTo>
                      <a:pt x="11" y="3"/>
                      <a:pt x="12" y="0"/>
                      <a:pt x="9" y="0"/>
                    </a:cubicBezTo>
                    <a:close/>
                  </a:path>
                </a:pathLst>
              </a:custGeom>
              <a:noFill/>
              <a:ln w="6350">
                <a:solidFill>
                  <a:srgbClr val="00B0F0"/>
                </a:solidFill>
                <a:round/>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itchFamily="34" charset="-122"/>
                </a:endParaRPr>
              </a:p>
            </p:txBody>
          </p:sp>
          <p:sp>
            <p:nvSpPr>
              <p:cNvPr id="351" name="1937646176"/>
              <p:cNvSpPr>
                <a:spLocks/>
              </p:cNvSpPr>
              <p:nvPr/>
            </p:nvSpPr>
            <p:spPr bwMode="auto">
              <a:xfrm>
                <a:off x="7830075" y="5849542"/>
                <a:ext cx="184497" cy="107891"/>
              </a:xfrm>
              <a:custGeom>
                <a:avLst/>
                <a:gdLst>
                  <a:gd name="T0" fmla="*/ 25 w 35"/>
                  <a:gd name="T1" fmla="*/ 20 h 20"/>
                  <a:gd name="T2" fmla="*/ 32 w 35"/>
                  <a:gd name="T3" fmla="*/ 20 h 20"/>
                  <a:gd name="T4" fmla="*/ 32 w 35"/>
                  <a:gd name="T5" fmla="*/ 9 h 20"/>
                  <a:gd name="T6" fmla="*/ 35 w 35"/>
                  <a:gd name="T7" fmla="*/ 0 h 20"/>
                  <a:gd name="T8" fmla="*/ 0 w 35"/>
                  <a:gd name="T9" fmla="*/ 0 h 20"/>
                  <a:gd name="T10" fmla="*/ 3 w 35"/>
                  <a:gd name="T11" fmla="*/ 8 h 20"/>
                  <a:gd name="T12" fmla="*/ 3 w 35"/>
                  <a:gd name="T13" fmla="*/ 20 h 20"/>
                  <a:gd name="T14" fmla="*/ 10 w 35"/>
                  <a:gd name="T15" fmla="*/ 20 h 20"/>
                  <a:gd name="T16" fmla="*/ 10 w 35"/>
                  <a:gd name="T17" fmla="*/ 13 h 20"/>
                  <a:gd name="T18" fmla="*/ 25 w 35"/>
                  <a:gd name="T19" fmla="*/ 14 h 20"/>
                  <a:gd name="T20" fmla="*/ 25 w 35"/>
                  <a:gd name="T2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20">
                    <a:moveTo>
                      <a:pt x="25" y="20"/>
                    </a:moveTo>
                    <a:cubicBezTo>
                      <a:pt x="32" y="20"/>
                      <a:pt x="32" y="20"/>
                      <a:pt x="32" y="20"/>
                    </a:cubicBezTo>
                    <a:cubicBezTo>
                      <a:pt x="32" y="9"/>
                      <a:pt x="32" y="9"/>
                      <a:pt x="32" y="9"/>
                    </a:cubicBezTo>
                    <a:cubicBezTo>
                      <a:pt x="34" y="7"/>
                      <a:pt x="35" y="4"/>
                      <a:pt x="35" y="0"/>
                    </a:cubicBezTo>
                    <a:cubicBezTo>
                      <a:pt x="0" y="0"/>
                      <a:pt x="0" y="0"/>
                      <a:pt x="0" y="0"/>
                    </a:cubicBezTo>
                    <a:cubicBezTo>
                      <a:pt x="0" y="3"/>
                      <a:pt x="1" y="6"/>
                      <a:pt x="3" y="8"/>
                    </a:cubicBezTo>
                    <a:cubicBezTo>
                      <a:pt x="3" y="20"/>
                      <a:pt x="3" y="20"/>
                      <a:pt x="3" y="20"/>
                    </a:cubicBezTo>
                    <a:cubicBezTo>
                      <a:pt x="10" y="20"/>
                      <a:pt x="10" y="20"/>
                      <a:pt x="10" y="20"/>
                    </a:cubicBezTo>
                    <a:cubicBezTo>
                      <a:pt x="10" y="13"/>
                      <a:pt x="10" y="13"/>
                      <a:pt x="10" y="13"/>
                    </a:cubicBezTo>
                    <a:cubicBezTo>
                      <a:pt x="15" y="15"/>
                      <a:pt x="20" y="15"/>
                      <a:pt x="25" y="14"/>
                    </a:cubicBezTo>
                    <a:lnTo>
                      <a:pt x="25" y="20"/>
                    </a:lnTo>
                    <a:close/>
                  </a:path>
                </a:pathLst>
              </a:custGeom>
              <a:noFill/>
              <a:ln w="6350">
                <a:solidFill>
                  <a:srgbClr val="00B0F0"/>
                </a:solidFill>
                <a:round/>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itchFamily="34" charset="-122"/>
                </a:endParaRPr>
              </a:p>
            </p:txBody>
          </p:sp>
          <p:sp>
            <p:nvSpPr>
              <p:cNvPr id="352" name="1747977697"/>
              <p:cNvSpPr>
                <a:spLocks noEditPoints="1"/>
              </p:cNvSpPr>
              <p:nvPr/>
            </p:nvSpPr>
            <p:spPr bwMode="auto">
              <a:xfrm>
                <a:off x="7877762" y="5724742"/>
                <a:ext cx="89121" cy="91788"/>
              </a:xfrm>
              <a:custGeom>
                <a:avLst/>
                <a:gdLst>
                  <a:gd name="T0" fmla="*/ 9 w 17"/>
                  <a:gd name="T1" fmla="*/ 0 h 17"/>
                  <a:gd name="T2" fmla="*/ 0 w 17"/>
                  <a:gd name="T3" fmla="*/ 8 h 17"/>
                  <a:gd name="T4" fmla="*/ 9 w 17"/>
                  <a:gd name="T5" fmla="*/ 17 h 17"/>
                  <a:gd name="T6" fmla="*/ 17 w 17"/>
                  <a:gd name="T7" fmla="*/ 8 h 17"/>
                  <a:gd name="T8" fmla="*/ 9 w 17"/>
                  <a:gd name="T9" fmla="*/ 0 h 17"/>
                  <a:gd name="T10" fmla="*/ 9 w 17"/>
                  <a:gd name="T11" fmla="*/ 15 h 17"/>
                  <a:gd name="T12" fmla="*/ 2 w 17"/>
                  <a:gd name="T13" fmla="*/ 8 h 17"/>
                  <a:gd name="T14" fmla="*/ 9 w 17"/>
                  <a:gd name="T15" fmla="*/ 2 h 17"/>
                  <a:gd name="T16" fmla="*/ 15 w 17"/>
                  <a:gd name="T17" fmla="*/ 8 h 17"/>
                  <a:gd name="T18" fmla="*/ 9 w 17"/>
                  <a:gd name="T19"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9" y="0"/>
                    </a:moveTo>
                    <a:cubicBezTo>
                      <a:pt x="4" y="0"/>
                      <a:pt x="0" y="4"/>
                      <a:pt x="0" y="8"/>
                    </a:cubicBezTo>
                    <a:cubicBezTo>
                      <a:pt x="0" y="13"/>
                      <a:pt x="4" y="17"/>
                      <a:pt x="9" y="17"/>
                    </a:cubicBezTo>
                    <a:cubicBezTo>
                      <a:pt x="13" y="17"/>
                      <a:pt x="17" y="13"/>
                      <a:pt x="17" y="8"/>
                    </a:cubicBezTo>
                    <a:cubicBezTo>
                      <a:pt x="17" y="4"/>
                      <a:pt x="13" y="0"/>
                      <a:pt x="9" y="0"/>
                    </a:cubicBezTo>
                    <a:close/>
                    <a:moveTo>
                      <a:pt x="9" y="15"/>
                    </a:moveTo>
                    <a:cubicBezTo>
                      <a:pt x="5" y="15"/>
                      <a:pt x="2" y="12"/>
                      <a:pt x="2" y="8"/>
                    </a:cubicBezTo>
                    <a:cubicBezTo>
                      <a:pt x="2" y="5"/>
                      <a:pt x="5" y="2"/>
                      <a:pt x="9" y="2"/>
                    </a:cubicBezTo>
                    <a:cubicBezTo>
                      <a:pt x="12" y="2"/>
                      <a:pt x="15" y="5"/>
                      <a:pt x="15" y="8"/>
                    </a:cubicBezTo>
                    <a:cubicBezTo>
                      <a:pt x="15" y="12"/>
                      <a:pt x="12" y="15"/>
                      <a:pt x="9" y="15"/>
                    </a:cubicBezTo>
                    <a:close/>
                  </a:path>
                </a:pathLst>
              </a:custGeom>
              <a:noFill/>
              <a:ln w="6350">
                <a:solidFill>
                  <a:srgbClr val="00B0F0"/>
                </a:solidFill>
                <a:round/>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itchFamily="34" charset="-122"/>
                </a:endParaRPr>
              </a:p>
            </p:txBody>
          </p:sp>
          <p:sp>
            <p:nvSpPr>
              <p:cNvPr id="353" name="1301908117"/>
              <p:cNvSpPr>
                <a:spLocks noEditPoints="1"/>
              </p:cNvSpPr>
              <p:nvPr/>
            </p:nvSpPr>
            <p:spPr bwMode="auto">
              <a:xfrm>
                <a:off x="7830075" y="5697367"/>
                <a:ext cx="189969" cy="140903"/>
              </a:xfrm>
              <a:custGeom>
                <a:avLst/>
                <a:gdLst>
                  <a:gd name="T0" fmla="*/ 36 w 36"/>
                  <a:gd name="T1" fmla="*/ 0 h 26"/>
                  <a:gd name="T2" fmla="*/ 0 w 36"/>
                  <a:gd name="T3" fmla="*/ 0 h 26"/>
                  <a:gd name="T4" fmla="*/ 0 w 36"/>
                  <a:gd name="T5" fmla="*/ 26 h 26"/>
                  <a:gd name="T6" fmla="*/ 36 w 36"/>
                  <a:gd name="T7" fmla="*/ 26 h 26"/>
                  <a:gd name="T8" fmla="*/ 36 w 36"/>
                  <a:gd name="T9" fmla="*/ 0 h 26"/>
                  <a:gd name="T10" fmla="*/ 18 w 36"/>
                  <a:gd name="T11" fmla="*/ 23 h 26"/>
                  <a:gd name="T12" fmla="*/ 8 w 36"/>
                  <a:gd name="T13" fmla="*/ 13 h 26"/>
                  <a:gd name="T14" fmla="*/ 18 w 36"/>
                  <a:gd name="T15" fmla="*/ 4 h 26"/>
                  <a:gd name="T16" fmla="*/ 27 w 36"/>
                  <a:gd name="T17" fmla="*/ 13 h 26"/>
                  <a:gd name="T18" fmla="*/ 18 w 36"/>
                  <a:gd name="T19" fmla="*/ 2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26">
                    <a:moveTo>
                      <a:pt x="36" y="0"/>
                    </a:moveTo>
                    <a:cubicBezTo>
                      <a:pt x="0" y="0"/>
                      <a:pt x="0" y="0"/>
                      <a:pt x="0" y="0"/>
                    </a:cubicBezTo>
                    <a:cubicBezTo>
                      <a:pt x="0" y="26"/>
                      <a:pt x="0" y="26"/>
                      <a:pt x="0" y="26"/>
                    </a:cubicBezTo>
                    <a:cubicBezTo>
                      <a:pt x="36" y="26"/>
                      <a:pt x="36" y="26"/>
                      <a:pt x="36" y="26"/>
                    </a:cubicBezTo>
                    <a:lnTo>
                      <a:pt x="36" y="0"/>
                    </a:lnTo>
                    <a:close/>
                    <a:moveTo>
                      <a:pt x="18" y="23"/>
                    </a:moveTo>
                    <a:cubicBezTo>
                      <a:pt x="12" y="23"/>
                      <a:pt x="8" y="19"/>
                      <a:pt x="8" y="13"/>
                    </a:cubicBezTo>
                    <a:cubicBezTo>
                      <a:pt x="8" y="8"/>
                      <a:pt x="12" y="4"/>
                      <a:pt x="18" y="4"/>
                    </a:cubicBezTo>
                    <a:cubicBezTo>
                      <a:pt x="23" y="4"/>
                      <a:pt x="27" y="8"/>
                      <a:pt x="27" y="13"/>
                    </a:cubicBezTo>
                    <a:cubicBezTo>
                      <a:pt x="27" y="19"/>
                      <a:pt x="23" y="23"/>
                      <a:pt x="18" y="23"/>
                    </a:cubicBezTo>
                    <a:close/>
                  </a:path>
                </a:pathLst>
              </a:custGeom>
              <a:noFill/>
              <a:ln w="6350">
                <a:solidFill>
                  <a:srgbClr val="00B0F0"/>
                </a:solidFill>
                <a:round/>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itchFamily="34" charset="-122"/>
                </a:endParaRPr>
              </a:p>
            </p:txBody>
          </p:sp>
          <p:sp>
            <p:nvSpPr>
              <p:cNvPr id="354" name="1989544730"/>
              <p:cNvSpPr>
                <a:spLocks/>
              </p:cNvSpPr>
              <p:nvPr/>
            </p:nvSpPr>
            <p:spPr bwMode="auto">
              <a:xfrm>
                <a:off x="8020044" y="5843905"/>
                <a:ext cx="57851" cy="59582"/>
              </a:xfrm>
              <a:custGeom>
                <a:avLst/>
                <a:gdLst>
                  <a:gd name="T0" fmla="*/ 10 w 11"/>
                  <a:gd name="T1" fmla="*/ 3 h 11"/>
                  <a:gd name="T2" fmla="*/ 2 w 11"/>
                  <a:gd name="T3" fmla="*/ 0 h 11"/>
                  <a:gd name="T4" fmla="*/ 0 w 11"/>
                  <a:gd name="T5" fmla="*/ 4 h 11"/>
                  <a:gd name="T6" fmla="*/ 1 w 11"/>
                  <a:gd name="T7" fmla="*/ 4 h 11"/>
                  <a:gd name="T8" fmla="*/ 2 w 11"/>
                  <a:gd name="T9" fmla="*/ 6 h 11"/>
                  <a:gd name="T10" fmla="*/ 4 w 11"/>
                  <a:gd name="T11" fmla="*/ 4 h 11"/>
                  <a:gd name="T12" fmla="*/ 4 w 11"/>
                  <a:gd name="T13" fmla="*/ 3 h 11"/>
                  <a:gd name="T14" fmla="*/ 4 w 11"/>
                  <a:gd name="T15" fmla="*/ 3 h 11"/>
                  <a:gd name="T16" fmla="*/ 8 w 11"/>
                  <a:gd name="T17" fmla="*/ 4 h 11"/>
                  <a:gd name="T18" fmla="*/ 7 w 11"/>
                  <a:gd name="T19" fmla="*/ 6 h 11"/>
                  <a:gd name="T20" fmla="*/ 3 w 11"/>
                  <a:gd name="T21" fmla="*/ 7 h 11"/>
                  <a:gd name="T22" fmla="*/ 2 w 11"/>
                  <a:gd name="T23" fmla="*/ 9 h 11"/>
                  <a:gd name="T24" fmla="*/ 3 w 11"/>
                  <a:gd name="T25" fmla="*/ 11 h 11"/>
                  <a:gd name="T26" fmla="*/ 4 w 11"/>
                  <a:gd name="T27" fmla="*/ 11 h 11"/>
                  <a:gd name="T28" fmla="*/ 9 w 11"/>
                  <a:gd name="T29" fmla="*/ 8 h 11"/>
                  <a:gd name="T30" fmla="*/ 10 w 11"/>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11">
                    <a:moveTo>
                      <a:pt x="10" y="3"/>
                    </a:moveTo>
                    <a:cubicBezTo>
                      <a:pt x="9" y="1"/>
                      <a:pt x="6" y="0"/>
                      <a:pt x="2" y="0"/>
                    </a:cubicBezTo>
                    <a:cubicBezTo>
                      <a:pt x="0" y="0"/>
                      <a:pt x="0" y="3"/>
                      <a:pt x="0" y="4"/>
                    </a:cubicBezTo>
                    <a:cubicBezTo>
                      <a:pt x="1" y="4"/>
                      <a:pt x="1" y="4"/>
                      <a:pt x="1" y="4"/>
                    </a:cubicBezTo>
                    <a:cubicBezTo>
                      <a:pt x="0" y="5"/>
                      <a:pt x="1" y="6"/>
                      <a:pt x="2" y="6"/>
                    </a:cubicBezTo>
                    <a:cubicBezTo>
                      <a:pt x="3" y="6"/>
                      <a:pt x="4" y="5"/>
                      <a:pt x="4" y="4"/>
                    </a:cubicBezTo>
                    <a:cubicBezTo>
                      <a:pt x="4" y="4"/>
                      <a:pt x="4" y="4"/>
                      <a:pt x="4" y="3"/>
                    </a:cubicBezTo>
                    <a:cubicBezTo>
                      <a:pt x="4" y="3"/>
                      <a:pt x="4" y="3"/>
                      <a:pt x="4" y="3"/>
                    </a:cubicBezTo>
                    <a:cubicBezTo>
                      <a:pt x="6" y="3"/>
                      <a:pt x="7" y="4"/>
                      <a:pt x="8" y="4"/>
                    </a:cubicBezTo>
                    <a:cubicBezTo>
                      <a:pt x="8" y="5"/>
                      <a:pt x="8" y="5"/>
                      <a:pt x="7" y="6"/>
                    </a:cubicBezTo>
                    <a:cubicBezTo>
                      <a:pt x="6" y="8"/>
                      <a:pt x="6" y="8"/>
                      <a:pt x="3" y="7"/>
                    </a:cubicBezTo>
                    <a:cubicBezTo>
                      <a:pt x="3" y="7"/>
                      <a:pt x="2" y="8"/>
                      <a:pt x="2" y="9"/>
                    </a:cubicBezTo>
                    <a:cubicBezTo>
                      <a:pt x="2" y="10"/>
                      <a:pt x="2" y="11"/>
                      <a:pt x="3" y="11"/>
                    </a:cubicBezTo>
                    <a:cubicBezTo>
                      <a:pt x="4" y="11"/>
                      <a:pt x="4" y="11"/>
                      <a:pt x="4" y="11"/>
                    </a:cubicBezTo>
                    <a:cubicBezTo>
                      <a:pt x="7" y="11"/>
                      <a:pt x="8" y="10"/>
                      <a:pt x="9" y="8"/>
                    </a:cubicBezTo>
                    <a:cubicBezTo>
                      <a:pt x="11" y="6"/>
                      <a:pt x="11" y="4"/>
                      <a:pt x="10" y="3"/>
                    </a:cubicBezTo>
                    <a:close/>
                  </a:path>
                </a:pathLst>
              </a:custGeom>
              <a:noFill/>
              <a:ln w="6350">
                <a:solidFill>
                  <a:srgbClr val="00B0F0"/>
                </a:solidFill>
                <a:round/>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itchFamily="34" charset="-122"/>
                </a:endParaRPr>
              </a:p>
            </p:txBody>
          </p:sp>
          <p:sp>
            <p:nvSpPr>
              <p:cNvPr id="355" name="586213195"/>
              <p:cNvSpPr>
                <a:spLocks/>
              </p:cNvSpPr>
              <p:nvPr/>
            </p:nvSpPr>
            <p:spPr bwMode="auto">
              <a:xfrm>
                <a:off x="7772224" y="5697367"/>
                <a:ext cx="47688" cy="140903"/>
              </a:xfrm>
              <a:custGeom>
                <a:avLst/>
                <a:gdLst>
                  <a:gd name="T0" fmla="*/ 4 w 9"/>
                  <a:gd name="T1" fmla="*/ 8 h 26"/>
                  <a:gd name="T2" fmla="*/ 4 w 9"/>
                  <a:gd name="T3" fmla="*/ 10 h 26"/>
                  <a:gd name="T4" fmla="*/ 0 w 9"/>
                  <a:gd name="T5" fmla="*/ 10 h 26"/>
                  <a:gd name="T6" fmla="*/ 0 w 9"/>
                  <a:gd name="T7" fmla="*/ 11 h 26"/>
                  <a:gd name="T8" fmla="*/ 4 w 9"/>
                  <a:gd name="T9" fmla="*/ 11 h 26"/>
                  <a:gd name="T10" fmla="*/ 4 w 9"/>
                  <a:gd name="T11" fmla="*/ 13 h 26"/>
                  <a:gd name="T12" fmla="*/ 0 w 9"/>
                  <a:gd name="T13" fmla="*/ 13 h 26"/>
                  <a:gd name="T14" fmla="*/ 0 w 9"/>
                  <a:gd name="T15" fmla="*/ 26 h 26"/>
                  <a:gd name="T16" fmla="*/ 9 w 9"/>
                  <a:gd name="T17" fmla="*/ 26 h 26"/>
                  <a:gd name="T18" fmla="*/ 9 w 9"/>
                  <a:gd name="T19" fmla="*/ 0 h 26"/>
                  <a:gd name="T20" fmla="*/ 0 w 9"/>
                  <a:gd name="T21" fmla="*/ 6 h 26"/>
                  <a:gd name="T22" fmla="*/ 0 w 9"/>
                  <a:gd name="T23" fmla="*/ 8 h 26"/>
                  <a:gd name="T24" fmla="*/ 4 w 9"/>
                  <a:gd name="T25"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26">
                    <a:moveTo>
                      <a:pt x="4" y="8"/>
                    </a:moveTo>
                    <a:cubicBezTo>
                      <a:pt x="4" y="10"/>
                      <a:pt x="4" y="10"/>
                      <a:pt x="4" y="10"/>
                    </a:cubicBezTo>
                    <a:cubicBezTo>
                      <a:pt x="0" y="10"/>
                      <a:pt x="0" y="10"/>
                      <a:pt x="0" y="10"/>
                    </a:cubicBezTo>
                    <a:cubicBezTo>
                      <a:pt x="0" y="11"/>
                      <a:pt x="0" y="11"/>
                      <a:pt x="0" y="11"/>
                    </a:cubicBezTo>
                    <a:cubicBezTo>
                      <a:pt x="4" y="11"/>
                      <a:pt x="4" y="11"/>
                      <a:pt x="4" y="11"/>
                    </a:cubicBezTo>
                    <a:cubicBezTo>
                      <a:pt x="4" y="13"/>
                      <a:pt x="4" y="13"/>
                      <a:pt x="4" y="13"/>
                    </a:cubicBezTo>
                    <a:cubicBezTo>
                      <a:pt x="0" y="13"/>
                      <a:pt x="0" y="13"/>
                      <a:pt x="0" y="13"/>
                    </a:cubicBezTo>
                    <a:cubicBezTo>
                      <a:pt x="0" y="26"/>
                      <a:pt x="0" y="26"/>
                      <a:pt x="0" y="26"/>
                    </a:cubicBezTo>
                    <a:cubicBezTo>
                      <a:pt x="9" y="26"/>
                      <a:pt x="9" y="26"/>
                      <a:pt x="9" y="26"/>
                    </a:cubicBezTo>
                    <a:cubicBezTo>
                      <a:pt x="9" y="0"/>
                      <a:pt x="9" y="0"/>
                      <a:pt x="9" y="0"/>
                    </a:cubicBezTo>
                    <a:cubicBezTo>
                      <a:pt x="3" y="0"/>
                      <a:pt x="0" y="0"/>
                      <a:pt x="0" y="6"/>
                    </a:cubicBezTo>
                    <a:cubicBezTo>
                      <a:pt x="0" y="8"/>
                      <a:pt x="0" y="8"/>
                      <a:pt x="0" y="8"/>
                    </a:cubicBezTo>
                    <a:lnTo>
                      <a:pt x="4" y="8"/>
                    </a:lnTo>
                    <a:close/>
                  </a:path>
                </a:pathLst>
              </a:custGeom>
              <a:noFill/>
              <a:ln w="6350">
                <a:solidFill>
                  <a:srgbClr val="00B0F0"/>
                </a:solidFill>
                <a:round/>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itchFamily="34" charset="-122"/>
                </a:endParaRPr>
              </a:p>
            </p:txBody>
          </p:sp>
          <p:sp>
            <p:nvSpPr>
              <p:cNvPr id="356" name="495933997"/>
              <p:cNvSpPr>
                <a:spLocks noChangeArrowheads="1"/>
              </p:cNvSpPr>
              <p:nvPr/>
            </p:nvSpPr>
            <p:spPr bwMode="auto">
              <a:xfrm>
                <a:off x="7904342" y="5665161"/>
                <a:ext cx="78959" cy="11272"/>
              </a:xfrm>
              <a:prstGeom prst="rect">
                <a:avLst/>
              </a:prstGeom>
              <a:noFill/>
              <a:ln w="6350">
                <a:solidFill>
                  <a:srgbClr val="00B0F0"/>
                </a:solidFill>
                <a:miter lim="800000"/>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itchFamily="34" charset="-122"/>
                </a:endParaRPr>
              </a:p>
            </p:txBody>
          </p:sp>
          <p:sp>
            <p:nvSpPr>
              <p:cNvPr id="357" name="347543686"/>
              <p:cNvSpPr>
                <a:spLocks noChangeArrowheads="1"/>
              </p:cNvSpPr>
              <p:nvPr/>
            </p:nvSpPr>
            <p:spPr bwMode="auto">
              <a:xfrm>
                <a:off x="7867600" y="5665161"/>
                <a:ext cx="15635" cy="11272"/>
              </a:xfrm>
              <a:prstGeom prst="rect">
                <a:avLst/>
              </a:prstGeom>
              <a:noFill/>
              <a:ln w="6350">
                <a:solidFill>
                  <a:srgbClr val="00B0F0"/>
                </a:solidFill>
                <a:miter lim="800000"/>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itchFamily="34" charset="-122"/>
                </a:endParaRPr>
              </a:p>
            </p:txBody>
          </p:sp>
          <p:sp>
            <p:nvSpPr>
              <p:cNvPr id="358" name="441112256"/>
              <p:cNvSpPr>
                <a:spLocks noChangeArrowheads="1"/>
              </p:cNvSpPr>
              <p:nvPr/>
            </p:nvSpPr>
            <p:spPr bwMode="auto">
              <a:xfrm>
                <a:off x="7887926" y="5665161"/>
                <a:ext cx="10945" cy="11272"/>
              </a:xfrm>
              <a:prstGeom prst="rect">
                <a:avLst/>
              </a:prstGeom>
              <a:noFill/>
              <a:ln w="6350">
                <a:solidFill>
                  <a:srgbClr val="00B0F0"/>
                </a:solidFill>
                <a:miter lim="800000"/>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itchFamily="34" charset="-122"/>
                </a:endParaRPr>
              </a:p>
            </p:txBody>
          </p:sp>
          <p:sp>
            <p:nvSpPr>
              <p:cNvPr id="359" name="1032278185"/>
              <p:cNvSpPr>
                <a:spLocks noEditPoints="1"/>
              </p:cNvSpPr>
              <p:nvPr/>
            </p:nvSpPr>
            <p:spPr bwMode="auto">
              <a:xfrm>
                <a:off x="7830075" y="5579009"/>
                <a:ext cx="189969" cy="107891"/>
              </a:xfrm>
              <a:custGeom>
                <a:avLst/>
                <a:gdLst>
                  <a:gd name="T0" fmla="*/ 0 w 36"/>
                  <a:gd name="T1" fmla="*/ 20 h 20"/>
                  <a:gd name="T2" fmla="*/ 35 w 36"/>
                  <a:gd name="T3" fmla="*/ 20 h 20"/>
                  <a:gd name="T4" fmla="*/ 0 w 36"/>
                  <a:gd name="T5" fmla="*/ 20 h 20"/>
                  <a:gd name="T6" fmla="*/ 31 w 36"/>
                  <a:gd name="T7" fmla="*/ 19 h 20"/>
                  <a:gd name="T8" fmla="*/ 6 w 36"/>
                  <a:gd name="T9" fmla="*/ 19 h 20"/>
                  <a:gd name="T10" fmla="*/ 6 w 36"/>
                  <a:gd name="T11" fmla="*/ 14 h 20"/>
                  <a:gd name="T12" fmla="*/ 31 w 36"/>
                  <a:gd name="T13" fmla="*/ 14 h 20"/>
                  <a:gd name="T14" fmla="*/ 31 w 36"/>
                  <a:gd name="T15" fmla="*/ 19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0">
                    <a:moveTo>
                      <a:pt x="0" y="20"/>
                    </a:moveTo>
                    <a:cubicBezTo>
                      <a:pt x="35" y="20"/>
                      <a:pt x="35" y="20"/>
                      <a:pt x="35" y="20"/>
                    </a:cubicBezTo>
                    <a:cubicBezTo>
                      <a:pt x="36" y="0"/>
                      <a:pt x="0" y="1"/>
                      <a:pt x="0" y="20"/>
                    </a:cubicBezTo>
                    <a:close/>
                    <a:moveTo>
                      <a:pt x="31" y="19"/>
                    </a:moveTo>
                    <a:cubicBezTo>
                      <a:pt x="6" y="19"/>
                      <a:pt x="6" y="19"/>
                      <a:pt x="6" y="19"/>
                    </a:cubicBezTo>
                    <a:cubicBezTo>
                      <a:pt x="6" y="14"/>
                      <a:pt x="6" y="14"/>
                      <a:pt x="6" y="14"/>
                    </a:cubicBezTo>
                    <a:cubicBezTo>
                      <a:pt x="31" y="14"/>
                      <a:pt x="31" y="14"/>
                      <a:pt x="31" y="14"/>
                    </a:cubicBezTo>
                    <a:lnTo>
                      <a:pt x="31" y="19"/>
                    </a:lnTo>
                    <a:close/>
                  </a:path>
                </a:pathLst>
              </a:custGeom>
              <a:noFill/>
              <a:ln w="6350">
                <a:solidFill>
                  <a:srgbClr val="00B0F0"/>
                </a:solidFill>
                <a:round/>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itchFamily="34" charset="-122"/>
                </a:endParaRPr>
              </a:p>
            </p:txBody>
          </p:sp>
        </p:grpSp>
      </p:grpSp>
      <p:grpSp>
        <p:nvGrpSpPr>
          <p:cNvPr id="360" name="组合 359"/>
          <p:cNvGrpSpPr/>
          <p:nvPr/>
        </p:nvGrpSpPr>
        <p:grpSpPr>
          <a:xfrm>
            <a:off x="4589462" y="3843996"/>
            <a:ext cx="410456" cy="410410"/>
            <a:chOff x="8634445" y="1937517"/>
            <a:chExt cx="418540" cy="418541"/>
          </a:xfrm>
        </p:grpSpPr>
        <p:sp>
          <p:nvSpPr>
            <p:cNvPr id="361" name="椭圆 360"/>
            <p:cNvSpPr/>
            <p:nvPr/>
          </p:nvSpPr>
          <p:spPr>
            <a:xfrm>
              <a:off x="8634445" y="1937517"/>
              <a:ext cx="418540" cy="418541"/>
            </a:xfrm>
            <a:prstGeom prst="ellipse">
              <a:avLst/>
            </a:prstGeom>
            <a:noFill/>
            <a:ln w="31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ffectLst>
                  <a:outerShdw blurRad="38100" dist="38100" dir="2700000" algn="tl">
                    <a:srgbClr val="000000">
                      <a:alpha val="43137"/>
                    </a:srgbClr>
                  </a:outerShdw>
                </a:effectLst>
                <a:latin typeface="+mj-lt"/>
              </a:endParaRPr>
            </a:p>
          </p:txBody>
        </p:sp>
        <p:grpSp>
          <p:nvGrpSpPr>
            <p:cNvPr id="362" name="组合 361"/>
            <p:cNvGrpSpPr/>
            <p:nvPr/>
          </p:nvGrpSpPr>
          <p:grpSpPr>
            <a:xfrm>
              <a:off x="8716588" y="2011423"/>
              <a:ext cx="254254" cy="270730"/>
              <a:chOff x="13458826" y="101600"/>
              <a:chExt cx="735013" cy="782638"/>
            </a:xfrm>
            <a:solidFill>
              <a:schemeClr val="bg1"/>
            </a:solidFill>
          </p:grpSpPr>
          <p:sp>
            <p:nvSpPr>
              <p:cNvPr id="363" name="Freeform 210"/>
              <p:cNvSpPr>
                <a:spLocks noEditPoints="1"/>
              </p:cNvSpPr>
              <p:nvPr/>
            </p:nvSpPr>
            <p:spPr bwMode="auto">
              <a:xfrm>
                <a:off x="13763626" y="428625"/>
                <a:ext cx="125413" cy="123825"/>
              </a:xfrm>
              <a:custGeom>
                <a:avLst/>
                <a:gdLst/>
                <a:ahLst/>
                <a:cxnLst>
                  <a:cxn ang="0">
                    <a:pos x="19" y="39"/>
                  </a:cxn>
                  <a:cxn ang="0">
                    <a:pos x="39" y="20"/>
                  </a:cxn>
                  <a:cxn ang="0">
                    <a:pos x="19" y="0"/>
                  </a:cxn>
                  <a:cxn ang="0">
                    <a:pos x="0" y="20"/>
                  </a:cxn>
                  <a:cxn ang="0">
                    <a:pos x="19" y="39"/>
                  </a:cxn>
                  <a:cxn ang="0">
                    <a:pos x="19" y="6"/>
                  </a:cxn>
                  <a:cxn ang="0">
                    <a:pos x="33" y="20"/>
                  </a:cxn>
                  <a:cxn ang="0">
                    <a:pos x="19" y="33"/>
                  </a:cxn>
                  <a:cxn ang="0">
                    <a:pos x="6" y="20"/>
                  </a:cxn>
                  <a:cxn ang="0">
                    <a:pos x="19" y="6"/>
                  </a:cxn>
                </a:cxnLst>
                <a:rect l="0" t="0" r="r" b="b"/>
                <a:pathLst>
                  <a:path w="39" h="39">
                    <a:moveTo>
                      <a:pt x="19" y="39"/>
                    </a:moveTo>
                    <a:cubicBezTo>
                      <a:pt x="30" y="39"/>
                      <a:pt x="39" y="30"/>
                      <a:pt x="39" y="20"/>
                    </a:cubicBezTo>
                    <a:cubicBezTo>
                      <a:pt x="39" y="9"/>
                      <a:pt x="30" y="0"/>
                      <a:pt x="19" y="0"/>
                    </a:cubicBezTo>
                    <a:cubicBezTo>
                      <a:pt x="8" y="0"/>
                      <a:pt x="0" y="9"/>
                      <a:pt x="0" y="20"/>
                    </a:cubicBezTo>
                    <a:cubicBezTo>
                      <a:pt x="0" y="30"/>
                      <a:pt x="8" y="39"/>
                      <a:pt x="19" y="39"/>
                    </a:cubicBezTo>
                    <a:close/>
                    <a:moveTo>
                      <a:pt x="19" y="6"/>
                    </a:moveTo>
                    <a:cubicBezTo>
                      <a:pt x="27" y="6"/>
                      <a:pt x="33" y="12"/>
                      <a:pt x="33" y="20"/>
                    </a:cubicBezTo>
                    <a:cubicBezTo>
                      <a:pt x="33" y="27"/>
                      <a:pt x="27" y="33"/>
                      <a:pt x="19" y="33"/>
                    </a:cubicBezTo>
                    <a:cubicBezTo>
                      <a:pt x="12" y="33"/>
                      <a:pt x="6" y="27"/>
                      <a:pt x="6" y="20"/>
                    </a:cubicBezTo>
                    <a:cubicBezTo>
                      <a:pt x="6" y="12"/>
                      <a:pt x="12" y="6"/>
                      <a:pt x="19" y="6"/>
                    </a:cubicBezTo>
                    <a:close/>
                  </a:path>
                </a:pathLst>
              </a:custGeom>
              <a:grpFill/>
              <a:ln w="9525">
                <a:solidFill>
                  <a:srgbClr val="00B0F0"/>
                </a:solidFill>
                <a:round/>
                <a:headEnd/>
                <a:tailEnd/>
              </a:ln>
            </p:spPr>
            <p:txBody>
              <a:bodyPr vert="horz" wrap="square" lIns="91434" tIns="45718" rIns="91434" bIns="45718" numCol="1" anchor="t" anchorCtr="0" compatLnSpc="1">
                <a:prstTxWarp prst="textNoShape">
                  <a:avLst/>
                </a:prstTxWarp>
              </a:bodyPr>
              <a:lstStyle/>
              <a:p>
                <a:endParaRPr lang="zh-CN" altLang="en-US">
                  <a:effectLst>
                    <a:outerShdw blurRad="38100" dist="38100" dir="2700000" algn="tl">
                      <a:srgbClr val="000000">
                        <a:alpha val="43137"/>
                      </a:srgbClr>
                    </a:outerShdw>
                  </a:effectLst>
                  <a:latin typeface="+mj-lt"/>
                </a:endParaRPr>
              </a:p>
            </p:txBody>
          </p:sp>
          <p:sp>
            <p:nvSpPr>
              <p:cNvPr id="364" name="Freeform 211"/>
              <p:cNvSpPr>
                <a:spLocks noEditPoints="1"/>
              </p:cNvSpPr>
              <p:nvPr/>
            </p:nvSpPr>
            <p:spPr bwMode="auto">
              <a:xfrm>
                <a:off x="13458826" y="101600"/>
                <a:ext cx="735013" cy="782638"/>
              </a:xfrm>
              <a:custGeom>
                <a:avLst/>
                <a:gdLst/>
                <a:ahLst/>
                <a:cxnLst>
                  <a:cxn ang="0">
                    <a:pos x="46" y="200"/>
                  </a:cxn>
                  <a:cxn ang="0">
                    <a:pos x="115" y="246"/>
                  </a:cxn>
                  <a:cxn ang="0">
                    <a:pos x="147" y="226"/>
                  </a:cxn>
                  <a:cxn ang="0">
                    <a:pos x="154" y="207"/>
                  </a:cxn>
                  <a:cxn ang="0">
                    <a:pos x="171" y="199"/>
                  </a:cxn>
                  <a:cxn ang="0">
                    <a:pos x="222" y="184"/>
                  </a:cxn>
                  <a:cxn ang="0">
                    <a:pos x="222" y="61"/>
                  </a:cxn>
                  <a:cxn ang="0">
                    <a:pos x="158" y="49"/>
                  </a:cxn>
                  <a:cxn ang="0">
                    <a:pos x="72" y="49"/>
                  </a:cxn>
                  <a:cxn ang="0">
                    <a:pos x="35" y="39"/>
                  </a:cxn>
                  <a:cxn ang="0">
                    <a:pos x="9" y="61"/>
                  </a:cxn>
                  <a:cxn ang="0">
                    <a:pos x="9" y="184"/>
                  </a:cxn>
                  <a:cxn ang="0">
                    <a:pos x="142" y="216"/>
                  </a:cxn>
                  <a:cxn ang="0">
                    <a:pos x="152" y="216"/>
                  </a:cxn>
                  <a:cxn ang="0">
                    <a:pos x="149" y="205"/>
                  </a:cxn>
                  <a:cxn ang="0">
                    <a:pos x="136" y="216"/>
                  </a:cxn>
                  <a:cxn ang="0">
                    <a:pos x="115" y="240"/>
                  </a:cxn>
                  <a:cxn ang="0">
                    <a:pos x="115" y="182"/>
                  </a:cxn>
                  <a:cxn ang="0">
                    <a:pos x="149" y="205"/>
                  </a:cxn>
                  <a:cxn ang="0">
                    <a:pos x="69" y="96"/>
                  </a:cxn>
                  <a:cxn ang="0">
                    <a:pos x="115" y="69"/>
                  </a:cxn>
                  <a:cxn ang="0">
                    <a:pos x="161" y="96"/>
                  </a:cxn>
                  <a:cxn ang="0">
                    <a:pos x="161" y="149"/>
                  </a:cxn>
                  <a:cxn ang="0">
                    <a:pos x="115" y="176"/>
                  </a:cxn>
                  <a:cxn ang="0">
                    <a:pos x="69" y="149"/>
                  </a:cxn>
                  <a:cxn ang="0">
                    <a:pos x="63" y="144"/>
                  </a:cxn>
                  <a:cxn ang="0">
                    <a:pos x="63" y="101"/>
                  </a:cxn>
                  <a:cxn ang="0">
                    <a:pos x="63" y="144"/>
                  </a:cxn>
                  <a:cxn ang="0">
                    <a:pos x="77" y="56"/>
                  </a:cxn>
                  <a:cxn ang="0">
                    <a:pos x="89" y="76"/>
                  </a:cxn>
                  <a:cxn ang="0">
                    <a:pos x="123" y="66"/>
                  </a:cxn>
                  <a:cxn ang="0">
                    <a:pos x="160" y="88"/>
                  </a:cxn>
                  <a:cxn ang="0">
                    <a:pos x="123" y="66"/>
                  </a:cxn>
                  <a:cxn ang="0">
                    <a:pos x="192" y="123"/>
                  </a:cxn>
                  <a:cxn ang="0">
                    <a:pos x="169" y="123"/>
                  </a:cxn>
                  <a:cxn ang="0">
                    <a:pos x="160" y="157"/>
                  </a:cxn>
                  <a:cxn ang="0">
                    <a:pos x="123" y="179"/>
                  </a:cxn>
                  <a:cxn ang="0">
                    <a:pos x="160" y="157"/>
                  </a:cxn>
                  <a:cxn ang="0">
                    <a:pos x="108" y="179"/>
                  </a:cxn>
                  <a:cxn ang="0">
                    <a:pos x="70" y="157"/>
                  </a:cxn>
                  <a:cxn ang="0">
                    <a:pos x="217" y="181"/>
                  </a:cxn>
                  <a:cxn ang="0">
                    <a:pos x="160" y="191"/>
                  </a:cxn>
                  <a:cxn ang="0">
                    <a:pos x="197" y="127"/>
                  </a:cxn>
                  <a:cxn ang="0">
                    <a:pos x="185" y="51"/>
                  </a:cxn>
                  <a:cxn ang="0">
                    <a:pos x="197" y="118"/>
                  </a:cxn>
                  <a:cxn ang="0">
                    <a:pos x="160" y="54"/>
                  </a:cxn>
                  <a:cxn ang="0">
                    <a:pos x="115" y="6"/>
                  </a:cxn>
                  <a:cxn ang="0">
                    <a:pos x="115" y="63"/>
                  </a:cxn>
                  <a:cxn ang="0">
                    <a:pos x="115" y="6"/>
                  </a:cxn>
                  <a:cxn ang="0">
                    <a:pos x="40" y="50"/>
                  </a:cxn>
                  <a:cxn ang="0">
                    <a:pos x="30" y="50"/>
                  </a:cxn>
                  <a:cxn ang="0">
                    <a:pos x="14" y="64"/>
                  </a:cxn>
                  <a:cxn ang="0">
                    <a:pos x="35" y="60"/>
                  </a:cxn>
                  <a:cxn ang="0">
                    <a:pos x="71" y="54"/>
                  </a:cxn>
                  <a:cxn ang="0">
                    <a:pos x="34" y="118"/>
                  </a:cxn>
                  <a:cxn ang="0">
                    <a:pos x="34" y="127"/>
                  </a:cxn>
                  <a:cxn ang="0">
                    <a:pos x="71" y="191"/>
                  </a:cxn>
                  <a:cxn ang="0">
                    <a:pos x="14" y="181"/>
                  </a:cxn>
                </a:cxnLst>
                <a:rect l="0" t="0" r="r" b="b"/>
                <a:pathLst>
                  <a:path w="231" h="246">
                    <a:moveTo>
                      <a:pt x="9" y="184"/>
                    </a:moveTo>
                    <a:cubicBezTo>
                      <a:pt x="15" y="194"/>
                      <a:pt x="28" y="200"/>
                      <a:pt x="46" y="200"/>
                    </a:cubicBezTo>
                    <a:cubicBezTo>
                      <a:pt x="54" y="200"/>
                      <a:pt x="63" y="199"/>
                      <a:pt x="72" y="196"/>
                    </a:cubicBezTo>
                    <a:cubicBezTo>
                      <a:pt x="82" y="226"/>
                      <a:pt x="98" y="246"/>
                      <a:pt x="115" y="246"/>
                    </a:cubicBezTo>
                    <a:cubicBezTo>
                      <a:pt x="126" y="246"/>
                      <a:pt x="136" y="239"/>
                      <a:pt x="144" y="226"/>
                    </a:cubicBezTo>
                    <a:cubicBezTo>
                      <a:pt x="145" y="226"/>
                      <a:pt x="146" y="226"/>
                      <a:pt x="147" y="226"/>
                    </a:cubicBezTo>
                    <a:cubicBezTo>
                      <a:pt x="153" y="226"/>
                      <a:pt x="158" y="222"/>
                      <a:pt x="158" y="216"/>
                    </a:cubicBezTo>
                    <a:cubicBezTo>
                      <a:pt x="158" y="212"/>
                      <a:pt x="156" y="209"/>
                      <a:pt x="154" y="207"/>
                    </a:cubicBezTo>
                    <a:cubicBezTo>
                      <a:pt x="155" y="204"/>
                      <a:pt x="157" y="200"/>
                      <a:pt x="158" y="196"/>
                    </a:cubicBezTo>
                    <a:cubicBezTo>
                      <a:pt x="162" y="197"/>
                      <a:pt x="167" y="198"/>
                      <a:pt x="171" y="199"/>
                    </a:cubicBezTo>
                    <a:cubicBezTo>
                      <a:pt x="176" y="199"/>
                      <a:pt x="180" y="200"/>
                      <a:pt x="185" y="200"/>
                    </a:cubicBezTo>
                    <a:cubicBezTo>
                      <a:pt x="203" y="200"/>
                      <a:pt x="216" y="194"/>
                      <a:pt x="222" y="184"/>
                    </a:cubicBezTo>
                    <a:cubicBezTo>
                      <a:pt x="231" y="169"/>
                      <a:pt x="222" y="146"/>
                      <a:pt x="201" y="123"/>
                    </a:cubicBezTo>
                    <a:cubicBezTo>
                      <a:pt x="222" y="99"/>
                      <a:pt x="231" y="76"/>
                      <a:pt x="222" y="61"/>
                    </a:cubicBezTo>
                    <a:cubicBezTo>
                      <a:pt x="216" y="51"/>
                      <a:pt x="203" y="45"/>
                      <a:pt x="185" y="45"/>
                    </a:cubicBezTo>
                    <a:cubicBezTo>
                      <a:pt x="177" y="45"/>
                      <a:pt x="168" y="46"/>
                      <a:pt x="158" y="49"/>
                    </a:cubicBezTo>
                    <a:cubicBezTo>
                      <a:pt x="149" y="19"/>
                      <a:pt x="133" y="0"/>
                      <a:pt x="115" y="0"/>
                    </a:cubicBezTo>
                    <a:cubicBezTo>
                      <a:pt x="98" y="0"/>
                      <a:pt x="82" y="19"/>
                      <a:pt x="72" y="49"/>
                    </a:cubicBezTo>
                    <a:cubicBezTo>
                      <a:pt x="63" y="46"/>
                      <a:pt x="53" y="45"/>
                      <a:pt x="45" y="45"/>
                    </a:cubicBezTo>
                    <a:cubicBezTo>
                      <a:pt x="43" y="41"/>
                      <a:pt x="39" y="39"/>
                      <a:pt x="35" y="39"/>
                    </a:cubicBezTo>
                    <a:cubicBezTo>
                      <a:pt x="29" y="39"/>
                      <a:pt x="24" y="43"/>
                      <a:pt x="24" y="49"/>
                    </a:cubicBezTo>
                    <a:cubicBezTo>
                      <a:pt x="17" y="52"/>
                      <a:pt x="12" y="56"/>
                      <a:pt x="9" y="61"/>
                    </a:cubicBezTo>
                    <a:cubicBezTo>
                      <a:pt x="0" y="76"/>
                      <a:pt x="9" y="99"/>
                      <a:pt x="30" y="123"/>
                    </a:cubicBezTo>
                    <a:cubicBezTo>
                      <a:pt x="9" y="146"/>
                      <a:pt x="0" y="169"/>
                      <a:pt x="9" y="184"/>
                    </a:cubicBezTo>
                    <a:close/>
                    <a:moveTo>
                      <a:pt x="147" y="220"/>
                    </a:moveTo>
                    <a:cubicBezTo>
                      <a:pt x="144" y="220"/>
                      <a:pt x="142" y="218"/>
                      <a:pt x="142" y="216"/>
                    </a:cubicBezTo>
                    <a:cubicBezTo>
                      <a:pt x="142" y="213"/>
                      <a:pt x="144" y="211"/>
                      <a:pt x="147" y="211"/>
                    </a:cubicBezTo>
                    <a:cubicBezTo>
                      <a:pt x="150" y="211"/>
                      <a:pt x="152" y="213"/>
                      <a:pt x="152" y="216"/>
                    </a:cubicBezTo>
                    <a:cubicBezTo>
                      <a:pt x="152" y="218"/>
                      <a:pt x="150" y="220"/>
                      <a:pt x="147" y="220"/>
                    </a:cubicBezTo>
                    <a:close/>
                    <a:moveTo>
                      <a:pt x="149" y="205"/>
                    </a:moveTo>
                    <a:cubicBezTo>
                      <a:pt x="148" y="205"/>
                      <a:pt x="148" y="205"/>
                      <a:pt x="147" y="205"/>
                    </a:cubicBezTo>
                    <a:cubicBezTo>
                      <a:pt x="141" y="205"/>
                      <a:pt x="136" y="210"/>
                      <a:pt x="136" y="216"/>
                    </a:cubicBezTo>
                    <a:cubicBezTo>
                      <a:pt x="136" y="219"/>
                      <a:pt x="137" y="221"/>
                      <a:pt x="139" y="223"/>
                    </a:cubicBezTo>
                    <a:cubicBezTo>
                      <a:pt x="134" y="231"/>
                      <a:pt x="126" y="240"/>
                      <a:pt x="115" y="240"/>
                    </a:cubicBezTo>
                    <a:cubicBezTo>
                      <a:pt x="101" y="240"/>
                      <a:pt x="87" y="222"/>
                      <a:pt x="79" y="195"/>
                    </a:cubicBezTo>
                    <a:cubicBezTo>
                      <a:pt x="90" y="192"/>
                      <a:pt x="103" y="188"/>
                      <a:pt x="115" y="182"/>
                    </a:cubicBezTo>
                    <a:cubicBezTo>
                      <a:pt x="128" y="188"/>
                      <a:pt x="140" y="192"/>
                      <a:pt x="152" y="195"/>
                    </a:cubicBezTo>
                    <a:cubicBezTo>
                      <a:pt x="151" y="198"/>
                      <a:pt x="150" y="202"/>
                      <a:pt x="149" y="205"/>
                    </a:cubicBezTo>
                    <a:close/>
                    <a:moveTo>
                      <a:pt x="68" y="123"/>
                    </a:moveTo>
                    <a:cubicBezTo>
                      <a:pt x="68" y="113"/>
                      <a:pt x="69" y="105"/>
                      <a:pt x="69" y="96"/>
                    </a:cubicBezTo>
                    <a:cubicBezTo>
                      <a:pt x="76" y="91"/>
                      <a:pt x="84" y="86"/>
                      <a:pt x="92" y="82"/>
                    </a:cubicBezTo>
                    <a:cubicBezTo>
                      <a:pt x="99" y="77"/>
                      <a:pt x="107" y="73"/>
                      <a:pt x="115" y="69"/>
                    </a:cubicBezTo>
                    <a:cubicBezTo>
                      <a:pt x="123" y="73"/>
                      <a:pt x="131" y="77"/>
                      <a:pt x="139" y="82"/>
                    </a:cubicBezTo>
                    <a:cubicBezTo>
                      <a:pt x="147" y="86"/>
                      <a:pt x="154" y="91"/>
                      <a:pt x="161" y="96"/>
                    </a:cubicBezTo>
                    <a:cubicBezTo>
                      <a:pt x="162" y="105"/>
                      <a:pt x="163" y="113"/>
                      <a:pt x="163" y="123"/>
                    </a:cubicBezTo>
                    <a:cubicBezTo>
                      <a:pt x="163" y="132"/>
                      <a:pt x="162" y="140"/>
                      <a:pt x="161" y="149"/>
                    </a:cubicBezTo>
                    <a:cubicBezTo>
                      <a:pt x="154" y="154"/>
                      <a:pt x="147" y="159"/>
                      <a:pt x="139" y="163"/>
                    </a:cubicBezTo>
                    <a:cubicBezTo>
                      <a:pt x="131" y="168"/>
                      <a:pt x="123" y="172"/>
                      <a:pt x="115" y="176"/>
                    </a:cubicBezTo>
                    <a:cubicBezTo>
                      <a:pt x="107" y="172"/>
                      <a:pt x="100" y="168"/>
                      <a:pt x="92" y="163"/>
                    </a:cubicBezTo>
                    <a:cubicBezTo>
                      <a:pt x="84" y="159"/>
                      <a:pt x="76" y="154"/>
                      <a:pt x="69" y="149"/>
                    </a:cubicBezTo>
                    <a:cubicBezTo>
                      <a:pt x="69" y="140"/>
                      <a:pt x="68" y="132"/>
                      <a:pt x="68" y="123"/>
                    </a:cubicBezTo>
                    <a:close/>
                    <a:moveTo>
                      <a:pt x="63" y="144"/>
                    </a:moveTo>
                    <a:cubicBezTo>
                      <a:pt x="54" y="137"/>
                      <a:pt x="45" y="130"/>
                      <a:pt x="38" y="123"/>
                    </a:cubicBezTo>
                    <a:cubicBezTo>
                      <a:pt x="45" y="115"/>
                      <a:pt x="54" y="108"/>
                      <a:pt x="63" y="101"/>
                    </a:cubicBezTo>
                    <a:cubicBezTo>
                      <a:pt x="62" y="108"/>
                      <a:pt x="62" y="115"/>
                      <a:pt x="62" y="123"/>
                    </a:cubicBezTo>
                    <a:cubicBezTo>
                      <a:pt x="62" y="130"/>
                      <a:pt x="62" y="137"/>
                      <a:pt x="63" y="144"/>
                    </a:cubicBezTo>
                    <a:close/>
                    <a:moveTo>
                      <a:pt x="70" y="88"/>
                    </a:moveTo>
                    <a:cubicBezTo>
                      <a:pt x="72" y="76"/>
                      <a:pt x="74" y="65"/>
                      <a:pt x="77" y="56"/>
                    </a:cubicBezTo>
                    <a:cubicBezTo>
                      <a:pt x="87" y="58"/>
                      <a:pt x="97" y="62"/>
                      <a:pt x="108" y="66"/>
                    </a:cubicBezTo>
                    <a:cubicBezTo>
                      <a:pt x="102" y="69"/>
                      <a:pt x="95" y="73"/>
                      <a:pt x="89" y="76"/>
                    </a:cubicBezTo>
                    <a:cubicBezTo>
                      <a:pt x="82" y="80"/>
                      <a:pt x="76" y="84"/>
                      <a:pt x="70" y="88"/>
                    </a:cubicBezTo>
                    <a:close/>
                    <a:moveTo>
                      <a:pt x="123" y="66"/>
                    </a:moveTo>
                    <a:cubicBezTo>
                      <a:pt x="133" y="62"/>
                      <a:pt x="144" y="58"/>
                      <a:pt x="154" y="56"/>
                    </a:cubicBezTo>
                    <a:cubicBezTo>
                      <a:pt x="157" y="66"/>
                      <a:pt x="159" y="76"/>
                      <a:pt x="160" y="88"/>
                    </a:cubicBezTo>
                    <a:cubicBezTo>
                      <a:pt x="155" y="84"/>
                      <a:pt x="148" y="80"/>
                      <a:pt x="142" y="76"/>
                    </a:cubicBezTo>
                    <a:cubicBezTo>
                      <a:pt x="136" y="73"/>
                      <a:pt x="129" y="69"/>
                      <a:pt x="123" y="66"/>
                    </a:cubicBezTo>
                    <a:close/>
                    <a:moveTo>
                      <a:pt x="168" y="101"/>
                    </a:moveTo>
                    <a:cubicBezTo>
                      <a:pt x="177" y="108"/>
                      <a:pt x="185" y="115"/>
                      <a:pt x="192" y="123"/>
                    </a:cubicBezTo>
                    <a:cubicBezTo>
                      <a:pt x="185" y="130"/>
                      <a:pt x="177" y="137"/>
                      <a:pt x="168" y="144"/>
                    </a:cubicBezTo>
                    <a:cubicBezTo>
                      <a:pt x="168" y="137"/>
                      <a:pt x="169" y="130"/>
                      <a:pt x="169" y="123"/>
                    </a:cubicBezTo>
                    <a:cubicBezTo>
                      <a:pt x="169" y="115"/>
                      <a:pt x="168" y="108"/>
                      <a:pt x="168" y="101"/>
                    </a:cubicBezTo>
                    <a:close/>
                    <a:moveTo>
                      <a:pt x="160" y="157"/>
                    </a:moveTo>
                    <a:cubicBezTo>
                      <a:pt x="159" y="168"/>
                      <a:pt x="157" y="179"/>
                      <a:pt x="154" y="189"/>
                    </a:cubicBezTo>
                    <a:cubicBezTo>
                      <a:pt x="144" y="187"/>
                      <a:pt x="133" y="183"/>
                      <a:pt x="123" y="179"/>
                    </a:cubicBezTo>
                    <a:cubicBezTo>
                      <a:pt x="129" y="176"/>
                      <a:pt x="136" y="172"/>
                      <a:pt x="142" y="169"/>
                    </a:cubicBezTo>
                    <a:cubicBezTo>
                      <a:pt x="148" y="165"/>
                      <a:pt x="155" y="161"/>
                      <a:pt x="160" y="157"/>
                    </a:cubicBezTo>
                    <a:close/>
                    <a:moveTo>
                      <a:pt x="89" y="169"/>
                    </a:moveTo>
                    <a:cubicBezTo>
                      <a:pt x="95" y="172"/>
                      <a:pt x="102" y="176"/>
                      <a:pt x="108" y="179"/>
                    </a:cubicBezTo>
                    <a:cubicBezTo>
                      <a:pt x="97" y="183"/>
                      <a:pt x="87" y="187"/>
                      <a:pt x="77" y="189"/>
                    </a:cubicBezTo>
                    <a:cubicBezTo>
                      <a:pt x="74" y="179"/>
                      <a:pt x="72" y="169"/>
                      <a:pt x="70" y="157"/>
                    </a:cubicBezTo>
                    <a:cubicBezTo>
                      <a:pt x="76" y="161"/>
                      <a:pt x="82" y="165"/>
                      <a:pt x="89" y="169"/>
                    </a:cubicBezTo>
                    <a:close/>
                    <a:moveTo>
                      <a:pt x="217" y="181"/>
                    </a:moveTo>
                    <a:cubicBezTo>
                      <a:pt x="211" y="191"/>
                      <a:pt x="194" y="196"/>
                      <a:pt x="171" y="193"/>
                    </a:cubicBezTo>
                    <a:cubicBezTo>
                      <a:pt x="168" y="192"/>
                      <a:pt x="164" y="192"/>
                      <a:pt x="160" y="191"/>
                    </a:cubicBezTo>
                    <a:cubicBezTo>
                      <a:pt x="163" y="179"/>
                      <a:pt x="166" y="166"/>
                      <a:pt x="167" y="152"/>
                    </a:cubicBezTo>
                    <a:cubicBezTo>
                      <a:pt x="178" y="144"/>
                      <a:pt x="188" y="136"/>
                      <a:pt x="197" y="127"/>
                    </a:cubicBezTo>
                    <a:cubicBezTo>
                      <a:pt x="215" y="148"/>
                      <a:pt x="224" y="168"/>
                      <a:pt x="217" y="181"/>
                    </a:cubicBezTo>
                    <a:close/>
                    <a:moveTo>
                      <a:pt x="185" y="51"/>
                    </a:moveTo>
                    <a:cubicBezTo>
                      <a:pt x="196" y="51"/>
                      <a:pt x="211" y="54"/>
                      <a:pt x="217" y="64"/>
                    </a:cubicBezTo>
                    <a:cubicBezTo>
                      <a:pt x="224" y="77"/>
                      <a:pt x="215" y="97"/>
                      <a:pt x="197" y="118"/>
                    </a:cubicBezTo>
                    <a:cubicBezTo>
                      <a:pt x="188" y="109"/>
                      <a:pt x="178" y="101"/>
                      <a:pt x="167" y="93"/>
                    </a:cubicBezTo>
                    <a:cubicBezTo>
                      <a:pt x="166" y="79"/>
                      <a:pt x="163" y="66"/>
                      <a:pt x="160" y="54"/>
                    </a:cubicBezTo>
                    <a:cubicBezTo>
                      <a:pt x="169" y="52"/>
                      <a:pt x="177" y="51"/>
                      <a:pt x="185" y="51"/>
                    </a:cubicBezTo>
                    <a:close/>
                    <a:moveTo>
                      <a:pt x="115" y="6"/>
                    </a:moveTo>
                    <a:cubicBezTo>
                      <a:pt x="130" y="6"/>
                      <a:pt x="143" y="23"/>
                      <a:pt x="152" y="50"/>
                    </a:cubicBezTo>
                    <a:cubicBezTo>
                      <a:pt x="140" y="53"/>
                      <a:pt x="128" y="57"/>
                      <a:pt x="115" y="63"/>
                    </a:cubicBezTo>
                    <a:cubicBezTo>
                      <a:pt x="103" y="57"/>
                      <a:pt x="90" y="53"/>
                      <a:pt x="79" y="50"/>
                    </a:cubicBezTo>
                    <a:cubicBezTo>
                      <a:pt x="87" y="23"/>
                      <a:pt x="101" y="6"/>
                      <a:pt x="115" y="6"/>
                    </a:cubicBezTo>
                    <a:close/>
                    <a:moveTo>
                      <a:pt x="35" y="45"/>
                    </a:moveTo>
                    <a:cubicBezTo>
                      <a:pt x="38" y="45"/>
                      <a:pt x="40" y="47"/>
                      <a:pt x="40" y="50"/>
                    </a:cubicBezTo>
                    <a:cubicBezTo>
                      <a:pt x="40" y="52"/>
                      <a:pt x="38" y="54"/>
                      <a:pt x="35" y="54"/>
                    </a:cubicBezTo>
                    <a:cubicBezTo>
                      <a:pt x="32" y="54"/>
                      <a:pt x="30" y="52"/>
                      <a:pt x="30" y="50"/>
                    </a:cubicBezTo>
                    <a:cubicBezTo>
                      <a:pt x="30" y="47"/>
                      <a:pt x="32" y="45"/>
                      <a:pt x="35" y="45"/>
                    </a:cubicBezTo>
                    <a:close/>
                    <a:moveTo>
                      <a:pt x="14" y="64"/>
                    </a:moveTo>
                    <a:cubicBezTo>
                      <a:pt x="16" y="60"/>
                      <a:pt x="20" y="57"/>
                      <a:pt x="25" y="55"/>
                    </a:cubicBezTo>
                    <a:cubicBezTo>
                      <a:pt x="27" y="58"/>
                      <a:pt x="31" y="60"/>
                      <a:pt x="35" y="60"/>
                    </a:cubicBezTo>
                    <a:cubicBezTo>
                      <a:pt x="40" y="60"/>
                      <a:pt x="45" y="57"/>
                      <a:pt x="46" y="51"/>
                    </a:cubicBezTo>
                    <a:cubicBezTo>
                      <a:pt x="53" y="51"/>
                      <a:pt x="62" y="52"/>
                      <a:pt x="71" y="54"/>
                    </a:cubicBezTo>
                    <a:cubicBezTo>
                      <a:pt x="67" y="66"/>
                      <a:pt x="65" y="79"/>
                      <a:pt x="64" y="93"/>
                    </a:cubicBezTo>
                    <a:cubicBezTo>
                      <a:pt x="52" y="101"/>
                      <a:pt x="42" y="109"/>
                      <a:pt x="34" y="118"/>
                    </a:cubicBezTo>
                    <a:cubicBezTo>
                      <a:pt x="15" y="97"/>
                      <a:pt x="7" y="77"/>
                      <a:pt x="14" y="64"/>
                    </a:cubicBezTo>
                    <a:close/>
                    <a:moveTo>
                      <a:pt x="34" y="127"/>
                    </a:moveTo>
                    <a:cubicBezTo>
                      <a:pt x="42" y="136"/>
                      <a:pt x="52" y="144"/>
                      <a:pt x="64" y="152"/>
                    </a:cubicBezTo>
                    <a:cubicBezTo>
                      <a:pt x="65" y="166"/>
                      <a:pt x="67" y="179"/>
                      <a:pt x="71" y="191"/>
                    </a:cubicBezTo>
                    <a:cubicBezTo>
                      <a:pt x="62" y="193"/>
                      <a:pt x="53" y="194"/>
                      <a:pt x="46" y="194"/>
                    </a:cubicBezTo>
                    <a:cubicBezTo>
                      <a:pt x="35" y="194"/>
                      <a:pt x="20" y="191"/>
                      <a:pt x="14" y="181"/>
                    </a:cubicBezTo>
                    <a:cubicBezTo>
                      <a:pt x="7" y="168"/>
                      <a:pt x="15" y="148"/>
                      <a:pt x="34" y="127"/>
                    </a:cubicBezTo>
                    <a:close/>
                  </a:path>
                </a:pathLst>
              </a:custGeom>
              <a:grpFill/>
              <a:ln w="9525">
                <a:solidFill>
                  <a:srgbClr val="00B0F0"/>
                </a:solidFill>
                <a:round/>
                <a:headEnd/>
                <a:tailEnd/>
              </a:ln>
            </p:spPr>
            <p:txBody>
              <a:bodyPr vert="horz" wrap="square" lIns="91434" tIns="45718" rIns="91434" bIns="45718" numCol="1" anchor="t" anchorCtr="0" compatLnSpc="1">
                <a:prstTxWarp prst="textNoShape">
                  <a:avLst/>
                </a:prstTxWarp>
              </a:bodyPr>
              <a:lstStyle/>
              <a:p>
                <a:endParaRPr lang="zh-CN" altLang="en-US">
                  <a:effectLst>
                    <a:outerShdw blurRad="38100" dist="38100" dir="2700000" algn="tl">
                      <a:srgbClr val="000000">
                        <a:alpha val="43137"/>
                      </a:srgbClr>
                    </a:outerShdw>
                  </a:effectLst>
                  <a:latin typeface="+mj-lt"/>
                </a:endParaRPr>
              </a:p>
            </p:txBody>
          </p:sp>
        </p:grpSp>
      </p:grpSp>
      <p:grpSp>
        <p:nvGrpSpPr>
          <p:cNvPr id="365" name="组合 364"/>
          <p:cNvGrpSpPr/>
          <p:nvPr/>
        </p:nvGrpSpPr>
        <p:grpSpPr>
          <a:xfrm>
            <a:off x="4705658" y="3112975"/>
            <a:ext cx="147763" cy="205205"/>
            <a:chOff x="5284519" y="1508166"/>
            <a:chExt cx="213756" cy="427512"/>
          </a:xfrm>
        </p:grpSpPr>
        <p:cxnSp>
          <p:nvCxnSpPr>
            <p:cNvPr id="366" name="直接连接符 365"/>
            <p:cNvCxnSpPr/>
            <p:nvPr/>
          </p:nvCxnSpPr>
          <p:spPr>
            <a:xfrm>
              <a:off x="5284519" y="1508166"/>
              <a:ext cx="213756" cy="213756"/>
            </a:xfrm>
            <a:prstGeom prst="line">
              <a:avLst/>
            </a:prstGeom>
            <a:ln w="19050">
              <a:solidFill>
                <a:srgbClr val="00B0F0"/>
              </a:solidFill>
              <a:headEnd type="oval" w="med" len="med"/>
              <a:tailEnd type="oval" w="lg" len="lg"/>
            </a:ln>
          </p:spPr>
          <p:style>
            <a:lnRef idx="1">
              <a:schemeClr val="accent1"/>
            </a:lnRef>
            <a:fillRef idx="0">
              <a:schemeClr val="accent1"/>
            </a:fillRef>
            <a:effectRef idx="0">
              <a:schemeClr val="accent1"/>
            </a:effectRef>
            <a:fontRef idx="minor">
              <a:schemeClr val="tx1"/>
            </a:fontRef>
          </p:style>
        </p:cxnSp>
        <p:cxnSp>
          <p:nvCxnSpPr>
            <p:cNvPr id="367" name="直接连接符 366"/>
            <p:cNvCxnSpPr/>
            <p:nvPr/>
          </p:nvCxnSpPr>
          <p:spPr>
            <a:xfrm flipH="1">
              <a:off x="5284519" y="1721922"/>
              <a:ext cx="213756" cy="213756"/>
            </a:xfrm>
            <a:prstGeom prst="line">
              <a:avLst/>
            </a:prstGeom>
            <a:ln w="19050">
              <a:solidFill>
                <a:srgbClr val="00B0F0"/>
              </a:solidFill>
              <a:headEnd type="oval" w="med" len="med"/>
              <a:tailEnd type="oval" w="lg" len="lg"/>
            </a:ln>
          </p:spPr>
          <p:style>
            <a:lnRef idx="1">
              <a:schemeClr val="accent1"/>
            </a:lnRef>
            <a:fillRef idx="0">
              <a:schemeClr val="accent1"/>
            </a:fillRef>
            <a:effectRef idx="0">
              <a:schemeClr val="accent1"/>
            </a:effectRef>
            <a:fontRef idx="minor">
              <a:schemeClr val="tx1"/>
            </a:fontRef>
          </p:style>
        </p:cxnSp>
      </p:grpSp>
      <p:grpSp>
        <p:nvGrpSpPr>
          <p:cNvPr id="368" name="组合 367"/>
          <p:cNvGrpSpPr/>
          <p:nvPr/>
        </p:nvGrpSpPr>
        <p:grpSpPr>
          <a:xfrm>
            <a:off x="4616053" y="4621078"/>
            <a:ext cx="410456" cy="410410"/>
            <a:chOff x="5560007" y="4055006"/>
            <a:chExt cx="752200" cy="752200"/>
          </a:xfrm>
        </p:grpSpPr>
        <p:sp>
          <p:nvSpPr>
            <p:cNvPr id="372" name="椭圆 371"/>
            <p:cNvSpPr/>
            <p:nvPr/>
          </p:nvSpPr>
          <p:spPr>
            <a:xfrm>
              <a:off x="5560007" y="4055006"/>
              <a:ext cx="752200" cy="752200"/>
            </a:xfrm>
            <a:prstGeom prst="ellipse">
              <a:avLst/>
            </a:prstGeom>
            <a:solidFill>
              <a:srgbClr val="FFFFFF">
                <a:alpha val="10000"/>
              </a:srgbClr>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chemeClr val="tx1"/>
                </a:solidFill>
                <a:latin typeface="+mj-lt"/>
                <a:cs typeface="Arial" pitchFamily="34" charset="0"/>
              </a:endParaRPr>
            </a:p>
          </p:txBody>
        </p:sp>
        <p:grpSp>
          <p:nvGrpSpPr>
            <p:cNvPr id="373" name="组合 173"/>
            <p:cNvGrpSpPr/>
            <p:nvPr/>
          </p:nvGrpSpPr>
          <p:grpSpPr>
            <a:xfrm>
              <a:off x="5659178" y="4236985"/>
              <a:ext cx="553858" cy="388243"/>
              <a:chOff x="-4491447" y="3955225"/>
              <a:chExt cx="827789" cy="580263"/>
            </a:xfrm>
            <a:solidFill>
              <a:schemeClr val="tx1">
                <a:lumMod val="50000"/>
                <a:lumOff val="50000"/>
              </a:schemeClr>
            </a:solidFill>
          </p:grpSpPr>
          <p:sp>
            <p:nvSpPr>
              <p:cNvPr id="382" name="Freeform 51"/>
              <p:cNvSpPr>
                <a:spLocks noEditPoints="1"/>
              </p:cNvSpPr>
              <p:nvPr/>
            </p:nvSpPr>
            <p:spPr bwMode="auto">
              <a:xfrm>
                <a:off x="-4491447" y="4369119"/>
                <a:ext cx="580264" cy="166369"/>
              </a:xfrm>
              <a:custGeom>
                <a:avLst/>
                <a:gdLst/>
                <a:ahLst/>
                <a:cxnLst>
                  <a:cxn ang="0">
                    <a:pos x="226" y="14"/>
                  </a:cxn>
                  <a:cxn ang="0">
                    <a:pos x="226" y="14"/>
                  </a:cxn>
                  <a:cxn ang="0">
                    <a:pos x="222" y="0"/>
                  </a:cxn>
                  <a:cxn ang="0">
                    <a:pos x="40" y="0"/>
                  </a:cxn>
                  <a:cxn ang="0">
                    <a:pos x="40" y="0"/>
                  </a:cxn>
                  <a:cxn ang="0">
                    <a:pos x="32" y="0"/>
                  </a:cxn>
                  <a:cxn ang="0">
                    <a:pos x="24" y="2"/>
                  </a:cxn>
                  <a:cxn ang="0">
                    <a:pos x="18" y="6"/>
                  </a:cxn>
                  <a:cxn ang="0">
                    <a:pos x="12" y="10"/>
                  </a:cxn>
                  <a:cxn ang="0">
                    <a:pos x="6" y="14"/>
                  </a:cxn>
                  <a:cxn ang="0">
                    <a:pos x="4" y="20"/>
                  </a:cxn>
                  <a:cxn ang="0">
                    <a:pos x="0" y="28"/>
                  </a:cxn>
                  <a:cxn ang="0">
                    <a:pos x="0" y="34"/>
                  </a:cxn>
                  <a:cxn ang="0">
                    <a:pos x="0" y="48"/>
                  </a:cxn>
                  <a:cxn ang="0">
                    <a:pos x="0" y="48"/>
                  </a:cxn>
                  <a:cxn ang="0">
                    <a:pos x="0" y="54"/>
                  </a:cxn>
                  <a:cxn ang="0">
                    <a:pos x="4" y="62"/>
                  </a:cxn>
                  <a:cxn ang="0">
                    <a:pos x="6" y="68"/>
                  </a:cxn>
                  <a:cxn ang="0">
                    <a:pos x="12" y="72"/>
                  </a:cxn>
                  <a:cxn ang="0">
                    <a:pos x="18" y="76"/>
                  </a:cxn>
                  <a:cxn ang="0">
                    <a:pos x="24" y="80"/>
                  </a:cxn>
                  <a:cxn ang="0">
                    <a:pos x="32" y="82"/>
                  </a:cxn>
                  <a:cxn ang="0">
                    <a:pos x="40" y="82"/>
                  </a:cxn>
                  <a:cxn ang="0">
                    <a:pos x="282" y="82"/>
                  </a:cxn>
                  <a:cxn ang="0">
                    <a:pos x="282" y="82"/>
                  </a:cxn>
                  <a:cxn ang="0">
                    <a:pos x="286" y="82"/>
                  </a:cxn>
                  <a:cxn ang="0">
                    <a:pos x="286" y="82"/>
                  </a:cxn>
                  <a:cxn ang="0">
                    <a:pos x="266" y="68"/>
                  </a:cxn>
                  <a:cxn ang="0">
                    <a:pos x="250" y="50"/>
                  </a:cxn>
                  <a:cxn ang="0">
                    <a:pos x="238" y="32"/>
                  </a:cxn>
                  <a:cxn ang="0">
                    <a:pos x="226" y="14"/>
                  </a:cxn>
                  <a:cxn ang="0">
                    <a:pos x="226" y="14"/>
                  </a:cxn>
                  <a:cxn ang="0">
                    <a:pos x="48" y="54"/>
                  </a:cxn>
                  <a:cxn ang="0">
                    <a:pos x="48" y="54"/>
                  </a:cxn>
                  <a:cxn ang="0">
                    <a:pos x="44" y="54"/>
                  </a:cxn>
                  <a:cxn ang="0">
                    <a:pos x="40" y="50"/>
                  </a:cxn>
                  <a:cxn ang="0">
                    <a:pos x="36" y="46"/>
                  </a:cxn>
                  <a:cxn ang="0">
                    <a:pos x="36" y="40"/>
                  </a:cxn>
                  <a:cxn ang="0">
                    <a:pos x="36" y="40"/>
                  </a:cxn>
                  <a:cxn ang="0">
                    <a:pos x="36" y="36"/>
                  </a:cxn>
                  <a:cxn ang="0">
                    <a:pos x="40" y="32"/>
                  </a:cxn>
                  <a:cxn ang="0">
                    <a:pos x="44" y="28"/>
                  </a:cxn>
                  <a:cxn ang="0">
                    <a:pos x="48" y="28"/>
                  </a:cxn>
                  <a:cxn ang="0">
                    <a:pos x="48" y="28"/>
                  </a:cxn>
                  <a:cxn ang="0">
                    <a:pos x="54" y="28"/>
                  </a:cxn>
                  <a:cxn ang="0">
                    <a:pos x="58" y="32"/>
                  </a:cxn>
                  <a:cxn ang="0">
                    <a:pos x="62" y="36"/>
                  </a:cxn>
                  <a:cxn ang="0">
                    <a:pos x="62" y="40"/>
                  </a:cxn>
                  <a:cxn ang="0">
                    <a:pos x="62" y="40"/>
                  </a:cxn>
                  <a:cxn ang="0">
                    <a:pos x="62" y="46"/>
                  </a:cxn>
                  <a:cxn ang="0">
                    <a:pos x="58" y="50"/>
                  </a:cxn>
                  <a:cxn ang="0">
                    <a:pos x="54" y="54"/>
                  </a:cxn>
                  <a:cxn ang="0">
                    <a:pos x="48" y="54"/>
                  </a:cxn>
                  <a:cxn ang="0">
                    <a:pos x="48" y="54"/>
                  </a:cxn>
                </a:cxnLst>
                <a:rect l="0" t="0" r="r" b="b"/>
                <a:pathLst>
                  <a:path w="286" h="82">
                    <a:moveTo>
                      <a:pt x="226" y="14"/>
                    </a:moveTo>
                    <a:lnTo>
                      <a:pt x="226" y="14"/>
                    </a:lnTo>
                    <a:lnTo>
                      <a:pt x="222" y="0"/>
                    </a:lnTo>
                    <a:lnTo>
                      <a:pt x="40" y="0"/>
                    </a:lnTo>
                    <a:lnTo>
                      <a:pt x="40" y="0"/>
                    </a:lnTo>
                    <a:lnTo>
                      <a:pt x="32" y="0"/>
                    </a:lnTo>
                    <a:lnTo>
                      <a:pt x="24" y="2"/>
                    </a:lnTo>
                    <a:lnTo>
                      <a:pt x="18" y="6"/>
                    </a:lnTo>
                    <a:lnTo>
                      <a:pt x="12" y="10"/>
                    </a:lnTo>
                    <a:lnTo>
                      <a:pt x="6" y="14"/>
                    </a:lnTo>
                    <a:lnTo>
                      <a:pt x="4" y="20"/>
                    </a:lnTo>
                    <a:lnTo>
                      <a:pt x="0" y="28"/>
                    </a:lnTo>
                    <a:lnTo>
                      <a:pt x="0" y="34"/>
                    </a:lnTo>
                    <a:lnTo>
                      <a:pt x="0" y="48"/>
                    </a:lnTo>
                    <a:lnTo>
                      <a:pt x="0" y="48"/>
                    </a:lnTo>
                    <a:lnTo>
                      <a:pt x="0" y="54"/>
                    </a:lnTo>
                    <a:lnTo>
                      <a:pt x="4" y="62"/>
                    </a:lnTo>
                    <a:lnTo>
                      <a:pt x="6" y="68"/>
                    </a:lnTo>
                    <a:lnTo>
                      <a:pt x="12" y="72"/>
                    </a:lnTo>
                    <a:lnTo>
                      <a:pt x="18" y="76"/>
                    </a:lnTo>
                    <a:lnTo>
                      <a:pt x="24" y="80"/>
                    </a:lnTo>
                    <a:lnTo>
                      <a:pt x="32" y="82"/>
                    </a:lnTo>
                    <a:lnTo>
                      <a:pt x="40" y="82"/>
                    </a:lnTo>
                    <a:lnTo>
                      <a:pt x="282" y="82"/>
                    </a:lnTo>
                    <a:lnTo>
                      <a:pt x="282" y="82"/>
                    </a:lnTo>
                    <a:lnTo>
                      <a:pt x="286" y="82"/>
                    </a:lnTo>
                    <a:lnTo>
                      <a:pt x="286" y="82"/>
                    </a:lnTo>
                    <a:lnTo>
                      <a:pt x="266" y="68"/>
                    </a:lnTo>
                    <a:lnTo>
                      <a:pt x="250" y="50"/>
                    </a:lnTo>
                    <a:lnTo>
                      <a:pt x="238" y="32"/>
                    </a:lnTo>
                    <a:lnTo>
                      <a:pt x="226" y="14"/>
                    </a:lnTo>
                    <a:lnTo>
                      <a:pt x="226" y="14"/>
                    </a:lnTo>
                    <a:close/>
                    <a:moveTo>
                      <a:pt x="48" y="54"/>
                    </a:moveTo>
                    <a:lnTo>
                      <a:pt x="48" y="54"/>
                    </a:lnTo>
                    <a:lnTo>
                      <a:pt x="44" y="54"/>
                    </a:lnTo>
                    <a:lnTo>
                      <a:pt x="40" y="50"/>
                    </a:lnTo>
                    <a:lnTo>
                      <a:pt x="36" y="46"/>
                    </a:lnTo>
                    <a:lnTo>
                      <a:pt x="36" y="40"/>
                    </a:lnTo>
                    <a:lnTo>
                      <a:pt x="36" y="40"/>
                    </a:lnTo>
                    <a:lnTo>
                      <a:pt x="36" y="36"/>
                    </a:lnTo>
                    <a:lnTo>
                      <a:pt x="40" y="32"/>
                    </a:lnTo>
                    <a:lnTo>
                      <a:pt x="44" y="28"/>
                    </a:lnTo>
                    <a:lnTo>
                      <a:pt x="48" y="28"/>
                    </a:lnTo>
                    <a:lnTo>
                      <a:pt x="48" y="28"/>
                    </a:lnTo>
                    <a:lnTo>
                      <a:pt x="54" y="28"/>
                    </a:lnTo>
                    <a:lnTo>
                      <a:pt x="58" y="32"/>
                    </a:lnTo>
                    <a:lnTo>
                      <a:pt x="62" y="36"/>
                    </a:lnTo>
                    <a:lnTo>
                      <a:pt x="62" y="40"/>
                    </a:lnTo>
                    <a:lnTo>
                      <a:pt x="62" y="40"/>
                    </a:lnTo>
                    <a:lnTo>
                      <a:pt x="62" y="46"/>
                    </a:lnTo>
                    <a:lnTo>
                      <a:pt x="58" y="50"/>
                    </a:lnTo>
                    <a:lnTo>
                      <a:pt x="54" y="54"/>
                    </a:lnTo>
                    <a:lnTo>
                      <a:pt x="48" y="54"/>
                    </a:lnTo>
                    <a:lnTo>
                      <a:pt x="48" y="54"/>
                    </a:lnTo>
                    <a:close/>
                  </a:path>
                </a:pathLst>
              </a:custGeom>
              <a:noFill/>
              <a:ln w="9525">
                <a:solidFill>
                  <a:srgbClr val="00B0F0"/>
                </a:solidFill>
                <a:round/>
                <a:headEnd/>
                <a:tailEnd/>
              </a:ln>
            </p:spPr>
            <p:txBody>
              <a:bodyPr vert="horz" wrap="square" lIns="91458" tIns="45730" rIns="91458" bIns="45730" numCol="1" anchor="t" anchorCtr="0" compatLnSpc="1">
                <a:prstTxWarp prst="textNoShape">
                  <a:avLst/>
                </a:prstTxWarp>
              </a:bodyPr>
              <a:lstStyle/>
              <a:p>
                <a:endParaRPr lang="zh-CN" altLang="en-US">
                  <a:latin typeface="+mj-lt"/>
                  <a:cs typeface="Arial" pitchFamily="34" charset="0"/>
                </a:endParaRPr>
              </a:p>
            </p:txBody>
          </p:sp>
          <p:sp>
            <p:nvSpPr>
              <p:cNvPr id="383" name="Freeform 52"/>
              <p:cNvSpPr>
                <a:spLocks noEditPoints="1"/>
              </p:cNvSpPr>
              <p:nvPr/>
            </p:nvSpPr>
            <p:spPr bwMode="auto">
              <a:xfrm>
                <a:off x="-4491447" y="4166230"/>
                <a:ext cx="442299" cy="170427"/>
              </a:xfrm>
              <a:custGeom>
                <a:avLst/>
                <a:gdLst/>
                <a:ahLst/>
                <a:cxnLst>
                  <a:cxn ang="0">
                    <a:pos x="212" y="0"/>
                  </a:cxn>
                  <a:cxn ang="0">
                    <a:pos x="40" y="0"/>
                  </a:cxn>
                  <a:cxn ang="0">
                    <a:pos x="40" y="0"/>
                  </a:cxn>
                  <a:cxn ang="0">
                    <a:pos x="32" y="0"/>
                  </a:cxn>
                  <a:cxn ang="0">
                    <a:pos x="24" y="2"/>
                  </a:cxn>
                  <a:cxn ang="0">
                    <a:pos x="18" y="6"/>
                  </a:cxn>
                  <a:cxn ang="0">
                    <a:pos x="12" y="10"/>
                  </a:cxn>
                  <a:cxn ang="0">
                    <a:pos x="6" y="16"/>
                  </a:cxn>
                  <a:cxn ang="0">
                    <a:pos x="4" y="22"/>
                  </a:cxn>
                  <a:cxn ang="0">
                    <a:pos x="0" y="28"/>
                  </a:cxn>
                  <a:cxn ang="0">
                    <a:pos x="0" y="36"/>
                  </a:cxn>
                  <a:cxn ang="0">
                    <a:pos x="0" y="48"/>
                  </a:cxn>
                  <a:cxn ang="0">
                    <a:pos x="0" y="48"/>
                  </a:cxn>
                  <a:cxn ang="0">
                    <a:pos x="0" y="56"/>
                  </a:cxn>
                  <a:cxn ang="0">
                    <a:pos x="4" y="62"/>
                  </a:cxn>
                  <a:cxn ang="0">
                    <a:pos x="6" y="68"/>
                  </a:cxn>
                  <a:cxn ang="0">
                    <a:pos x="12" y="74"/>
                  </a:cxn>
                  <a:cxn ang="0">
                    <a:pos x="18" y="78"/>
                  </a:cxn>
                  <a:cxn ang="0">
                    <a:pos x="24" y="80"/>
                  </a:cxn>
                  <a:cxn ang="0">
                    <a:pos x="32" y="82"/>
                  </a:cxn>
                  <a:cxn ang="0">
                    <a:pos x="40" y="84"/>
                  </a:cxn>
                  <a:cxn ang="0">
                    <a:pos x="218" y="84"/>
                  </a:cxn>
                  <a:cxn ang="0">
                    <a:pos x="218" y="84"/>
                  </a:cxn>
                  <a:cxn ang="0">
                    <a:pos x="214" y="60"/>
                  </a:cxn>
                  <a:cxn ang="0">
                    <a:pos x="212" y="38"/>
                  </a:cxn>
                  <a:cxn ang="0">
                    <a:pos x="212" y="0"/>
                  </a:cxn>
                  <a:cxn ang="0">
                    <a:pos x="212" y="0"/>
                  </a:cxn>
                  <a:cxn ang="0">
                    <a:pos x="48" y="56"/>
                  </a:cxn>
                  <a:cxn ang="0">
                    <a:pos x="48" y="56"/>
                  </a:cxn>
                  <a:cxn ang="0">
                    <a:pos x="44" y="54"/>
                  </a:cxn>
                  <a:cxn ang="0">
                    <a:pos x="40" y="52"/>
                  </a:cxn>
                  <a:cxn ang="0">
                    <a:pos x="36" y="48"/>
                  </a:cxn>
                  <a:cxn ang="0">
                    <a:pos x="36" y="42"/>
                  </a:cxn>
                  <a:cxn ang="0">
                    <a:pos x="36" y="42"/>
                  </a:cxn>
                  <a:cxn ang="0">
                    <a:pos x="36" y="36"/>
                  </a:cxn>
                  <a:cxn ang="0">
                    <a:pos x="40" y="32"/>
                  </a:cxn>
                  <a:cxn ang="0">
                    <a:pos x="44" y="30"/>
                  </a:cxn>
                  <a:cxn ang="0">
                    <a:pos x="48" y="28"/>
                  </a:cxn>
                  <a:cxn ang="0">
                    <a:pos x="48" y="28"/>
                  </a:cxn>
                  <a:cxn ang="0">
                    <a:pos x="54" y="30"/>
                  </a:cxn>
                  <a:cxn ang="0">
                    <a:pos x="58" y="32"/>
                  </a:cxn>
                  <a:cxn ang="0">
                    <a:pos x="62" y="36"/>
                  </a:cxn>
                  <a:cxn ang="0">
                    <a:pos x="62" y="42"/>
                  </a:cxn>
                  <a:cxn ang="0">
                    <a:pos x="62" y="42"/>
                  </a:cxn>
                  <a:cxn ang="0">
                    <a:pos x="62" y="48"/>
                  </a:cxn>
                  <a:cxn ang="0">
                    <a:pos x="58" y="52"/>
                  </a:cxn>
                  <a:cxn ang="0">
                    <a:pos x="54" y="54"/>
                  </a:cxn>
                  <a:cxn ang="0">
                    <a:pos x="48" y="56"/>
                  </a:cxn>
                  <a:cxn ang="0">
                    <a:pos x="48" y="56"/>
                  </a:cxn>
                </a:cxnLst>
                <a:rect l="0" t="0" r="r" b="b"/>
                <a:pathLst>
                  <a:path w="218" h="84">
                    <a:moveTo>
                      <a:pt x="212" y="0"/>
                    </a:moveTo>
                    <a:lnTo>
                      <a:pt x="40" y="0"/>
                    </a:lnTo>
                    <a:lnTo>
                      <a:pt x="40" y="0"/>
                    </a:lnTo>
                    <a:lnTo>
                      <a:pt x="32" y="0"/>
                    </a:lnTo>
                    <a:lnTo>
                      <a:pt x="24" y="2"/>
                    </a:lnTo>
                    <a:lnTo>
                      <a:pt x="18" y="6"/>
                    </a:lnTo>
                    <a:lnTo>
                      <a:pt x="12" y="10"/>
                    </a:lnTo>
                    <a:lnTo>
                      <a:pt x="6" y="16"/>
                    </a:lnTo>
                    <a:lnTo>
                      <a:pt x="4" y="22"/>
                    </a:lnTo>
                    <a:lnTo>
                      <a:pt x="0" y="28"/>
                    </a:lnTo>
                    <a:lnTo>
                      <a:pt x="0" y="36"/>
                    </a:lnTo>
                    <a:lnTo>
                      <a:pt x="0" y="48"/>
                    </a:lnTo>
                    <a:lnTo>
                      <a:pt x="0" y="48"/>
                    </a:lnTo>
                    <a:lnTo>
                      <a:pt x="0" y="56"/>
                    </a:lnTo>
                    <a:lnTo>
                      <a:pt x="4" y="62"/>
                    </a:lnTo>
                    <a:lnTo>
                      <a:pt x="6" y="68"/>
                    </a:lnTo>
                    <a:lnTo>
                      <a:pt x="12" y="74"/>
                    </a:lnTo>
                    <a:lnTo>
                      <a:pt x="18" y="78"/>
                    </a:lnTo>
                    <a:lnTo>
                      <a:pt x="24" y="80"/>
                    </a:lnTo>
                    <a:lnTo>
                      <a:pt x="32" y="82"/>
                    </a:lnTo>
                    <a:lnTo>
                      <a:pt x="40" y="84"/>
                    </a:lnTo>
                    <a:lnTo>
                      <a:pt x="218" y="84"/>
                    </a:lnTo>
                    <a:lnTo>
                      <a:pt x="218" y="84"/>
                    </a:lnTo>
                    <a:lnTo>
                      <a:pt x="214" y="60"/>
                    </a:lnTo>
                    <a:lnTo>
                      <a:pt x="212" y="38"/>
                    </a:lnTo>
                    <a:lnTo>
                      <a:pt x="212" y="0"/>
                    </a:lnTo>
                    <a:lnTo>
                      <a:pt x="212" y="0"/>
                    </a:lnTo>
                    <a:close/>
                    <a:moveTo>
                      <a:pt x="48" y="56"/>
                    </a:moveTo>
                    <a:lnTo>
                      <a:pt x="48" y="56"/>
                    </a:lnTo>
                    <a:lnTo>
                      <a:pt x="44" y="54"/>
                    </a:lnTo>
                    <a:lnTo>
                      <a:pt x="40" y="52"/>
                    </a:lnTo>
                    <a:lnTo>
                      <a:pt x="36" y="48"/>
                    </a:lnTo>
                    <a:lnTo>
                      <a:pt x="36" y="42"/>
                    </a:lnTo>
                    <a:lnTo>
                      <a:pt x="36" y="42"/>
                    </a:lnTo>
                    <a:lnTo>
                      <a:pt x="36" y="36"/>
                    </a:lnTo>
                    <a:lnTo>
                      <a:pt x="40" y="32"/>
                    </a:lnTo>
                    <a:lnTo>
                      <a:pt x="44" y="30"/>
                    </a:lnTo>
                    <a:lnTo>
                      <a:pt x="48" y="28"/>
                    </a:lnTo>
                    <a:lnTo>
                      <a:pt x="48" y="28"/>
                    </a:lnTo>
                    <a:lnTo>
                      <a:pt x="54" y="30"/>
                    </a:lnTo>
                    <a:lnTo>
                      <a:pt x="58" y="32"/>
                    </a:lnTo>
                    <a:lnTo>
                      <a:pt x="62" y="36"/>
                    </a:lnTo>
                    <a:lnTo>
                      <a:pt x="62" y="42"/>
                    </a:lnTo>
                    <a:lnTo>
                      <a:pt x="62" y="42"/>
                    </a:lnTo>
                    <a:lnTo>
                      <a:pt x="62" y="48"/>
                    </a:lnTo>
                    <a:lnTo>
                      <a:pt x="58" y="52"/>
                    </a:lnTo>
                    <a:lnTo>
                      <a:pt x="54" y="54"/>
                    </a:lnTo>
                    <a:lnTo>
                      <a:pt x="48" y="56"/>
                    </a:lnTo>
                    <a:lnTo>
                      <a:pt x="48" y="56"/>
                    </a:lnTo>
                    <a:close/>
                  </a:path>
                </a:pathLst>
              </a:custGeom>
              <a:noFill/>
              <a:ln w="9525">
                <a:solidFill>
                  <a:srgbClr val="00B0F0"/>
                </a:solidFill>
                <a:round/>
                <a:headEnd/>
                <a:tailEnd/>
              </a:ln>
            </p:spPr>
            <p:txBody>
              <a:bodyPr vert="horz" wrap="square" lIns="91458" tIns="45730" rIns="91458" bIns="45730" numCol="1" anchor="t" anchorCtr="0" compatLnSpc="1">
                <a:prstTxWarp prst="textNoShape">
                  <a:avLst/>
                </a:prstTxWarp>
              </a:bodyPr>
              <a:lstStyle/>
              <a:p>
                <a:endParaRPr lang="zh-CN" altLang="en-US">
                  <a:latin typeface="+mj-lt"/>
                  <a:cs typeface="Arial" pitchFamily="34" charset="0"/>
                </a:endParaRPr>
              </a:p>
            </p:txBody>
          </p:sp>
          <p:sp>
            <p:nvSpPr>
              <p:cNvPr id="384" name="Freeform 53"/>
              <p:cNvSpPr>
                <a:spLocks noEditPoints="1"/>
              </p:cNvSpPr>
              <p:nvPr/>
            </p:nvSpPr>
            <p:spPr bwMode="auto">
              <a:xfrm>
                <a:off x="-4491447" y="3955225"/>
                <a:ext cx="649246" cy="170427"/>
              </a:xfrm>
              <a:custGeom>
                <a:avLst/>
                <a:gdLst/>
                <a:ahLst/>
                <a:cxnLst>
                  <a:cxn ang="0">
                    <a:pos x="318" y="56"/>
                  </a:cxn>
                  <a:cxn ang="0">
                    <a:pos x="320" y="58"/>
                  </a:cxn>
                  <a:cxn ang="0">
                    <a:pos x="320" y="58"/>
                  </a:cxn>
                  <a:cxn ang="0">
                    <a:pos x="320" y="48"/>
                  </a:cxn>
                  <a:cxn ang="0">
                    <a:pos x="320" y="36"/>
                  </a:cxn>
                  <a:cxn ang="0">
                    <a:pos x="320" y="36"/>
                  </a:cxn>
                  <a:cxn ang="0">
                    <a:pos x="320" y="28"/>
                  </a:cxn>
                  <a:cxn ang="0">
                    <a:pos x="318" y="22"/>
                  </a:cxn>
                  <a:cxn ang="0">
                    <a:pos x="314" y="16"/>
                  </a:cxn>
                  <a:cxn ang="0">
                    <a:pos x="310" y="10"/>
                  </a:cxn>
                  <a:cxn ang="0">
                    <a:pos x="304" y="6"/>
                  </a:cxn>
                  <a:cxn ang="0">
                    <a:pos x="296" y="4"/>
                  </a:cxn>
                  <a:cxn ang="0">
                    <a:pos x="290" y="2"/>
                  </a:cxn>
                  <a:cxn ang="0">
                    <a:pos x="282" y="0"/>
                  </a:cxn>
                  <a:cxn ang="0">
                    <a:pos x="40" y="0"/>
                  </a:cxn>
                  <a:cxn ang="0">
                    <a:pos x="40" y="0"/>
                  </a:cxn>
                  <a:cxn ang="0">
                    <a:pos x="32" y="2"/>
                  </a:cxn>
                  <a:cxn ang="0">
                    <a:pos x="24" y="4"/>
                  </a:cxn>
                  <a:cxn ang="0">
                    <a:pos x="18" y="6"/>
                  </a:cxn>
                  <a:cxn ang="0">
                    <a:pos x="12" y="10"/>
                  </a:cxn>
                  <a:cxn ang="0">
                    <a:pos x="6" y="16"/>
                  </a:cxn>
                  <a:cxn ang="0">
                    <a:pos x="4" y="22"/>
                  </a:cxn>
                  <a:cxn ang="0">
                    <a:pos x="0" y="28"/>
                  </a:cxn>
                  <a:cxn ang="0">
                    <a:pos x="0" y="36"/>
                  </a:cxn>
                  <a:cxn ang="0">
                    <a:pos x="0" y="48"/>
                  </a:cxn>
                  <a:cxn ang="0">
                    <a:pos x="0" y="48"/>
                  </a:cxn>
                  <a:cxn ang="0">
                    <a:pos x="0" y="56"/>
                  </a:cxn>
                  <a:cxn ang="0">
                    <a:pos x="4" y="62"/>
                  </a:cxn>
                  <a:cxn ang="0">
                    <a:pos x="6" y="68"/>
                  </a:cxn>
                  <a:cxn ang="0">
                    <a:pos x="12" y="74"/>
                  </a:cxn>
                  <a:cxn ang="0">
                    <a:pos x="18" y="78"/>
                  </a:cxn>
                  <a:cxn ang="0">
                    <a:pos x="24" y="82"/>
                  </a:cxn>
                  <a:cxn ang="0">
                    <a:pos x="32" y="84"/>
                  </a:cxn>
                  <a:cxn ang="0">
                    <a:pos x="40" y="84"/>
                  </a:cxn>
                  <a:cxn ang="0">
                    <a:pos x="244" y="84"/>
                  </a:cxn>
                  <a:cxn ang="0">
                    <a:pos x="318" y="56"/>
                  </a:cxn>
                  <a:cxn ang="0">
                    <a:pos x="48" y="56"/>
                  </a:cxn>
                  <a:cxn ang="0">
                    <a:pos x="48" y="56"/>
                  </a:cxn>
                  <a:cxn ang="0">
                    <a:pos x="44" y="54"/>
                  </a:cxn>
                  <a:cxn ang="0">
                    <a:pos x="40" y="52"/>
                  </a:cxn>
                  <a:cxn ang="0">
                    <a:pos x="36" y="48"/>
                  </a:cxn>
                  <a:cxn ang="0">
                    <a:pos x="36" y="42"/>
                  </a:cxn>
                  <a:cxn ang="0">
                    <a:pos x="36" y="42"/>
                  </a:cxn>
                  <a:cxn ang="0">
                    <a:pos x="36" y="36"/>
                  </a:cxn>
                  <a:cxn ang="0">
                    <a:pos x="40" y="32"/>
                  </a:cxn>
                  <a:cxn ang="0">
                    <a:pos x="44" y="30"/>
                  </a:cxn>
                  <a:cxn ang="0">
                    <a:pos x="48" y="28"/>
                  </a:cxn>
                  <a:cxn ang="0">
                    <a:pos x="48" y="28"/>
                  </a:cxn>
                  <a:cxn ang="0">
                    <a:pos x="54" y="30"/>
                  </a:cxn>
                  <a:cxn ang="0">
                    <a:pos x="58" y="32"/>
                  </a:cxn>
                  <a:cxn ang="0">
                    <a:pos x="62" y="36"/>
                  </a:cxn>
                  <a:cxn ang="0">
                    <a:pos x="62" y="42"/>
                  </a:cxn>
                  <a:cxn ang="0">
                    <a:pos x="62" y="42"/>
                  </a:cxn>
                  <a:cxn ang="0">
                    <a:pos x="62" y="48"/>
                  </a:cxn>
                  <a:cxn ang="0">
                    <a:pos x="58" y="52"/>
                  </a:cxn>
                  <a:cxn ang="0">
                    <a:pos x="54" y="54"/>
                  </a:cxn>
                  <a:cxn ang="0">
                    <a:pos x="48" y="56"/>
                  </a:cxn>
                  <a:cxn ang="0">
                    <a:pos x="48" y="56"/>
                  </a:cxn>
                </a:cxnLst>
                <a:rect l="0" t="0" r="r" b="b"/>
                <a:pathLst>
                  <a:path w="320" h="84">
                    <a:moveTo>
                      <a:pt x="318" y="56"/>
                    </a:moveTo>
                    <a:lnTo>
                      <a:pt x="320" y="58"/>
                    </a:lnTo>
                    <a:lnTo>
                      <a:pt x="320" y="58"/>
                    </a:lnTo>
                    <a:lnTo>
                      <a:pt x="320" y="48"/>
                    </a:lnTo>
                    <a:lnTo>
                      <a:pt x="320" y="36"/>
                    </a:lnTo>
                    <a:lnTo>
                      <a:pt x="320" y="36"/>
                    </a:lnTo>
                    <a:lnTo>
                      <a:pt x="320" y="28"/>
                    </a:lnTo>
                    <a:lnTo>
                      <a:pt x="318" y="22"/>
                    </a:lnTo>
                    <a:lnTo>
                      <a:pt x="314" y="16"/>
                    </a:lnTo>
                    <a:lnTo>
                      <a:pt x="310" y="10"/>
                    </a:lnTo>
                    <a:lnTo>
                      <a:pt x="304" y="6"/>
                    </a:lnTo>
                    <a:lnTo>
                      <a:pt x="296" y="4"/>
                    </a:lnTo>
                    <a:lnTo>
                      <a:pt x="290" y="2"/>
                    </a:lnTo>
                    <a:lnTo>
                      <a:pt x="282" y="0"/>
                    </a:lnTo>
                    <a:lnTo>
                      <a:pt x="40" y="0"/>
                    </a:lnTo>
                    <a:lnTo>
                      <a:pt x="40" y="0"/>
                    </a:lnTo>
                    <a:lnTo>
                      <a:pt x="32" y="2"/>
                    </a:lnTo>
                    <a:lnTo>
                      <a:pt x="24" y="4"/>
                    </a:lnTo>
                    <a:lnTo>
                      <a:pt x="18" y="6"/>
                    </a:lnTo>
                    <a:lnTo>
                      <a:pt x="12" y="10"/>
                    </a:lnTo>
                    <a:lnTo>
                      <a:pt x="6" y="16"/>
                    </a:lnTo>
                    <a:lnTo>
                      <a:pt x="4" y="22"/>
                    </a:lnTo>
                    <a:lnTo>
                      <a:pt x="0" y="28"/>
                    </a:lnTo>
                    <a:lnTo>
                      <a:pt x="0" y="36"/>
                    </a:lnTo>
                    <a:lnTo>
                      <a:pt x="0" y="48"/>
                    </a:lnTo>
                    <a:lnTo>
                      <a:pt x="0" y="48"/>
                    </a:lnTo>
                    <a:lnTo>
                      <a:pt x="0" y="56"/>
                    </a:lnTo>
                    <a:lnTo>
                      <a:pt x="4" y="62"/>
                    </a:lnTo>
                    <a:lnTo>
                      <a:pt x="6" y="68"/>
                    </a:lnTo>
                    <a:lnTo>
                      <a:pt x="12" y="74"/>
                    </a:lnTo>
                    <a:lnTo>
                      <a:pt x="18" y="78"/>
                    </a:lnTo>
                    <a:lnTo>
                      <a:pt x="24" y="82"/>
                    </a:lnTo>
                    <a:lnTo>
                      <a:pt x="32" y="84"/>
                    </a:lnTo>
                    <a:lnTo>
                      <a:pt x="40" y="84"/>
                    </a:lnTo>
                    <a:lnTo>
                      <a:pt x="244" y="84"/>
                    </a:lnTo>
                    <a:lnTo>
                      <a:pt x="318" y="56"/>
                    </a:lnTo>
                    <a:close/>
                    <a:moveTo>
                      <a:pt x="48" y="56"/>
                    </a:moveTo>
                    <a:lnTo>
                      <a:pt x="48" y="56"/>
                    </a:lnTo>
                    <a:lnTo>
                      <a:pt x="44" y="54"/>
                    </a:lnTo>
                    <a:lnTo>
                      <a:pt x="40" y="52"/>
                    </a:lnTo>
                    <a:lnTo>
                      <a:pt x="36" y="48"/>
                    </a:lnTo>
                    <a:lnTo>
                      <a:pt x="36" y="42"/>
                    </a:lnTo>
                    <a:lnTo>
                      <a:pt x="36" y="42"/>
                    </a:lnTo>
                    <a:lnTo>
                      <a:pt x="36" y="36"/>
                    </a:lnTo>
                    <a:lnTo>
                      <a:pt x="40" y="32"/>
                    </a:lnTo>
                    <a:lnTo>
                      <a:pt x="44" y="30"/>
                    </a:lnTo>
                    <a:lnTo>
                      <a:pt x="48" y="28"/>
                    </a:lnTo>
                    <a:lnTo>
                      <a:pt x="48" y="28"/>
                    </a:lnTo>
                    <a:lnTo>
                      <a:pt x="54" y="30"/>
                    </a:lnTo>
                    <a:lnTo>
                      <a:pt x="58" y="32"/>
                    </a:lnTo>
                    <a:lnTo>
                      <a:pt x="62" y="36"/>
                    </a:lnTo>
                    <a:lnTo>
                      <a:pt x="62" y="42"/>
                    </a:lnTo>
                    <a:lnTo>
                      <a:pt x="62" y="42"/>
                    </a:lnTo>
                    <a:lnTo>
                      <a:pt x="62" y="48"/>
                    </a:lnTo>
                    <a:lnTo>
                      <a:pt x="58" y="52"/>
                    </a:lnTo>
                    <a:lnTo>
                      <a:pt x="54" y="54"/>
                    </a:lnTo>
                    <a:lnTo>
                      <a:pt x="48" y="56"/>
                    </a:lnTo>
                    <a:lnTo>
                      <a:pt x="48" y="56"/>
                    </a:lnTo>
                    <a:close/>
                  </a:path>
                </a:pathLst>
              </a:custGeom>
              <a:noFill/>
              <a:ln w="9525">
                <a:solidFill>
                  <a:srgbClr val="00B0F0"/>
                </a:solidFill>
                <a:round/>
                <a:headEnd/>
                <a:tailEnd/>
              </a:ln>
            </p:spPr>
            <p:txBody>
              <a:bodyPr vert="horz" wrap="square" lIns="91458" tIns="45730" rIns="91458" bIns="45730" numCol="1" anchor="t" anchorCtr="0" compatLnSpc="1">
                <a:prstTxWarp prst="textNoShape">
                  <a:avLst/>
                </a:prstTxWarp>
              </a:bodyPr>
              <a:lstStyle/>
              <a:p>
                <a:endParaRPr lang="zh-CN" altLang="en-US">
                  <a:latin typeface="+mj-lt"/>
                  <a:cs typeface="Arial" pitchFamily="34" charset="0"/>
                </a:endParaRPr>
              </a:p>
            </p:txBody>
          </p:sp>
          <p:sp>
            <p:nvSpPr>
              <p:cNvPr id="385" name="Freeform 54"/>
              <p:cNvSpPr>
                <a:spLocks noEditPoints="1"/>
              </p:cNvSpPr>
              <p:nvPr/>
            </p:nvSpPr>
            <p:spPr bwMode="auto">
              <a:xfrm>
                <a:off x="-4028859" y="4113478"/>
                <a:ext cx="365201" cy="422010"/>
              </a:xfrm>
              <a:custGeom>
                <a:avLst/>
                <a:gdLst/>
                <a:ahLst/>
                <a:cxnLst>
                  <a:cxn ang="0">
                    <a:pos x="180" y="34"/>
                  </a:cxn>
                  <a:cxn ang="0">
                    <a:pos x="180" y="34"/>
                  </a:cxn>
                  <a:cxn ang="0">
                    <a:pos x="90" y="0"/>
                  </a:cxn>
                  <a:cxn ang="0">
                    <a:pos x="0" y="34"/>
                  </a:cxn>
                  <a:cxn ang="0">
                    <a:pos x="0" y="34"/>
                  </a:cxn>
                  <a:cxn ang="0">
                    <a:pos x="0" y="54"/>
                  </a:cxn>
                  <a:cxn ang="0">
                    <a:pos x="0" y="82"/>
                  </a:cxn>
                  <a:cxn ang="0">
                    <a:pos x="4" y="110"/>
                  </a:cxn>
                  <a:cxn ang="0">
                    <a:pos x="8" y="122"/>
                  </a:cxn>
                  <a:cxn ang="0">
                    <a:pos x="12" y="134"/>
                  </a:cxn>
                  <a:cxn ang="0">
                    <a:pos x="12" y="134"/>
                  </a:cxn>
                  <a:cxn ang="0">
                    <a:pos x="24" y="156"/>
                  </a:cxn>
                  <a:cxn ang="0">
                    <a:pos x="32" y="168"/>
                  </a:cxn>
                  <a:cxn ang="0">
                    <a:pos x="42" y="178"/>
                  </a:cxn>
                  <a:cxn ang="0">
                    <a:pos x="52" y="186"/>
                  </a:cxn>
                  <a:cxn ang="0">
                    <a:pos x="62" y="194"/>
                  </a:cxn>
                  <a:cxn ang="0">
                    <a:pos x="76" y="202"/>
                  </a:cxn>
                  <a:cxn ang="0">
                    <a:pos x="90" y="208"/>
                  </a:cxn>
                  <a:cxn ang="0">
                    <a:pos x="90" y="208"/>
                  </a:cxn>
                  <a:cxn ang="0">
                    <a:pos x="104" y="202"/>
                  </a:cxn>
                  <a:cxn ang="0">
                    <a:pos x="116" y="194"/>
                  </a:cxn>
                  <a:cxn ang="0">
                    <a:pos x="128" y="186"/>
                  </a:cxn>
                  <a:cxn ang="0">
                    <a:pos x="138" y="178"/>
                  </a:cxn>
                  <a:cxn ang="0">
                    <a:pos x="146" y="168"/>
                  </a:cxn>
                  <a:cxn ang="0">
                    <a:pos x="154" y="156"/>
                  </a:cxn>
                  <a:cxn ang="0">
                    <a:pos x="166" y="134"/>
                  </a:cxn>
                  <a:cxn ang="0">
                    <a:pos x="166" y="134"/>
                  </a:cxn>
                  <a:cxn ang="0">
                    <a:pos x="170" y="122"/>
                  </a:cxn>
                  <a:cxn ang="0">
                    <a:pos x="174" y="110"/>
                  </a:cxn>
                  <a:cxn ang="0">
                    <a:pos x="178" y="82"/>
                  </a:cxn>
                  <a:cxn ang="0">
                    <a:pos x="180" y="54"/>
                  </a:cxn>
                  <a:cxn ang="0">
                    <a:pos x="180" y="34"/>
                  </a:cxn>
                  <a:cxn ang="0">
                    <a:pos x="180" y="34"/>
                  </a:cxn>
                  <a:cxn ang="0">
                    <a:pos x="160" y="48"/>
                  </a:cxn>
                  <a:cxn ang="0">
                    <a:pos x="160" y="48"/>
                  </a:cxn>
                  <a:cxn ang="0">
                    <a:pos x="158" y="88"/>
                  </a:cxn>
                  <a:cxn ang="0">
                    <a:pos x="154" y="110"/>
                  </a:cxn>
                  <a:cxn ang="0">
                    <a:pos x="150" y="126"/>
                  </a:cxn>
                  <a:cxn ang="0">
                    <a:pos x="150" y="126"/>
                  </a:cxn>
                  <a:cxn ang="0">
                    <a:pos x="138" y="146"/>
                  </a:cxn>
                  <a:cxn ang="0">
                    <a:pos x="126" y="162"/>
                  </a:cxn>
                  <a:cxn ang="0">
                    <a:pos x="108" y="178"/>
                  </a:cxn>
                  <a:cxn ang="0">
                    <a:pos x="100" y="184"/>
                  </a:cxn>
                  <a:cxn ang="0">
                    <a:pos x="90" y="188"/>
                  </a:cxn>
                  <a:cxn ang="0">
                    <a:pos x="90" y="188"/>
                  </a:cxn>
                  <a:cxn ang="0">
                    <a:pos x="80" y="184"/>
                  </a:cxn>
                  <a:cxn ang="0">
                    <a:pos x="70" y="178"/>
                  </a:cxn>
                  <a:cxn ang="0">
                    <a:pos x="54" y="162"/>
                  </a:cxn>
                  <a:cxn ang="0">
                    <a:pos x="40" y="146"/>
                  </a:cxn>
                  <a:cxn ang="0">
                    <a:pos x="30" y="126"/>
                  </a:cxn>
                  <a:cxn ang="0">
                    <a:pos x="30" y="126"/>
                  </a:cxn>
                  <a:cxn ang="0">
                    <a:pos x="24" y="110"/>
                  </a:cxn>
                  <a:cxn ang="0">
                    <a:pos x="20" y="88"/>
                  </a:cxn>
                  <a:cxn ang="0">
                    <a:pos x="18" y="48"/>
                  </a:cxn>
                  <a:cxn ang="0">
                    <a:pos x="90" y="20"/>
                  </a:cxn>
                  <a:cxn ang="0">
                    <a:pos x="162" y="48"/>
                  </a:cxn>
                  <a:cxn ang="0">
                    <a:pos x="160" y="48"/>
                  </a:cxn>
                </a:cxnLst>
                <a:rect l="0" t="0" r="r" b="b"/>
                <a:pathLst>
                  <a:path w="180" h="208">
                    <a:moveTo>
                      <a:pt x="180" y="34"/>
                    </a:moveTo>
                    <a:lnTo>
                      <a:pt x="180" y="34"/>
                    </a:lnTo>
                    <a:lnTo>
                      <a:pt x="90" y="0"/>
                    </a:lnTo>
                    <a:lnTo>
                      <a:pt x="0" y="34"/>
                    </a:lnTo>
                    <a:lnTo>
                      <a:pt x="0" y="34"/>
                    </a:lnTo>
                    <a:lnTo>
                      <a:pt x="0" y="54"/>
                    </a:lnTo>
                    <a:lnTo>
                      <a:pt x="0" y="82"/>
                    </a:lnTo>
                    <a:lnTo>
                      <a:pt x="4" y="110"/>
                    </a:lnTo>
                    <a:lnTo>
                      <a:pt x="8" y="122"/>
                    </a:lnTo>
                    <a:lnTo>
                      <a:pt x="12" y="134"/>
                    </a:lnTo>
                    <a:lnTo>
                      <a:pt x="12" y="134"/>
                    </a:lnTo>
                    <a:lnTo>
                      <a:pt x="24" y="156"/>
                    </a:lnTo>
                    <a:lnTo>
                      <a:pt x="32" y="168"/>
                    </a:lnTo>
                    <a:lnTo>
                      <a:pt x="42" y="178"/>
                    </a:lnTo>
                    <a:lnTo>
                      <a:pt x="52" y="186"/>
                    </a:lnTo>
                    <a:lnTo>
                      <a:pt x="62" y="194"/>
                    </a:lnTo>
                    <a:lnTo>
                      <a:pt x="76" y="202"/>
                    </a:lnTo>
                    <a:lnTo>
                      <a:pt x="90" y="208"/>
                    </a:lnTo>
                    <a:lnTo>
                      <a:pt x="90" y="208"/>
                    </a:lnTo>
                    <a:lnTo>
                      <a:pt x="104" y="202"/>
                    </a:lnTo>
                    <a:lnTo>
                      <a:pt x="116" y="194"/>
                    </a:lnTo>
                    <a:lnTo>
                      <a:pt x="128" y="186"/>
                    </a:lnTo>
                    <a:lnTo>
                      <a:pt x="138" y="178"/>
                    </a:lnTo>
                    <a:lnTo>
                      <a:pt x="146" y="168"/>
                    </a:lnTo>
                    <a:lnTo>
                      <a:pt x="154" y="156"/>
                    </a:lnTo>
                    <a:lnTo>
                      <a:pt x="166" y="134"/>
                    </a:lnTo>
                    <a:lnTo>
                      <a:pt x="166" y="134"/>
                    </a:lnTo>
                    <a:lnTo>
                      <a:pt x="170" y="122"/>
                    </a:lnTo>
                    <a:lnTo>
                      <a:pt x="174" y="110"/>
                    </a:lnTo>
                    <a:lnTo>
                      <a:pt x="178" y="82"/>
                    </a:lnTo>
                    <a:lnTo>
                      <a:pt x="180" y="54"/>
                    </a:lnTo>
                    <a:lnTo>
                      <a:pt x="180" y="34"/>
                    </a:lnTo>
                    <a:lnTo>
                      <a:pt x="180" y="34"/>
                    </a:lnTo>
                    <a:close/>
                    <a:moveTo>
                      <a:pt x="160" y="48"/>
                    </a:moveTo>
                    <a:lnTo>
                      <a:pt x="160" y="48"/>
                    </a:lnTo>
                    <a:lnTo>
                      <a:pt x="158" y="88"/>
                    </a:lnTo>
                    <a:lnTo>
                      <a:pt x="154" y="110"/>
                    </a:lnTo>
                    <a:lnTo>
                      <a:pt x="150" y="126"/>
                    </a:lnTo>
                    <a:lnTo>
                      <a:pt x="150" y="126"/>
                    </a:lnTo>
                    <a:lnTo>
                      <a:pt x="138" y="146"/>
                    </a:lnTo>
                    <a:lnTo>
                      <a:pt x="126" y="162"/>
                    </a:lnTo>
                    <a:lnTo>
                      <a:pt x="108" y="178"/>
                    </a:lnTo>
                    <a:lnTo>
                      <a:pt x="100" y="184"/>
                    </a:lnTo>
                    <a:lnTo>
                      <a:pt x="90" y="188"/>
                    </a:lnTo>
                    <a:lnTo>
                      <a:pt x="90" y="188"/>
                    </a:lnTo>
                    <a:lnTo>
                      <a:pt x="80" y="184"/>
                    </a:lnTo>
                    <a:lnTo>
                      <a:pt x="70" y="178"/>
                    </a:lnTo>
                    <a:lnTo>
                      <a:pt x="54" y="162"/>
                    </a:lnTo>
                    <a:lnTo>
                      <a:pt x="40" y="146"/>
                    </a:lnTo>
                    <a:lnTo>
                      <a:pt x="30" y="126"/>
                    </a:lnTo>
                    <a:lnTo>
                      <a:pt x="30" y="126"/>
                    </a:lnTo>
                    <a:lnTo>
                      <a:pt x="24" y="110"/>
                    </a:lnTo>
                    <a:lnTo>
                      <a:pt x="20" y="88"/>
                    </a:lnTo>
                    <a:lnTo>
                      <a:pt x="18" y="48"/>
                    </a:lnTo>
                    <a:lnTo>
                      <a:pt x="90" y="20"/>
                    </a:lnTo>
                    <a:lnTo>
                      <a:pt x="162" y="48"/>
                    </a:lnTo>
                    <a:lnTo>
                      <a:pt x="160" y="48"/>
                    </a:lnTo>
                    <a:close/>
                  </a:path>
                </a:pathLst>
              </a:custGeom>
              <a:noFill/>
              <a:ln w="9525">
                <a:solidFill>
                  <a:srgbClr val="00B0F0"/>
                </a:solidFill>
                <a:round/>
                <a:headEnd/>
                <a:tailEnd/>
              </a:ln>
            </p:spPr>
            <p:txBody>
              <a:bodyPr vert="horz" wrap="square" lIns="91458" tIns="45730" rIns="91458" bIns="45730" numCol="1" anchor="t" anchorCtr="0" compatLnSpc="1">
                <a:prstTxWarp prst="textNoShape">
                  <a:avLst/>
                </a:prstTxWarp>
              </a:bodyPr>
              <a:lstStyle/>
              <a:p>
                <a:endParaRPr lang="zh-CN" altLang="en-US">
                  <a:latin typeface="+mj-lt"/>
                  <a:cs typeface="Arial" pitchFamily="34" charset="0"/>
                </a:endParaRPr>
              </a:p>
            </p:txBody>
          </p:sp>
          <p:sp>
            <p:nvSpPr>
              <p:cNvPr id="386" name="Freeform 55"/>
              <p:cNvSpPr>
                <a:spLocks/>
              </p:cNvSpPr>
              <p:nvPr/>
            </p:nvSpPr>
            <p:spPr bwMode="auto">
              <a:xfrm>
                <a:off x="-3927415" y="4247385"/>
                <a:ext cx="198832" cy="223178"/>
              </a:xfrm>
              <a:custGeom>
                <a:avLst/>
                <a:gdLst/>
                <a:ahLst/>
                <a:cxnLst>
                  <a:cxn ang="0">
                    <a:pos x="0" y="74"/>
                  </a:cxn>
                  <a:cxn ang="0">
                    <a:pos x="0" y="74"/>
                  </a:cxn>
                  <a:cxn ang="0">
                    <a:pos x="8" y="86"/>
                  </a:cxn>
                  <a:cxn ang="0">
                    <a:pos x="16" y="94"/>
                  </a:cxn>
                  <a:cxn ang="0">
                    <a:pos x="28" y="102"/>
                  </a:cxn>
                  <a:cxn ang="0">
                    <a:pos x="40" y="110"/>
                  </a:cxn>
                  <a:cxn ang="0">
                    <a:pos x="40" y="110"/>
                  </a:cxn>
                  <a:cxn ang="0">
                    <a:pos x="56" y="100"/>
                  </a:cxn>
                  <a:cxn ang="0">
                    <a:pos x="70" y="88"/>
                  </a:cxn>
                  <a:cxn ang="0">
                    <a:pos x="80" y="72"/>
                  </a:cxn>
                  <a:cxn ang="0">
                    <a:pos x="90" y="56"/>
                  </a:cxn>
                  <a:cxn ang="0">
                    <a:pos x="90" y="56"/>
                  </a:cxn>
                  <a:cxn ang="0">
                    <a:pos x="94" y="44"/>
                  </a:cxn>
                  <a:cxn ang="0">
                    <a:pos x="96" y="30"/>
                  </a:cxn>
                  <a:cxn ang="0">
                    <a:pos x="98" y="0"/>
                  </a:cxn>
                  <a:cxn ang="0">
                    <a:pos x="0" y="74"/>
                  </a:cxn>
                </a:cxnLst>
                <a:rect l="0" t="0" r="r" b="b"/>
                <a:pathLst>
                  <a:path w="98" h="110">
                    <a:moveTo>
                      <a:pt x="0" y="74"/>
                    </a:moveTo>
                    <a:lnTo>
                      <a:pt x="0" y="74"/>
                    </a:lnTo>
                    <a:lnTo>
                      <a:pt x="8" y="86"/>
                    </a:lnTo>
                    <a:lnTo>
                      <a:pt x="16" y="94"/>
                    </a:lnTo>
                    <a:lnTo>
                      <a:pt x="28" y="102"/>
                    </a:lnTo>
                    <a:lnTo>
                      <a:pt x="40" y="110"/>
                    </a:lnTo>
                    <a:lnTo>
                      <a:pt x="40" y="110"/>
                    </a:lnTo>
                    <a:lnTo>
                      <a:pt x="56" y="100"/>
                    </a:lnTo>
                    <a:lnTo>
                      <a:pt x="70" y="88"/>
                    </a:lnTo>
                    <a:lnTo>
                      <a:pt x="80" y="72"/>
                    </a:lnTo>
                    <a:lnTo>
                      <a:pt x="90" y="56"/>
                    </a:lnTo>
                    <a:lnTo>
                      <a:pt x="90" y="56"/>
                    </a:lnTo>
                    <a:lnTo>
                      <a:pt x="94" y="44"/>
                    </a:lnTo>
                    <a:lnTo>
                      <a:pt x="96" y="30"/>
                    </a:lnTo>
                    <a:lnTo>
                      <a:pt x="98" y="0"/>
                    </a:lnTo>
                    <a:lnTo>
                      <a:pt x="0" y="74"/>
                    </a:lnTo>
                    <a:close/>
                  </a:path>
                </a:pathLst>
              </a:custGeom>
              <a:noFill/>
              <a:ln w="9525">
                <a:solidFill>
                  <a:srgbClr val="00B0F0"/>
                </a:solidFill>
                <a:round/>
                <a:headEnd/>
                <a:tailEnd/>
              </a:ln>
            </p:spPr>
            <p:txBody>
              <a:bodyPr vert="horz" wrap="square" lIns="91458" tIns="45730" rIns="91458" bIns="45730" numCol="1" anchor="t" anchorCtr="0" compatLnSpc="1">
                <a:prstTxWarp prst="textNoShape">
                  <a:avLst/>
                </a:prstTxWarp>
              </a:bodyPr>
              <a:lstStyle/>
              <a:p>
                <a:endParaRPr lang="zh-CN" altLang="en-US">
                  <a:latin typeface="+mj-lt"/>
                  <a:cs typeface="Arial" pitchFamily="34" charset="0"/>
                </a:endParaRPr>
              </a:p>
            </p:txBody>
          </p:sp>
          <p:sp>
            <p:nvSpPr>
              <p:cNvPr id="387" name="Freeform 56"/>
              <p:cNvSpPr>
                <a:spLocks/>
              </p:cNvSpPr>
              <p:nvPr/>
            </p:nvSpPr>
            <p:spPr bwMode="auto">
              <a:xfrm>
                <a:off x="-3967993" y="4178403"/>
                <a:ext cx="227236" cy="194774"/>
              </a:xfrm>
              <a:custGeom>
                <a:avLst/>
                <a:gdLst/>
                <a:ahLst/>
                <a:cxnLst>
                  <a:cxn ang="0">
                    <a:pos x="60" y="0"/>
                  </a:cxn>
                  <a:cxn ang="0">
                    <a:pos x="0" y="24"/>
                  </a:cxn>
                  <a:cxn ang="0">
                    <a:pos x="0" y="24"/>
                  </a:cxn>
                  <a:cxn ang="0">
                    <a:pos x="2" y="58"/>
                  </a:cxn>
                  <a:cxn ang="0">
                    <a:pos x="4" y="76"/>
                  </a:cxn>
                  <a:cxn ang="0">
                    <a:pos x="10" y="90"/>
                  </a:cxn>
                  <a:cxn ang="0">
                    <a:pos x="10" y="90"/>
                  </a:cxn>
                  <a:cxn ang="0">
                    <a:pos x="12" y="96"/>
                  </a:cxn>
                  <a:cxn ang="0">
                    <a:pos x="112" y="20"/>
                  </a:cxn>
                  <a:cxn ang="0">
                    <a:pos x="60" y="0"/>
                  </a:cxn>
                </a:cxnLst>
                <a:rect l="0" t="0" r="r" b="b"/>
                <a:pathLst>
                  <a:path w="112" h="96">
                    <a:moveTo>
                      <a:pt x="60" y="0"/>
                    </a:moveTo>
                    <a:lnTo>
                      <a:pt x="0" y="24"/>
                    </a:lnTo>
                    <a:lnTo>
                      <a:pt x="0" y="24"/>
                    </a:lnTo>
                    <a:lnTo>
                      <a:pt x="2" y="58"/>
                    </a:lnTo>
                    <a:lnTo>
                      <a:pt x="4" y="76"/>
                    </a:lnTo>
                    <a:lnTo>
                      <a:pt x="10" y="90"/>
                    </a:lnTo>
                    <a:lnTo>
                      <a:pt x="10" y="90"/>
                    </a:lnTo>
                    <a:lnTo>
                      <a:pt x="12" y="96"/>
                    </a:lnTo>
                    <a:lnTo>
                      <a:pt x="112" y="20"/>
                    </a:lnTo>
                    <a:lnTo>
                      <a:pt x="60" y="0"/>
                    </a:lnTo>
                    <a:close/>
                  </a:path>
                </a:pathLst>
              </a:custGeom>
              <a:noFill/>
              <a:ln w="9525">
                <a:solidFill>
                  <a:srgbClr val="00B0F0"/>
                </a:solidFill>
                <a:round/>
                <a:headEnd/>
                <a:tailEnd/>
              </a:ln>
            </p:spPr>
            <p:txBody>
              <a:bodyPr vert="horz" wrap="square" lIns="91458" tIns="45730" rIns="91458" bIns="45730" numCol="1" anchor="t" anchorCtr="0" compatLnSpc="1">
                <a:prstTxWarp prst="textNoShape">
                  <a:avLst/>
                </a:prstTxWarp>
              </a:bodyPr>
              <a:lstStyle/>
              <a:p>
                <a:endParaRPr lang="zh-CN" altLang="en-US">
                  <a:latin typeface="+mj-lt"/>
                  <a:cs typeface="Arial" pitchFamily="34" charset="0"/>
                </a:endParaRPr>
              </a:p>
            </p:txBody>
          </p:sp>
        </p:grpSp>
      </p:grpSp>
      <p:sp>
        <p:nvSpPr>
          <p:cNvPr id="388" name="矩形 387"/>
          <p:cNvSpPr/>
          <p:nvPr/>
        </p:nvSpPr>
        <p:spPr>
          <a:xfrm>
            <a:off x="5000064" y="2501743"/>
            <a:ext cx="2810724" cy="469658"/>
          </a:xfrm>
          <a:prstGeom prst="rect">
            <a:avLst/>
          </a:prstGeom>
        </p:spPr>
        <p:txBody>
          <a:bodyPr wrap="none" lIns="82083" tIns="41042" rIns="82083" bIns="41042">
            <a:spAutoFit/>
          </a:bodyPr>
          <a:lstStyle/>
          <a:p>
            <a:pPr>
              <a:lnSpc>
                <a:spcPct val="120000"/>
              </a:lnSpc>
            </a:pPr>
            <a:r>
              <a:rPr lang="en-US" altLang="zh-CN" sz="1100" dirty="0" err="1">
                <a:latin typeface="+mj-lt"/>
                <a:ea typeface="微软雅黑" panose="020B0503020204020204" pitchFamily="34" charset="-122"/>
              </a:rPr>
              <a:t>Predicción</a:t>
            </a:r>
            <a:r>
              <a:rPr lang="en-US" altLang="zh-CN" sz="1100" dirty="0">
                <a:latin typeface="+mj-lt"/>
                <a:ea typeface="微软雅黑" panose="020B0503020204020204" pitchFamily="34" charset="-122"/>
              </a:rPr>
              <a:t> </a:t>
            </a:r>
            <a:r>
              <a:rPr lang="en-US" altLang="zh-CN" sz="1100" dirty="0" err="1">
                <a:latin typeface="+mj-lt"/>
                <a:ea typeface="微软雅黑" panose="020B0503020204020204" pitchFamily="34" charset="-122"/>
              </a:rPr>
              <a:t>utilizando</a:t>
            </a:r>
            <a:r>
              <a:rPr lang="en-US" altLang="zh-CN" sz="1100" dirty="0">
                <a:latin typeface="+mj-lt"/>
                <a:ea typeface="微软雅黑" panose="020B0503020204020204" pitchFamily="34" charset="-122"/>
              </a:rPr>
              <a:t> Big  Data </a:t>
            </a:r>
            <a:endParaRPr lang="en-US" altLang="zh-CN" sz="1100" dirty="0" smtClean="0">
              <a:latin typeface="+mj-lt"/>
              <a:ea typeface="微软雅黑" panose="020B0503020204020204" pitchFamily="34" charset="-122"/>
            </a:endParaRPr>
          </a:p>
          <a:p>
            <a:pPr>
              <a:lnSpc>
                <a:spcPct val="120000"/>
              </a:lnSpc>
            </a:pPr>
            <a:r>
              <a:rPr lang="en-US" altLang="zh-CN" sz="1100" dirty="0" smtClean="0">
                <a:latin typeface="+mj-lt"/>
                <a:ea typeface="微软雅黑" panose="020B0503020204020204" pitchFamily="34" charset="-122"/>
              </a:rPr>
              <a:t>y </a:t>
            </a:r>
            <a:r>
              <a:rPr lang="en-US" altLang="zh-CN" sz="1100" dirty="0" err="1">
                <a:latin typeface="+mj-lt"/>
                <a:ea typeface="微软雅黑" panose="020B0503020204020204" pitchFamily="34" charset="-122"/>
              </a:rPr>
              <a:t>Tecnologías</a:t>
            </a:r>
            <a:r>
              <a:rPr lang="en-US" altLang="zh-CN" sz="1100" dirty="0">
                <a:latin typeface="+mj-lt"/>
                <a:ea typeface="微软雅黑" panose="020B0503020204020204" pitchFamily="34" charset="-122"/>
              </a:rPr>
              <a:t> </a:t>
            </a:r>
            <a:r>
              <a:rPr lang="en-US" altLang="zh-CN" sz="1100" dirty="0" smtClean="0">
                <a:latin typeface="+mj-lt"/>
                <a:ea typeface="微软雅黑" panose="020B0503020204020204" pitchFamily="34" charset="-122"/>
              </a:rPr>
              <a:t> de </a:t>
            </a:r>
            <a:r>
              <a:rPr lang="en-US" altLang="zh-CN" sz="1100" dirty="0" err="1">
                <a:latin typeface="+mj-lt"/>
                <a:ea typeface="微软雅黑" panose="020B0503020204020204" pitchFamily="34" charset="-122"/>
              </a:rPr>
              <a:t>inteligencia</a:t>
            </a:r>
            <a:r>
              <a:rPr lang="en-US" altLang="zh-CN" sz="1100" dirty="0">
                <a:latin typeface="+mj-lt"/>
                <a:ea typeface="微软雅黑" panose="020B0503020204020204" pitchFamily="34" charset="-122"/>
              </a:rPr>
              <a:t> </a:t>
            </a:r>
            <a:r>
              <a:rPr lang="en-US" altLang="zh-CN" sz="1100" dirty="0" err="1">
                <a:latin typeface="+mj-lt"/>
                <a:ea typeface="微软雅黑" panose="020B0503020204020204" pitchFamily="34" charset="-122"/>
              </a:rPr>
              <a:t>Aritificial</a:t>
            </a:r>
            <a:endParaRPr lang="en-US" altLang="zh-CN" sz="1100" dirty="0">
              <a:latin typeface="+mj-lt"/>
              <a:ea typeface="微软雅黑" panose="020B0503020204020204" pitchFamily="34" charset="-122"/>
              <a:cs typeface="Arial" panose="020B0604020202020204" pitchFamily="34" charset="0"/>
              <a:sym typeface="Arial" panose="020B0604020202020204" pitchFamily="34" charset="0"/>
            </a:endParaRPr>
          </a:p>
        </p:txBody>
      </p:sp>
      <p:sp>
        <p:nvSpPr>
          <p:cNvPr id="389" name="矩形 388"/>
          <p:cNvSpPr/>
          <p:nvPr/>
        </p:nvSpPr>
        <p:spPr>
          <a:xfrm>
            <a:off x="5114255" y="4733490"/>
            <a:ext cx="2657983" cy="452217"/>
          </a:xfrm>
          <a:prstGeom prst="rect">
            <a:avLst/>
          </a:prstGeom>
        </p:spPr>
        <p:txBody>
          <a:bodyPr wrap="square" lIns="82083" tIns="41042" rIns="82083" bIns="41042">
            <a:spAutoFit/>
          </a:bodyPr>
          <a:lstStyle/>
          <a:p>
            <a:r>
              <a:rPr lang="en-US" altLang="zh-CN" sz="1200" dirty="0" err="1">
                <a:latin typeface="+mj-lt"/>
                <a:ea typeface="微软雅黑" panose="020B0503020204020204" pitchFamily="34" charset="-122"/>
              </a:rPr>
              <a:t>Gestión</a:t>
            </a:r>
            <a:r>
              <a:rPr lang="en-US" altLang="zh-CN" sz="1200" dirty="0">
                <a:latin typeface="+mj-lt"/>
                <a:ea typeface="微软雅黑" panose="020B0503020204020204" pitchFamily="34" charset="-122"/>
              </a:rPr>
              <a:t> proactive contra </a:t>
            </a:r>
            <a:r>
              <a:rPr lang="en-US" altLang="zh-CN" sz="1200" dirty="0" err="1">
                <a:latin typeface="+mj-lt"/>
                <a:ea typeface="微软雅黑" panose="020B0503020204020204" pitchFamily="34" charset="-122"/>
              </a:rPr>
              <a:t>amenazadas</a:t>
            </a:r>
            <a:r>
              <a:rPr lang="en-US" altLang="zh-CN" sz="1200" dirty="0">
                <a:latin typeface="+mj-lt"/>
                <a:ea typeface="微软雅黑" panose="020B0503020204020204" pitchFamily="34" charset="-122"/>
              </a:rPr>
              <a:t> </a:t>
            </a:r>
            <a:r>
              <a:rPr lang="en-US" altLang="zh-CN" sz="1200" dirty="0" err="1">
                <a:latin typeface="+mj-lt"/>
                <a:ea typeface="微软雅黑" panose="020B0503020204020204" pitchFamily="34" charset="-122"/>
              </a:rPr>
              <a:t>desconocidas</a:t>
            </a:r>
            <a:endParaRPr lang="zh-CN" altLang="en-US" sz="1200" dirty="0">
              <a:latin typeface="+mj-lt"/>
              <a:ea typeface="微软雅黑" panose="020B0503020204020204" pitchFamily="34" charset="-122"/>
            </a:endParaRPr>
          </a:p>
        </p:txBody>
      </p:sp>
      <p:sp>
        <p:nvSpPr>
          <p:cNvPr id="396" name="Freeform 7"/>
          <p:cNvSpPr>
            <a:spLocks/>
          </p:cNvSpPr>
          <p:nvPr/>
        </p:nvSpPr>
        <p:spPr bwMode="auto">
          <a:xfrm>
            <a:off x="4974467" y="877448"/>
            <a:ext cx="2382163" cy="539985"/>
          </a:xfrm>
          <a:prstGeom prst="rect">
            <a:avLst/>
          </a:prstGeom>
          <a:solidFill>
            <a:schemeClr val="accent5">
              <a:lumMod val="75000"/>
              <a:alpha val="70000"/>
            </a:schemeClr>
          </a:solidFill>
          <a:ln w="3175" cap="flat" cmpd="sng" algn="ctr">
            <a:noFill/>
            <a:prstDash val="solid"/>
            <a:round/>
            <a:headEnd type="none" w="med" len="med"/>
            <a:tailEnd type="none" w="med" len="med"/>
          </a:ln>
          <a:effectLst/>
          <a:scene3d>
            <a:camera prst="orthographicFront"/>
            <a:lightRig rig="flat" dir="t"/>
          </a:scene3d>
        </p:spPr>
        <p:txBody>
          <a:bodyPr lIns="82093" tIns="41047" rIns="82093" bIns="41047" rtlCol="0" anchor="ctr">
            <a:noAutofit/>
          </a:bodyPr>
          <a:lstStyle/>
          <a:p>
            <a:endParaRPr lang="zh-CN" altLang="en-US" sz="1400" dirty="0">
              <a:solidFill>
                <a:srgbClr val="002060"/>
              </a:solidFill>
              <a:effectLst>
                <a:outerShdw blurRad="38100" dist="38100" dir="2700000" algn="tl">
                  <a:srgbClr val="000000">
                    <a:alpha val="43137"/>
                  </a:srgbClr>
                </a:outerShdw>
              </a:effectLst>
              <a:latin typeface="+mj-lt"/>
              <a:cs typeface="Arial" pitchFamily="34" charset="0"/>
              <a:sym typeface="Arial" pitchFamily="34" charset="0"/>
            </a:endParaRPr>
          </a:p>
        </p:txBody>
      </p:sp>
      <p:sp>
        <p:nvSpPr>
          <p:cNvPr id="398" name="椭圆 397"/>
          <p:cNvSpPr/>
          <p:nvPr/>
        </p:nvSpPr>
        <p:spPr>
          <a:xfrm>
            <a:off x="4722004" y="877448"/>
            <a:ext cx="539985" cy="539985"/>
          </a:xfrm>
          <a:prstGeom prst="ellipse">
            <a:avLst/>
          </a:prstGeom>
          <a:solidFill>
            <a:schemeClr val="bg1"/>
          </a:solidFill>
          <a:ln w="12700" cap="flat" cmpd="sng" algn="ctr">
            <a:solidFill>
              <a:schemeClr val="accent6"/>
            </a:solidFill>
            <a:prstDash val="solid"/>
          </a:ln>
          <a:effectLst/>
        </p:spPr>
        <p:txBody>
          <a:bodyPr rtlCol="0" anchor="ctr"/>
          <a:lstStyle/>
          <a:p>
            <a:pPr algn="ctr">
              <a:defRPr/>
            </a:pPr>
            <a:endParaRPr lang="zh-CN" altLang="en-US" sz="2400" kern="0" dirty="0">
              <a:solidFill>
                <a:srgbClr val="002060"/>
              </a:solidFill>
              <a:latin typeface="+mj-lt"/>
              <a:ea typeface="微软雅黑" panose="020B0503020204020204" pitchFamily="34" charset="-122"/>
              <a:cs typeface="Arial" pitchFamily="34" charset="0"/>
              <a:sym typeface="Arial" panose="020B0604020202020204" pitchFamily="34" charset="0"/>
            </a:endParaRPr>
          </a:p>
        </p:txBody>
      </p:sp>
      <p:pic>
        <p:nvPicPr>
          <p:cNvPr id="391" name="图片 390"/>
          <p:cNvPicPr>
            <a:picLocks/>
          </p:cNvPicPr>
          <p:nvPr/>
        </p:nvPicPr>
        <p:blipFill rotWithShape="1">
          <a:blip r:embed="rId14"/>
          <a:srcRect l="4595" t="4595" r="2496" b="2496"/>
          <a:stretch/>
        </p:blipFill>
        <p:spPr>
          <a:xfrm>
            <a:off x="4747551" y="902648"/>
            <a:ext cx="489585" cy="489585"/>
          </a:xfrm>
          <a:prstGeom prst="ellipse">
            <a:avLst/>
          </a:prstGeom>
          <a:ln w="63500" cap="rnd">
            <a:noFill/>
          </a:ln>
          <a:effectLst>
            <a:outerShdw blurRad="381000" dist="292100" dir="5400000" sx="-80000" sy="-18000" rotWithShape="0">
              <a:srgbClr val="000000">
                <a:alpha val="22000"/>
              </a:srgbClr>
            </a:outerShdw>
          </a:effectLst>
        </p:spPr>
      </p:pic>
      <p:sp>
        <p:nvSpPr>
          <p:cNvPr id="397" name="907797442"/>
          <p:cNvSpPr txBox="1"/>
          <p:nvPr/>
        </p:nvSpPr>
        <p:spPr>
          <a:xfrm>
            <a:off x="5697976" y="993591"/>
            <a:ext cx="1399422" cy="307648"/>
          </a:xfrm>
          <a:prstGeom prst="rect">
            <a:avLst/>
          </a:prstGeom>
          <a:noFill/>
        </p:spPr>
        <p:txBody>
          <a:bodyPr wrap="none" lIns="0" tIns="0" rIns="0" bIns="0" rtlCol="0">
            <a:spAutoFit/>
          </a:bodyPr>
          <a:lstStyle>
            <a:defPPr>
              <a:defRPr lang="zh-CN"/>
            </a:defPPr>
            <a:lvl1pPr defTabSz="685800">
              <a:spcAft>
                <a:spcPts val="450"/>
              </a:spcAft>
              <a:defRPr sz="2000" b="0" kern="0">
                <a:solidFill>
                  <a:schemeClr val="tx1">
                    <a:lumMod val="85000"/>
                    <a:lumOff val="15000"/>
                  </a:schemeClr>
                </a:solidFill>
                <a:latin typeface="Arial" pitchFamily="34" charset="0"/>
                <a:ea typeface="微软雅黑"/>
                <a:cs typeface="Arial" pitchFamily="34" charset="0"/>
              </a:defRPr>
            </a:lvl1pPr>
          </a:lstStyle>
          <a:p>
            <a:r>
              <a:rPr lang="en-US" altLang="zh-CN" dirty="0" err="1">
                <a:solidFill>
                  <a:srgbClr val="002060"/>
                </a:solidFill>
                <a:latin typeface="+mj-lt"/>
                <a:sym typeface="微软雅黑" panose="020B0503020204020204" pitchFamily="34" charset="-122"/>
              </a:rPr>
              <a:t>Innovación</a:t>
            </a:r>
            <a:endParaRPr lang="en-US" altLang="zh-CN" dirty="0">
              <a:solidFill>
                <a:srgbClr val="002060"/>
              </a:solidFill>
              <a:latin typeface="+mj-lt"/>
              <a:sym typeface="微软雅黑" panose="020B0503020204020204" pitchFamily="34" charset="-122"/>
            </a:endParaRPr>
          </a:p>
        </p:txBody>
      </p:sp>
      <p:sp>
        <p:nvSpPr>
          <p:cNvPr id="184" name="圆角矩形 433"/>
          <p:cNvSpPr/>
          <p:nvPr/>
        </p:nvSpPr>
        <p:spPr>
          <a:xfrm>
            <a:off x="8060890" y="2235492"/>
            <a:ext cx="3212101" cy="2945566"/>
          </a:xfrm>
          <a:prstGeom prst="roundRect">
            <a:avLst>
              <a:gd name="adj" fmla="val 1791"/>
            </a:avLst>
          </a:prstGeom>
          <a:solidFill>
            <a:schemeClr val="accent5">
              <a:lumMod val="75000"/>
              <a:alpha val="32941"/>
            </a:schemeClr>
          </a:solidFill>
          <a:ln w="3175" cap="flat" cmpd="sng" algn="ctr">
            <a:noFill/>
            <a:prstDash val="solid"/>
            <a:round/>
            <a:headEnd type="none" w="med" len="med"/>
            <a:tailEnd type="none" w="med" len="med"/>
          </a:ln>
          <a:effectLst/>
          <a:scene3d>
            <a:camera prst="orthographicFront"/>
            <a:lightRig rig="flat" dir="t"/>
          </a:scene3d>
        </p:spPr>
        <p:txBody>
          <a:bodyPr lIns="82093" tIns="41047" rIns="82093" bIns="41047" rtlCol="0" anchor="ctr">
            <a:noAutofit/>
          </a:bodyPr>
          <a:lstStyle/>
          <a:p>
            <a:endParaRPr sz="1400">
              <a:effectLst>
                <a:outerShdw blurRad="38100" dist="38100" dir="2700000" algn="tl">
                  <a:srgbClr val="000000">
                    <a:alpha val="43137"/>
                  </a:srgbClr>
                </a:outerShdw>
              </a:effectLst>
              <a:latin typeface="+mj-lt"/>
              <a:cs typeface="Arial" pitchFamily="34" charset="0"/>
            </a:endParaRPr>
          </a:p>
        </p:txBody>
      </p:sp>
      <p:sp>
        <p:nvSpPr>
          <p:cNvPr id="213" name="文本框 300"/>
          <p:cNvSpPr txBox="1"/>
          <p:nvPr/>
        </p:nvSpPr>
        <p:spPr>
          <a:xfrm>
            <a:off x="8429681" y="4006055"/>
            <a:ext cx="1719208" cy="452217"/>
          </a:xfrm>
          <a:prstGeom prst="rect">
            <a:avLst/>
          </a:prstGeom>
          <a:noFill/>
        </p:spPr>
        <p:txBody>
          <a:bodyPr wrap="square" lIns="82083" tIns="41042" rIns="82083" bIns="41042" rtlCol="0">
            <a:spAutoFit/>
          </a:bodyPr>
          <a:lstStyle/>
          <a:p>
            <a:r>
              <a:rPr lang="en-US" altLang="zh-CN" sz="1200" dirty="0" err="1">
                <a:latin typeface="+mj-lt"/>
                <a:ea typeface="微软雅黑" panose="020B0503020204020204" pitchFamily="34" charset="-122"/>
              </a:rPr>
              <a:t>Aprendizaje</a:t>
            </a:r>
            <a:r>
              <a:rPr lang="en-US" altLang="zh-CN" sz="1200" dirty="0">
                <a:latin typeface="+mj-lt"/>
                <a:ea typeface="微软雅黑" panose="020B0503020204020204" pitchFamily="34" charset="-122"/>
              </a:rPr>
              <a:t> </a:t>
            </a:r>
            <a:r>
              <a:rPr lang="en-US" altLang="zh-CN" sz="1200" dirty="0" err="1">
                <a:latin typeface="+mj-lt"/>
                <a:ea typeface="微软雅黑" panose="020B0503020204020204" pitchFamily="34" charset="-122"/>
              </a:rPr>
              <a:t>Interactivo</a:t>
            </a:r>
            <a:endParaRPr lang="zh-CN" altLang="en-US" sz="1200" dirty="0">
              <a:latin typeface="+mj-lt"/>
              <a:ea typeface="微软雅黑" panose="020B0503020204020204" pitchFamily="34" charset="-122"/>
            </a:endParaRPr>
          </a:p>
        </p:txBody>
      </p:sp>
      <p:grpSp>
        <p:nvGrpSpPr>
          <p:cNvPr id="214" name="组合 1"/>
          <p:cNvGrpSpPr/>
          <p:nvPr/>
        </p:nvGrpSpPr>
        <p:grpSpPr>
          <a:xfrm>
            <a:off x="8712227" y="3587310"/>
            <a:ext cx="608467" cy="349189"/>
            <a:chOff x="8077883" y="3045840"/>
            <a:chExt cx="948602" cy="514775"/>
          </a:xfrm>
          <a:solidFill>
            <a:schemeClr val="tx1"/>
          </a:solidFill>
        </p:grpSpPr>
        <p:grpSp>
          <p:nvGrpSpPr>
            <p:cNvPr id="215" name="组合 229"/>
            <p:cNvGrpSpPr/>
            <p:nvPr/>
          </p:nvGrpSpPr>
          <p:grpSpPr>
            <a:xfrm>
              <a:off x="8077883" y="3045840"/>
              <a:ext cx="383519" cy="350493"/>
              <a:chOff x="12457113" y="177800"/>
              <a:chExt cx="898525" cy="993776"/>
            </a:xfrm>
            <a:grpFill/>
          </p:grpSpPr>
          <p:sp>
            <p:nvSpPr>
              <p:cNvPr id="223" name="Freeform 83"/>
              <p:cNvSpPr>
                <a:spLocks/>
              </p:cNvSpPr>
              <p:nvPr/>
            </p:nvSpPr>
            <p:spPr bwMode="auto">
              <a:xfrm>
                <a:off x="12726988" y="177800"/>
                <a:ext cx="352425" cy="125413"/>
              </a:xfrm>
              <a:custGeom>
                <a:avLst/>
                <a:gdLst/>
                <a:ahLst/>
                <a:cxnLst>
                  <a:cxn ang="0">
                    <a:pos x="33" y="134"/>
                  </a:cxn>
                  <a:cxn ang="0">
                    <a:pos x="44" y="139"/>
                  </a:cxn>
                  <a:cxn ang="0">
                    <a:pos x="49" y="137"/>
                  </a:cxn>
                  <a:cxn ang="0">
                    <a:pos x="54" y="135"/>
                  </a:cxn>
                  <a:cxn ang="0">
                    <a:pos x="90" y="108"/>
                  </a:cxn>
                  <a:cxn ang="0">
                    <a:pos x="127" y="90"/>
                  </a:cxn>
                  <a:cxn ang="0">
                    <a:pos x="169" y="78"/>
                  </a:cxn>
                  <a:cxn ang="0">
                    <a:pos x="211" y="73"/>
                  </a:cxn>
                  <a:cxn ang="0">
                    <a:pos x="225" y="75"/>
                  </a:cxn>
                  <a:cxn ang="0">
                    <a:pos x="248" y="76"/>
                  </a:cxn>
                  <a:cxn ang="0">
                    <a:pos x="292" y="88"/>
                  </a:cxn>
                  <a:cxn ang="0">
                    <a:pos x="333" y="108"/>
                  </a:cxn>
                  <a:cxn ang="0">
                    <a:pos x="370" y="135"/>
                  </a:cxn>
                  <a:cxn ang="0">
                    <a:pos x="385" y="152"/>
                  </a:cxn>
                  <a:cxn ang="0">
                    <a:pos x="397" y="157"/>
                  </a:cxn>
                  <a:cxn ang="0">
                    <a:pos x="402" y="156"/>
                  </a:cxn>
                  <a:cxn ang="0">
                    <a:pos x="439" y="127"/>
                  </a:cxn>
                  <a:cxn ang="0">
                    <a:pos x="442" y="122"/>
                  </a:cxn>
                  <a:cxn ang="0">
                    <a:pos x="444" y="115"/>
                  </a:cxn>
                  <a:cxn ang="0">
                    <a:pos x="441" y="103"/>
                  </a:cxn>
                  <a:cxn ang="0">
                    <a:pos x="419" y="81"/>
                  </a:cxn>
                  <a:cxn ang="0">
                    <a:pos x="372" y="46"/>
                  </a:cxn>
                  <a:cxn ang="0">
                    <a:pos x="318" y="19"/>
                  </a:cxn>
                  <a:cxn ang="0">
                    <a:pos x="260" y="4"/>
                  </a:cxn>
                  <a:cxn ang="0">
                    <a:pos x="230" y="2"/>
                  </a:cxn>
                  <a:cxn ang="0">
                    <a:pos x="211" y="0"/>
                  </a:cxn>
                  <a:cxn ang="0">
                    <a:pos x="156" y="5"/>
                  </a:cxn>
                  <a:cxn ang="0">
                    <a:pos x="102" y="21"/>
                  </a:cxn>
                  <a:cxn ang="0">
                    <a:pos x="51" y="46"/>
                  </a:cxn>
                  <a:cxn ang="0">
                    <a:pos x="6" y="81"/>
                  </a:cxn>
                  <a:cxn ang="0">
                    <a:pos x="2" y="86"/>
                  </a:cxn>
                  <a:cxn ang="0">
                    <a:pos x="2" y="98"/>
                  </a:cxn>
                  <a:cxn ang="0">
                    <a:pos x="33" y="134"/>
                  </a:cxn>
                </a:cxnLst>
                <a:rect l="0" t="0" r="r" b="b"/>
                <a:pathLst>
                  <a:path w="444" h="157">
                    <a:moveTo>
                      <a:pt x="33" y="134"/>
                    </a:moveTo>
                    <a:lnTo>
                      <a:pt x="33" y="134"/>
                    </a:lnTo>
                    <a:lnTo>
                      <a:pt x="38" y="137"/>
                    </a:lnTo>
                    <a:lnTo>
                      <a:pt x="44" y="139"/>
                    </a:lnTo>
                    <a:lnTo>
                      <a:pt x="44" y="139"/>
                    </a:lnTo>
                    <a:lnTo>
                      <a:pt x="49" y="137"/>
                    </a:lnTo>
                    <a:lnTo>
                      <a:pt x="54" y="135"/>
                    </a:lnTo>
                    <a:lnTo>
                      <a:pt x="54" y="135"/>
                    </a:lnTo>
                    <a:lnTo>
                      <a:pt x="71" y="120"/>
                    </a:lnTo>
                    <a:lnTo>
                      <a:pt x="90" y="108"/>
                    </a:lnTo>
                    <a:lnTo>
                      <a:pt x="108" y="98"/>
                    </a:lnTo>
                    <a:lnTo>
                      <a:pt x="127" y="90"/>
                    </a:lnTo>
                    <a:lnTo>
                      <a:pt x="147" y="83"/>
                    </a:lnTo>
                    <a:lnTo>
                      <a:pt x="169" y="78"/>
                    </a:lnTo>
                    <a:lnTo>
                      <a:pt x="189" y="75"/>
                    </a:lnTo>
                    <a:lnTo>
                      <a:pt x="211" y="73"/>
                    </a:lnTo>
                    <a:lnTo>
                      <a:pt x="211" y="73"/>
                    </a:lnTo>
                    <a:lnTo>
                      <a:pt x="225" y="75"/>
                    </a:lnTo>
                    <a:lnTo>
                      <a:pt x="225" y="75"/>
                    </a:lnTo>
                    <a:lnTo>
                      <a:pt x="248" y="76"/>
                    </a:lnTo>
                    <a:lnTo>
                      <a:pt x="270" y="81"/>
                    </a:lnTo>
                    <a:lnTo>
                      <a:pt x="292" y="88"/>
                    </a:lnTo>
                    <a:lnTo>
                      <a:pt x="313" y="97"/>
                    </a:lnTo>
                    <a:lnTo>
                      <a:pt x="333" y="108"/>
                    </a:lnTo>
                    <a:lnTo>
                      <a:pt x="351" y="120"/>
                    </a:lnTo>
                    <a:lnTo>
                      <a:pt x="370" y="135"/>
                    </a:lnTo>
                    <a:lnTo>
                      <a:pt x="385" y="152"/>
                    </a:lnTo>
                    <a:lnTo>
                      <a:pt x="385" y="152"/>
                    </a:lnTo>
                    <a:lnTo>
                      <a:pt x="390" y="156"/>
                    </a:lnTo>
                    <a:lnTo>
                      <a:pt x="397" y="157"/>
                    </a:lnTo>
                    <a:lnTo>
                      <a:pt x="397" y="157"/>
                    </a:lnTo>
                    <a:lnTo>
                      <a:pt x="402" y="156"/>
                    </a:lnTo>
                    <a:lnTo>
                      <a:pt x="407" y="154"/>
                    </a:lnTo>
                    <a:lnTo>
                      <a:pt x="439" y="127"/>
                    </a:lnTo>
                    <a:lnTo>
                      <a:pt x="439" y="127"/>
                    </a:lnTo>
                    <a:lnTo>
                      <a:pt x="442" y="122"/>
                    </a:lnTo>
                    <a:lnTo>
                      <a:pt x="444" y="115"/>
                    </a:lnTo>
                    <a:lnTo>
                      <a:pt x="444" y="115"/>
                    </a:lnTo>
                    <a:lnTo>
                      <a:pt x="444" y="110"/>
                    </a:lnTo>
                    <a:lnTo>
                      <a:pt x="441" y="103"/>
                    </a:lnTo>
                    <a:lnTo>
                      <a:pt x="441" y="103"/>
                    </a:lnTo>
                    <a:lnTo>
                      <a:pt x="419" y="81"/>
                    </a:lnTo>
                    <a:lnTo>
                      <a:pt x="395" y="63"/>
                    </a:lnTo>
                    <a:lnTo>
                      <a:pt x="372" y="46"/>
                    </a:lnTo>
                    <a:lnTo>
                      <a:pt x="345" y="31"/>
                    </a:lnTo>
                    <a:lnTo>
                      <a:pt x="318" y="19"/>
                    </a:lnTo>
                    <a:lnTo>
                      <a:pt x="289" y="11"/>
                    </a:lnTo>
                    <a:lnTo>
                      <a:pt x="260" y="4"/>
                    </a:lnTo>
                    <a:lnTo>
                      <a:pt x="230" y="2"/>
                    </a:lnTo>
                    <a:lnTo>
                      <a:pt x="230" y="2"/>
                    </a:lnTo>
                    <a:lnTo>
                      <a:pt x="211" y="0"/>
                    </a:lnTo>
                    <a:lnTo>
                      <a:pt x="211" y="0"/>
                    </a:lnTo>
                    <a:lnTo>
                      <a:pt x="183" y="2"/>
                    </a:lnTo>
                    <a:lnTo>
                      <a:pt x="156" y="5"/>
                    </a:lnTo>
                    <a:lnTo>
                      <a:pt x="129" y="12"/>
                    </a:lnTo>
                    <a:lnTo>
                      <a:pt x="102" y="21"/>
                    </a:lnTo>
                    <a:lnTo>
                      <a:pt x="76" y="32"/>
                    </a:lnTo>
                    <a:lnTo>
                      <a:pt x="51" y="46"/>
                    </a:lnTo>
                    <a:lnTo>
                      <a:pt x="27" y="63"/>
                    </a:lnTo>
                    <a:lnTo>
                      <a:pt x="6" y="81"/>
                    </a:lnTo>
                    <a:lnTo>
                      <a:pt x="6" y="81"/>
                    </a:lnTo>
                    <a:lnTo>
                      <a:pt x="2" y="86"/>
                    </a:lnTo>
                    <a:lnTo>
                      <a:pt x="0" y="92"/>
                    </a:lnTo>
                    <a:lnTo>
                      <a:pt x="2" y="98"/>
                    </a:lnTo>
                    <a:lnTo>
                      <a:pt x="6" y="103"/>
                    </a:lnTo>
                    <a:lnTo>
                      <a:pt x="33" y="134"/>
                    </a:lnTo>
                    <a:close/>
                  </a:path>
                </a:pathLst>
              </a:custGeom>
              <a:grpFill/>
              <a:ln w="9525">
                <a:noFill/>
                <a:round/>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anose="020B0503020204020204" pitchFamily="34" charset="-122"/>
                </a:endParaRPr>
              </a:p>
            </p:txBody>
          </p:sp>
          <p:sp>
            <p:nvSpPr>
              <p:cNvPr id="224" name="Freeform 84"/>
              <p:cNvSpPr>
                <a:spLocks/>
              </p:cNvSpPr>
              <p:nvPr/>
            </p:nvSpPr>
            <p:spPr bwMode="auto">
              <a:xfrm>
                <a:off x="12801600" y="274638"/>
                <a:ext cx="196850" cy="87313"/>
              </a:xfrm>
              <a:custGeom>
                <a:avLst/>
                <a:gdLst/>
                <a:ahLst/>
                <a:cxnLst>
                  <a:cxn ang="0">
                    <a:pos x="130" y="0"/>
                  </a:cxn>
                  <a:cxn ang="0">
                    <a:pos x="130" y="0"/>
                  </a:cxn>
                  <a:cxn ang="0">
                    <a:pos x="120" y="0"/>
                  </a:cxn>
                  <a:cxn ang="0">
                    <a:pos x="120" y="0"/>
                  </a:cxn>
                  <a:cxn ang="0">
                    <a:pos x="103" y="0"/>
                  </a:cxn>
                  <a:cxn ang="0">
                    <a:pos x="88" y="3"/>
                  </a:cxn>
                  <a:cxn ang="0">
                    <a:pos x="73" y="7"/>
                  </a:cxn>
                  <a:cxn ang="0">
                    <a:pos x="58" y="12"/>
                  </a:cxn>
                  <a:cxn ang="0">
                    <a:pos x="44" y="18"/>
                  </a:cxn>
                  <a:cxn ang="0">
                    <a:pos x="31" y="25"/>
                  </a:cxn>
                  <a:cxn ang="0">
                    <a:pos x="17" y="34"/>
                  </a:cxn>
                  <a:cxn ang="0">
                    <a:pos x="5" y="44"/>
                  </a:cxn>
                  <a:cxn ang="0">
                    <a:pos x="5" y="44"/>
                  </a:cxn>
                  <a:cxn ang="0">
                    <a:pos x="2" y="49"/>
                  </a:cxn>
                  <a:cxn ang="0">
                    <a:pos x="0" y="56"/>
                  </a:cxn>
                  <a:cxn ang="0">
                    <a:pos x="2" y="61"/>
                  </a:cxn>
                  <a:cxn ang="0">
                    <a:pos x="4" y="67"/>
                  </a:cxn>
                  <a:cxn ang="0">
                    <a:pos x="32" y="98"/>
                  </a:cxn>
                  <a:cxn ang="0">
                    <a:pos x="32" y="98"/>
                  </a:cxn>
                  <a:cxn ang="0">
                    <a:pos x="37" y="101"/>
                  </a:cxn>
                  <a:cxn ang="0">
                    <a:pos x="44" y="103"/>
                  </a:cxn>
                  <a:cxn ang="0">
                    <a:pos x="44" y="103"/>
                  </a:cxn>
                  <a:cxn ang="0">
                    <a:pos x="49" y="101"/>
                  </a:cxn>
                  <a:cxn ang="0">
                    <a:pos x="54" y="98"/>
                  </a:cxn>
                  <a:cxn ang="0">
                    <a:pos x="54" y="98"/>
                  </a:cxn>
                  <a:cxn ang="0">
                    <a:pos x="69" y="88"/>
                  </a:cxn>
                  <a:cxn ang="0">
                    <a:pos x="85" y="79"/>
                  </a:cxn>
                  <a:cxn ang="0">
                    <a:pos x="101" y="74"/>
                  </a:cxn>
                  <a:cxn ang="0">
                    <a:pos x="120" y="72"/>
                  </a:cxn>
                  <a:cxn ang="0">
                    <a:pos x="120" y="72"/>
                  </a:cxn>
                  <a:cxn ang="0">
                    <a:pos x="125" y="72"/>
                  </a:cxn>
                  <a:cxn ang="0">
                    <a:pos x="125" y="72"/>
                  </a:cxn>
                  <a:cxn ang="0">
                    <a:pos x="144" y="76"/>
                  </a:cxn>
                  <a:cxn ang="0">
                    <a:pos x="161" y="83"/>
                  </a:cxn>
                  <a:cxn ang="0">
                    <a:pos x="177" y="91"/>
                  </a:cxn>
                  <a:cxn ang="0">
                    <a:pos x="191" y="104"/>
                  </a:cxn>
                  <a:cxn ang="0">
                    <a:pos x="191" y="104"/>
                  </a:cxn>
                  <a:cxn ang="0">
                    <a:pos x="196" y="108"/>
                  </a:cxn>
                  <a:cxn ang="0">
                    <a:pos x="203" y="110"/>
                  </a:cxn>
                  <a:cxn ang="0">
                    <a:pos x="203" y="110"/>
                  </a:cxn>
                  <a:cxn ang="0">
                    <a:pos x="208" y="108"/>
                  </a:cxn>
                  <a:cxn ang="0">
                    <a:pos x="213" y="106"/>
                  </a:cxn>
                  <a:cxn ang="0">
                    <a:pos x="245" y="79"/>
                  </a:cxn>
                  <a:cxn ang="0">
                    <a:pos x="245" y="79"/>
                  </a:cxn>
                  <a:cxn ang="0">
                    <a:pos x="248" y="74"/>
                  </a:cxn>
                  <a:cxn ang="0">
                    <a:pos x="250" y="67"/>
                  </a:cxn>
                  <a:cxn ang="0">
                    <a:pos x="250" y="67"/>
                  </a:cxn>
                  <a:cxn ang="0">
                    <a:pos x="248" y="61"/>
                  </a:cxn>
                  <a:cxn ang="0">
                    <a:pos x="247" y="56"/>
                  </a:cxn>
                  <a:cxn ang="0">
                    <a:pos x="247" y="56"/>
                  </a:cxn>
                  <a:cxn ang="0">
                    <a:pos x="235" y="44"/>
                  </a:cxn>
                  <a:cxn ang="0">
                    <a:pos x="221" y="34"/>
                  </a:cxn>
                  <a:cxn ang="0">
                    <a:pos x="208" y="25"/>
                  </a:cxn>
                  <a:cxn ang="0">
                    <a:pos x="193" y="17"/>
                  </a:cxn>
                  <a:cxn ang="0">
                    <a:pos x="177" y="10"/>
                  </a:cxn>
                  <a:cxn ang="0">
                    <a:pos x="162" y="5"/>
                  </a:cxn>
                  <a:cxn ang="0">
                    <a:pos x="147" y="2"/>
                  </a:cxn>
                  <a:cxn ang="0">
                    <a:pos x="130" y="0"/>
                  </a:cxn>
                  <a:cxn ang="0">
                    <a:pos x="130" y="0"/>
                  </a:cxn>
                </a:cxnLst>
                <a:rect l="0" t="0" r="r" b="b"/>
                <a:pathLst>
                  <a:path w="250" h="110">
                    <a:moveTo>
                      <a:pt x="130" y="0"/>
                    </a:moveTo>
                    <a:lnTo>
                      <a:pt x="130" y="0"/>
                    </a:lnTo>
                    <a:lnTo>
                      <a:pt x="120" y="0"/>
                    </a:lnTo>
                    <a:lnTo>
                      <a:pt x="120" y="0"/>
                    </a:lnTo>
                    <a:lnTo>
                      <a:pt x="103" y="0"/>
                    </a:lnTo>
                    <a:lnTo>
                      <a:pt x="88" y="3"/>
                    </a:lnTo>
                    <a:lnTo>
                      <a:pt x="73" y="7"/>
                    </a:lnTo>
                    <a:lnTo>
                      <a:pt x="58" y="12"/>
                    </a:lnTo>
                    <a:lnTo>
                      <a:pt x="44" y="18"/>
                    </a:lnTo>
                    <a:lnTo>
                      <a:pt x="31" y="25"/>
                    </a:lnTo>
                    <a:lnTo>
                      <a:pt x="17" y="34"/>
                    </a:lnTo>
                    <a:lnTo>
                      <a:pt x="5" y="44"/>
                    </a:lnTo>
                    <a:lnTo>
                      <a:pt x="5" y="44"/>
                    </a:lnTo>
                    <a:lnTo>
                      <a:pt x="2" y="49"/>
                    </a:lnTo>
                    <a:lnTo>
                      <a:pt x="0" y="56"/>
                    </a:lnTo>
                    <a:lnTo>
                      <a:pt x="2" y="61"/>
                    </a:lnTo>
                    <a:lnTo>
                      <a:pt x="4" y="67"/>
                    </a:lnTo>
                    <a:lnTo>
                      <a:pt x="32" y="98"/>
                    </a:lnTo>
                    <a:lnTo>
                      <a:pt x="32" y="98"/>
                    </a:lnTo>
                    <a:lnTo>
                      <a:pt x="37" y="101"/>
                    </a:lnTo>
                    <a:lnTo>
                      <a:pt x="44" y="103"/>
                    </a:lnTo>
                    <a:lnTo>
                      <a:pt x="44" y="103"/>
                    </a:lnTo>
                    <a:lnTo>
                      <a:pt x="49" y="101"/>
                    </a:lnTo>
                    <a:lnTo>
                      <a:pt x="54" y="98"/>
                    </a:lnTo>
                    <a:lnTo>
                      <a:pt x="54" y="98"/>
                    </a:lnTo>
                    <a:lnTo>
                      <a:pt x="69" y="88"/>
                    </a:lnTo>
                    <a:lnTo>
                      <a:pt x="85" y="79"/>
                    </a:lnTo>
                    <a:lnTo>
                      <a:pt x="101" y="74"/>
                    </a:lnTo>
                    <a:lnTo>
                      <a:pt x="120" y="72"/>
                    </a:lnTo>
                    <a:lnTo>
                      <a:pt x="120" y="72"/>
                    </a:lnTo>
                    <a:lnTo>
                      <a:pt x="125" y="72"/>
                    </a:lnTo>
                    <a:lnTo>
                      <a:pt x="125" y="72"/>
                    </a:lnTo>
                    <a:lnTo>
                      <a:pt x="144" y="76"/>
                    </a:lnTo>
                    <a:lnTo>
                      <a:pt x="161" y="83"/>
                    </a:lnTo>
                    <a:lnTo>
                      <a:pt x="177" y="91"/>
                    </a:lnTo>
                    <a:lnTo>
                      <a:pt x="191" y="104"/>
                    </a:lnTo>
                    <a:lnTo>
                      <a:pt x="191" y="104"/>
                    </a:lnTo>
                    <a:lnTo>
                      <a:pt x="196" y="108"/>
                    </a:lnTo>
                    <a:lnTo>
                      <a:pt x="203" y="110"/>
                    </a:lnTo>
                    <a:lnTo>
                      <a:pt x="203" y="110"/>
                    </a:lnTo>
                    <a:lnTo>
                      <a:pt x="208" y="108"/>
                    </a:lnTo>
                    <a:lnTo>
                      <a:pt x="213" y="106"/>
                    </a:lnTo>
                    <a:lnTo>
                      <a:pt x="245" y="79"/>
                    </a:lnTo>
                    <a:lnTo>
                      <a:pt x="245" y="79"/>
                    </a:lnTo>
                    <a:lnTo>
                      <a:pt x="248" y="74"/>
                    </a:lnTo>
                    <a:lnTo>
                      <a:pt x="250" y="67"/>
                    </a:lnTo>
                    <a:lnTo>
                      <a:pt x="250" y="67"/>
                    </a:lnTo>
                    <a:lnTo>
                      <a:pt x="248" y="61"/>
                    </a:lnTo>
                    <a:lnTo>
                      <a:pt x="247" y="56"/>
                    </a:lnTo>
                    <a:lnTo>
                      <a:pt x="247" y="56"/>
                    </a:lnTo>
                    <a:lnTo>
                      <a:pt x="235" y="44"/>
                    </a:lnTo>
                    <a:lnTo>
                      <a:pt x="221" y="34"/>
                    </a:lnTo>
                    <a:lnTo>
                      <a:pt x="208" y="25"/>
                    </a:lnTo>
                    <a:lnTo>
                      <a:pt x="193" y="17"/>
                    </a:lnTo>
                    <a:lnTo>
                      <a:pt x="177" y="10"/>
                    </a:lnTo>
                    <a:lnTo>
                      <a:pt x="162" y="5"/>
                    </a:lnTo>
                    <a:lnTo>
                      <a:pt x="147" y="2"/>
                    </a:lnTo>
                    <a:lnTo>
                      <a:pt x="130" y="0"/>
                    </a:lnTo>
                    <a:lnTo>
                      <a:pt x="130" y="0"/>
                    </a:lnTo>
                    <a:close/>
                  </a:path>
                </a:pathLst>
              </a:custGeom>
              <a:grpFill/>
              <a:ln w="9525">
                <a:noFill/>
                <a:round/>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anose="020B0503020204020204" pitchFamily="34" charset="-122"/>
                </a:endParaRPr>
              </a:p>
            </p:txBody>
          </p:sp>
          <p:sp>
            <p:nvSpPr>
              <p:cNvPr id="225" name="Freeform 85"/>
              <p:cNvSpPr>
                <a:spLocks noEditPoints="1"/>
              </p:cNvSpPr>
              <p:nvPr/>
            </p:nvSpPr>
            <p:spPr bwMode="auto">
              <a:xfrm>
                <a:off x="12457113" y="398463"/>
                <a:ext cx="898525" cy="639763"/>
              </a:xfrm>
              <a:custGeom>
                <a:avLst/>
                <a:gdLst/>
                <a:ahLst/>
                <a:cxnLst>
                  <a:cxn ang="0">
                    <a:pos x="605" y="804"/>
                  </a:cxn>
                  <a:cxn ang="0">
                    <a:pos x="592" y="771"/>
                  </a:cxn>
                  <a:cxn ang="0">
                    <a:pos x="582" y="742"/>
                  </a:cxn>
                  <a:cxn ang="0">
                    <a:pos x="583" y="713"/>
                  </a:cxn>
                  <a:cxn ang="0">
                    <a:pos x="583" y="707"/>
                  </a:cxn>
                  <a:cxn ang="0">
                    <a:pos x="120" y="707"/>
                  </a:cxn>
                  <a:cxn ang="0">
                    <a:pos x="103" y="700"/>
                  </a:cxn>
                  <a:cxn ang="0">
                    <a:pos x="96" y="683"/>
                  </a:cxn>
                  <a:cxn ang="0">
                    <a:pos x="96" y="120"/>
                  </a:cxn>
                  <a:cxn ang="0">
                    <a:pos x="103" y="103"/>
                  </a:cxn>
                  <a:cxn ang="0">
                    <a:pos x="120" y="96"/>
                  </a:cxn>
                  <a:cxn ang="0">
                    <a:pos x="936" y="96"/>
                  </a:cxn>
                  <a:cxn ang="0">
                    <a:pos x="953" y="103"/>
                  </a:cxn>
                  <a:cxn ang="0">
                    <a:pos x="960" y="120"/>
                  </a:cxn>
                  <a:cxn ang="0">
                    <a:pos x="990" y="661"/>
                  </a:cxn>
                  <a:cxn ang="0">
                    <a:pos x="998" y="664"/>
                  </a:cxn>
                  <a:cxn ang="0">
                    <a:pos x="1014" y="675"/>
                  </a:cxn>
                  <a:cxn ang="0">
                    <a:pos x="1024" y="690"/>
                  </a:cxn>
                  <a:cxn ang="0">
                    <a:pos x="1029" y="707"/>
                  </a:cxn>
                  <a:cxn ang="0">
                    <a:pos x="1030" y="804"/>
                  </a:cxn>
                  <a:cxn ang="0">
                    <a:pos x="1089" y="804"/>
                  </a:cxn>
                  <a:cxn ang="0">
                    <a:pos x="1106" y="801"/>
                  </a:cxn>
                  <a:cxn ang="0">
                    <a:pos x="1120" y="793"/>
                  </a:cxn>
                  <a:cxn ang="0">
                    <a:pos x="1128" y="779"/>
                  </a:cxn>
                  <a:cxn ang="0">
                    <a:pos x="1132" y="762"/>
                  </a:cxn>
                  <a:cxn ang="0">
                    <a:pos x="1132" y="42"/>
                  </a:cxn>
                  <a:cxn ang="0">
                    <a:pos x="1128" y="25"/>
                  </a:cxn>
                  <a:cxn ang="0">
                    <a:pos x="1120" y="12"/>
                  </a:cxn>
                  <a:cxn ang="0">
                    <a:pos x="1106" y="3"/>
                  </a:cxn>
                  <a:cxn ang="0">
                    <a:pos x="1089" y="0"/>
                  </a:cxn>
                  <a:cxn ang="0">
                    <a:pos x="44" y="0"/>
                  </a:cxn>
                  <a:cxn ang="0">
                    <a:pos x="27" y="3"/>
                  </a:cxn>
                  <a:cxn ang="0">
                    <a:pos x="13" y="12"/>
                  </a:cxn>
                  <a:cxn ang="0">
                    <a:pos x="3" y="25"/>
                  </a:cxn>
                  <a:cxn ang="0">
                    <a:pos x="0" y="42"/>
                  </a:cxn>
                  <a:cxn ang="0">
                    <a:pos x="0" y="762"/>
                  </a:cxn>
                  <a:cxn ang="0">
                    <a:pos x="3" y="779"/>
                  </a:cxn>
                  <a:cxn ang="0">
                    <a:pos x="13" y="793"/>
                  </a:cxn>
                  <a:cxn ang="0">
                    <a:pos x="27" y="801"/>
                  </a:cxn>
                  <a:cxn ang="0">
                    <a:pos x="44" y="804"/>
                  </a:cxn>
                  <a:cxn ang="0">
                    <a:pos x="1015" y="384"/>
                  </a:cxn>
                  <a:cxn ang="0">
                    <a:pos x="1017" y="374"/>
                  </a:cxn>
                  <a:cxn ang="0">
                    <a:pos x="1030" y="362"/>
                  </a:cxn>
                  <a:cxn ang="0">
                    <a:pos x="1074" y="361"/>
                  </a:cxn>
                  <a:cxn ang="0">
                    <a:pos x="1084" y="362"/>
                  </a:cxn>
                  <a:cxn ang="0">
                    <a:pos x="1096" y="374"/>
                  </a:cxn>
                  <a:cxn ang="0">
                    <a:pos x="1098" y="418"/>
                  </a:cxn>
                  <a:cxn ang="0">
                    <a:pos x="1096" y="428"/>
                  </a:cxn>
                  <a:cxn ang="0">
                    <a:pos x="1084" y="442"/>
                  </a:cxn>
                  <a:cxn ang="0">
                    <a:pos x="1041" y="443"/>
                  </a:cxn>
                  <a:cxn ang="0">
                    <a:pos x="1030" y="442"/>
                  </a:cxn>
                  <a:cxn ang="0">
                    <a:pos x="1017" y="428"/>
                  </a:cxn>
                  <a:cxn ang="0">
                    <a:pos x="1015" y="384"/>
                  </a:cxn>
                </a:cxnLst>
                <a:rect l="0" t="0" r="r" b="b"/>
                <a:pathLst>
                  <a:path w="1132" h="804">
                    <a:moveTo>
                      <a:pt x="44" y="804"/>
                    </a:moveTo>
                    <a:lnTo>
                      <a:pt x="605" y="804"/>
                    </a:lnTo>
                    <a:lnTo>
                      <a:pt x="592" y="771"/>
                    </a:lnTo>
                    <a:lnTo>
                      <a:pt x="592" y="771"/>
                    </a:lnTo>
                    <a:lnTo>
                      <a:pt x="585" y="757"/>
                    </a:lnTo>
                    <a:lnTo>
                      <a:pt x="582" y="742"/>
                    </a:lnTo>
                    <a:lnTo>
                      <a:pt x="582" y="729"/>
                    </a:lnTo>
                    <a:lnTo>
                      <a:pt x="583" y="713"/>
                    </a:lnTo>
                    <a:lnTo>
                      <a:pt x="583" y="713"/>
                    </a:lnTo>
                    <a:lnTo>
                      <a:pt x="583" y="707"/>
                    </a:lnTo>
                    <a:lnTo>
                      <a:pt x="120" y="707"/>
                    </a:lnTo>
                    <a:lnTo>
                      <a:pt x="120" y="707"/>
                    </a:lnTo>
                    <a:lnTo>
                      <a:pt x="111" y="705"/>
                    </a:lnTo>
                    <a:lnTo>
                      <a:pt x="103" y="700"/>
                    </a:lnTo>
                    <a:lnTo>
                      <a:pt x="98" y="693"/>
                    </a:lnTo>
                    <a:lnTo>
                      <a:pt x="96" y="683"/>
                    </a:lnTo>
                    <a:lnTo>
                      <a:pt x="96" y="120"/>
                    </a:lnTo>
                    <a:lnTo>
                      <a:pt x="96" y="120"/>
                    </a:lnTo>
                    <a:lnTo>
                      <a:pt x="98" y="111"/>
                    </a:lnTo>
                    <a:lnTo>
                      <a:pt x="103" y="103"/>
                    </a:lnTo>
                    <a:lnTo>
                      <a:pt x="111" y="98"/>
                    </a:lnTo>
                    <a:lnTo>
                      <a:pt x="120" y="96"/>
                    </a:lnTo>
                    <a:lnTo>
                      <a:pt x="936" y="96"/>
                    </a:lnTo>
                    <a:lnTo>
                      <a:pt x="936" y="96"/>
                    </a:lnTo>
                    <a:lnTo>
                      <a:pt x="946" y="98"/>
                    </a:lnTo>
                    <a:lnTo>
                      <a:pt x="953" y="103"/>
                    </a:lnTo>
                    <a:lnTo>
                      <a:pt x="958" y="111"/>
                    </a:lnTo>
                    <a:lnTo>
                      <a:pt x="960" y="120"/>
                    </a:lnTo>
                    <a:lnTo>
                      <a:pt x="960" y="651"/>
                    </a:lnTo>
                    <a:lnTo>
                      <a:pt x="990" y="661"/>
                    </a:lnTo>
                    <a:lnTo>
                      <a:pt x="990" y="661"/>
                    </a:lnTo>
                    <a:lnTo>
                      <a:pt x="998" y="664"/>
                    </a:lnTo>
                    <a:lnTo>
                      <a:pt x="1007" y="670"/>
                    </a:lnTo>
                    <a:lnTo>
                      <a:pt x="1014" y="675"/>
                    </a:lnTo>
                    <a:lnTo>
                      <a:pt x="1019" y="681"/>
                    </a:lnTo>
                    <a:lnTo>
                      <a:pt x="1024" y="690"/>
                    </a:lnTo>
                    <a:lnTo>
                      <a:pt x="1027" y="698"/>
                    </a:lnTo>
                    <a:lnTo>
                      <a:pt x="1029" y="707"/>
                    </a:lnTo>
                    <a:lnTo>
                      <a:pt x="1030" y="717"/>
                    </a:lnTo>
                    <a:lnTo>
                      <a:pt x="1030" y="804"/>
                    </a:lnTo>
                    <a:lnTo>
                      <a:pt x="1089" y="804"/>
                    </a:lnTo>
                    <a:lnTo>
                      <a:pt x="1089" y="804"/>
                    </a:lnTo>
                    <a:lnTo>
                      <a:pt x="1098" y="803"/>
                    </a:lnTo>
                    <a:lnTo>
                      <a:pt x="1106" y="801"/>
                    </a:lnTo>
                    <a:lnTo>
                      <a:pt x="1113" y="798"/>
                    </a:lnTo>
                    <a:lnTo>
                      <a:pt x="1120" y="793"/>
                    </a:lnTo>
                    <a:lnTo>
                      <a:pt x="1125" y="786"/>
                    </a:lnTo>
                    <a:lnTo>
                      <a:pt x="1128" y="779"/>
                    </a:lnTo>
                    <a:lnTo>
                      <a:pt x="1132" y="771"/>
                    </a:lnTo>
                    <a:lnTo>
                      <a:pt x="1132" y="762"/>
                    </a:lnTo>
                    <a:lnTo>
                      <a:pt x="1132" y="42"/>
                    </a:lnTo>
                    <a:lnTo>
                      <a:pt x="1132" y="42"/>
                    </a:lnTo>
                    <a:lnTo>
                      <a:pt x="1132" y="34"/>
                    </a:lnTo>
                    <a:lnTo>
                      <a:pt x="1128" y="25"/>
                    </a:lnTo>
                    <a:lnTo>
                      <a:pt x="1125" y="18"/>
                    </a:lnTo>
                    <a:lnTo>
                      <a:pt x="1120" y="12"/>
                    </a:lnTo>
                    <a:lnTo>
                      <a:pt x="1113" y="7"/>
                    </a:lnTo>
                    <a:lnTo>
                      <a:pt x="1106" y="3"/>
                    </a:lnTo>
                    <a:lnTo>
                      <a:pt x="1098" y="0"/>
                    </a:lnTo>
                    <a:lnTo>
                      <a:pt x="1089" y="0"/>
                    </a:lnTo>
                    <a:lnTo>
                      <a:pt x="44" y="0"/>
                    </a:lnTo>
                    <a:lnTo>
                      <a:pt x="44" y="0"/>
                    </a:lnTo>
                    <a:lnTo>
                      <a:pt x="33" y="0"/>
                    </a:lnTo>
                    <a:lnTo>
                      <a:pt x="27" y="3"/>
                    </a:lnTo>
                    <a:lnTo>
                      <a:pt x="18" y="7"/>
                    </a:lnTo>
                    <a:lnTo>
                      <a:pt x="13" y="12"/>
                    </a:lnTo>
                    <a:lnTo>
                      <a:pt x="8" y="18"/>
                    </a:lnTo>
                    <a:lnTo>
                      <a:pt x="3" y="25"/>
                    </a:lnTo>
                    <a:lnTo>
                      <a:pt x="1" y="34"/>
                    </a:lnTo>
                    <a:lnTo>
                      <a:pt x="0" y="42"/>
                    </a:lnTo>
                    <a:lnTo>
                      <a:pt x="0" y="762"/>
                    </a:lnTo>
                    <a:lnTo>
                      <a:pt x="0" y="762"/>
                    </a:lnTo>
                    <a:lnTo>
                      <a:pt x="1" y="771"/>
                    </a:lnTo>
                    <a:lnTo>
                      <a:pt x="3" y="779"/>
                    </a:lnTo>
                    <a:lnTo>
                      <a:pt x="8" y="786"/>
                    </a:lnTo>
                    <a:lnTo>
                      <a:pt x="13" y="793"/>
                    </a:lnTo>
                    <a:lnTo>
                      <a:pt x="18" y="798"/>
                    </a:lnTo>
                    <a:lnTo>
                      <a:pt x="27" y="801"/>
                    </a:lnTo>
                    <a:lnTo>
                      <a:pt x="33" y="803"/>
                    </a:lnTo>
                    <a:lnTo>
                      <a:pt x="44" y="804"/>
                    </a:lnTo>
                    <a:lnTo>
                      <a:pt x="44" y="804"/>
                    </a:lnTo>
                    <a:close/>
                    <a:moveTo>
                      <a:pt x="1015" y="384"/>
                    </a:moveTo>
                    <a:lnTo>
                      <a:pt x="1015" y="384"/>
                    </a:lnTo>
                    <a:lnTo>
                      <a:pt x="1017" y="374"/>
                    </a:lnTo>
                    <a:lnTo>
                      <a:pt x="1022" y="368"/>
                    </a:lnTo>
                    <a:lnTo>
                      <a:pt x="1030" y="362"/>
                    </a:lnTo>
                    <a:lnTo>
                      <a:pt x="1041" y="361"/>
                    </a:lnTo>
                    <a:lnTo>
                      <a:pt x="1074" y="361"/>
                    </a:lnTo>
                    <a:lnTo>
                      <a:pt x="1074" y="361"/>
                    </a:lnTo>
                    <a:lnTo>
                      <a:pt x="1084" y="362"/>
                    </a:lnTo>
                    <a:lnTo>
                      <a:pt x="1091" y="368"/>
                    </a:lnTo>
                    <a:lnTo>
                      <a:pt x="1096" y="374"/>
                    </a:lnTo>
                    <a:lnTo>
                      <a:pt x="1098" y="384"/>
                    </a:lnTo>
                    <a:lnTo>
                      <a:pt x="1098" y="418"/>
                    </a:lnTo>
                    <a:lnTo>
                      <a:pt x="1098" y="418"/>
                    </a:lnTo>
                    <a:lnTo>
                      <a:pt x="1096" y="428"/>
                    </a:lnTo>
                    <a:lnTo>
                      <a:pt x="1091" y="437"/>
                    </a:lnTo>
                    <a:lnTo>
                      <a:pt x="1084" y="442"/>
                    </a:lnTo>
                    <a:lnTo>
                      <a:pt x="1074" y="443"/>
                    </a:lnTo>
                    <a:lnTo>
                      <a:pt x="1041" y="443"/>
                    </a:lnTo>
                    <a:lnTo>
                      <a:pt x="1041" y="443"/>
                    </a:lnTo>
                    <a:lnTo>
                      <a:pt x="1030" y="442"/>
                    </a:lnTo>
                    <a:lnTo>
                      <a:pt x="1022" y="437"/>
                    </a:lnTo>
                    <a:lnTo>
                      <a:pt x="1017" y="428"/>
                    </a:lnTo>
                    <a:lnTo>
                      <a:pt x="1015" y="418"/>
                    </a:lnTo>
                    <a:lnTo>
                      <a:pt x="1015" y="384"/>
                    </a:lnTo>
                    <a:close/>
                  </a:path>
                </a:pathLst>
              </a:custGeom>
              <a:grpFill/>
              <a:ln w="9525">
                <a:noFill/>
                <a:round/>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anose="020B0503020204020204" pitchFamily="34" charset="-122"/>
                </a:endParaRPr>
              </a:p>
            </p:txBody>
          </p:sp>
          <p:sp>
            <p:nvSpPr>
              <p:cNvPr id="226" name="Freeform 86"/>
              <p:cNvSpPr>
                <a:spLocks/>
              </p:cNvSpPr>
              <p:nvPr/>
            </p:nvSpPr>
            <p:spPr bwMode="auto">
              <a:xfrm>
                <a:off x="12592050" y="544513"/>
                <a:ext cx="209550" cy="165100"/>
              </a:xfrm>
              <a:custGeom>
                <a:avLst/>
                <a:gdLst/>
                <a:ahLst/>
                <a:cxnLst>
                  <a:cxn ang="0">
                    <a:pos x="253" y="207"/>
                  </a:cxn>
                  <a:cxn ang="0">
                    <a:pos x="253" y="207"/>
                  </a:cxn>
                  <a:cxn ang="0">
                    <a:pos x="258" y="207"/>
                  </a:cxn>
                  <a:cxn ang="0">
                    <a:pos x="262" y="204"/>
                  </a:cxn>
                  <a:cxn ang="0">
                    <a:pos x="265" y="200"/>
                  </a:cxn>
                  <a:cxn ang="0">
                    <a:pos x="265" y="195"/>
                  </a:cxn>
                  <a:cxn ang="0">
                    <a:pos x="265" y="11"/>
                  </a:cxn>
                  <a:cxn ang="0">
                    <a:pos x="265" y="11"/>
                  </a:cxn>
                  <a:cxn ang="0">
                    <a:pos x="265" y="8"/>
                  </a:cxn>
                  <a:cxn ang="0">
                    <a:pos x="262" y="3"/>
                  </a:cxn>
                  <a:cxn ang="0">
                    <a:pos x="258" y="1"/>
                  </a:cxn>
                  <a:cxn ang="0">
                    <a:pos x="253" y="0"/>
                  </a:cxn>
                  <a:cxn ang="0">
                    <a:pos x="14" y="0"/>
                  </a:cxn>
                  <a:cxn ang="0">
                    <a:pos x="14" y="0"/>
                  </a:cxn>
                  <a:cxn ang="0">
                    <a:pos x="9" y="1"/>
                  </a:cxn>
                  <a:cxn ang="0">
                    <a:pos x="3" y="3"/>
                  </a:cxn>
                  <a:cxn ang="0">
                    <a:pos x="2" y="8"/>
                  </a:cxn>
                  <a:cxn ang="0">
                    <a:pos x="0" y="11"/>
                  </a:cxn>
                  <a:cxn ang="0">
                    <a:pos x="0" y="195"/>
                  </a:cxn>
                  <a:cxn ang="0">
                    <a:pos x="0" y="195"/>
                  </a:cxn>
                  <a:cxn ang="0">
                    <a:pos x="2" y="200"/>
                  </a:cxn>
                  <a:cxn ang="0">
                    <a:pos x="3" y="204"/>
                  </a:cxn>
                  <a:cxn ang="0">
                    <a:pos x="9" y="207"/>
                  </a:cxn>
                  <a:cxn ang="0">
                    <a:pos x="14" y="207"/>
                  </a:cxn>
                  <a:cxn ang="0">
                    <a:pos x="253" y="207"/>
                  </a:cxn>
                </a:cxnLst>
                <a:rect l="0" t="0" r="r" b="b"/>
                <a:pathLst>
                  <a:path w="265" h="207">
                    <a:moveTo>
                      <a:pt x="253" y="207"/>
                    </a:moveTo>
                    <a:lnTo>
                      <a:pt x="253" y="207"/>
                    </a:lnTo>
                    <a:lnTo>
                      <a:pt x="258" y="207"/>
                    </a:lnTo>
                    <a:lnTo>
                      <a:pt x="262" y="204"/>
                    </a:lnTo>
                    <a:lnTo>
                      <a:pt x="265" y="200"/>
                    </a:lnTo>
                    <a:lnTo>
                      <a:pt x="265" y="195"/>
                    </a:lnTo>
                    <a:lnTo>
                      <a:pt x="265" y="11"/>
                    </a:lnTo>
                    <a:lnTo>
                      <a:pt x="265" y="11"/>
                    </a:lnTo>
                    <a:lnTo>
                      <a:pt x="265" y="8"/>
                    </a:lnTo>
                    <a:lnTo>
                      <a:pt x="262" y="3"/>
                    </a:lnTo>
                    <a:lnTo>
                      <a:pt x="258" y="1"/>
                    </a:lnTo>
                    <a:lnTo>
                      <a:pt x="253" y="0"/>
                    </a:lnTo>
                    <a:lnTo>
                      <a:pt x="14" y="0"/>
                    </a:lnTo>
                    <a:lnTo>
                      <a:pt x="14" y="0"/>
                    </a:lnTo>
                    <a:lnTo>
                      <a:pt x="9" y="1"/>
                    </a:lnTo>
                    <a:lnTo>
                      <a:pt x="3" y="3"/>
                    </a:lnTo>
                    <a:lnTo>
                      <a:pt x="2" y="8"/>
                    </a:lnTo>
                    <a:lnTo>
                      <a:pt x="0" y="11"/>
                    </a:lnTo>
                    <a:lnTo>
                      <a:pt x="0" y="195"/>
                    </a:lnTo>
                    <a:lnTo>
                      <a:pt x="0" y="195"/>
                    </a:lnTo>
                    <a:lnTo>
                      <a:pt x="2" y="200"/>
                    </a:lnTo>
                    <a:lnTo>
                      <a:pt x="3" y="204"/>
                    </a:lnTo>
                    <a:lnTo>
                      <a:pt x="9" y="207"/>
                    </a:lnTo>
                    <a:lnTo>
                      <a:pt x="14" y="207"/>
                    </a:lnTo>
                    <a:lnTo>
                      <a:pt x="253" y="207"/>
                    </a:lnTo>
                    <a:close/>
                  </a:path>
                </a:pathLst>
              </a:custGeom>
              <a:grpFill/>
              <a:ln w="9525">
                <a:noFill/>
                <a:round/>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anose="020B0503020204020204" pitchFamily="34" charset="-122"/>
                </a:endParaRPr>
              </a:p>
            </p:txBody>
          </p:sp>
          <p:sp>
            <p:nvSpPr>
              <p:cNvPr id="227" name="Freeform 87"/>
              <p:cNvSpPr>
                <a:spLocks/>
              </p:cNvSpPr>
              <p:nvPr/>
            </p:nvSpPr>
            <p:spPr bwMode="auto">
              <a:xfrm>
                <a:off x="12592050" y="755650"/>
                <a:ext cx="411163" cy="44450"/>
              </a:xfrm>
              <a:custGeom>
                <a:avLst/>
                <a:gdLst/>
                <a:ahLst/>
                <a:cxnLst>
                  <a:cxn ang="0">
                    <a:pos x="518" y="0"/>
                  </a:cxn>
                  <a:cxn ang="0">
                    <a:pos x="0" y="0"/>
                  </a:cxn>
                  <a:cxn ang="0">
                    <a:pos x="0" y="55"/>
                  </a:cxn>
                  <a:cxn ang="0">
                    <a:pos x="493" y="55"/>
                  </a:cxn>
                  <a:cxn ang="0">
                    <a:pos x="493" y="55"/>
                  </a:cxn>
                  <a:cxn ang="0">
                    <a:pos x="494" y="38"/>
                  </a:cxn>
                  <a:cxn ang="0">
                    <a:pos x="499" y="23"/>
                  </a:cxn>
                  <a:cxn ang="0">
                    <a:pos x="508" y="11"/>
                  </a:cxn>
                  <a:cxn ang="0">
                    <a:pos x="518" y="0"/>
                  </a:cxn>
                  <a:cxn ang="0">
                    <a:pos x="518" y="0"/>
                  </a:cxn>
                </a:cxnLst>
                <a:rect l="0" t="0" r="r" b="b"/>
                <a:pathLst>
                  <a:path w="518" h="55">
                    <a:moveTo>
                      <a:pt x="518" y="0"/>
                    </a:moveTo>
                    <a:lnTo>
                      <a:pt x="0" y="0"/>
                    </a:lnTo>
                    <a:lnTo>
                      <a:pt x="0" y="55"/>
                    </a:lnTo>
                    <a:lnTo>
                      <a:pt x="493" y="55"/>
                    </a:lnTo>
                    <a:lnTo>
                      <a:pt x="493" y="55"/>
                    </a:lnTo>
                    <a:lnTo>
                      <a:pt x="494" y="38"/>
                    </a:lnTo>
                    <a:lnTo>
                      <a:pt x="499" y="23"/>
                    </a:lnTo>
                    <a:lnTo>
                      <a:pt x="508" y="11"/>
                    </a:lnTo>
                    <a:lnTo>
                      <a:pt x="518" y="0"/>
                    </a:lnTo>
                    <a:lnTo>
                      <a:pt x="518" y="0"/>
                    </a:lnTo>
                    <a:close/>
                  </a:path>
                </a:pathLst>
              </a:custGeom>
              <a:grpFill/>
              <a:ln w="9525">
                <a:noFill/>
                <a:round/>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anose="020B0503020204020204" pitchFamily="34" charset="-122"/>
                </a:endParaRPr>
              </a:p>
            </p:txBody>
          </p:sp>
          <p:sp>
            <p:nvSpPr>
              <p:cNvPr id="228" name="Rectangle 88"/>
              <p:cNvSpPr>
                <a:spLocks noChangeArrowheads="1"/>
              </p:cNvSpPr>
              <p:nvPr/>
            </p:nvSpPr>
            <p:spPr bwMode="auto">
              <a:xfrm>
                <a:off x="12592050" y="850900"/>
                <a:ext cx="265113" cy="44450"/>
              </a:xfrm>
              <a:prstGeom prst="rect">
                <a:avLst/>
              </a:prstGeom>
              <a:grpFill/>
              <a:ln w="9525">
                <a:noFill/>
                <a:miter lim="800000"/>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anose="020B0503020204020204" pitchFamily="34" charset="-122"/>
                </a:endParaRPr>
              </a:p>
            </p:txBody>
          </p:sp>
          <p:sp>
            <p:nvSpPr>
              <p:cNvPr id="229" name="Rectangle 89"/>
              <p:cNvSpPr>
                <a:spLocks noChangeArrowheads="1"/>
              </p:cNvSpPr>
              <p:nvPr/>
            </p:nvSpPr>
            <p:spPr bwMode="auto">
              <a:xfrm>
                <a:off x="12847638" y="654050"/>
                <a:ext cx="298450" cy="42863"/>
              </a:xfrm>
              <a:prstGeom prst="rect">
                <a:avLst/>
              </a:prstGeom>
              <a:grpFill/>
              <a:ln w="9525">
                <a:noFill/>
                <a:miter lim="800000"/>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anose="020B0503020204020204" pitchFamily="34" charset="-122"/>
                </a:endParaRPr>
              </a:p>
            </p:txBody>
          </p:sp>
          <p:sp>
            <p:nvSpPr>
              <p:cNvPr id="230" name="Rectangle 90"/>
              <p:cNvSpPr>
                <a:spLocks noChangeArrowheads="1"/>
              </p:cNvSpPr>
              <p:nvPr/>
            </p:nvSpPr>
            <p:spPr bwMode="auto">
              <a:xfrm>
                <a:off x="12847638" y="557213"/>
                <a:ext cx="173038" cy="44450"/>
              </a:xfrm>
              <a:prstGeom prst="rect">
                <a:avLst/>
              </a:prstGeom>
              <a:grpFill/>
              <a:ln w="9525">
                <a:noFill/>
                <a:miter lim="800000"/>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anose="020B0503020204020204" pitchFamily="34" charset="-122"/>
                </a:endParaRPr>
              </a:p>
            </p:txBody>
          </p:sp>
          <p:sp>
            <p:nvSpPr>
              <p:cNvPr id="231" name="Freeform 91"/>
              <p:cNvSpPr>
                <a:spLocks/>
              </p:cNvSpPr>
              <p:nvPr/>
            </p:nvSpPr>
            <p:spPr bwMode="auto">
              <a:xfrm>
                <a:off x="12954000" y="773113"/>
                <a:ext cx="284163" cy="398463"/>
              </a:xfrm>
              <a:custGeom>
                <a:avLst/>
                <a:gdLst/>
                <a:ahLst/>
                <a:cxnLst>
                  <a:cxn ang="0">
                    <a:pos x="286" y="503"/>
                  </a:cxn>
                  <a:cxn ang="0">
                    <a:pos x="290" y="501"/>
                  </a:cxn>
                  <a:cxn ang="0">
                    <a:pos x="295" y="496"/>
                  </a:cxn>
                  <a:cxn ang="0">
                    <a:pos x="296" y="471"/>
                  </a:cxn>
                  <a:cxn ang="0">
                    <a:pos x="296" y="466"/>
                  </a:cxn>
                  <a:cxn ang="0">
                    <a:pos x="350" y="421"/>
                  </a:cxn>
                  <a:cxn ang="0">
                    <a:pos x="354" y="417"/>
                  </a:cxn>
                  <a:cxn ang="0">
                    <a:pos x="359" y="409"/>
                  </a:cxn>
                  <a:cxn ang="0">
                    <a:pos x="359" y="334"/>
                  </a:cxn>
                  <a:cxn ang="0">
                    <a:pos x="359" y="247"/>
                  </a:cxn>
                  <a:cxn ang="0">
                    <a:pos x="355" y="238"/>
                  </a:cxn>
                  <a:cxn ang="0">
                    <a:pos x="349" y="233"/>
                  </a:cxn>
                  <a:cxn ang="0">
                    <a:pos x="195" y="184"/>
                  </a:cxn>
                  <a:cxn ang="0">
                    <a:pos x="192" y="181"/>
                  </a:cxn>
                  <a:cxn ang="0">
                    <a:pos x="192" y="34"/>
                  </a:cxn>
                  <a:cxn ang="0">
                    <a:pos x="192" y="33"/>
                  </a:cxn>
                  <a:cxn ang="0">
                    <a:pos x="188" y="21"/>
                  </a:cxn>
                  <a:cxn ang="0">
                    <a:pos x="182" y="11"/>
                  </a:cxn>
                  <a:cxn ang="0">
                    <a:pos x="172" y="4"/>
                  </a:cxn>
                  <a:cxn ang="0">
                    <a:pos x="160" y="0"/>
                  </a:cxn>
                  <a:cxn ang="0">
                    <a:pos x="118" y="0"/>
                  </a:cxn>
                  <a:cxn ang="0">
                    <a:pos x="106" y="4"/>
                  </a:cxn>
                  <a:cxn ang="0">
                    <a:pos x="94" y="11"/>
                  </a:cxn>
                  <a:cxn ang="0">
                    <a:pos x="86" y="21"/>
                  </a:cxn>
                  <a:cxn ang="0">
                    <a:pos x="82" y="34"/>
                  </a:cxn>
                  <a:cxn ang="0">
                    <a:pos x="81" y="38"/>
                  </a:cxn>
                  <a:cxn ang="0">
                    <a:pos x="82" y="159"/>
                  </a:cxn>
                  <a:cxn ang="0">
                    <a:pos x="82" y="237"/>
                  </a:cxn>
                  <a:cxn ang="0">
                    <a:pos x="82" y="280"/>
                  </a:cxn>
                  <a:cxn ang="0">
                    <a:pos x="79" y="287"/>
                  </a:cxn>
                  <a:cxn ang="0">
                    <a:pos x="72" y="291"/>
                  </a:cxn>
                  <a:cxn ang="0">
                    <a:pos x="72" y="291"/>
                  </a:cxn>
                  <a:cxn ang="0">
                    <a:pos x="65" y="287"/>
                  </a:cxn>
                  <a:cxn ang="0">
                    <a:pos x="62" y="280"/>
                  </a:cxn>
                  <a:cxn ang="0">
                    <a:pos x="62" y="218"/>
                  </a:cxn>
                  <a:cxn ang="0">
                    <a:pos x="55" y="216"/>
                  </a:cxn>
                  <a:cxn ang="0">
                    <a:pos x="48" y="216"/>
                  </a:cxn>
                  <a:cxn ang="0">
                    <a:pos x="30" y="221"/>
                  </a:cxn>
                  <a:cxn ang="0">
                    <a:pos x="16" y="230"/>
                  </a:cxn>
                  <a:cxn ang="0">
                    <a:pos x="8" y="237"/>
                  </a:cxn>
                  <a:cxn ang="0">
                    <a:pos x="0" y="259"/>
                  </a:cxn>
                  <a:cxn ang="0">
                    <a:pos x="6" y="279"/>
                  </a:cxn>
                  <a:cxn ang="0">
                    <a:pos x="64" y="415"/>
                  </a:cxn>
                  <a:cxn ang="0">
                    <a:pos x="123" y="461"/>
                  </a:cxn>
                  <a:cxn ang="0">
                    <a:pos x="126" y="471"/>
                  </a:cxn>
                  <a:cxn ang="0">
                    <a:pos x="126" y="493"/>
                  </a:cxn>
                  <a:cxn ang="0">
                    <a:pos x="129" y="500"/>
                  </a:cxn>
                  <a:cxn ang="0">
                    <a:pos x="136" y="503"/>
                  </a:cxn>
                </a:cxnLst>
                <a:rect l="0" t="0" r="r" b="b"/>
                <a:pathLst>
                  <a:path w="359" h="503">
                    <a:moveTo>
                      <a:pt x="136" y="503"/>
                    </a:moveTo>
                    <a:lnTo>
                      <a:pt x="286" y="503"/>
                    </a:lnTo>
                    <a:lnTo>
                      <a:pt x="286" y="503"/>
                    </a:lnTo>
                    <a:lnTo>
                      <a:pt x="290" y="501"/>
                    </a:lnTo>
                    <a:lnTo>
                      <a:pt x="293" y="500"/>
                    </a:lnTo>
                    <a:lnTo>
                      <a:pt x="295" y="496"/>
                    </a:lnTo>
                    <a:lnTo>
                      <a:pt x="296" y="493"/>
                    </a:lnTo>
                    <a:lnTo>
                      <a:pt x="296" y="471"/>
                    </a:lnTo>
                    <a:lnTo>
                      <a:pt x="296" y="471"/>
                    </a:lnTo>
                    <a:lnTo>
                      <a:pt x="296" y="466"/>
                    </a:lnTo>
                    <a:lnTo>
                      <a:pt x="300" y="463"/>
                    </a:lnTo>
                    <a:lnTo>
                      <a:pt x="350" y="421"/>
                    </a:lnTo>
                    <a:lnTo>
                      <a:pt x="350" y="421"/>
                    </a:lnTo>
                    <a:lnTo>
                      <a:pt x="354" y="417"/>
                    </a:lnTo>
                    <a:lnTo>
                      <a:pt x="357" y="414"/>
                    </a:lnTo>
                    <a:lnTo>
                      <a:pt x="359" y="409"/>
                    </a:lnTo>
                    <a:lnTo>
                      <a:pt x="359" y="404"/>
                    </a:lnTo>
                    <a:lnTo>
                      <a:pt x="359" y="334"/>
                    </a:lnTo>
                    <a:lnTo>
                      <a:pt x="359" y="247"/>
                    </a:lnTo>
                    <a:lnTo>
                      <a:pt x="359" y="247"/>
                    </a:lnTo>
                    <a:lnTo>
                      <a:pt x="359" y="243"/>
                    </a:lnTo>
                    <a:lnTo>
                      <a:pt x="355" y="238"/>
                    </a:lnTo>
                    <a:lnTo>
                      <a:pt x="354" y="235"/>
                    </a:lnTo>
                    <a:lnTo>
                      <a:pt x="349" y="233"/>
                    </a:lnTo>
                    <a:lnTo>
                      <a:pt x="330" y="227"/>
                    </a:lnTo>
                    <a:lnTo>
                      <a:pt x="195" y="184"/>
                    </a:lnTo>
                    <a:lnTo>
                      <a:pt x="195" y="184"/>
                    </a:lnTo>
                    <a:lnTo>
                      <a:pt x="192" y="181"/>
                    </a:lnTo>
                    <a:lnTo>
                      <a:pt x="192" y="178"/>
                    </a:lnTo>
                    <a:lnTo>
                      <a:pt x="192" y="34"/>
                    </a:lnTo>
                    <a:lnTo>
                      <a:pt x="192" y="33"/>
                    </a:lnTo>
                    <a:lnTo>
                      <a:pt x="192" y="33"/>
                    </a:lnTo>
                    <a:lnTo>
                      <a:pt x="190" y="26"/>
                    </a:lnTo>
                    <a:lnTo>
                      <a:pt x="188" y="21"/>
                    </a:lnTo>
                    <a:lnTo>
                      <a:pt x="185" y="16"/>
                    </a:lnTo>
                    <a:lnTo>
                      <a:pt x="182" y="11"/>
                    </a:lnTo>
                    <a:lnTo>
                      <a:pt x="177" y="7"/>
                    </a:lnTo>
                    <a:lnTo>
                      <a:pt x="172" y="4"/>
                    </a:lnTo>
                    <a:lnTo>
                      <a:pt x="167" y="2"/>
                    </a:lnTo>
                    <a:lnTo>
                      <a:pt x="160" y="0"/>
                    </a:lnTo>
                    <a:lnTo>
                      <a:pt x="118" y="0"/>
                    </a:lnTo>
                    <a:lnTo>
                      <a:pt x="118" y="0"/>
                    </a:lnTo>
                    <a:lnTo>
                      <a:pt x="111" y="2"/>
                    </a:lnTo>
                    <a:lnTo>
                      <a:pt x="106" y="4"/>
                    </a:lnTo>
                    <a:lnTo>
                      <a:pt x="99" y="7"/>
                    </a:lnTo>
                    <a:lnTo>
                      <a:pt x="94" y="11"/>
                    </a:lnTo>
                    <a:lnTo>
                      <a:pt x="89" y="16"/>
                    </a:lnTo>
                    <a:lnTo>
                      <a:pt x="86" y="21"/>
                    </a:lnTo>
                    <a:lnTo>
                      <a:pt x="84" y="27"/>
                    </a:lnTo>
                    <a:lnTo>
                      <a:pt x="82" y="34"/>
                    </a:lnTo>
                    <a:lnTo>
                      <a:pt x="82" y="34"/>
                    </a:lnTo>
                    <a:lnTo>
                      <a:pt x="81" y="38"/>
                    </a:lnTo>
                    <a:lnTo>
                      <a:pt x="81" y="159"/>
                    </a:lnTo>
                    <a:lnTo>
                      <a:pt x="82" y="159"/>
                    </a:lnTo>
                    <a:lnTo>
                      <a:pt x="82" y="237"/>
                    </a:lnTo>
                    <a:lnTo>
                      <a:pt x="82" y="237"/>
                    </a:lnTo>
                    <a:lnTo>
                      <a:pt x="82" y="280"/>
                    </a:lnTo>
                    <a:lnTo>
                      <a:pt x="82" y="280"/>
                    </a:lnTo>
                    <a:lnTo>
                      <a:pt x="81" y="284"/>
                    </a:lnTo>
                    <a:lnTo>
                      <a:pt x="79" y="287"/>
                    </a:lnTo>
                    <a:lnTo>
                      <a:pt x="75" y="289"/>
                    </a:lnTo>
                    <a:lnTo>
                      <a:pt x="72" y="291"/>
                    </a:lnTo>
                    <a:lnTo>
                      <a:pt x="72" y="291"/>
                    </a:lnTo>
                    <a:lnTo>
                      <a:pt x="72" y="291"/>
                    </a:lnTo>
                    <a:lnTo>
                      <a:pt x="67" y="289"/>
                    </a:lnTo>
                    <a:lnTo>
                      <a:pt x="65" y="287"/>
                    </a:lnTo>
                    <a:lnTo>
                      <a:pt x="62" y="284"/>
                    </a:lnTo>
                    <a:lnTo>
                      <a:pt x="62" y="280"/>
                    </a:lnTo>
                    <a:lnTo>
                      <a:pt x="62" y="237"/>
                    </a:lnTo>
                    <a:lnTo>
                      <a:pt x="62" y="218"/>
                    </a:lnTo>
                    <a:lnTo>
                      <a:pt x="62" y="218"/>
                    </a:lnTo>
                    <a:lnTo>
                      <a:pt x="55" y="216"/>
                    </a:lnTo>
                    <a:lnTo>
                      <a:pt x="48" y="216"/>
                    </a:lnTo>
                    <a:lnTo>
                      <a:pt x="48" y="216"/>
                    </a:lnTo>
                    <a:lnTo>
                      <a:pt x="40" y="218"/>
                    </a:lnTo>
                    <a:lnTo>
                      <a:pt x="30" y="221"/>
                    </a:lnTo>
                    <a:lnTo>
                      <a:pt x="16" y="230"/>
                    </a:lnTo>
                    <a:lnTo>
                      <a:pt x="16" y="230"/>
                    </a:lnTo>
                    <a:lnTo>
                      <a:pt x="8" y="237"/>
                    </a:lnTo>
                    <a:lnTo>
                      <a:pt x="8" y="237"/>
                    </a:lnTo>
                    <a:lnTo>
                      <a:pt x="3" y="247"/>
                    </a:lnTo>
                    <a:lnTo>
                      <a:pt x="0" y="259"/>
                    </a:lnTo>
                    <a:lnTo>
                      <a:pt x="1" y="269"/>
                    </a:lnTo>
                    <a:lnTo>
                      <a:pt x="6" y="279"/>
                    </a:lnTo>
                    <a:lnTo>
                      <a:pt x="28" y="334"/>
                    </a:lnTo>
                    <a:lnTo>
                      <a:pt x="64" y="415"/>
                    </a:lnTo>
                    <a:lnTo>
                      <a:pt x="123" y="461"/>
                    </a:lnTo>
                    <a:lnTo>
                      <a:pt x="123" y="461"/>
                    </a:lnTo>
                    <a:lnTo>
                      <a:pt x="126" y="466"/>
                    </a:lnTo>
                    <a:lnTo>
                      <a:pt x="126" y="471"/>
                    </a:lnTo>
                    <a:lnTo>
                      <a:pt x="126" y="493"/>
                    </a:lnTo>
                    <a:lnTo>
                      <a:pt x="126" y="493"/>
                    </a:lnTo>
                    <a:lnTo>
                      <a:pt x="128" y="496"/>
                    </a:lnTo>
                    <a:lnTo>
                      <a:pt x="129" y="500"/>
                    </a:lnTo>
                    <a:lnTo>
                      <a:pt x="133" y="501"/>
                    </a:lnTo>
                    <a:lnTo>
                      <a:pt x="136" y="503"/>
                    </a:lnTo>
                    <a:lnTo>
                      <a:pt x="136" y="503"/>
                    </a:lnTo>
                    <a:close/>
                  </a:path>
                </a:pathLst>
              </a:custGeom>
              <a:grpFill/>
              <a:ln w="9525">
                <a:noFill/>
                <a:round/>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anose="020B0503020204020204" pitchFamily="34" charset="-122"/>
                </a:endParaRPr>
              </a:p>
            </p:txBody>
          </p:sp>
        </p:grpSp>
        <p:grpSp>
          <p:nvGrpSpPr>
            <p:cNvPr id="216" name="组合 79"/>
            <p:cNvGrpSpPr/>
            <p:nvPr/>
          </p:nvGrpSpPr>
          <p:grpSpPr>
            <a:xfrm>
              <a:off x="8392842" y="3100446"/>
              <a:ext cx="633643" cy="460169"/>
              <a:chOff x="4137025" y="3570288"/>
              <a:chExt cx="1328738" cy="1139825"/>
            </a:xfrm>
            <a:grpFill/>
          </p:grpSpPr>
          <p:sp>
            <p:nvSpPr>
              <p:cNvPr id="217" name="Freeform 70"/>
              <p:cNvSpPr>
                <a:spLocks/>
              </p:cNvSpPr>
              <p:nvPr/>
            </p:nvSpPr>
            <p:spPr bwMode="auto">
              <a:xfrm>
                <a:off x="4619625" y="3570288"/>
                <a:ext cx="339725" cy="341313"/>
              </a:xfrm>
              <a:custGeom>
                <a:avLst/>
                <a:gdLst/>
                <a:ahLst/>
                <a:cxnLst>
                  <a:cxn ang="0">
                    <a:pos x="4288" y="1927"/>
                  </a:cxn>
                  <a:cxn ang="0">
                    <a:pos x="4199" y="1519"/>
                  </a:cxn>
                  <a:cxn ang="0">
                    <a:pos x="4039" y="1125"/>
                  </a:cxn>
                  <a:cxn ang="0">
                    <a:pos x="3806" y="786"/>
                  </a:cxn>
                  <a:cxn ang="0">
                    <a:pos x="3521" y="499"/>
                  </a:cxn>
                  <a:cxn ang="0">
                    <a:pos x="3164" y="269"/>
                  </a:cxn>
                  <a:cxn ang="0">
                    <a:pos x="2788" y="107"/>
                  </a:cxn>
                  <a:cxn ang="0">
                    <a:pos x="2360" y="18"/>
                  </a:cxn>
                  <a:cxn ang="0">
                    <a:pos x="1931" y="18"/>
                  </a:cxn>
                  <a:cxn ang="0">
                    <a:pos x="1501" y="107"/>
                  </a:cxn>
                  <a:cxn ang="0">
                    <a:pos x="1128" y="269"/>
                  </a:cxn>
                  <a:cxn ang="0">
                    <a:pos x="788" y="499"/>
                  </a:cxn>
                  <a:cxn ang="0">
                    <a:pos x="484" y="786"/>
                  </a:cxn>
                  <a:cxn ang="0">
                    <a:pos x="252" y="1125"/>
                  </a:cxn>
                  <a:cxn ang="0">
                    <a:pos x="92" y="1519"/>
                  </a:cxn>
                  <a:cxn ang="0">
                    <a:pos x="0" y="1927"/>
                  </a:cxn>
                  <a:cxn ang="0">
                    <a:pos x="0" y="2375"/>
                  </a:cxn>
                  <a:cxn ang="0">
                    <a:pos x="92" y="2786"/>
                  </a:cxn>
                  <a:cxn ang="0">
                    <a:pos x="252" y="3180"/>
                  </a:cxn>
                  <a:cxn ang="0">
                    <a:pos x="484" y="3519"/>
                  </a:cxn>
                  <a:cxn ang="0">
                    <a:pos x="788" y="3823"/>
                  </a:cxn>
                  <a:cxn ang="0">
                    <a:pos x="1128" y="4037"/>
                  </a:cxn>
                  <a:cxn ang="0">
                    <a:pos x="1501" y="4215"/>
                  </a:cxn>
                  <a:cxn ang="0">
                    <a:pos x="1931" y="4286"/>
                  </a:cxn>
                  <a:cxn ang="0">
                    <a:pos x="2360" y="4286"/>
                  </a:cxn>
                  <a:cxn ang="0">
                    <a:pos x="2788" y="4215"/>
                  </a:cxn>
                  <a:cxn ang="0">
                    <a:pos x="3164" y="4037"/>
                  </a:cxn>
                  <a:cxn ang="0">
                    <a:pos x="3521" y="3823"/>
                  </a:cxn>
                  <a:cxn ang="0">
                    <a:pos x="3806" y="3519"/>
                  </a:cxn>
                  <a:cxn ang="0">
                    <a:pos x="4039" y="3180"/>
                  </a:cxn>
                  <a:cxn ang="0">
                    <a:pos x="4199" y="2786"/>
                  </a:cxn>
                  <a:cxn ang="0">
                    <a:pos x="4288" y="2375"/>
                  </a:cxn>
                </a:cxnLst>
                <a:rect l="0" t="0" r="r" b="b"/>
                <a:pathLst>
                  <a:path w="4288" h="4305">
                    <a:moveTo>
                      <a:pt x="4288" y="2161"/>
                    </a:moveTo>
                    <a:lnTo>
                      <a:pt x="4288" y="1927"/>
                    </a:lnTo>
                    <a:lnTo>
                      <a:pt x="4253" y="1712"/>
                    </a:lnTo>
                    <a:lnTo>
                      <a:pt x="4199" y="1519"/>
                    </a:lnTo>
                    <a:lnTo>
                      <a:pt x="4129" y="1321"/>
                    </a:lnTo>
                    <a:lnTo>
                      <a:pt x="4039" y="1125"/>
                    </a:lnTo>
                    <a:lnTo>
                      <a:pt x="3932" y="946"/>
                    </a:lnTo>
                    <a:lnTo>
                      <a:pt x="3806" y="786"/>
                    </a:lnTo>
                    <a:lnTo>
                      <a:pt x="3664" y="641"/>
                    </a:lnTo>
                    <a:lnTo>
                      <a:pt x="3521" y="499"/>
                    </a:lnTo>
                    <a:lnTo>
                      <a:pt x="3342" y="377"/>
                    </a:lnTo>
                    <a:lnTo>
                      <a:pt x="3164" y="269"/>
                    </a:lnTo>
                    <a:lnTo>
                      <a:pt x="2983" y="180"/>
                    </a:lnTo>
                    <a:lnTo>
                      <a:pt x="2788" y="107"/>
                    </a:lnTo>
                    <a:lnTo>
                      <a:pt x="2573" y="54"/>
                    </a:lnTo>
                    <a:lnTo>
                      <a:pt x="2360" y="18"/>
                    </a:lnTo>
                    <a:lnTo>
                      <a:pt x="2145" y="0"/>
                    </a:lnTo>
                    <a:lnTo>
                      <a:pt x="1931" y="18"/>
                    </a:lnTo>
                    <a:lnTo>
                      <a:pt x="1715" y="54"/>
                    </a:lnTo>
                    <a:lnTo>
                      <a:pt x="1501" y="107"/>
                    </a:lnTo>
                    <a:lnTo>
                      <a:pt x="1304" y="180"/>
                    </a:lnTo>
                    <a:lnTo>
                      <a:pt x="1128" y="269"/>
                    </a:lnTo>
                    <a:lnTo>
                      <a:pt x="948" y="377"/>
                    </a:lnTo>
                    <a:lnTo>
                      <a:pt x="788" y="499"/>
                    </a:lnTo>
                    <a:lnTo>
                      <a:pt x="626" y="641"/>
                    </a:lnTo>
                    <a:lnTo>
                      <a:pt x="484" y="786"/>
                    </a:lnTo>
                    <a:lnTo>
                      <a:pt x="359" y="946"/>
                    </a:lnTo>
                    <a:lnTo>
                      <a:pt x="252" y="1125"/>
                    </a:lnTo>
                    <a:lnTo>
                      <a:pt x="163" y="1321"/>
                    </a:lnTo>
                    <a:lnTo>
                      <a:pt x="92" y="1519"/>
                    </a:lnTo>
                    <a:lnTo>
                      <a:pt x="37" y="1712"/>
                    </a:lnTo>
                    <a:lnTo>
                      <a:pt x="0" y="1927"/>
                    </a:lnTo>
                    <a:lnTo>
                      <a:pt x="0" y="2161"/>
                    </a:lnTo>
                    <a:lnTo>
                      <a:pt x="0" y="2375"/>
                    </a:lnTo>
                    <a:lnTo>
                      <a:pt x="37" y="2590"/>
                    </a:lnTo>
                    <a:lnTo>
                      <a:pt x="92" y="2786"/>
                    </a:lnTo>
                    <a:lnTo>
                      <a:pt x="163" y="3001"/>
                    </a:lnTo>
                    <a:lnTo>
                      <a:pt x="252" y="3180"/>
                    </a:lnTo>
                    <a:lnTo>
                      <a:pt x="359" y="3358"/>
                    </a:lnTo>
                    <a:lnTo>
                      <a:pt x="484" y="3519"/>
                    </a:lnTo>
                    <a:lnTo>
                      <a:pt x="626" y="3679"/>
                    </a:lnTo>
                    <a:lnTo>
                      <a:pt x="788" y="3823"/>
                    </a:lnTo>
                    <a:lnTo>
                      <a:pt x="948" y="3931"/>
                    </a:lnTo>
                    <a:lnTo>
                      <a:pt x="1128" y="4037"/>
                    </a:lnTo>
                    <a:lnTo>
                      <a:pt x="1304" y="4144"/>
                    </a:lnTo>
                    <a:lnTo>
                      <a:pt x="1501" y="4215"/>
                    </a:lnTo>
                    <a:lnTo>
                      <a:pt x="1715" y="4269"/>
                    </a:lnTo>
                    <a:lnTo>
                      <a:pt x="1931" y="4286"/>
                    </a:lnTo>
                    <a:lnTo>
                      <a:pt x="2145" y="4305"/>
                    </a:lnTo>
                    <a:lnTo>
                      <a:pt x="2360" y="4286"/>
                    </a:lnTo>
                    <a:lnTo>
                      <a:pt x="2573" y="4269"/>
                    </a:lnTo>
                    <a:lnTo>
                      <a:pt x="2788" y="4215"/>
                    </a:lnTo>
                    <a:lnTo>
                      <a:pt x="2983" y="4144"/>
                    </a:lnTo>
                    <a:lnTo>
                      <a:pt x="3164" y="4037"/>
                    </a:lnTo>
                    <a:lnTo>
                      <a:pt x="3342" y="3931"/>
                    </a:lnTo>
                    <a:lnTo>
                      <a:pt x="3521" y="3823"/>
                    </a:lnTo>
                    <a:lnTo>
                      <a:pt x="3664" y="3679"/>
                    </a:lnTo>
                    <a:lnTo>
                      <a:pt x="3806" y="3519"/>
                    </a:lnTo>
                    <a:lnTo>
                      <a:pt x="3932" y="3358"/>
                    </a:lnTo>
                    <a:lnTo>
                      <a:pt x="4039" y="3180"/>
                    </a:lnTo>
                    <a:lnTo>
                      <a:pt x="4129" y="3001"/>
                    </a:lnTo>
                    <a:lnTo>
                      <a:pt x="4199" y="2786"/>
                    </a:lnTo>
                    <a:lnTo>
                      <a:pt x="4253" y="2590"/>
                    </a:lnTo>
                    <a:lnTo>
                      <a:pt x="4288" y="2375"/>
                    </a:lnTo>
                    <a:lnTo>
                      <a:pt x="4288" y="2161"/>
                    </a:lnTo>
                    <a:close/>
                  </a:path>
                </a:pathLst>
              </a:custGeom>
              <a:grpFill/>
              <a:ln w="9525">
                <a:noFill/>
                <a:round/>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anose="020B0503020204020204" pitchFamily="34" charset="-122"/>
                </a:endParaRPr>
              </a:p>
            </p:txBody>
          </p:sp>
          <p:sp>
            <p:nvSpPr>
              <p:cNvPr id="218" name="Freeform 71"/>
              <p:cNvSpPr>
                <a:spLocks/>
              </p:cNvSpPr>
              <p:nvPr/>
            </p:nvSpPr>
            <p:spPr bwMode="auto">
              <a:xfrm>
                <a:off x="4405313" y="3702051"/>
                <a:ext cx="604838" cy="627063"/>
              </a:xfrm>
              <a:custGeom>
                <a:avLst/>
                <a:gdLst/>
                <a:ahLst/>
                <a:cxnLst>
                  <a:cxn ang="0">
                    <a:pos x="6860" y="7681"/>
                  </a:cxn>
                  <a:cxn ang="0">
                    <a:pos x="6699" y="7235"/>
                  </a:cxn>
                  <a:cxn ang="0">
                    <a:pos x="6628" y="6788"/>
                  </a:cxn>
                  <a:cxn ang="0">
                    <a:pos x="6628" y="6358"/>
                  </a:cxn>
                  <a:cxn ang="0">
                    <a:pos x="6717" y="5877"/>
                  </a:cxn>
                  <a:cxn ang="0">
                    <a:pos x="6932" y="5306"/>
                  </a:cxn>
                  <a:cxn ang="0">
                    <a:pos x="7200" y="4895"/>
                  </a:cxn>
                  <a:cxn ang="0">
                    <a:pos x="7467" y="4592"/>
                  </a:cxn>
                  <a:cxn ang="0">
                    <a:pos x="7557" y="4431"/>
                  </a:cxn>
                  <a:cxn ang="0">
                    <a:pos x="6092" y="3537"/>
                  </a:cxn>
                  <a:cxn ang="0">
                    <a:pos x="5949" y="3467"/>
                  </a:cxn>
                  <a:cxn ang="0">
                    <a:pos x="5753" y="3431"/>
                  </a:cxn>
                  <a:cxn ang="0">
                    <a:pos x="5628" y="3521"/>
                  </a:cxn>
                  <a:cxn ang="0">
                    <a:pos x="5520" y="3716"/>
                  </a:cxn>
                  <a:cxn ang="0">
                    <a:pos x="5359" y="3895"/>
                  </a:cxn>
                  <a:cxn ang="0">
                    <a:pos x="5179" y="4001"/>
                  </a:cxn>
                  <a:cxn ang="0">
                    <a:pos x="4949" y="4074"/>
                  </a:cxn>
                  <a:cxn ang="0">
                    <a:pos x="4681" y="4074"/>
                  </a:cxn>
                  <a:cxn ang="0">
                    <a:pos x="4467" y="4020"/>
                  </a:cxn>
                  <a:cxn ang="0">
                    <a:pos x="4289" y="3913"/>
                  </a:cxn>
                  <a:cxn ang="0">
                    <a:pos x="4144" y="3769"/>
                  </a:cxn>
                  <a:cxn ang="0">
                    <a:pos x="4038" y="3609"/>
                  </a:cxn>
                  <a:cxn ang="0">
                    <a:pos x="2394" y="2645"/>
                  </a:cxn>
                  <a:cxn ang="0">
                    <a:pos x="1178" y="251"/>
                  </a:cxn>
                  <a:cxn ang="0">
                    <a:pos x="1001" y="89"/>
                  </a:cxn>
                  <a:cxn ang="0">
                    <a:pos x="768" y="18"/>
                  </a:cxn>
                  <a:cxn ang="0">
                    <a:pos x="535" y="18"/>
                  </a:cxn>
                  <a:cxn ang="0">
                    <a:pos x="286" y="108"/>
                  </a:cxn>
                  <a:cxn ang="0">
                    <a:pos x="107" y="288"/>
                  </a:cxn>
                  <a:cxn ang="0">
                    <a:pos x="18" y="519"/>
                  </a:cxn>
                  <a:cxn ang="0">
                    <a:pos x="18" y="770"/>
                  </a:cxn>
                  <a:cxn ang="0">
                    <a:pos x="1127" y="3537"/>
                  </a:cxn>
                  <a:cxn ang="0">
                    <a:pos x="1215" y="3681"/>
                  </a:cxn>
                  <a:cxn ang="0">
                    <a:pos x="1342" y="3824"/>
                  </a:cxn>
                  <a:cxn ang="0">
                    <a:pos x="1606" y="4001"/>
                  </a:cxn>
                  <a:cxn ang="0">
                    <a:pos x="2110" y="4251"/>
                  </a:cxn>
                  <a:cxn ang="0">
                    <a:pos x="2554" y="4609"/>
                  </a:cxn>
                  <a:cxn ang="0">
                    <a:pos x="2911" y="5037"/>
                  </a:cxn>
                  <a:cxn ang="0">
                    <a:pos x="3144" y="5430"/>
                  </a:cxn>
                  <a:cxn ang="0">
                    <a:pos x="3286" y="5877"/>
                  </a:cxn>
                  <a:cxn ang="0">
                    <a:pos x="3377" y="6341"/>
                  </a:cxn>
                  <a:cxn ang="0">
                    <a:pos x="3377" y="6752"/>
                  </a:cxn>
                  <a:cxn ang="0">
                    <a:pos x="3340" y="7110"/>
                  </a:cxn>
                  <a:cxn ang="0">
                    <a:pos x="3251" y="7430"/>
                  </a:cxn>
                  <a:cxn ang="0">
                    <a:pos x="3037" y="7896"/>
                  </a:cxn>
                </a:cxnLst>
                <a:rect l="0" t="0" r="r" b="b"/>
                <a:pathLst>
                  <a:path w="7627" h="7896">
                    <a:moveTo>
                      <a:pt x="6965" y="7896"/>
                    </a:moveTo>
                    <a:lnTo>
                      <a:pt x="6860" y="7681"/>
                    </a:lnTo>
                    <a:lnTo>
                      <a:pt x="6770" y="7467"/>
                    </a:lnTo>
                    <a:lnTo>
                      <a:pt x="6699" y="7235"/>
                    </a:lnTo>
                    <a:lnTo>
                      <a:pt x="6663" y="6985"/>
                    </a:lnTo>
                    <a:lnTo>
                      <a:pt x="6628" y="6788"/>
                    </a:lnTo>
                    <a:lnTo>
                      <a:pt x="6628" y="6573"/>
                    </a:lnTo>
                    <a:lnTo>
                      <a:pt x="6628" y="6358"/>
                    </a:lnTo>
                    <a:lnTo>
                      <a:pt x="6663" y="6163"/>
                    </a:lnTo>
                    <a:lnTo>
                      <a:pt x="6717" y="5877"/>
                    </a:lnTo>
                    <a:lnTo>
                      <a:pt x="6806" y="5591"/>
                    </a:lnTo>
                    <a:lnTo>
                      <a:pt x="6932" y="5306"/>
                    </a:lnTo>
                    <a:lnTo>
                      <a:pt x="7093" y="5055"/>
                    </a:lnTo>
                    <a:lnTo>
                      <a:pt x="7200" y="4895"/>
                    </a:lnTo>
                    <a:lnTo>
                      <a:pt x="7343" y="4735"/>
                    </a:lnTo>
                    <a:lnTo>
                      <a:pt x="7467" y="4592"/>
                    </a:lnTo>
                    <a:lnTo>
                      <a:pt x="7627" y="4465"/>
                    </a:lnTo>
                    <a:lnTo>
                      <a:pt x="7557" y="4431"/>
                    </a:lnTo>
                    <a:lnTo>
                      <a:pt x="7074" y="4128"/>
                    </a:lnTo>
                    <a:lnTo>
                      <a:pt x="6092" y="3537"/>
                    </a:lnTo>
                    <a:lnTo>
                      <a:pt x="6038" y="3521"/>
                    </a:lnTo>
                    <a:lnTo>
                      <a:pt x="5949" y="3467"/>
                    </a:lnTo>
                    <a:lnTo>
                      <a:pt x="5860" y="3448"/>
                    </a:lnTo>
                    <a:lnTo>
                      <a:pt x="5753" y="3431"/>
                    </a:lnTo>
                    <a:lnTo>
                      <a:pt x="5664" y="3431"/>
                    </a:lnTo>
                    <a:lnTo>
                      <a:pt x="5628" y="3521"/>
                    </a:lnTo>
                    <a:lnTo>
                      <a:pt x="5573" y="3627"/>
                    </a:lnTo>
                    <a:lnTo>
                      <a:pt x="5520" y="3716"/>
                    </a:lnTo>
                    <a:lnTo>
                      <a:pt x="5449" y="3805"/>
                    </a:lnTo>
                    <a:lnTo>
                      <a:pt x="5359" y="3895"/>
                    </a:lnTo>
                    <a:lnTo>
                      <a:pt x="5269" y="3946"/>
                    </a:lnTo>
                    <a:lnTo>
                      <a:pt x="5179" y="4001"/>
                    </a:lnTo>
                    <a:lnTo>
                      <a:pt x="5075" y="4055"/>
                    </a:lnTo>
                    <a:lnTo>
                      <a:pt x="4949" y="4074"/>
                    </a:lnTo>
                    <a:lnTo>
                      <a:pt x="4807" y="4091"/>
                    </a:lnTo>
                    <a:lnTo>
                      <a:pt x="4681" y="4074"/>
                    </a:lnTo>
                    <a:lnTo>
                      <a:pt x="4556" y="4038"/>
                    </a:lnTo>
                    <a:lnTo>
                      <a:pt x="4467" y="4020"/>
                    </a:lnTo>
                    <a:lnTo>
                      <a:pt x="4378" y="3965"/>
                    </a:lnTo>
                    <a:lnTo>
                      <a:pt x="4289" y="3913"/>
                    </a:lnTo>
                    <a:lnTo>
                      <a:pt x="4216" y="3840"/>
                    </a:lnTo>
                    <a:lnTo>
                      <a:pt x="4144" y="3769"/>
                    </a:lnTo>
                    <a:lnTo>
                      <a:pt x="4090" y="3698"/>
                    </a:lnTo>
                    <a:lnTo>
                      <a:pt x="4038" y="3609"/>
                    </a:lnTo>
                    <a:lnTo>
                      <a:pt x="4000" y="3521"/>
                    </a:lnTo>
                    <a:lnTo>
                      <a:pt x="2394" y="2645"/>
                    </a:lnTo>
                    <a:lnTo>
                      <a:pt x="1232" y="359"/>
                    </a:lnTo>
                    <a:lnTo>
                      <a:pt x="1178" y="251"/>
                    </a:lnTo>
                    <a:lnTo>
                      <a:pt x="1089" y="162"/>
                    </a:lnTo>
                    <a:lnTo>
                      <a:pt x="1001" y="89"/>
                    </a:lnTo>
                    <a:lnTo>
                      <a:pt x="894" y="37"/>
                    </a:lnTo>
                    <a:lnTo>
                      <a:pt x="768" y="18"/>
                    </a:lnTo>
                    <a:lnTo>
                      <a:pt x="643" y="0"/>
                    </a:lnTo>
                    <a:lnTo>
                      <a:pt x="535" y="18"/>
                    </a:lnTo>
                    <a:lnTo>
                      <a:pt x="409" y="52"/>
                    </a:lnTo>
                    <a:lnTo>
                      <a:pt x="286" y="108"/>
                    </a:lnTo>
                    <a:lnTo>
                      <a:pt x="196" y="197"/>
                    </a:lnTo>
                    <a:lnTo>
                      <a:pt x="107" y="288"/>
                    </a:lnTo>
                    <a:lnTo>
                      <a:pt x="52" y="393"/>
                    </a:lnTo>
                    <a:lnTo>
                      <a:pt x="18" y="519"/>
                    </a:lnTo>
                    <a:lnTo>
                      <a:pt x="0" y="643"/>
                    </a:lnTo>
                    <a:lnTo>
                      <a:pt x="18" y="770"/>
                    </a:lnTo>
                    <a:lnTo>
                      <a:pt x="52" y="895"/>
                    </a:lnTo>
                    <a:lnTo>
                      <a:pt x="1127" y="3537"/>
                    </a:lnTo>
                    <a:lnTo>
                      <a:pt x="1161" y="3609"/>
                    </a:lnTo>
                    <a:lnTo>
                      <a:pt x="1215" y="3681"/>
                    </a:lnTo>
                    <a:lnTo>
                      <a:pt x="1268" y="3751"/>
                    </a:lnTo>
                    <a:lnTo>
                      <a:pt x="1342" y="3824"/>
                    </a:lnTo>
                    <a:lnTo>
                      <a:pt x="1412" y="3858"/>
                    </a:lnTo>
                    <a:lnTo>
                      <a:pt x="1606" y="4001"/>
                    </a:lnTo>
                    <a:lnTo>
                      <a:pt x="1857" y="4128"/>
                    </a:lnTo>
                    <a:lnTo>
                      <a:pt x="2110" y="4251"/>
                    </a:lnTo>
                    <a:lnTo>
                      <a:pt x="2340" y="4431"/>
                    </a:lnTo>
                    <a:lnTo>
                      <a:pt x="2554" y="4609"/>
                    </a:lnTo>
                    <a:lnTo>
                      <a:pt x="2788" y="4862"/>
                    </a:lnTo>
                    <a:lnTo>
                      <a:pt x="2911" y="5037"/>
                    </a:lnTo>
                    <a:lnTo>
                      <a:pt x="3037" y="5234"/>
                    </a:lnTo>
                    <a:lnTo>
                      <a:pt x="3144" y="5430"/>
                    </a:lnTo>
                    <a:lnTo>
                      <a:pt x="3232" y="5645"/>
                    </a:lnTo>
                    <a:lnTo>
                      <a:pt x="3286" y="5877"/>
                    </a:lnTo>
                    <a:lnTo>
                      <a:pt x="3340" y="6092"/>
                    </a:lnTo>
                    <a:lnTo>
                      <a:pt x="3377" y="6341"/>
                    </a:lnTo>
                    <a:lnTo>
                      <a:pt x="3395" y="6573"/>
                    </a:lnTo>
                    <a:lnTo>
                      <a:pt x="3377" y="6752"/>
                    </a:lnTo>
                    <a:lnTo>
                      <a:pt x="3359" y="6929"/>
                    </a:lnTo>
                    <a:lnTo>
                      <a:pt x="3340" y="7110"/>
                    </a:lnTo>
                    <a:lnTo>
                      <a:pt x="3306" y="7270"/>
                    </a:lnTo>
                    <a:lnTo>
                      <a:pt x="3251" y="7430"/>
                    </a:lnTo>
                    <a:lnTo>
                      <a:pt x="3197" y="7593"/>
                    </a:lnTo>
                    <a:lnTo>
                      <a:pt x="3037" y="7896"/>
                    </a:lnTo>
                    <a:lnTo>
                      <a:pt x="6965" y="7896"/>
                    </a:lnTo>
                    <a:close/>
                  </a:path>
                </a:pathLst>
              </a:custGeom>
              <a:grpFill/>
              <a:ln w="9525">
                <a:noFill/>
                <a:round/>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anose="020B0503020204020204" pitchFamily="34" charset="-122"/>
                </a:endParaRPr>
              </a:p>
            </p:txBody>
          </p:sp>
          <p:sp>
            <p:nvSpPr>
              <p:cNvPr id="219" name="Freeform 72"/>
              <p:cNvSpPr>
                <a:spLocks/>
              </p:cNvSpPr>
              <p:nvPr/>
            </p:nvSpPr>
            <p:spPr bwMode="auto">
              <a:xfrm>
                <a:off x="4292600" y="4060826"/>
                <a:ext cx="327025" cy="325438"/>
              </a:xfrm>
              <a:custGeom>
                <a:avLst/>
                <a:gdLst/>
                <a:ahLst/>
                <a:cxnLst>
                  <a:cxn ang="0">
                    <a:pos x="1838" y="18"/>
                  </a:cxn>
                  <a:cxn ang="0">
                    <a:pos x="1447" y="107"/>
                  </a:cxn>
                  <a:cxn ang="0">
                    <a:pos x="1071" y="248"/>
                  </a:cxn>
                  <a:cxn ang="0">
                    <a:pos x="749" y="482"/>
                  </a:cxn>
                  <a:cxn ang="0">
                    <a:pos x="481" y="751"/>
                  </a:cxn>
                  <a:cxn ang="0">
                    <a:pos x="250" y="1071"/>
                  </a:cxn>
                  <a:cxn ang="0">
                    <a:pos x="107" y="1446"/>
                  </a:cxn>
                  <a:cxn ang="0">
                    <a:pos x="17" y="1838"/>
                  </a:cxn>
                  <a:cxn ang="0">
                    <a:pos x="17" y="2249"/>
                  </a:cxn>
                  <a:cxn ang="0">
                    <a:pos x="88" y="2608"/>
                  </a:cxn>
                  <a:cxn ang="0">
                    <a:pos x="214" y="2929"/>
                  </a:cxn>
                  <a:cxn ang="0">
                    <a:pos x="392" y="3233"/>
                  </a:cxn>
                  <a:cxn ang="0">
                    <a:pos x="640" y="3536"/>
                  </a:cxn>
                  <a:cxn ang="0">
                    <a:pos x="982" y="3805"/>
                  </a:cxn>
                  <a:cxn ang="0">
                    <a:pos x="1392" y="3984"/>
                  </a:cxn>
                  <a:cxn ang="0">
                    <a:pos x="1820" y="4089"/>
                  </a:cxn>
                  <a:cxn ang="0">
                    <a:pos x="2286" y="4089"/>
                  </a:cxn>
                  <a:cxn ang="0">
                    <a:pos x="2715" y="3984"/>
                  </a:cxn>
                  <a:cxn ang="0">
                    <a:pos x="3125" y="3805"/>
                  </a:cxn>
                  <a:cxn ang="0">
                    <a:pos x="3465" y="3536"/>
                  </a:cxn>
                  <a:cxn ang="0">
                    <a:pos x="3714" y="3250"/>
                  </a:cxn>
                  <a:cxn ang="0">
                    <a:pos x="3876" y="2963"/>
                  </a:cxn>
                  <a:cxn ang="0">
                    <a:pos x="4018" y="2643"/>
                  </a:cxn>
                  <a:cxn ang="0">
                    <a:pos x="4089" y="2249"/>
                  </a:cxn>
                  <a:cxn ang="0">
                    <a:pos x="4089" y="1857"/>
                  </a:cxn>
                  <a:cxn ang="0">
                    <a:pos x="4018" y="1464"/>
                  </a:cxn>
                  <a:cxn ang="0">
                    <a:pos x="3895" y="1143"/>
                  </a:cxn>
                  <a:cxn ang="0">
                    <a:pos x="3735" y="875"/>
                  </a:cxn>
                  <a:cxn ang="0">
                    <a:pos x="3554" y="661"/>
                  </a:cxn>
                  <a:cxn ang="0">
                    <a:pos x="3322" y="446"/>
                  </a:cxn>
                  <a:cxn ang="0">
                    <a:pos x="3091" y="286"/>
                  </a:cxn>
                  <a:cxn ang="0">
                    <a:pos x="2804" y="161"/>
                  </a:cxn>
                  <a:cxn ang="0">
                    <a:pos x="2519" y="53"/>
                  </a:cxn>
                  <a:cxn ang="0">
                    <a:pos x="2215" y="18"/>
                  </a:cxn>
                </a:cxnLst>
                <a:rect l="0" t="0" r="r" b="b"/>
                <a:pathLst>
                  <a:path w="4107" h="4108">
                    <a:moveTo>
                      <a:pt x="2054" y="0"/>
                    </a:moveTo>
                    <a:lnTo>
                      <a:pt x="1838" y="18"/>
                    </a:lnTo>
                    <a:lnTo>
                      <a:pt x="1641" y="53"/>
                    </a:lnTo>
                    <a:lnTo>
                      <a:pt x="1447" y="107"/>
                    </a:lnTo>
                    <a:lnTo>
                      <a:pt x="1251" y="161"/>
                    </a:lnTo>
                    <a:lnTo>
                      <a:pt x="1071" y="248"/>
                    </a:lnTo>
                    <a:lnTo>
                      <a:pt x="910" y="357"/>
                    </a:lnTo>
                    <a:lnTo>
                      <a:pt x="749" y="482"/>
                    </a:lnTo>
                    <a:lnTo>
                      <a:pt x="607" y="606"/>
                    </a:lnTo>
                    <a:lnTo>
                      <a:pt x="481" y="751"/>
                    </a:lnTo>
                    <a:lnTo>
                      <a:pt x="358" y="910"/>
                    </a:lnTo>
                    <a:lnTo>
                      <a:pt x="250" y="1071"/>
                    </a:lnTo>
                    <a:lnTo>
                      <a:pt x="161" y="1249"/>
                    </a:lnTo>
                    <a:lnTo>
                      <a:pt x="107" y="1446"/>
                    </a:lnTo>
                    <a:lnTo>
                      <a:pt x="53" y="1643"/>
                    </a:lnTo>
                    <a:lnTo>
                      <a:pt x="17" y="1838"/>
                    </a:lnTo>
                    <a:lnTo>
                      <a:pt x="0" y="2053"/>
                    </a:lnTo>
                    <a:lnTo>
                      <a:pt x="17" y="2249"/>
                    </a:lnTo>
                    <a:lnTo>
                      <a:pt x="35" y="2428"/>
                    </a:lnTo>
                    <a:lnTo>
                      <a:pt x="88" y="2608"/>
                    </a:lnTo>
                    <a:lnTo>
                      <a:pt x="143" y="2769"/>
                    </a:lnTo>
                    <a:lnTo>
                      <a:pt x="214" y="2929"/>
                    </a:lnTo>
                    <a:lnTo>
                      <a:pt x="287" y="3088"/>
                    </a:lnTo>
                    <a:lnTo>
                      <a:pt x="392" y="3233"/>
                    </a:lnTo>
                    <a:lnTo>
                      <a:pt x="500" y="3376"/>
                    </a:lnTo>
                    <a:lnTo>
                      <a:pt x="640" y="3536"/>
                    </a:lnTo>
                    <a:lnTo>
                      <a:pt x="803" y="3680"/>
                    </a:lnTo>
                    <a:lnTo>
                      <a:pt x="982" y="3805"/>
                    </a:lnTo>
                    <a:lnTo>
                      <a:pt x="1178" y="3911"/>
                    </a:lnTo>
                    <a:lnTo>
                      <a:pt x="1392" y="3984"/>
                    </a:lnTo>
                    <a:lnTo>
                      <a:pt x="1607" y="4055"/>
                    </a:lnTo>
                    <a:lnTo>
                      <a:pt x="1820" y="4089"/>
                    </a:lnTo>
                    <a:lnTo>
                      <a:pt x="2054" y="4108"/>
                    </a:lnTo>
                    <a:lnTo>
                      <a:pt x="2286" y="4089"/>
                    </a:lnTo>
                    <a:lnTo>
                      <a:pt x="2500" y="4055"/>
                    </a:lnTo>
                    <a:lnTo>
                      <a:pt x="2715" y="3984"/>
                    </a:lnTo>
                    <a:lnTo>
                      <a:pt x="2928" y="3911"/>
                    </a:lnTo>
                    <a:lnTo>
                      <a:pt x="3125" y="3805"/>
                    </a:lnTo>
                    <a:lnTo>
                      <a:pt x="3305" y="3680"/>
                    </a:lnTo>
                    <a:lnTo>
                      <a:pt x="3465" y="3536"/>
                    </a:lnTo>
                    <a:lnTo>
                      <a:pt x="3608" y="3376"/>
                    </a:lnTo>
                    <a:lnTo>
                      <a:pt x="3714" y="3250"/>
                    </a:lnTo>
                    <a:lnTo>
                      <a:pt x="3805" y="3107"/>
                    </a:lnTo>
                    <a:lnTo>
                      <a:pt x="3876" y="2963"/>
                    </a:lnTo>
                    <a:lnTo>
                      <a:pt x="3947" y="2822"/>
                    </a:lnTo>
                    <a:lnTo>
                      <a:pt x="4018" y="2643"/>
                    </a:lnTo>
                    <a:lnTo>
                      <a:pt x="4054" y="2446"/>
                    </a:lnTo>
                    <a:lnTo>
                      <a:pt x="4089" y="2249"/>
                    </a:lnTo>
                    <a:lnTo>
                      <a:pt x="4107" y="2053"/>
                    </a:lnTo>
                    <a:lnTo>
                      <a:pt x="4089" y="1857"/>
                    </a:lnTo>
                    <a:lnTo>
                      <a:pt x="4054" y="1662"/>
                    </a:lnTo>
                    <a:lnTo>
                      <a:pt x="4018" y="1464"/>
                    </a:lnTo>
                    <a:lnTo>
                      <a:pt x="3947" y="1268"/>
                    </a:lnTo>
                    <a:lnTo>
                      <a:pt x="3895" y="1143"/>
                    </a:lnTo>
                    <a:lnTo>
                      <a:pt x="3823" y="1001"/>
                    </a:lnTo>
                    <a:lnTo>
                      <a:pt x="3735" y="875"/>
                    </a:lnTo>
                    <a:lnTo>
                      <a:pt x="3643" y="767"/>
                    </a:lnTo>
                    <a:lnTo>
                      <a:pt x="3554" y="661"/>
                    </a:lnTo>
                    <a:lnTo>
                      <a:pt x="3446" y="553"/>
                    </a:lnTo>
                    <a:lnTo>
                      <a:pt x="3322" y="446"/>
                    </a:lnTo>
                    <a:lnTo>
                      <a:pt x="3216" y="357"/>
                    </a:lnTo>
                    <a:lnTo>
                      <a:pt x="3091" y="286"/>
                    </a:lnTo>
                    <a:lnTo>
                      <a:pt x="2947" y="215"/>
                    </a:lnTo>
                    <a:lnTo>
                      <a:pt x="2804" y="161"/>
                    </a:lnTo>
                    <a:lnTo>
                      <a:pt x="2661" y="107"/>
                    </a:lnTo>
                    <a:lnTo>
                      <a:pt x="2519" y="53"/>
                    </a:lnTo>
                    <a:lnTo>
                      <a:pt x="2375" y="37"/>
                    </a:lnTo>
                    <a:lnTo>
                      <a:pt x="2215" y="18"/>
                    </a:lnTo>
                    <a:lnTo>
                      <a:pt x="2054" y="0"/>
                    </a:lnTo>
                    <a:close/>
                  </a:path>
                </a:pathLst>
              </a:custGeom>
              <a:grpFill/>
              <a:ln w="9525">
                <a:noFill/>
                <a:round/>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anose="020B0503020204020204" pitchFamily="34" charset="-122"/>
                </a:endParaRPr>
              </a:p>
            </p:txBody>
          </p:sp>
          <p:sp>
            <p:nvSpPr>
              <p:cNvPr id="220" name="Freeform 73"/>
              <p:cNvSpPr>
                <a:spLocks/>
              </p:cNvSpPr>
              <p:nvPr/>
            </p:nvSpPr>
            <p:spPr bwMode="auto">
              <a:xfrm>
                <a:off x="4137025" y="4430713"/>
                <a:ext cx="631825" cy="279400"/>
              </a:xfrm>
              <a:custGeom>
                <a:avLst/>
                <a:gdLst/>
                <a:ahLst/>
                <a:cxnLst>
                  <a:cxn ang="0">
                    <a:pos x="0" y="3518"/>
                  </a:cxn>
                  <a:cxn ang="0">
                    <a:pos x="0" y="2196"/>
                  </a:cxn>
                  <a:cxn ang="0">
                    <a:pos x="0" y="2035"/>
                  </a:cxn>
                  <a:cxn ang="0">
                    <a:pos x="52" y="1892"/>
                  </a:cxn>
                  <a:cxn ang="0">
                    <a:pos x="123" y="1768"/>
                  </a:cxn>
                  <a:cxn ang="0">
                    <a:pos x="212" y="1660"/>
                  </a:cxn>
                  <a:cxn ang="0">
                    <a:pos x="322" y="1571"/>
                  </a:cxn>
                  <a:cxn ang="0">
                    <a:pos x="448" y="1500"/>
                  </a:cxn>
                  <a:cxn ang="0">
                    <a:pos x="590" y="1446"/>
                  </a:cxn>
                  <a:cxn ang="0">
                    <a:pos x="752" y="1446"/>
                  </a:cxn>
                  <a:cxn ang="0">
                    <a:pos x="1536" y="1446"/>
                  </a:cxn>
                  <a:cxn ang="0">
                    <a:pos x="1643" y="1446"/>
                  </a:cxn>
                  <a:cxn ang="0">
                    <a:pos x="1857" y="1214"/>
                  </a:cxn>
                  <a:cxn ang="0">
                    <a:pos x="2091" y="1036"/>
                  </a:cxn>
                  <a:cxn ang="0">
                    <a:pos x="2342" y="857"/>
                  </a:cxn>
                  <a:cxn ang="0">
                    <a:pos x="2591" y="732"/>
                  </a:cxn>
                  <a:cxn ang="0">
                    <a:pos x="3288" y="319"/>
                  </a:cxn>
                  <a:cxn ang="0">
                    <a:pos x="3341" y="286"/>
                  </a:cxn>
                  <a:cxn ang="0">
                    <a:pos x="3358" y="215"/>
                  </a:cxn>
                  <a:cxn ang="0">
                    <a:pos x="3358" y="142"/>
                  </a:cxn>
                  <a:cxn ang="0">
                    <a:pos x="3358" y="107"/>
                  </a:cxn>
                  <a:cxn ang="0">
                    <a:pos x="3377" y="72"/>
                  </a:cxn>
                  <a:cxn ang="0">
                    <a:pos x="3429" y="16"/>
                  </a:cxn>
                  <a:cxn ang="0">
                    <a:pos x="3503" y="0"/>
                  </a:cxn>
                  <a:cxn ang="0">
                    <a:pos x="4485" y="0"/>
                  </a:cxn>
                  <a:cxn ang="0">
                    <a:pos x="4538" y="16"/>
                  </a:cxn>
                  <a:cxn ang="0">
                    <a:pos x="4592" y="72"/>
                  </a:cxn>
                  <a:cxn ang="0">
                    <a:pos x="4609" y="107"/>
                  </a:cxn>
                  <a:cxn ang="0">
                    <a:pos x="4627" y="142"/>
                  </a:cxn>
                  <a:cxn ang="0">
                    <a:pos x="4627" y="215"/>
                  </a:cxn>
                  <a:cxn ang="0">
                    <a:pos x="4645" y="286"/>
                  </a:cxn>
                  <a:cxn ang="0">
                    <a:pos x="4681" y="319"/>
                  </a:cxn>
                  <a:cxn ang="0">
                    <a:pos x="5394" y="624"/>
                  </a:cxn>
                  <a:cxn ang="0">
                    <a:pos x="5646" y="767"/>
                  </a:cxn>
                  <a:cxn ang="0">
                    <a:pos x="5913" y="964"/>
                  </a:cxn>
                  <a:cxn ang="0">
                    <a:pos x="6144" y="1178"/>
                  </a:cxn>
                  <a:cxn ang="0">
                    <a:pos x="6379" y="1446"/>
                  </a:cxn>
                  <a:cxn ang="0">
                    <a:pos x="7504" y="1446"/>
                  </a:cxn>
                  <a:cxn ang="0">
                    <a:pos x="7969" y="1446"/>
                  </a:cxn>
                  <a:cxn ang="0">
                    <a:pos x="7969" y="3518"/>
                  </a:cxn>
                  <a:cxn ang="0">
                    <a:pos x="7504" y="3518"/>
                  </a:cxn>
                  <a:cxn ang="0">
                    <a:pos x="463" y="3518"/>
                  </a:cxn>
                  <a:cxn ang="0">
                    <a:pos x="0" y="3518"/>
                  </a:cxn>
                </a:cxnLst>
                <a:rect l="0" t="0" r="r" b="b"/>
                <a:pathLst>
                  <a:path w="7969" h="3518">
                    <a:moveTo>
                      <a:pt x="0" y="3518"/>
                    </a:moveTo>
                    <a:lnTo>
                      <a:pt x="0" y="2196"/>
                    </a:lnTo>
                    <a:lnTo>
                      <a:pt x="0" y="2035"/>
                    </a:lnTo>
                    <a:lnTo>
                      <a:pt x="52" y="1892"/>
                    </a:lnTo>
                    <a:lnTo>
                      <a:pt x="123" y="1768"/>
                    </a:lnTo>
                    <a:lnTo>
                      <a:pt x="212" y="1660"/>
                    </a:lnTo>
                    <a:lnTo>
                      <a:pt x="322" y="1571"/>
                    </a:lnTo>
                    <a:lnTo>
                      <a:pt x="448" y="1500"/>
                    </a:lnTo>
                    <a:lnTo>
                      <a:pt x="590" y="1446"/>
                    </a:lnTo>
                    <a:lnTo>
                      <a:pt x="752" y="1446"/>
                    </a:lnTo>
                    <a:lnTo>
                      <a:pt x="1536" y="1446"/>
                    </a:lnTo>
                    <a:lnTo>
                      <a:pt x="1643" y="1446"/>
                    </a:lnTo>
                    <a:lnTo>
                      <a:pt x="1857" y="1214"/>
                    </a:lnTo>
                    <a:lnTo>
                      <a:pt x="2091" y="1036"/>
                    </a:lnTo>
                    <a:lnTo>
                      <a:pt x="2342" y="857"/>
                    </a:lnTo>
                    <a:lnTo>
                      <a:pt x="2591" y="732"/>
                    </a:lnTo>
                    <a:lnTo>
                      <a:pt x="3288" y="319"/>
                    </a:lnTo>
                    <a:lnTo>
                      <a:pt x="3341" y="286"/>
                    </a:lnTo>
                    <a:lnTo>
                      <a:pt x="3358" y="215"/>
                    </a:lnTo>
                    <a:lnTo>
                      <a:pt x="3358" y="142"/>
                    </a:lnTo>
                    <a:lnTo>
                      <a:pt x="3358" y="107"/>
                    </a:lnTo>
                    <a:lnTo>
                      <a:pt x="3377" y="72"/>
                    </a:lnTo>
                    <a:lnTo>
                      <a:pt x="3429" y="16"/>
                    </a:lnTo>
                    <a:lnTo>
                      <a:pt x="3503" y="0"/>
                    </a:lnTo>
                    <a:lnTo>
                      <a:pt x="4485" y="0"/>
                    </a:lnTo>
                    <a:lnTo>
                      <a:pt x="4538" y="16"/>
                    </a:lnTo>
                    <a:lnTo>
                      <a:pt x="4592" y="72"/>
                    </a:lnTo>
                    <a:lnTo>
                      <a:pt x="4609" y="107"/>
                    </a:lnTo>
                    <a:lnTo>
                      <a:pt x="4627" y="142"/>
                    </a:lnTo>
                    <a:lnTo>
                      <a:pt x="4627" y="215"/>
                    </a:lnTo>
                    <a:lnTo>
                      <a:pt x="4645" y="286"/>
                    </a:lnTo>
                    <a:lnTo>
                      <a:pt x="4681" y="319"/>
                    </a:lnTo>
                    <a:lnTo>
                      <a:pt x="5394" y="624"/>
                    </a:lnTo>
                    <a:lnTo>
                      <a:pt x="5646" y="767"/>
                    </a:lnTo>
                    <a:lnTo>
                      <a:pt x="5913" y="964"/>
                    </a:lnTo>
                    <a:lnTo>
                      <a:pt x="6144" y="1178"/>
                    </a:lnTo>
                    <a:lnTo>
                      <a:pt x="6379" y="1446"/>
                    </a:lnTo>
                    <a:lnTo>
                      <a:pt x="7504" y="1446"/>
                    </a:lnTo>
                    <a:lnTo>
                      <a:pt x="7969" y="1446"/>
                    </a:lnTo>
                    <a:lnTo>
                      <a:pt x="7969" y="3518"/>
                    </a:lnTo>
                    <a:lnTo>
                      <a:pt x="7504" y="3518"/>
                    </a:lnTo>
                    <a:lnTo>
                      <a:pt x="463" y="3518"/>
                    </a:lnTo>
                    <a:lnTo>
                      <a:pt x="0" y="3518"/>
                    </a:lnTo>
                    <a:close/>
                  </a:path>
                </a:pathLst>
              </a:custGeom>
              <a:grpFill/>
              <a:ln w="9525">
                <a:noFill/>
                <a:round/>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anose="020B0503020204020204" pitchFamily="34" charset="-122"/>
                </a:endParaRPr>
              </a:p>
            </p:txBody>
          </p:sp>
          <p:sp>
            <p:nvSpPr>
              <p:cNvPr id="221" name="Freeform 74"/>
              <p:cNvSpPr>
                <a:spLocks/>
              </p:cNvSpPr>
              <p:nvPr/>
            </p:nvSpPr>
            <p:spPr bwMode="auto">
              <a:xfrm>
                <a:off x="4986338" y="4060826"/>
                <a:ext cx="325438" cy="325438"/>
              </a:xfrm>
              <a:custGeom>
                <a:avLst/>
                <a:gdLst/>
                <a:ahLst/>
                <a:cxnLst>
                  <a:cxn ang="0">
                    <a:pos x="161" y="2858"/>
                  </a:cxn>
                  <a:cxn ang="0">
                    <a:pos x="358" y="3214"/>
                  </a:cxn>
                  <a:cxn ang="0">
                    <a:pos x="642" y="3536"/>
                  </a:cxn>
                  <a:cxn ang="0">
                    <a:pos x="982" y="3805"/>
                  </a:cxn>
                  <a:cxn ang="0">
                    <a:pos x="1376" y="3984"/>
                  </a:cxn>
                  <a:cxn ang="0">
                    <a:pos x="1822" y="4089"/>
                  </a:cxn>
                  <a:cxn ang="0">
                    <a:pos x="2270" y="4089"/>
                  </a:cxn>
                  <a:cxn ang="0">
                    <a:pos x="2715" y="3984"/>
                  </a:cxn>
                  <a:cxn ang="0">
                    <a:pos x="3108" y="3805"/>
                  </a:cxn>
                  <a:cxn ang="0">
                    <a:pos x="3448" y="3536"/>
                  </a:cxn>
                  <a:cxn ang="0">
                    <a:pos x="3718" y="3233"/>
                  </a:cxn>
                  <a:cxn ang="0">
                    <a:pos x="3896" y="2929"/>
                  </a:cxn>
                  <a:cxn ang="0">
                    <a:pos x="4020" y="2608"/>
                  </a:cxn>
                  <a:cxn ang="0">
                    <a:pos x="4091" y="2249"/>
                  </a:cxn>
                  <a:cxn ang="0">
                    <a:pos x="4072" y="1838"/>
                  </a:cxn>
                  <a:cxn ang="0">
                    <a:pos x="4001" y="1446"/>
                  </a:cxn>
                  <a:cxn ang="0">
                    <a:pos x="3842" y="1071"/>
                  </a:cxn>
                  <a:cxn ang="0">
                    <a:pos x="3627" y="751"/>
                  </a:cxn>
                  <a:cxn ang="0">
                    <a:pos x="3342" y="482"/>
                  </a:cxn>
                  <a:cxn ang="0">
                    <a:pos x="3018" y="248"/>
                  </a:cxn>
                  <a:cxn ang="0">
                    <a:pos x="2663" y="107"/>
                  </a:cxn>
                  <a:cxn ang="0">
                    <a:pos x="2252" y="18"/>
                  </a:cxn>
                  <a:cxn ang="0">
                    <a:pos x="1893" y="18"/>
                  </a:cxn>
                  <a:cxn ang="0">
                    <a:pos x="1589" y="53"/>
                  </a:cxn>
                  <a:cxn ang="0">
                    <a:pos x="1287" y="143"/>
                  </a:cxn>
                  <a:cxn ang="0">
                    <a:pos x="1020" y="286"/>
                  </a:cxn>
                  <a:cxn ang="0">
                    <a:pos x="696" y="501"/>
                  </a:cxn>
                  <a:cxn ang="0">
                    <a:pos x="376" y="875"/>
                  </a:cxn>
                  <a:cxn ang="0">
                    <a:pos x="143" y="1305"/>
                  </a:cxn>
                  <a:cxn ang="0">
                    <a:pos x="19" y="1787"/>
                  </a:cxn>
                  <a:cxn ang="0">
                    <a:pos x="0" y="2214"/>
                  </a:cxn>
                  <a:cxn ang="0">
                    <a:pos x="53" y="2499"/>
                  </a:cxn>
                </a:cxnLst>
                <a:rect l="0" t="0" r="r" b="b"/>
                <a:pathLst>
                  <a:path w="4091" h="4108">
                    <a:moveTo>
                      <a:pt x="90" y="2643"/>
                    </a:moveTo>
                    <a:lnTo>
                      <a:pt x="161" y="2858"/>
                    </a:lnTo>
                    <a:lnTo>
                      <a:pt x="249" y="3036"/>
                    </a:lnTo>
                    <a:lnTo>
                      <a:pt x="358" y="3214"/>
                    </a:lnTo>
                    <a:lnTo>
                      <a:pt x="483" y="3376"/>
                    </a:lnTo>
                    <a:lnTo>
                      <a:pt x="642" y="3536"/>
                    </a:lnTo>
                    <a:lnTo>
                      <a:pt x="806" y="3680"/>
                    </a:lnTo>
                    <a:lnTo>
                      <a:pt x="982" y="3805"/>
                    </a:lnTo>
                    <a:lnTo>
                      <a:pt x="1180" y="3911"/>
                    </a:lnTo>
                    <a:lnTo>
                      <a:pt x="1376" y="3984"/>
                    </a:lnTo>
                    <a:lnTo>
                      <a:pt x="1589" y="4055"/>
                    </a:lnTo>
                    <a:lnTo>
                      <a:pt x="1822" y="4089"/>
                    </a:lnTo>
                    <a:lnTo>
                      <a:pt x="2037" y="4108"/>
                    </a:lnTo>
                    <a:lnTo>
                      <a:pt x="2270" y="4089"/>
                    </a:lnTo>
                    <a:lnTo>
                      <a:pt x="2501" y="4055"/>
                    </a:lnTo>
                    <a:lnTo>
                      <a:pt x="2715" y="3984"/>
                    </a:lnTo>
                    <a:lnTo>
                      <a:pt x="2912" y="3911"/>
                    </a:lnTo>
                    <a:lnTo>
                      <a:pt x="3108" y="3805"/>
                    </a:lnTo>
                    <a:lnTo>
                      <a:pt x="3288" y="3680"/>
                    </a:lnTo>
                    <a:lnTo>
                      <a:pt x="3448" y="3536"/>
                    </a:lnTo>
                    <a:lnTo>
                      <a:pt x="3609" y="3376"/>
                    </a:lnTo>
                    <a:lnTo>
                      <a:pt x="3718" y="3233"/>
                    </a:lnTo>
                    <a:lnTo>
                      <a:pt x="3807" y="3088"/>
                    </a:lnTo>
                    <a:lnTo>
                      <a:pt x="3896" y="2929"/>
                    </a:lnTo>
                    <a:lnTo>
                      <a:pt x="3967" y="2769"/>
                    </a:lnTo>
                    <a:lnTo>
                      <a:pt x="4020" y="2608"/>
                    </a:lnTo>
                    <a:lnTo>
                      <a:pt x="4056" y="2428"/>
                    </a:lnTo>
                    <a:lnTo>
                      <a:pt x="4091" y="2249"/>
                    </a:lnTo>
                    <a:lnTo>
                      <a:pt x="4091" y="2053"/>
                    </a:lnTo>
                    <a:lnTo>
                      <a:pt x="4072" y="1838"/>
                    </a:lnTo>
                    <a:lnTo>
                      <a:pt x="4056" y="1643"/>
                    </a:lnTo>
                    <a:lnTo>
                      <a:pt x="4001" y="1446"/>
                    </a:lnTo>
                    <a:lnTo>
                      <a:pt x="3933" y="1249"/>
                    </a:lnTo>
                    <a:lnTo>
                      <a:pt x="3842" y="1071"/>
                    </a:lnTo>
                    <a:lnTo>
                      <a:pt x="3752" y="910"/>
                    </a:lnTo>
                    <a:lnTo>
                      <a:pt x="3627" y="751"/>
                    </a:lnTo>
                    <a:lnTo>
                      <a:pt x="3503" y="606"/>
                    </a:lnTo>
                    <a:lnTo>
                      <a:pt x="3342" y="482"/>
                    </a:lnTo>
                    <a:lnTo>
                      <a:pt x="3199" y="357"/>
                    </a:lnTo>
                    <a:lnTo>
                      <a:pt x="3018" y="248"/>
                    </a:lnTo>
                    <a:lnTo>
                      <a:pt x="2841" y="161"/>
                    </a:lnTo>
                    <a:lnTo>
                      <a:pt x="2663" y="107"/>
                    </a:lnTo>
                    <a:lnTo>
                      <a:pt x="2466" y="53"/>
                    </a:lnTo>
                    <a:lnTo>
                      <a:pt x="2252" y="18"/>
                    </a:lnTo>
                    <a:lnTo>
                      <a:pt x="2037" y="0"/>
                    </a:lnTo>
                    <a:lnTo>
                      <a:pt x="1893" y="18"/>
                    </a:lnTo>
                    <a:lnTo>
                      <a:pt x="1733" y="37"/>
                    </a:lnTo>
                    <a:lnTo>
                      <a:pt x="1589" y="53"/>
                    </a:lnTo>
                    <a:lnTo>
                      <a:pt x="1429" y="107"/>
                    </a:lnTo>
                    <a:lnTo>
                      <a:pt x="1287" y="143"/>
                    </a:lnTo>
                    <a:lnTo>
                      <a:pt x="1161" y="215"/>
                    </a:lnTo>
                    <a:lnTo>
                      <a:pt x="1020" y="286"/>
                    </a:lnTo>
                    <a:lnTo>
                      <a:pt x="895" y="357"/>
                    </a:lnTo>
                    <a:lnTo>
                      <a:pt x="696" y="501"/>
                    </a:lnTo>
                    <a:lnTo>
                      <a:pt x="536" y="678"/>
                    </a:lnTo>
                    <a:lnTo>
                      <a:pt x="376" y="875"/>
                    </a:lnTo>
                    <a:lnTo>
                      <a:pt x="249" y="1071"/>
                    </a:lnTo>
                    <a:lnTo>
                      <a:pt x="143" y="1305"/>
                    </a:lnTo>
                    <a:lnTo>
                      <a:pt x="53" y="1538"/>
                    </a:lnTo>
                    <a:lnTo>
                      <a:pt x="19" y="1787"/>
                    </a:lnTo>
                    <a:lnTo>
                      <a:pt x="0" y="2053"/>
                    </a:lnTo>
                    <a:lnTo>
                      <a:pt x="0" y="2214"/>
                    </a:lnTo>
                    <a:lnTo>
                      <a:pt x="19" y="2357"/>
                    </a:lnTo>
                    <a:lnTo>
                      <a:pt x="53" y="2499"/>
                    </a:lnTo>
                    <a:lnTo>
                      <a:pt x="90" y="2643"/>
                    </a:lnTo>
                    <a:close/>
                  </a:path>
                </a:pathLst>
              </a:custGeom>
              <a:grpFill/>
              <a:ln w="9525">
                <a:noFill/>
                <a:round/>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anose="020B0503020204020204" pitchFamily="34" charset="-122"/>
                </a:endParaRPr>
              </a:p>
            </p:txBody>
          </p:sp>
          <p:sp>
            <p:nvSpPr>
              <p:cNvPr id="222" name="Freeform 75"/>
              <p:cNvSpPr>
                <a:spLocks/>
              </p:cNvSpPr>
              <p:nvPr/>
            </p:nvSpPr>
            <p:spPr bwMode="auto">
              <a:xfrm>
                <a:off x="4832350" y="4430713"/>
                <a:ext cx="633413" cy="279400"/>
              </a:xfrm>
              <a:custGeom>
                <a:avLst/>
                <a:gdLst/>
                <a:ahLst/>
                <a:cxnLst>
                  <a:cxn ang="0">
                    <a:pos x="4682" y="319"/>
                  </a:cxn>
                  <a:cxn ang="0">
                    <a:pos x="4647" y="286"/>
                  </a:cxn>
                  <a:cxn ang="0">
                    <a:pos x="4630" y="215"/>
                  </a:cxn>
                  <a:cxn ang="0">
                    <a:pos x="4630" y="142"/>
                  </a:cxn>
                  <a:cxn ang="0">
                    <a:pos x="4611" y="107"/>
                  </a:cxn>
                  <a:cxn ang="0">
                    <a:pos x="4593" y="72"/>
                  </a:cxn>
                  <a:cxn ang="0">
                    <a:pos x="4558" y="16"/>
                  </a:cxn>
                  <a:cxn ang="0">
                    <a:pos x="4485" y="0"/>
                  </a:cxn>
                  <a:cxn ang="0">
                    <a:pos x="3503" y="0"/>
                  </a:cxn>
                  <a:cxn ang="0">
                    <a:pos x="3432" y="16"/>
                  </a:cxn>
                  <a:cxn ang="0">
                    <a:pos x="3377" y="72"/>
                  </a:cxn>
                  <a:cxn ang="0">
                    <a:pos x="3360" y="107"/>
                  </a:cxn>
                  <a:cxn ang="0">
                    <a:pos x="3360" y="142"/>
                  </a:cxn>
                  <a:cxn ang="0">
                    <a:pos x="3360" y="215"/>
                  </a:cxn>
                  <a:cxn ang="0">
                    <a:pos x="3343" y="286"/>
                  </a:cxn>
                  <a:cxn ang="0">
                    <a:pos x="3288" y="319"/>
                  </a:cxn>
                  <a:cxn ang="0">
                    <a:pos x="2590" y="624"/>
                  </a:cxn>
                  <a:cxn ang="0">
                    <a:pos x="2324" y="767"/>
                  </a:cxn>
                  <a:cxn ang="0">
                    <a:pos x="2075" y="964"/>
                  </a:cxn>
                  <a:cxn ang="0">
                    <a:pos x="1824" y="1178"/>
                  </a:cxn>
                  <a:cxn ang="0">
                    <a:pos x="1589" y="1446"/>
                  </a:cxn>
                  <a:cxn ang="0">
                    <a:pos x="1163" y="1446"/>
                  </a:cxn>
                  <a:cxn ang="0">
                    <a:pos x="0" y="1446"/>
                  </a:cxn>
                  <a:cxn ang="0">
                    <a:pos x="0" y="3518"/>
                  </a:cxn>
                  <a:cxn ang="0">
                    <a:pos x="89" y="3518"/>
                  </a:cxn>
                  <a:cxn ang="0">
                    <a:pos x="7988" y="3518"/>
                  </a:cxn>
                  <a:cxn ang="0">
                    <a:pos x="7988" y="2196"/>
                  </a:cxn>
                  <a:cxn ang="0">
                    <a:pos x="7969" y="2035"/>
                  </a:cxn>
                  <a:cxn ang="0">
                    <a:pos x="7917" y="1892"/>
                  </a:cxn>
                  <a:cxn ang="0">
                    <a:pos x="7862" y="1768"/>
                  </a:cxn>
                  <a:cxn ang="0">
                    <a:pos x="7755" y="1660"/>
                  </a:cxn>
                  <a:cxn ang="0">
                    <a:pos x="7647" y="1571"/>
                  </a:cxn>
                  <a:cxn ang="0">
                    <a:pos x="7521" y="1500"/>
                  </a:cxn>
                  <a:cxn ang="0">
                    <a:pos x="7380" y="1446"/>
                  </a:cxn>
                  <a:cxn ang="0">
                    <a:pos x="7236" y="1446"/>
                  </a:cxn>
                  <a:cxn ang="0">
                    <a:pos x="6323" y="1446"/>
                  </a:cxn>
                  <a:cxn ang="0">
                    <a:pos x="6109" y="1214"/>
                  </a:cxn>
                  <a:cxn ang="0">
                    <a:pos x="5881" y="1036"/>
                  </a:cxn>
                  <a:cxn ang="0">
                    <a:pos x="5645" y="857"/>
                  </a:cxn>
                  <a:cxn ang="0">
                    <a:pos x="5396" y="732"/>
                  </a:cxn>
                  <a:cxn ang="0">
                    <a:pos x="4682" y="319"/>
                  </a:cxn>
                </a:cxnLst>
                <a:rect l="0" t="0" r="r" b="b"/>
                <a:pathLst>
                  <a:path w="7988" h="3518">
                    <a:moveTo>
                      <a:pt x="4682" y="319"/>
                    </a:moveTo>
                    <a:lnTo>
                      <a:pt x="4647" y="286"/>
                    </a:lnTo>
                    <a:lnTo>
                      <a:pt x="4630" y="215"/>
                    </a:lnTo>
                    <a:lnTo>
                      <a:pt x="4630" y="142"/>
                    </a:lnTo>
                    <a:lnTo>
                      <a:pt x="4611" y="107"/>
                    </a:lnTo>
                    <a:lnTo>
                      <a:pt x="4593" y="72"/>
                    </a:lnTo>
                    <a:lnTo>
                      <a:pt x="4558" y="16"/>
                    </a:lnTo>
                    <a:lnTo>
                      <a:pt x="4485" y="0"/>
                    </a:lnTo>
                    <a:lnTo>
                      <a:pt x="3503" y="0"/>
                    </a:lnTo>
                    <a:lnTo>
                      <a:pt x="3432" y="16"/>
                    </a:lnTo>
                    <a:lnTo>
                      <a:pt x="3377" y="72"/>
                    </a:lnTo>
                    <a:lnTo>
                      <a:pt x="3360" y="107"/>
                    </a:lnTo>
                    <a:lnTo>
                      <a:pt x="3360" y="142"/>
                    </a:lnTo>
                    <a:lnTo>
                      <a:pt x="3360" y="215"/>
                    </a:lnTo>
                    <a:lnTo>
                      <a:pt x="3343" y="286"/>
                    </a:lnTo>
                    <a:lnTo>
                      <a:pt x="3288" y="319"/>
                    </a:lnTo>
                    <a:lnTo>
                      <a:pt x="2590" y="624"/>
                    </a:lnTo>
                    <a:lnTo>
                      <a:pt x="2324" y="767"/>
                    </a:lnTo>
                    <a:lnTo>
                      <a:pt x="2075" y="964"/>
                    </a:lnTo>
                    <a:lnTo>
                      <a:pt x="1824" y="1178"/>
                    </a:lnTo>
                    <a:lnTo>
                      <a:pt x="1589" y="1446"/>
                    </a:lnTo>
                    <a:lnTo>
                      <a:pt x="1163" y="1446"/>
                    </a:lnTo>
                    <a:lnTo>
                      <a:pt x="0" y="1446"/>
                    </a:lnTo>
                    <a:lnTo>
                      <a:pt x="0" y="3518"/>
                    </a:lnTo>
                    <a:lnTo>
                      <a:pt x="89" y="3518"/>
                    </a:lnTo>
                    <a:lnTo>
                      <a:pt x="7988" y="3518"/>
                    </a:lnTo>
                    <a:lnTo>
                      <a:pt x="7988" y="2196"/>
                    </a:lnTo>
                    <a:lnTo>
                      <a:pt x="7969" y="2035"/>
                    </a:lnTo>
                    <a:lnTo>
                      <a:pt x="7917" y="1892"/>
                    </a:lnTo>
                    <a:lnTo>
                      <a:pt x="7862" y="1768"/>
                    </a:lnTo>
                    <a:lnTo>
                      <a:pt x="7755" y="1660"/>
                    </a:lnTo>
                    <a:lnTo>
                      <a:pt x="7647" y="1571"/>
                    </a:lnTo>
                    <a:lnTo>
                      <a:pt x="7521" y="1500"/>
                    </a:lnTo>
                    <a:lnTo>
                      <a:pt x="7380" y="1446"/>
                    </a:lnTo>
                    <a:lnTo>
                      <a:pt x="7236" y="1446"/>
                    </a:lnTo>
                    <a:lnTo>
                      <a:pt x="6323" y="1446"/>
                    </a:lnTo>
                    <a:lnTo>
                      <a:pt x="6109" y="1214"/>
                    </a:lnTo>
                    <a:lnTo>
                      <a:pt x="5881" y="1036"/>
                    </a:lnTo>
                    <a:lnTo>
                      <a:pt x="5645" y="857"/>
                    </a:lnTo>
                    <a:lnTo>
                      <a:pt x="5396" y="732"/>
                    </a:lnTo>
                    <a:lnTo>
                      <a:pt x="4682" y="319"/>
                    </a:lnTo>
                    <a:close/>
                  </a:path>
                </a:pathLst>
              </a:custGeom>
              <a:grpFill/>
              <a:ln w="9525">
                <a:noFill/>
                <a:round/>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anose="020B0503020204020204" pitchFamily="34" charset="-122"/>
                </a:endParaRPr>
              </a:p>
            </p:txBody>
          </p:sp>
        </p:grpSp>
      </p:grpSp>
      <p:sp>
        <p:nvSpPr>
          <p:cNvPr id="232" name="TextBox 137"/>
          <p:cNvSpPr txBox="1"/>
          <p:nvPr/>
        </p:nvSpPr>
        <p:spPr>
          <a:xfrm>
            <a:off x="9803724" y="3133479"/>
            <a:ext cx="1278217" cy="452129"/>
          </a:xfrm>
          <a:prstGeom prst="rect">
            <a:avLst/>
          </a:prstGeom>
          <a:noFill/>
        </p:spPr>
        <p:txBody>
          <a:bodyPr wrap="square" lIns="81989" tIns="40998" rIns="81989" bIns="40998" rtlCol="0">
            <a:spAutoFit/>
          </a:bodyPr>
          <a:lstStyle/>
          <a:p>
            <a:pPr algn="ctr">
              <a:buClrTx/>
              <a:buFontTx/>
              <a:buNone/>
            </a:pPr>
            <a:r>
              <a:rPr lang="es-ES" altLang="zh-CN" sz="1200" dirty="0">
                <a:latin typeface="+mj-lt"/>
                <a:ea typeface="微软雅黑" pitchFamily="34" charset="-122"/>
              </a:rPr>
              <a:t>Aprendizaje Online</a:t>
            </a:r>
            <a:endParaRPr lang="zh-CN" altLang="en-US" sz="1200" dirty="0">
              <a:latin typeface="+mj-lt"/>
              <a:ea typeface="微软雅黑" pitchFamily="34" charset="-122"/>
            </a:endParaRPr>
          </a:p>
        </p:txBody>
      </p:sp>
      <p:grpSp>
        <p:nvGrpSpPr>
          <p:cNvPr id="233" name="组合 11"/>
          <p:cNvGrpSpPr/>
          <p:nvPr/>
        </p:nvGrpSpPr>
        <p:grpSpPr>
          <a:xfrm>
            <a:off x="8657047" y="2766954"/>
            <a:ext cx="559289" cy="349189"/>
            <a:chOff x="9613629" y="3590925"/>
            <a:chExt cx="1627972" cy="875519"/>
          </a:xfrm>
          <a:solidFill>
            <a:schemeClr val="tx1"/>
          </a:solidFill>
        </p:grpSpPr>
        <p:grpSp>
          <p:nvGrpSpPr>
            <p:cNvPr id="234" name="组合 10"/>
            <p:cNvGrpSpPr/>
            <p:nvPr/>
          </p:nvGrpSpPr>
          <p:grpSpPr>
            <a:xfrm>
              <a:off x="9613629" y="3590925"/>
              <a:ext cx="1627972" cy="875519"/>
              <a:chOff x="9613629" y="3590925"/>
              <a:chExt cx="1627972" cy="875519"/>
            </a:xfrm>
            <a:grpFill/>
          </p:grpSpPr>
          <p:grpSp>
            <p:nvGrpSpPr>
              <p:cNvPr id="240" name="组合 155"/>
              <p:cNvGrpSpPr/>
              <p:nvPr/>
            </p:nvGrpSpPr>
            <p:grpSpPr>
              <a:xfrm>
                <a:off x="9613629" y="3590925"/>
                <a:ext cx="1627972" cy="875519"/>
                <a:chOff x="9391650" y="3060700"/>
                <a:chExt cx="1928813" cy="769938"/>
              </a:xfrm>
              <a:grpFill/>
            </p:grpSpPr>
            <p:sp>
              <p:nvSpPr>
                <p:cNvPr id="242" name="Freeform 6"/>
                <p:cNvSpPr>
                  <a:spLocks noEditPoints="1"/>
                </p:cNvSpPr>
                <p:nvPr/>
              </p:nvSpPr>
              <p:spPr bwMode="auto">
                <a:xfrm>
                  <a:off x="9391650" y="3384550"/>
                  <a:ext cx="1928813" cy="446088"/>
                </a:xfrm>
                <a:custGeom>
                  <a:avLst/>
                  <a:gdLst/>
                  <a:ahLst/>
                  <a:cxnLst>
                    <a:cxn ang="0">
                      <a:pos x="62" y="330"/>
                    </a:cxn>
                    <a:cxn ang="0">
                      <a:pos x="212" y="278"/>
                    </a:cxn>
                    <a:cxn ang="0">
                      <a:pos x="2393" y="128"/>
                    </a:cxn>
                    <a:cxn ang="0">
                      <a:pos x="4510" y="206"/>
                    </a:cxn>
                    <a:cxn ang="0">
                      <a:pos x="7765" y="353"/>
                    </a:cxn>
                    <a:cxn ang="0">
                      <a:pos x="10877" y="240"/>
                    </a:cxn>
                    <a:cxn ang="0">
                      <a:pos x="13961" y="54"/>
                    </a:cxn>
                    <a:cxn ang="0">
                      <a:pos x="16864" y="102"/>
                    </a:cxn>
                    <a:cxn ang="0">
                      <a:pos x="16999" y="197"/>
                    </a:cxn>
                    <a:cxn ang="0">
                      <a:pos x="16963" y="378"/>
                    </a:cxn>
                    <a:cxn ang="0">
                      <a:pos x="16746" y="799"/>
                    </a:cxn>
                    <a:cxn ang="0">
                      <a:pos x="16144" y="2365"/>
                    </a:cxn>
                    <a:cxn ang="0">
                      <a:pos x="15928" y="2534"/>
                    </a:cxn>
                    <a:cxn ang="0">
                      <a:pos x="15168" y="2502"/>
                    </a:cxn>
                    <a:cxn ang="0">
                      <a:pos x="14362" y="2416"/>
                    </a:cxn>
                    <a:cxn ang="0">
                      <a:pos x="14106" y="2326"/>
                    </a:cxn>
                    <a:cxn ang="0">
                      <a:pos x="13964" y="2178"/>
                    </a:cxn>
                    <a:cxn ang="0">
                      <a:pos x="13919" y="2001"/>
                    </a:cxn>
                    <a:cxn ang="0">
                      <a:pos x="12236" y="3551"/>
                    </a:cxn>
                    <a:cxn ang="0">
                      <a:pos x="12157" y="3752"/>
                    </a:cxn>
                    <a:cxn ang="0">
                      <a:pos x="11921" y="3844"/>
                    </a:cxn>
                    <a:cxn ang="0">
                      <a:pos x="11645" y="3844"/>
                    </a:cxn>
                    <a:cxn ang="0">
                      <a:pos x="10774" y="3204"/>
                    </a:cxn>
                    <a:cxn ang="0">
                      <a:pos x="10657" y="2863"/>
                    </a:cxn>
                    <a:cxn ang="0">
                      <a:pos x="10627" y="2313"/>
                    </a:cxn>
                    <a:cxn ang="0">
                      <a:pos x="6840" y="1774"/>
                    </a:cxn>
                    <a:cxn ang="0">
                      <a:pos x="6783" y="3140"/>
                    </a:cxn>
                    <a:cxn ang="0">
                      <a:pos x="6615" y="3402"/>
                    </a:cxn>
                    <a:cxn ang="0">
                      <a:pos x="6098" y="3899"/>
                    </a:cxn>
                    <a:cxn ang="0">
                      <a:pos x="5811" y="3936"/>
                    </a:cxn>
                    <a:cxn ang="0">
                      <a:pos x="5562" y="3846"/>
                    </a:cxn>
                    <a:cxn ang="0">
                      <a:pos x="5461" y="3601"/>
                    </a:cxn>
                    <a:cxn ang="0">
                      <a:pos x="5457" y="2622"/>
                    </a:cxn>
                    <a:cxn ang="0">
                      <a:pos x="3263" y="2085"/>
                    </a:cxn>
                    <a:cxn ang="0">
                      <a:pos x="3115" y="2420"/>
                    </a:cxn>
                    <a:cxn ang="0">
                      <a:pos x="2862" y="2578"/>
                    </a:cxn>
                    <a:cxn ang="0">
                      <a:pos x="1682" y="2738"/>
                    </a:cxn>
                    <a:cxn ang="0">
                      <a:pos x="1208" y="2739"/>
                    </a:cxn>
                    <a:cxn ang="0">
                      <a:pos x="954" y="2606"/>
                    </a:cxn>
                    <a:cxn ang="0">
                      <a:pos x="728" y="2303"/>
                    </a:cxn>
                    <a:cxn ang="0">
                      <a:pos x="504" y="937"/>
                    </a:cxn>
                    <a:cxn ang="0">
                      <a:pos x="320" y="728"/>
                    </a:cxn>
                    <a:cxn ang="0">
                      <a:pos x="0" y="493"/>
                    </a:cxn>
                    <a:cxn ang="0">
                      <a:pos x="15805" y="1979"/>
                    </a:cxn>
                    <a:cxn ang="0">
                      <a:pos x="15716" y="2093"/>
                    </a:cxn>
                    <a:cxn ang="0">
                      <a:pos x="15355" y="2064"/>
                    </a:cxn>
                    <a:cxn ang="0">
                      <a:pos x="14590" y="1994"/>
                    </a:cxn>
                    <a:cxn ang="0">
                      <a:pos x="12376" y="1529"/>
                    </a:cxn>
                    <a:cxn ang="0">
                      <a:pos x="11066" y="2953"/>
                    </a:cxn>
                    <a:cxn ang="0">
                      <a:pos x="11017" y="2709"/>
                    </a:cxn>
                    <a:cxn ang="0">
                      <a:pos x="11018" y="1948"/>
                    </a:cxn>
                    <a:cxn ang="0">
                      <a:pos x="6398" y="3094"/>
                    </a:cxn>
                    <a:cxn ang="0">
                      <a:pos x="6480" y="2792"/>
                    </a:cxn>
                    <a:cxn ang="0">
                      <a:pos x="6479" y="2171"/>
                    </a:cxn>
                    <a:cxn ang="0">
                      <a:pos x="2589" y="2054"/>
                    </a:cxn>
                    <a:cxn ang="0">
                      <a:pos x="2512" y="2140"/>
                    </a:cxn>
                    <a:cxn ang="0">
                      <a:pos x="1684" y="2267"/>
                    </a:cxn>
                    <a:cxn ang="0">
                      <a:pos x="1357" y="2281"/>
                    </a:cxn>
                    <a:cxn ang="0">
                      <a:pos x="1307" y="2205"/>
                    </a:cxn>
                  </a:cxnLst>
                  <a:rect l="0" t="0" r="r" b="b"/>
                  <a:pathLst>
                    <a:path w="17010" h="3937">
                      <a:moveTo>
                        <a:pt x="0" y="493"/>
                      </a:moveTo>
                      <a:lnTo>
                        <a:pt x="1" y="483"/>
                      </a:lnTo>
                      <a:lnTo>
                        <a:pt x="5" y="460"/>
                      </a:lnTo>
                      <a:lnTo>
                        <a:pt x="10" y="444"/>
                      </a:lnTo>
                      <a:lnTo>
                        <a:pt x="14" y="426"/>
                      </a:lnTo>
                      <a:lnTo>
                        <a:pt x="20" y="406"/>
                      </a:lnTo>
                      <a:lnTo>
                        <a:pt x="28" y="386"/>
                      </a:lnTo>
                      <a:lnTo>
                        <a:pt x="37" y="366"/>
                      </a:lnTo>
                      <a:lnTo>
                        <a:pt x="48" y="347"/>
                      </a:lnTo>
                      <a:lnTo>
                        <a:pt x="54" y="338"/>
                      </a:lnTo>
                      <a:lnTo>
                        <a:pt x="62" y="330"/>
                      </a:lnTo>
                      <a:lnTo>
                        <a:pt x="68" y="321"/>
                      </a:lnTo>
                      <a:lnTo>
                        <a:pt x="77" y="313"/>
                      </a:lnTo>
                      <a:lnTo>
                        <a:pt x="84" y="306"/>
                      </a:lnTo>
                      <a:lnTo>
                        <a:pt x="94" y="300"/>
                      </a:lnTo>
                      <a:lnTo>
                        <a:pt x="103" y="294"/>
                      </a:lnTo>
                      <a:lnTo>
                        <a:pt x="113" y="289"/>
                      </a:lnTo>
                      <a:lnTo>
                        <a:pt x="123" y="285"/>
                      </a:lnTo>
                      <a:lnTo>
                        <a:pt x="135" y="282"/>
                      </a:lnTo>
                      <a:lnTo>
                        <a:pt x="147" y="281"/>
                      </a:lnTo>
                      <a:lnTo>
                        <a:pt x="159" y="280"/>
                      </a:lnTo>
                      <a:lnTo>
                        <a:pt x="212" y="278"/>
                      </a:lnTo>
                      <a:lnTo>
                        <a:pt x="311" y="272"/>
                      </a:lnTo>
                      <a:lnTo>
                        <a:pt x="453" y="263"/>
                      </a:lnTo>
                      <a:lnTo>
                        <a:pt x="627" y="252"/>
                      </a:lnTo>
                      <a:lnTo>
                        <a:pt x="829" y="238"/>
                      </a:lnTo>
                      <a:lnTo>
                        <a:pt x="1050" y="222"/>
                      </a:lnTo>
                      <a:lnTo>
                        <a:pt x="1284" y="206"/>
                      </a:lnTo>
                      <a:lnTo>
                        <a:pt x="1523" y="189"/>
                      </a:lnTo>
                      <a:lnTo>
                        <a:pt x="1761" y="172"/>
                      </a:lnTo>
                      <a:lnTo>
                        <a:pt x="1990" y="156"/>
                      </a:lnTo>
                      <a:lnTo>
                        <a:pt x="2203" y="141"/>
                      </a:lnTo>
                      <a:lnTo>
                        <a:pt x="2393" y="128"/>
                      </a:lnTo>
                      <a:lnTo>
                        <a:pt x="2554" y="116"/>
                      </a:lnTo>
                      <a:lnTo>
                        <a:pt x="2677" y="107"/>
                      </a:lnTo>
                      <a:lnTo>
                        <a:pt x="2756" y="101"/>
                      </a:lnTo>
                      <a:lnTo>
                        <a:pt x="2784" y="99"/>
                      </a:lnTo>
                      <a:lnTo>
                        <a:pt x="2829" y="102"/>
                      </a:lnTo>
                      <a:lnTo>
                        <a:pt x="2958" y="111"/>
                      </a:lnTo>
                      <a:lnTo>
                        <a:pt x="3160" y="123"/>
                      </a:lnTo>
                      <a:lnTo>
                        <a:pt x="3426" y="140"/>
                      </a:lnTo>
                      <a:lnTo>
                        <a:pt x="3746" y="161"/>
                      </a:lnTo>
                      <a:lnTo>
                        <a:pt x="4111" y="183"/>
                      </a:lnTo>
                      <a:lnTo>
                        <a:pt x="4510" y="206"/>
                      </a:lnTo>
                      <a:lnTo>
                        <a:pt x="4934" y="231"/>
                      </a:lnTo>
                      <a:lnTo>
                        <a:pt x="5373" y="255"/>
                      </a:lnTo>
                      <a:lnTo>
                        <a:pt x="5816" y="279"/>
                      </a:lnTo>
                      <a:lnTo>
                        <a:pt x="6255" y="300"/>
                      </a:lnTo>
                      <a:lnTo>
                        <a:pt x="6680" y="319"/>
                      </a:lnTo>
                      <a:lnTo>
                        <a:pt x="6883" y="328"/>
                      </a:lnTo>
                      <a:lnTo>
                        <a:pt x="7078" y="335"/>
                      </a:lnTo>
                      <a:lnTo>
                        <a:pt x="7266" y="341"/>
                      </a:lnTo>
                      <a:lnTo>
                        <a:pt x="7444" y="347"/>
                      </a:lnTo>
                      <a:lnTo>
                        <a:pt x="7611" y="350"/>
                      </a:lnTo>
                      <a:lnTo>
                        <a:pt x="7765" y="353"/>
                      </a:lnTo>
                      <a:lnTo>
                        <a:pt x="7906" y="354"/>
                      </a:lnTo>
                      <a:lnTo>
                        <a:pt x="8033" y="354"/>
                      </a:lnTo>
                      <a:lnTo>
                        <a:pt x="8161" y="352"/>
                      </a:lnTo>
                      <a:lnTo>
                        <a:pt x="8304" y="350"/>
                      </a:lnTo>
                      <a:lnTo>
                        <a:pt x="8465" y="346"/>
                      </a:lnTo>
                      <a:lnTo>
                        <a:pt x="8639" y="340"/>
                      </a:lnTo>
                      <a:lnTo>
                        <a:pt x="9025" y="326"/>
                      </a:lnTo>
                      <a:lnTo>
                        <a:pt x="9452" y="309"/>
                      </a:lnTo>
                      <a:lnTo>
                        <a:pt x="9910" y="287"/>
                      </a:lnTo>
                      <a:lnTo>
                        <a:pt x="10389" y="265"/>
                      </a:lnTo>
                      <a:lnTo>
                        <a:pt x="10877" y="240"/>
                      </a:lnTo>
                      <a:lnTo>
                        <a:pt x="11365" y="214"/>
                      </a:lnTo>
                      <a:lnTo>
                        <a:pt x="11840" y="188"/>
                      </a:lnTo>
                      <a:lnTo>
                        <a:pt x="12294" y="163"/>
                      </a:lnTo>
                      <a:lnTo>
                        <a:pt x="12715" y="138"/>
                      </a:lnTo>
                      <a:lnTo>
                        <a:pt x="13092" y="116"/>
                      </a:lnTo>
                      <a:lnTo>
                        <a:pt x="13417" y="95"/>
                      </a:lnTo>
                      <a:lnTo>
                        <a:pt x="13677" y="78"/>
                      </a:lnTo>
                      <a:lnTo>
                        <a:pt x="13779" y="70"/>
                      </a:lnTo>
                      <a:lnTo>
                        <a:pt x="13862" y="64"/>
                      </a:lnTo>
                      <a:lnTo>
                        <a:pt x="13923" y="59"/>
                      </a:lnTo>
                      <a:lnTo>
                        <a:pt x="13961" y="54"/>
                      </a:lnTo>
                      <a:lnTo>
                        <a:pt x="14058" y="41"/>
                      </a:lnTo>
                      <a:lnTo>
                        <a:pt x="14135" y="31"/>
                      </a:lnTo>
                      <a:lnTo>
                        <a:pt x="14196" y="21"/>
                      </a:lnTo>
                      <a:lnTo>
                        <a:pt x="14242" y="14"/>
                      </a:lnTo>
                      <a:lnTo>
                        <a:pt x="14275" y="7"/>
                      </a:lnTo>
                      <a:lnTo>
                        <a:pt x="14295" y="3"/>
                      </a:lnTo>
                      <a:lnTo>
                        <a:pt x="14306" y="0"/>
                      </a:lnTo>
                      <a:lnTo>
                        <a:pt x="14310" y="0"/>
                      </a:lnTo>
                      <a:lnTo>
                        <a:pt x="16831" y="91"/>
                      </a:lnTo>
                      <a:lnTo>
                        <a:pt x="16841" y="94"/>
                      </a:lnTo>
                      <a:lnTo>
                        <a:pt x="16864" y="102"/>
                      </a:lnTo>
                      <a:lnTo>
                        <a:pt x="16879" y="107"/>
                      </a:lnTo>
                      <a:lnTo>
                        <a:pt x="16896" y="115"/>
                      </a:lnTo>
                      <a:lnTo>
                        <a:pt x="16914" y="123"/>
                      </a:lnTo>
                      <a:lnTo>
                        <a:pt x="16932" y="134"/>
                      </a:lnTo>
                      <a:lnTo>
                        <a:pt x="16950" y="146"/>
                      </a:lnTo>
                      <a:lnTo>
                        <a:pt x="16966" y="159"/>
                      </a:lnTo>
                      <a:lnTo>
                        <a:pt x="16975" y="165"/>
                      </a:lnTo>
                      <a:lnTo>
                        <a:pt x="16981" y="172"/>
                      </a:lnTo>
                      <a:lnTo>
                        <a:pt x="16988" y="180"/>
                      </a:lnTo>
                      <a:lnTo>
                        <a:pt x="16994" y="188"/>
                      </a:lnTo>
                      <a:lnTo>
                        <a:pt x="16999" y="197"/>
                      </a:lnTo>
                      <a:lnTo>
                        <a:pt x="17004" y="205"/>
                      </a:lnTo>
                      <a:lnTo>
                        <a:pt x="17007" y="215"/>
                      </a:lnTo>
                      <a:lnTo>
                        <a:pt x="17009" y="224"/>
                      </a:lnTo>
                      <a:lnTo>
                        <a:pt x="17010" y="234"/>
                      </a:lnTo>
                      <a:lnTo>
                        <a:pt x="17010" y="244"/>
                      </a:lnTo>
                      <a:lnTo>
                        <a:pt x="17009" y="254"/>
                      </a:lnTo>
                      <a:lnTo>
                        <a:pt x="17006" y="266"/>
                      </a:lnTo>
                      <a:lnTo>
                        <a:pt x="16998" y="289"/>
                      </a:lnTo>
                      <a:lnTo>
                        <a:pt x="16988" y="317"/>
                      </a:lnTo>
                      <a:lnTo>
                        <a:pt x="16976" y="346"/>
                      </a:lnTo>
                      <a:lnTo>
                        <a:pt x="16963" y="378"/>
                      </a:lnTo>
                      <a:lnTo>
                        <a:pt x="16933" y="443"/>
                      </a:lnTo>
                      <a:lnTo>
                        <a:pt x="16902" y="510"/>
                      </a:lnTo>
                      <a:lnTo>
                        <a:pt x="16871" y="574"/>
                      </a:lnTo>
                      <a:lnTo>
                        <a:pt x="16842" y="631"/>
                      </a:lnTo>
                      <a:lnTo>
                        <a:pt x="16819" y="677"/>
                      </a:lnTo>
                      <a:lnTo>
                        <a:pt x="16804" y="706"/>
                      </a:lnTo>
                      <a:lnTo>
                        <a:pt x="16793" y="727"/>
                      </a:lnTo>
                      <a:lnTo>
                        <a:pt x="16782" y="746"/>
                      </a:lnTo>
                      <a:lnTo>
                        <a:pt x="16772" y="763"/>
                      </a:lnTo>
                      <a:lnTo>
                        <a:pt x="16761" y="778"/>
                      </a:lnTo>
                      <a:lnTo>
                        <a:pt x="16746" y="799"/>
                      </a:lnTo>
                      <a:lnTo>
                        <a:pt x="16740" y="807"/>
                      </a:lnTo>
                      <a:lnTo>
                        <a:pt x="16300" y="899"/>
                      </a:lnTo>
                      <a:lnTo>
                        <a:pt x="16235" y="2164"/>
                      </a:lnTo>
                      <a:lnTo>
                        <a:pt x="16230" y="2182"/>
                      </a:lnTo>
                      <a:lnTo>
                        <a:pt x="16215" y="2228"/>
                      </a:lnTo>
                      <a:lnTo>
                        <a:pt x="16202" y="2257"/>
                      </a:lnTo>
                      <a:lnTo>
                        <a:pt x="16186" y="2291"/>
                      </a:lnTo>
                      <a:lnTo>
                        <a:pt x="16178" y="2309"/>
                      </a:lnTo>
                      <a:lnTo>
                        <a:pt x="16167" y="2328"/>
                      </a:lnTo>
                      <a:lnTo>
                        <a:pt x="16155" y="2347"/>
                      </a:lnTo>
                      <a:lnTo>
                        <a:pt x="16144" y="2365"/>
                      </a:lnTo>
                      <a:lnTo>
                        <a:pt x="16130" y="2384"/>
                      </a:lnTo>
                      <a:lnTo>
                        <a:pt x="16115" y="2402"/>
                      </a:lnTo>
                      <a:lnTo>
                        <a:pt x="16099" y="2420"/>
                      </a:lnTo>
                      <a:lnTo>
                        <a:pt x="16082" y="2438"/>
                      </a:lnTo>
                      <a:lnTo>
                        <a:pt x="16064" y="2454"/>
                      </a:lnTo>
                      <a:lnTo>
                        <a:pt x="16045" y="2471"/>
                      </a:lnTo>
                      <a:lnTo>
                        <a:pt x="16024" y="2486"/>
                      </a:lnTo>
                      <a:lnTo>
                        <a:pt x="16002" y="2500"/>
                      </a:lnTo>
                      <a:lnTo>
                        <a:pt x="15979" y="2513"/>
                      </a:lnTo>
                      <a:lnTo>
                        <a:pt x="15953" y="2523"/>
                      </a:lnTo>
                      <a:lnTo>
                        <a:pt x="15928" y="2534"/>
                      </a:lnTo>
                      <a:lnTo>
                        <a:pt x="15900" y="2541"/>
                      </a:lnTo>
                      <a:lnTo>
                        <a:pt x="15870" y="2548"/>
                      </a:lnTo>
                      <a:lnTo>
                        <a:pt x="15839" y="2551"/>
                      </a:lnTo>
                      <a:lnTo>
                        <a:pt x="15808" y="2553"/>
                      </a:lnTo>
                      <a:lnTo>
                        <a:pt x="15774" y="2553"/>
                      </a:lnTo>
                      <a:lnTo>
                        <a:pt x="15697" y="2549"/>
                      </a:lnTo>
                      <a:lnTo>
                        <a:pt x="15607" y="2541"/>
                      </a:lnTo>
                      <a:lnTo>
                        <a:pt x="15507" y="2534"/>
                      </a:lnTo>
                      <a:lnTo>
                        <a:pt x="15398" y="2524"/>
                      </a:lnTo>
                      <a:lnTo>
                        <a:pt x="15285" y="2514"/>
                      </a:lnTo>
                      <a:lnTo>
                        <a:pt x="15168" y="2502"/>
                      </a:lnTo>
                      <a:lnTo>
                        <a:pt x="15050" y="2490"/>
                      </a:lnTo>
                      <a:lnTo>
                        <a:pt x="14934" y="2479"/>
                      </a:lnTo>
                      <a:lnTo>
                        <a:pt x="14822" y="2467"/>
                      </a:lnTo>
                      <a:lnTo>
                        <a:pt x="14718" y="2455"/>
                      </a:lnTo>
                      <a:lnTo>
                        <a:pt x="14622" y="2445"/>
                      </a:lnTo>
                      <a:lnTo>
                        <a:pt x="14539" y="2436"/>
                      </a:lnTo>
                      <a:lnTo>
                        <a:pt x="14469" y="2429"/>
                      </a:lnTo>
                      <a:lnTo>
                        <a:pt x="14417" y="2422"/>
                      </a:lnTo>
                      <a:lnTo>
                        <a:pt x="14384" y="2418"/>
                      </a:lnTo>
                      <a:lnTo>
                        <a:pt x="14372" y="2417"/>
                      </a:lnTo>
                      <a:lnTo>
                        <a:pt x="14362" y="2416"/>
                      </a:lnTo>
                      <a:lnTo>
                        <a:pt x="14334" y="2409"/>
                      </a:lnTo>
                      <a:lnTo>
                        <a:pt x="14315" y="2405"/>
                      </a:lnTo>
                      <a:lnTo>
                        <a:pt x="14293" y="2400"/>
                      </a:lnTo>
                      <a:lnTo>
                        <a:pt x="14268" y="2393"/>
                      </a:lnTo>
                      <a:lnTo>
                        <a:pt x="14242" y="2385"/>
                      </a:lnTo>
                      <a:lnTo>
                        <a:pt x="14215" y="2376"/>
                      </a:lnTo>
                      <a:lnTo>
                        <a:pt x="14187" y="2366"/>
                      </a:lnTo>
                      <a:lnTo>
                        <a:pt x="14159" y="2354"/>
                      </a:lnTo>
                      <a:lnTo>
                        <a:pt x="14132" y="2340"/>
                      </a:lnTo>
                      <a:lnTo>
                        <a:pt x="14118" y="2334"/>
                      </a:lnTo>
                      <a:lnTo>
                        <a:pt x="14106" y="2326"/>
                      </a:lnTo>
                      <a:lnTo>
                        <a:pt x="14093" y="2318"/>
                      </a:lnTo>
                      <a:lnTo>
                        <a:pt x="14080" y="2309"/>
                      </a:lnTo>
                      <a:lnTo>
                        <a:pt x="14068" y="2301"/>
                      </a:lnTo>
                      <a:lnTo>
                        <a:pt x="14058" y="2291"/>
                      </a:lnTo>
                      <a:lnTo>
                        <a:pt x="14047" y="2283"/>
                      </a:lnTo>
                      <a:lnTo>
                        <a:pt x="14038" y="2272"/>
                      </a:lnTo>
                      <a:lnTo>
                        <a:pt x="14019" y="2252"/>
                      </a:lnTo>
                      <a:lnTo>
                        <a:pt x="14003" y="2233"/>
                      </a:lnTo>
                      <a:lnTo>
                        <a:pt x="13989" y="2214"/>
                      </a:lnTo>
                      <a:lnTo>
                        <a:pt x="13976" y="2196"/>
                      </a:lnTo>
                      <a:lnTo>
                        <a:pt x="13964" y="2178"/>
                      </a:lnTo>
                      <a:lnTo>
                        <a:pt x="13955" y="2161"/>
                      </a:lnTo>
                      <a:lnTo>
                        <a:pt x="13945" y="2143"/>
                      </a:lnTo>
                      <a:lnTo>
                        <a:pt x="13938" y="2126"/>
                      </a:lnTo>
                      <a:lnTo>
                        <a:pt x="13932" y="2111"/>
                      </a:lnTo>
                      <a:lnTo>
                        <a:pt x="13927" y="2093"/>
                      </a:lnTo>
                      <a:lnTo>
                        <a:pt x="13923" y="2079"/>
                      </a:lnTo>
                      <a:lnTo>
                        <a:pt x="13921" y="2063"/>
                      </a:lnTo>
                      <a:lnTo>
                        <a:pt x="13918" y="2047"/>
                      </a:lnTo>
                      <a:lnTo>
                        <a:pt x="13918" y="2032"/>
                      </a:lnTo>
                      <a:lnTo>
                        <a:pt x="13918" y="2016"/>
                      </a:lnTo>
                      <a:lnTo>
                        <a:pt x="13919" y="2001"/>
                      </a:lnTo>
                      <a:lnTo>
                        <a:pt x="13927" y="1946"/>
                      </a:lnTo>
                      <a:lnTo>
                        <a:pt x="13932" y="1903"/>
                      </a:lnTo>
                      <a:lnTo>
                        <a:pt x="13937" y="1875"/>
                      </a:lnTo>
                      <a:lnTo>
                        <a:pt x="13938" y="1865"/>
                      </a:lnTo>
                      <a:lnTo>
                        <a:pt x="12265" y="1792"/>
                      </a:lnTo>
                      <a:lnTo>
                        <a:pt x="12247" y="3421"/>
                      </a:lnTo>
                      <a:lnTo>
                        <a:pt x="12247" y="3435"/>
                      </a:lnTo>
                      <a:lnTo>
                        <a:pt x="12245" y="3470"/>
                      </a:lnTo>
                      <a:lnTo>
                        <a:pt x="12243" y="3494"/>
                      </a:lnTo>
                      <a:lnTo>
                        <a:pt x="12240" y="3521"/>
                      </a:lnTo>
                      <a:lnTo>
                        <a:pt x="12236" y="3551"/>
                      </a:lnTo>
                      <a:lnTo>
                        <a:pt x="12230" y="3582"/>
                      </a:lnTo>
                      <a:lnTo>
                        <a:pt x="12223" y="3614"/>
                      </a:lnTo>
                      <a:lnTo>
                        <a:pt x="12214" y="3644"/>
                      </a:lnTo>
                      <a:lnTo>
                        <a:pt x="12209" y="3660"/>
                      </a:lnTo>
                      <a:lnTo>
                        <a:pt x="12204" y="3675"/>
                      </a:lnTo>
                      <a:lnTo>
                        <a:pt x="12197" y="3690"/>
                      </a:lnTo>
                      <a:lnTo>
                        <a:pt x="12190" y="3704"/>
                      </a:lnTo>
                      <a:lnTo>
                        <a:pt x="12182" y="3717"/>
                      </a:lnTo>
                      <a:lnTo>
                        <a:pt x="12175" y="3730"/>
                      </a:lnTo>
                      <a:lnTo>
                        <a:pt x="12165" y="3741"/>
                      </a:lnTo>
                      <a:lnTo>
                        <a:pt x="12157" y="3752"/>
                      </a:lnTo>
                      <a:lnTo>
                        <a:pt x="12146" y="3761"/>
                      </a:lnTo>
                      <a:lnTo>
                        <a:pt x="12136" y="3770"/>
                      </a:lnTo>
                      <a:lnTo>
                        <a:pt x="12124" y="3777"/>
                      </a:lnTo>
                      <a:lnTo>
                        <a:pt x="12111" y="3783"/>
                      </a:lnTo>
                      <a:lnTo>
                        <a:pt x="12086" y="3793"/>
                      </a:lnTo>
                      <a:lnTo>
                        <a:pt x="12059" y="3803"/>
                      </a:lnTo>
                      <a:lnTo>
                        <a:pt x="12032" y="3813"/>
                      </a:lnTo>
                      <a:lnTo>
                        <a:pt x="12005" y="3821"/>
                      </a:lnTo>
                      <a:lnTo>
                        <a:pt x="11976" y="3830"/>
                      </a:lnTo>
                      <a:lnTo>
                        <a:pt x="11948" y="3837"/>
                      </a:lnTo>
                      <a:lnTo>
                        <a:pt x="11921" y="3844"/>
                      </a:lnTo>
                      <a:lnTo>
                        <a:pt x="11892" y="3850"/>
                      </a:lnTo>
                      <a:lnTo>
                        <a:pt x="11864" y="3855"/>
                      </a:lnTo>
                      <a:lnTo>
                        <a:pt x="11837" y="3859"/>
                      </a:lnTo>
                      <a:lnTo>
                        <a:pt x="11810" y="3861"/>
                      </a:lnTo>
                      <a:lnTo>
                        <a:pt x="11784" y="3864"/>
                      </a:lnTo>
                      <a:lnTo>
                        <a:pt x="11758" y="3864"/>
                      </a:lnTo>
                      <a:lnTo>
                        <a:pt x="11733" y="3863"/>
                      </a:lnTo>
                      <a:lnTo>
                        <a:pt x="11709" y="3859"/>
                      </a:lnTo>
                      <a:lnTo>
                        <a:pt x="11687" y="3855"/>
                      </a:lnTo>
                      <a:lnTo>
                        <a:pt x="11666" y="3850"/>
                      </a:lnTo>
                      <a:lnTo>
                        <a:pt x="11645" y="3844"/>
                      </a:lnTo>
                      <a:lnTo>
                        <a:pt x="11627" y="3838"/>
                      </a:lnTo>
                      <a:lnTo>
                        <a:pt x="11610" y="3832"/>
                      </a:lnTo>
                      <a:lnTo>
                        <a:pt x="11594" y="3824"/>
                      </a:lnTo>
                      <a:lnTo>
                        <a:pt x="11581" y="3818"/>
                      </a:lnTo>
                      <a:lnTo>
                        <a:pt x="11568" y="3811"/>
                      </a:lnTo>
                      <a:lnTo>
                        <a:pt x="11557" y="3805"/>
                      </a:lnTo>
                      <a:lnTo>
                        <a:pt x="11538" y="3792"/>
                      </a:lnTo>
                      <a:lnTo>
                        <a:pt x="11525" y="3783"/>
                      </a:lnTo>
                      <a:lnTo>
                        <a:pt x="11518" y="3776"/>
                      </a:lnTo>
                      <a:lnTo>
                        <a:pt x="11515" y="3774"/>
                      </a:lnTo>
                      <a:lnTo>
                        <a:pt x="10774" y="3204"/>
                      </a:lnTo>
                      <a:lnTo>
                        <a:pt x="10768" y="3194"/>
                      </a:lnTo>
                      <a:lnTo>
                        <a:pt x="10755" y="3165"/>
                      </a:lnTo>
                      <a:lnTo>
                        <a:pt x="10746" y="3144"/>
                      </a:lnTo>
                      <a:lnTo>
                        <a:pt x="10735" y="3119"/>
                      </a:lnTo>
                      <a:lnTo>
                        <a:pt x="10724" y="3091"/>
                      </a:lnTo>
                      <a:lnTo>
                        <a:pt x="10712" y="3059"/>
                      </a:lnTo>
                      <a:lnTo>
                        <a:pt x="10700" y="3025"/>
                      </a:lnTo>
                      <a:lnTo>
                        <a:pt x="10689" y="2988"/>
                      </a:lnTo>
                      <a:lnTo>
                        <a:pt x="10677" y="2948"/>
                      </a:lnTo>
                      <a:lnTo>
                        <a:pt x="10666" y="2906"/>
                      </a:lnTo>
                      <a:lnTo>
                        <a:pt x="10657" y="2863"/>
                      </a:lnTo>
                      <a:lnTo>
                        <a:pt x="10649" y="2818"/>
                      </a:lnTo>
                      <a:lnTo>
                        <a:pt x="10645" y="2796"/>
                      </a:lnTo>
                      <a:lnTo>
                        <a:pt x="10642" y="2772"/>
                      </a:lnTo>
                      <a:lnTo>
                        <a:pt x="10640" y="2749"/>
                      </a:lnTo>
                      <a:lnTo>
                        <a:pt x="10638" y="2724"/>
                      </a:lnTo>
                      <a:lnTo>
                        <a:pt x="10634" y="2672"/>
                      </a:lnTo>
                      <a:lnTo>
                        <a:pt x="10632" y="2612"/>
                      </a:lnTo>
                      <a:lnTo>
                        <a:pt x="10630" y="2543"/>
                      </a:lnTo>
                      <a:lnTo>
                        <a:pt x="10629" y="2469"/>
                      </a:lnTo>
                      <a:lnTo>
                        <a:pt x="10628" y="2392"/>
                      </a:lnTo>
                      <a:lnTo>
                        <a:pt x="10627" y="2313"/>
                      </a:lnTo>
                      <a:lnTo>
                        <a:pt x="10627" y="2233"/>
                      </a:lnTo>
                      <a:lnTo>
                        <a:pt x="10627" y="2155"/>
                      </a:lnTo>
                      <a:lnTo>
                        <a:pt x="10627" y="2080"/>
                      </a:lnTo>
                      <a:lnTo>
                        <a:pt x="10627" y="2008"/>
                      </a:lnTo>
                      <a:lnTo>
                        <a:pt x="10627" y="1945"/>
                      </a:lnTo>
                      <a:lnTo>
                        <a:pt x="10628" y="1887"/>
                      </a:lnTo>
                      <a:lnTo>
                        <a:pt x="10628" y="1840"/>
                      </a:lnTo>
                      <a:lnTo>
                        <a:pt x="10628" y="1805"/>
                      </a:lnTo>
                      <a:lnTo>
                        <a:pt x="10629" y="1783"/>
                      </a:lnTo>
                      <a:lnTo>
                        <a:pt x="10629" y="1774"/>
                      </a:lnTo>
                      <a:lnTo>
                        <a:pt x="6840" y="1774"/>
                      </a:lnTo>
                      <a:lnTo>
                        <a:pt x="6840" y="2797"/>
                      </a:lnTo>
                      <a:lnTo>
                        <a:pt x="6840" y="2812"/>
                      </a:lnTo>
                      <a:lnTo>
                        <a:pt x="6837" y="2851"/>
                      </a:lnTo>
                      <a:lnTo>
                        <a:pt x="6835" y="2877"/>
                      </a:lnTo>
                      <a:lnTo>
                        <a:pt x="6832" y="2908"/>
                      </a:lnTo>
                      <a:lnTo>
                        <a:pt x="6826" y="2943"/>
                      </a:lnTo>
                      <a:lnTo>
                        <a:pt x="6821" y="2981"/>
                      </a:lnTo>
                      <a:lnTo>
                        <a:pt x="6814" y="3019"/>
                      </a:lnTo>
                      <a:lnTo>
                        <a:pt x="6805" y="3059"/>
                      </a:lnTo>
                      <a:lnTo>
                        <a:pt x="6795" y="3100"/>
                      </a:lnTo>
                      <a:lnTo>
                        <a:pt x="6783" y="3140"/>
                      </a:lnTo>
                      <a:lnTo>
                        <a:pt x="6776" y="3160"/>
                      </a:lnTo>
                      <a:lnTo>
                        <a:pt x="6769" y="3180"/>
                      </a:lnTo>
                      <a:lnTo>
                        <a:pt x="6761" y="3199"/>
                      </a:lnTo>
                      <a:lnTo>
                        <a:pt x="6753" y="3218"/>
                      </a:lnTo>
                      <a:lnTo>
                        <a:pt x="6744" y="3236"/>
                      </a:lnTo>
                      <a:lnTo>
                        <a:pt x="6735" y="3253"/>
                      </a:lnTo>
                      <a:lnTo>
                        <a:pt x="6724" y="3270"/>
                      </a:lnTo>
                      <a:lnTo>
                        <a:pt x="6714" y="3286"/>
                      </a:lnTo>
                      <a:lnTo>
                        <a:pt x="6688" y="3319"/>
                      </a:lnTo>
                      <a:lnTo>
                        <a:pt x="6654" y="3358"/>
                      </a:lnTo>
                      <a:lnTo>
                        <a:pt x="6615" y="3402"/>
                      </a:lnTo>
                      <a:lnTo>
                        <a:pt x="6571" y="3449"/>
                      </a:lnTo>
                      <a:lnTo>
                        <a:pt x="6523" y="3499"/>
                      </a:lnTo>
                      <a:lnTo>
                        <a:pt x="6473" y="3549"/>
                      </a:lnTo>
                      <a:lnTo>
                        <a:pt x="6422" y="3600"/>
                      </a:lnTo>
                      <a:lnTo>
                        <a:pt x="6371" y="3650"/>
                      </a:lnTo>
                      <a:lnTo>
                        <a:pt x="6275" y="3743"/>
                      </a:lnTo>
                      <a:lnTo>
                        <a:pt x="6194" y="3820"/>
                      </a:lnTo>
                      <a:lnTo>
                        <a:pt x="6137" y="3872"/>
                      </a:lnTo>
                      <a:lnTo>
                        <a:pt x="6117" y="3891"/>
                      </a:lnTo>
                      <a:lnTo>
                        <a:pt x="6112" y="3893"/>
                      </a:lnTo>
                      <a:lnTo>
                        <a:pt x="6098" y="3899"/>
                      </a:lnTo>
                      <a:lnTo>
                        <a:pt x="6075" y="3906"/>
                      </a:lnTo>
                      <a:lnTo>
                        <a:pt x="6045" y="3915"/>
                      </a:lnTo>
                      <a:lnTo>
                        <a:pt x="6027" y="3919"/>
                      </a:lnTo>
                      <a:lnTo>
                        <a:pt x="6008" y="3923"/>
                      </a:lnTo>
                      <a:lnTo>
                        <a:pt x="5986" y="3926"/>
                      </a:lnTo>
                      <a:lnTo>
                        <a:pt x="5964" y="3930"/>
                      </a:lnTo>
                      <a:lnTo>
                        <a:pt x="5941" y="3933"/>
                      </a:lnTo>
                      <a:lnTo>
                        <a:pt x="5916" y="3935"/>
                      </a:lnTo>
                      <a:lnTo>
                        <a:pt x="5891" y="3937"/>
                      </a:lnTo>
                      <a:lnTo>
                        <a:pt x="5864" y="3937"/>
                      </a:lnTo>
                      <a:lnTo>
                        <a:pt x="5811" y="3936"/>
                      </a:lnTo>
                      <a:lnTo>
                        <a:pt x="5763" y="3933"/>
                      </a:lnTo>
                      <a:lnTo>
                        <a:pt x="5721" y="3928"/>
                      </a:lnTo>
                      <a:lnTo>
                        <a:pt x="5683" y="3923"/>
                      </a:lnTo>
                      <a:lnTo>
                        <a:pt x="5653" y="3919"/>
                      </a:lnTo>
                      <a:lnTo>
                        <a:pt x="5630" y="3914"/>
                      </a:lnTo>
                      <a:lnTo>
                        <a:pt x="5615" y="3911"/>
                      </a:lnTo>
                      <a:lnTo>
                        <a:pt x="5611" y="3909"/>
                      </a:lnTo>
                      <a:lnTo>
                        <a:pt x="5604" y="3902"/>
                      </a:lnTo>
                      <a:lnTo>
                        <a:pt x="5587" y="3880"/>
                      </a:lnTo>
                      <a:lnTo>
                        <a:pt x="5575" y="3865"/>
                      </a:lnTo>
                      <a:lnTo>
                        <a:pt x="5562" y="3846"/>
                      </a:lnTo>
                      <a:lnTo>
                        <a:pt x="5548" y="3824"/>
                      </a:lnTo>
                      <a:lnTo>
                        <a:pt x="5534" y="3800"/>
                      </a:lnTo>
                      <a:lnTo>
                        <a:pt x="5520" y="3774"/>
                      </a:lnTo>
                      <a:lnTo>
                        <a:pt x="5506" y="3746"/>
                      </a:lnTo>
                      <a:lnTo>
                        <a:pt x="5492" y="3716"/>
                      </a:lnTo>
                      <a:lnTo>
                        <a:pt x="5481" y="3685"/>
                      </a:lnTo>
                      <a:lnTo>
                        <a:pt x="5476" y="3669"/>
                      </a:lnTo>
                      <a:lnTo>
                        <a:pt x="5471" y="3652"/>
                      </a:lnTo>
                      <a:lnTo>
                        <a:pt x="5467" y="3635"/>
                      </a:lnTo>
                      <a:lnTo>
                        <a:pt x="5463" y="3618"/>
                      </a:lnTo>
                      <a:lnTo>
                        <a:pt x="5461" y="3601"/>
                      </a:lnTo>
                      <a:lnTo>
                        <a:pt x="5459" y="3584"/>
                      </a:lnTo>
                      <a:lnTo>
                        <a:pt x="5457" y="3566"/>
                      </a:lnTo>
                      <a:lnTo>
                        <a:pt x="5457" y="3548"/>
                      </a:lnTo>
                      <a:lnTo>
                        <a:pt x="5457" y="3498"/>
                      </a:lnTo>
                      <a:lnTo>
                        <a:pt x="5457" y="3420"/>
                      </a:lnTo>
                      <a:lnTo>
                        <a:pt x="5457" y="3320"/>
                      </a:lnTo>
                      <a:lnTo>
                        <a:pt x="5457" y="3201"/>
                      </a:lnTo>
                      <a:lnTo>
                        <a:pt x="5457" y="3067"/>
                      </a:lnTo>
                      <a:lnTo>
                        <a:pt x="5457" y="2923"/>
                      </a:lnTo>
                      <a:lnTo>
                        <a:pt x="5457" y="2773"/>
                      </a:lnTo>
                      <a:lnTo>
                        <a:pt x="5457" y="2622"/>
                      </a:lnTo>
                      <a:lnTo>
                        <a:pt x="5457" y="2472"/>
                      </a:lnTo>
                      <a:lnTo>
                        <a:pt x="5457" y="2329"/>
                      </a:lnTo>
                      <a:lnTo>
                        <a:pt x="5457" y="2197"/>
                      </a:lnTo>
                      <a:lnTo>
                        <a:pt x="5457" y="2079"/>
                      </a:lnTo>
                      <a:lnTo>
                        <a:pt x="5457" y="1980"/>
                      </a:lnTo>
                      <a:lnTo>
                        <a:pt x="5457" y="1903"/>
                      </a:lnTo>
                      <a:lnTo>
                        <a:pt x="5457" y="1855"/>
                      </a:lnTo>
                      <a:lnTo>
                        <a:pt x="5457" y="1838"/>
                      </a:lnTo>
                      <a:lnTo>
                        <a:pt x="3278" y="2009"/>
                      </a:lnTo>
                      <a:lnTo>
                        <a:pt x="3274" y="2031"/>
                      </a:lnTo>
                      <a:lnTo>
                        <a:pt x="3263" y="2085"/>
                      </a:lnTo>
                      <a:lnTo>
                        <a:pt x="3252" y="2121"/>
                      </a:lnTo>
                      <a:lnTo>
                        <a:pt x="3240" y="2163"/>
                      </a:lnTo>
                      <a:lnTo>
                        <a:pt x="3226" y="2208"/>
                      </a:lnTo>
                      <a:lnTo>
                        <a:pt x="3206" y="2255"/>
                      </a:lnTo>
                      <a:lnTo>
                        <a:pt x="3197" y="2280"/>
                      </a:lnTo>
                      <a:lnTo>
                        <a:pt x="3185" y="2304"/>
                      </a:lnTo>
                      <a:lnTo>
                        <a:pt x="3173" y="2328"/>
                      </a:lnTo>
                      <a:lnTo>
                        <a:pt x="3160" y="2352"/>
                      </a:lnTo>
                      <a:lnTo>
                        <a:pt x="3146" y="2375"/>
                      </a:lnTo>
                      <a:lnTo>
                        <a:pt x="3131" y="2398"/>
                      </a:lnTo>
                      <a:lnTo>
                        <a:pt x="3115" y="2420"/>
                      </a:lnTo>
                      <a:lnTo>
                        <a:pt x="3099" y="2441"/>
                      </a:lnTo>
                      <a:lnTo>
                        <a:pt x="3081" y="2462"/>
                      </a:lnTo>
                      <a:lnTo>
                        <a:pt x="3062" y="2481"/>
                      </a:lnTo>
                      <a:lnTo>
                        <a:pt x="3042" y="2499"/>
                      </a:lnTo>
                      <a:lnTo>
                        <a:pt x="3021" y="2515"/>
                      </a:lnTo>
                      <a:lnTo>
                        <a:pt x="2999" y="2530"/>
                      </a:lnTo>
                      <a:lnTo>
                        <a:pt x="2976" y="2542"/>
                      </a:lnTo>
                      <a:lnTo>
                        <a:pt x="2951" y="2553"/>
                      </a:lnTo>
                      <a:lnTo>
                        <a:pt x="2926" y="2562"/>
                      </a:lnTo>
                      <a:lnTo>
                        <a:pt x="2896" y="2570"/>
                      </a:lnTo>
                      <a:lnTo>
                        <a:pt x="2862" y="2578"/>
                      </a:lnTo>
                      <a:lnTo>
                        <a:pt x="2823" y="2586"/>
                      </a:lnTo>
                      <a:lnTo>
                        <a:pt x="2778" y="2595"/>
                      </a:lnTo>
                      <a:lnTo>
                        <a:pt x="2679" y="2612"/>
                      </a:lnTo>
                      <a:lnTo>
                        <a:pt x="2565" y="2629"/>
                      </a:lnTo>
                      <a:lnTo>
                        <a:pt x="2442" y="2647"/>
                      </a:lnTo>
                      <a:lnTo>
                        <a:pt x="2313" y="2664"/>
                      </a:lnTo>
                      <a:lnTo>
                        <a:pt x="2180" y="2681"/>
                      </a:lnTo>
                      <a:lnTo>
                        <a:pt x="2048" y="2697"/>
                      </a:lnTo>
                      <a:lnTo>
                        <a:pt x="1918" y="2712"/>
                      </a:lnTo>
                      <a:lnTo>
                        <a:pt x="1795" y="2725"/>
                      </a:lnTo>
                      <a:lnTo>
                        <a:pt x="1682" y="2738"/>
                      </a:lnTo>
                      <a:lnTo>
                        <a:pt x="1582" y="2749"/>
                      </a:lnTo>
                      <a:lnTo>
                        <a:pt x="1498" y="2757"/>
                      </a:lnTo>
                      <a:lnTo>
                        <a:pt x="1434" y="2765"/>
                      </a:lnTo>
                      <a:lnTo>
                        <a:pt x="1394" y="2769"/>
                      </a:lnTo>
                      <a:lnTo>
                        <a:pt x="1379" y="2770"/>
                      </a:lnTo>
                      <a:lnTo>
                        <a:pt x="1366" y="2769"/>
                      </a:lnTo>
                      <a:lnTo>
                        <a:pt x="1330" y="2766"/>
                      </a:lnTo>
                      <a:lnTo>
                        <a:pt x="1304" y="2762"/>
                      </a:lnTo>
                      <a:lnTo>
                        <a:pt x="1276" y="2756"/>
                      </a:lnTo>
                      <a:lnTo>
                        <a:pt x="1243" y="2749"/>
                      </a:lnTo>
                      <a:lnTo>
                        <a:pt x="1208" y="2739"/>
                      </a:lnTo>
                      <a:lnTo>
                        <a:pt x="1171" y="2728"/>
                      </a:lnTo>
                      <a:lnTo>
                        <a:pt x="1131" y="2713"/>
                      </a:lnTo>
                      <a:lnTo>
                        <a:pt x="1111" y="2704"/>
                      </a:lnTo>
                      <a:lnTo>
                        <a:pt x="1091" y="2696"/>
                      </a:lnTo>
                      <a:lnTo>
                        <a:pt x="1072" y="2685"/>
                      </a:lnTo>
                      <a:lnTo>
                        <a:pt x="1051" y="2674"/>
                      </a:lnTo>
                      <a:lnTo>
                        <a:pt x="1031" y="2663"/>
                      </a:lnTo>
                      <a:lnTo>
                        <a:pt x="1011" y="2650"/>
                      </a:lnTo>
                      <a:lnTo>
                        <a:pt x="992" y="2636"/>
                      </a:lnTo>
                      <a:lnTo>
                        <a:pt x="973" y="2622"/>
                      </a:lnTo>
                      <a:lnTo>
                        <a:pt x="954" y="2606"/>
                      </a:lnTo>
                      <a:lnTo>
                        <a:pt x="936" y="2589"/>
                      </a:lnTo>
                      <a:lnTo>
                        <a:pt x="917" y="2572"/>
                      </a:lnTo>
                      <a:lnTo>
                        <a:pt x="900" y="2553"/>
                      </a:lnTo>
                      <a:lnTo>
                        <a:pt x="868" y="2515"/>
                      </a:lnTo>
                      <a:lnTo>
                        <a:pt x="839" y="2479"/>
                      </a:lnTo>
                      <a:lnTo>
                        <a:pt x="813" y="2443"/>
                      </a:lnTo>
                      <a:lnTo>
                        <a:pt x="791" y="2412"/>
                      </a:lnTo>
                      <a:lnTo>
                        <a:pt x="772" y="2381"/>
                      </a:lnTo>
                      <a:lnTo>
                        <a:pt x="755" y="2353"/>
                      </a:lnTo>
                      <a:lnTo>
                        <a:pt x="740" y="2326"/>
                      </a:lnTo>
                      <a:lnTo>
                        <a:pt x="728" y="2303"/>
                      </a:lnTo>
                      <a:lnTo>
                        <a:pt x="719" y="2282"/>
                      </a:lnTo>
                      <a:lnTo>
                        <a:pt x="710" y="2263"/>
                      </a:lnTo>
                      <a:lnTo>
                        <a:pt x="704" y="2247"/>
                      </a:lnTo>
                      <a:lnTo>
                        <a:pt x="700" y="2234"/>
                      </a:lnTo>
                      <a:lnTo>
                        <a:pt x="693" y="2215"/>
                      </a:lnTo>
                      <a:lnTo>
                        <a:pt x="692" y="2209"/>
                      </a:lnTo>
                      <a:lnTo>
                        <a:pt x="689" y="2085"/>
                      </a:lnTo>
                      <a:lnTo>
                        <a:pt x="830" y="1948"/>
                      </a:lnTo>
                      <a:lnTo>
                        <a:pt x="768" y="1021"/>
                      </a:lnTo>
                      <a:lnTo>
                        <a:pt x="511" y="943"/>
                      </a:lnTo>
                      <a:lnTo>
                        <a:pt x="504" y="937"/>
                      </a:lnTo>
                      <a:lnTo>
                        <a:pt x="485" y="921"/>
                      </a:lnTo>
                      <a:lnTo>
                        <a:pt x="458" y="897"/>
                      </a:lnTo>
                      <a:lnTo>
                        <a:pt x="425" y="866"/>
                      </a:lnTo>
                      <a:lnTo>
                        <a:pt x="408" y="848"/>
                      </a:lnTo>
                      <a:lnTo>
                        <a:pt x="391" y="830"/>
                      </a:lnTo>
                      <a:lnTo>
                        <a:pt x="374" y="810"/>
                      </a:lnTo>
                      <a:lnTo>
                        <a:pt x="358" y="789"/>
                      </a:lnTo>
                      <a:lnTo>
                        <a:pt x="344" y="769"/>
                      </a:lnTo>
                      <a:lnTo>
                        <a:pt x="332" y="749"/>
                      </a:lnTo>
                      <a:lnTo>
                        <a:pt x="325" y="738"/>
                      </a:lnTo>
                      <a:lnTo>
                        <a:pt x="320" y="728"/>
                      </a:lnTo>
                      <a:lnTo>
                        <a:pt x="316" y="717"/>
                      </a:lnTo>
                      <a:lnTo>
                        <a:pt x="313" y="707"/>
                      </a:lnTo>
                      <a:lnTo>
                        <a:pt x="301" y="669"/>
                      </a:lnTo>
                      <a:lnTo>
                        <a:pt x="291" y="636"/>
                      </a:lnTo>
                      <a:lnTo>
                        <a:pt x="285" y="608"/>
                      </a:lnTo>
                      <a:lnTo>
                        <a:pt x="281" y="585"/>
                      </a:lnTo>
                      <a:lnTo>
                        <a:pt x="279" y="567"/>
                      </a:lnTo>
                      <a:lnTo>
                        <a:pt x="276" y="554"/>
                      </a:lnTo>
                      <a:lnTo>
                        <a:pt x="276" y="547"/>
                      </a:lnTo>
                      <a:lnTo>
                        <a:pt x="276" y="545"/>
                      </a:lnTo>
                      <a:lnTo>
                        <a:pt x="0" y="493"/>
                      </a:lnTo>
                      <a:close/>
                      <a:moveTo>
                        <a:pt x="1208" y="1116"/>
                      </a:moveTo>
                      <a:lnTo>
                        <a:pt x="1894" y="1205"/>
                      </a:lnTo>
                      <a:lnTo>
                        <a:pt x="2601" y="1652"/>
                      </a:lnTo>
                      <a:lnTo>
                        <a:pt x="2595" y="1817"/>
                      </a:lnTo>
                      <a:lnTo>
                        <a:pt x="1276" y="1914"/>
                      </a:lnTo>
                      <a:lnTo>
                        <a:pt x="1208" y="1116"/>
                      </a:lnTo>
                      <a:close/>
                      <a:moveTo>
                        <a:pt x="14533" y="1838"/>
                      </a:moveTo>
                      <a:lnTo>
                        <a:pt x="15819" y="1936"/>
                      </a:lnTo>
                      <a:lnTo>
                        <a:pt x="15817" y="1945"/>
                      </a:lnTo>
                      <a:lnTo>
                        <a:pt x="15811" y="1965"/>
                      </a:lnTo>
                      <a:lnTo>
                        <a:pt x="15805" y="1979"/>
                      </a:lnTo>
                      <a:lnTo>
                        <a:pt x="15800" y="1995"/>
                      </a:lnTo>
                      <a:lnTo>
                        <a:pt x="15793" y="2011"/>
                      </a:lnTo>
                      <a:lnTo>
                        <a:pt x="15783" y="2026"/>
                      </a:lnTo>
                      <a:lnTo>
                        <a:pt x="15774" y="2042"/>
                      </a:lnTo>
                      <a:lnTo>
                        <a:pt x="15761" y="2058"/>
                      </a:lnTo>
                      <a:lnTo>
                        <a:pt x="15754" y="2066"/>
                      </a:lnTo>
                      <a:lnTo>
                        <a:pt x="15748" y="2072"/>
                      </a:lnTo>
                      <a:lnTo>
                        <a:pt x="15741" y="2079"/>
                      </a:lnTo>
                      <a:lnTo>
                        <a:pt x="15733" y="2084"/>
                      </a:lnTo>
                      <a:lnTo>
                        <a:pt x="15725" y="2089"/>
                      </a:lnTo>
                      <a:lnTo>
                        <a:pt x="15716" y="2093"/>
                      </a:lnTo>
                      <a:lnTo>
                        <a:pt x="15708" y="2097"/>
                      </a:lnTo>
                      <a:lnTo>
                        <a:pt x="15698" y="2099"/>
                      </a:lnTo>
                      <a:lnTo>
                        <a:pt x="15689" y="2101"/>
                      </a:lnTo>
                      <a:lnTo>
                        <a:pt x="15678" y="2101"/>
                      </a:lnTo>
                      <a:lnTo>
                        <a:pt x="15667" y="2101"/>
                      </a:lnTo>
                      <a:lnTo>
                        <a:pt x="15657" y="2099"/>
                      </a:lnTo>
                      <a:lnTo>
                        <a:pt x="15624" y="2093"/>
                      </a:lnTo>
                      <a:lnTo>
                        <a:pt x="15576" y="2087"/>
                      </a:lnTo>
                      <a:lnTo>
                        <a:pt x="15512" y="2080"/>
                      </a:lnTo>
                      <a:lnTo>
                        <a:pt x="15438" y="2072"/>
                      </a:lnTo>
                      <a:lnTo>
                        <a:pt x="15355" y="2064"/>
                      </a:lnTo>
                      <a:lnTo>
                        <a:pt x="15265" y="2055"/>
                      </a:lnTo>
                      <a:lnTo>
                        <a:pt x="15172" y="2046"/>
                      </a:lnTo>
                      <a:lnTo>
                        <a:pt x="15077" y="2037"/>
                      </a:lnTo>
                      <a:lnTo>
                        <a:pt x="14984" y="2029"/>
                      </a:lnTo>
                      <a:lnTo>
                        <a:pt x="14895" y="2020"/>
                      </a:lnTo>
                      <a:lnTo>
                        <a:pt x="14813" y="2013"/>
                      </a:lnTo>
                      <a:lnTo>
                        <a:pt x="14739" y="2006"/>
                      </a:lnTo>
                      <a:lnTo>
                        <a:pt x="14678" y="2001"/>
                      </a:lnTo>
                      <a:lnTo>
                        <a:pt x="14631" y="1997"/>
                      </a:lnTo>
                      <a:lnTo>
                        <a:pt x="14601" y="1994"/>
                      </a:lnTo>
                      <a:lnTo>
                        <a:pt x="14590" y="1994"/>
                      </a:lnTo>
                      <a:lnTo>
                        <a:pt x="14533" y="1838"/>
                      </a:lnTo>
                      <a:close/>
                      <a:moveTo>
                        <a:pt x="14557" y="1651"/>
                      </a:moveTo>
                      <a:lnTo>
                        <a:pt x="15811" y="1733"/>
                      </a:lnTo>
                      <a:lnTo>
                        <a:pt x="15860" y="1007"/>
                      </a:lnTo>
                      <a:lnTo>
                        <a:pt x="15192" y="1081"/>
                      </a:lnTo>
                      <a:lnTo>
                        <a:pt x="14549" y="1504"/>
                      </a:lnTo>
                      <a:lnTo>
                        <a:pt x="14557" y="1651"/>
                      </a:lnTo>
                      <a:close/>
                      <a:moveTo>
                        <a:pt x="12376" y="1529"/>
                      </a:moveTo>
                      <a:lnTo>
                        <a:pt x="13914" y="1627"/>
                      </a:lnTo>
                      <a:lnTo>
                        <a:pt x="13947" y="1277"/>
                      </a:lnTo>
                      <a:lnTo>
                        <a:pt x="12376" y="1529"/>
                      </a:lnTo>
                      <a:close/>
                      <a:moveTo>
                        <a:pt x="11017" y="1773"/>
                      </a:moveTo>
                      <a:lnTo>
                        <a:pt x="11815" y="1773"/>
                      </a:lnTo>
                      <a:lnTo>
                        <a:pt x="11799" y="3516"/>
                      </a:lnTo>
                      <a:lnTo>
                        <a:pt x="11147" y="3092"/>
                      </a:lnTo>
                      <a:lnTo>
                        <a:pt x="11142" y="3085"/>
                      </a:lnTo>
                      <a:lnTo>
                        <a:pt x="11126" y="3063"/>
                      </a:lnTo>
                      <a:lnTo>
                        <a:pt x="11115" y="3047"/>
                      </a:lnTo>
                      <a:lnTo>
                        <a:pt x="11103" y="3027"/>
                      </a:lnTo>
                      <a:lnTo>
                        <a:pt x="11092" y="3005"/>
                      </a:lnTo>
                      <a:lnTo>
                        <a:pt x="11079" y="2981"/>
                      </a:lnTo>
                      <a:lnTo>
                        <a:pt x="11066" y="2953"/>
                      </a:lnTo>
                      <a:lnTo>
                        <a:pt x="11054" y="2924"/>
                      </a:lnTo>
                      <a:lnTo>
                        <a:pt x="11044" y="2892"/>
                      </a:lnTo>
                      <a:lnTo>
                        <a:pt x="11034" y="2859"/>
                      </a:lnTo>
                      <a:lnTo>
                        <a:pt x="11030" y="2841"/>
                      </a:lnTo>
                      <a:lnTo>
                        <a:pt x="11026" y="2823"/>
                      </a:lnTo>
                      <a:lnTo>
                        <a:pt x="11022" y="2805"/>
                      </a:lnTo>
                      <a:lnTo>
                        <a:pt x="11020" y="2787"/>
                      </a:lnTo>
                      <a:lnTo>
                        <a:pt x="11018" y="2768"/>
                      </a:lnTo>
                      <a:lnTo>
                        <a:pt x="11017" y="2749"/>
                      </a:lnTo>
                      <a:lnTo>
                        <a:pt x="11016" y="2730"/>
                      </a:lnTo>
                      <a:lnTo>
                        <a:pt x="11017" y="2709"/>
                      </a:lnTo>
                      <a:lnTo>
                        <a:pt x="11018" y="2665"/>
                      </a:lnTo>
                      <a:lnTo>
                        <a:pt x="11019" y="2608"/>
                      </a:lnTo>
                      <a:lnTo>
                        <a:pt x="11019" y="2545"/>
                      </a:lnTo>
                      <a:lnTo>
                        <a:pt x="11020" y="2474"/>
                      </a:lnTo>
                      <a:lnTo>
                        <a:pt x="11020" y="2399"/>
                      </a:lnTo>
                      <a:lnTo>
                        <a:pt x="11020" y="2320"/>
                      </a:lnTo>
                      <a:lnTo>
                        <a:pt x="11020" y="2241"/>
                      </a:lnTo>
                      <a:lnTo>
                        <a:pt x="11020" y="2162"/>
                      </a:lnTo>
                      <a:lnTo>
                        <a:pt x="11019" y="2086"/>
                      </a:lnTo>
                      <a:lnTo>
                        <a:pt x="11019" y="2014"/>
                      </a:lnTo>
                      <a:lnTo>
                        <a:pt x="11018" y="1948"/>
                      </a:lnTo>
                      <a:lnTo>
                        <a:pt x="11018" y="1889"/>
                      </a:lnTo>
                      <a:lnTo>
                        <a:pt x="11017" y="1841"/>
                      </a:lnTo>
                      <a:lnTo>
                        <a:pt x="11017" y="1805"/>
                      </a:lnTo>
                      <a:lnTo>
                        <a:pt x="11017" y="1782"/>
                      </a:lnTo>
                      <a:lnTo>
                        <a:pt x="11017" y="1773"/>
                      </a:lnTo>
                      <a:close/>
                      <a:moveTo>
                        <a:pt x="6481" y="1773"/>
                      </a:moveTo>
                      <a:lnTo>
                        <a:pt x="5876" y="1773"/>
                      </a:lnTo>
                      <a:lnTo>
                        <a:pt x="5888" y="3559"/>
                      </a:lnTo>
                      <a:lnTo>
                        <a:pt x="6382" y="3125"/>
                      </a:lnTo>
                      <a:lnTo>
                        <a:pt x="6386" y="3117"/>
                      </a:lnTo>
                      <a:lnTo>
                        <a:pt x="6398" y="3094"/>
                      </a:lnTo>
                      <a:lnTo>
                        <a:pt x="6406" y="3077"/>
                      </a:lnTo>
                      <a:lnTo>
                        <a:pt x="6415" y="3058"/>
                      </a:lnTo>
                      <a:lnTo>
                        <a:pt x="6424" y="3036"/>
                      </a:lnTo>
                      <a:lnTo>
                        <a:pt x="6434" y="3010"/>
                      </a:lnTo>
                      <a:lnTo>
                        <a:pt x="6443" y="2983"/>
                      </a:lnTo>
                      <a:lnTo>
                        <a:pt x="6452" y="2952"/>
                      </a:lnTo>
                      <a:lnTo>
                        <a:pt x="6461" y="2920"/>
                      </a:lnTo>
                      <a:lnTo>
                        <a:pt x="6468" y="2886"/>
                      </a:lnTo>
                      <a:lnTo>
                        <a:pt x="6473" y="2850"/>
                      </a:lnTo>
                      <a:lnTo>
                        <a:pt x="6479" y="2812"/>
                      </a:lnTo>
                      <a:lnTo>
                        <a:pt x="6480" y="2792"/>
                      </a:lnTo>
                      <a:lnTo>
                        <a:pt x="6481" y="2773"/>
                      </a:lnTo>
                      <a:lnTo>
                        <a:pt x="6481" y="2753"/>
                      </a:lnTo>
                      <a:lnTo>
                        <a:pt x="6481" y="2733"/>
                      </a:lnTo>
                      <a:lnTo>
                        <a:pt x="6480" y="2686"/>
                      </a:lnTo>
                      <a:lnTo>
                        <a:pt x="6479" y="2630"/>
                      </a:lnTo>
                      <a:lnTo>
                        <a:pt x="6479" y="2564"/>
                      </a:lnTo>
                      <a:lnTo>
                        <a:pt x="6478" y="2491"/>
                      </a:lnTo>
                      <a:lnTo>
                        <a:pt x="6478" y="2414"/>
                      </a:lnTo>
                      <a:lnTo>
                        <a:pt x="6478" y="2334"/>
                      </a:lnTo>
                      <a:lnTo>
                        <a:pt x="6478" y="2252"/>
                      </a:lnTo>
                      <a:lnTo>
                        <a:pt x="6479" y="2171"/>
                      </a:lnTo>
                      <a:lnTo>
                        <a:pt x="6479" y="2093"/>
                      </a:lnTo>
                      <a:lnTo>
                        <a:pt x="6479" y="2020"/>
                      </a:lnTo>
                      <a:lnTo>
                        <a:pt x="6480" y="1952"/>
                      </a:lnTo>
                      <a:lnTo>
                        <a:pt x="6480" y="1892"/>
                      </a:lnTo>
                      <a:lnTo>
                        <a:pt x="6480" y="1844"/>
                      </a:lnTo>
                      <a:lnTo>
                        <a:pt x="6481" y="1805"/>
                      </a:lnTo>
                      <a:lnTo>
                        <a:pt x="6481" y="1782"/>
                      </a:lnTo>
                      <a:lnTo>
                        <a:pt x="6481" y="1773"/>
                      </a:lnTo>
                      <a:close/>
                      <a:moveTo>
                        <a:pt x="1303" y="2202"/>
                      </a:moveTo>
                      <a:lnTo>
                        <a:pt x="2588" y="2051"/>
                      </a:lnTo>
                      <a:lnTo>
                        <a:pt x="2589" y="2054"/>
                      </a:lnTo>
                      <a:lnTo>
                        <a:pt x="2588" y="2062"/>
                      </a:lnTo>
                      <a:lnTo>
                        <a:pt x="2586" y="2072"/>
                      </a:lnTo>
                      <a:lnTo>
                        <a:pt x="2581" y="2085"/>
                      </a:lnTo>
                      <a:lnTo>
                        <a:pt x="2577" y="2092"/>
                      </a:lnTo>
                      <a:lnTo>
                        <a:pt x="2573" y="2100"/>
                      </a:lnTo>
                      <a:lnTo>
                        <a:pt x="2566" y="2107"/>
                      </a:lnTo>
                      <a:lnTo>
                        <a:pt x="2559" y="2115"/>
                      </a:lnTo>
                      <a:lnTo>
                        <a:pt x="2550" y="2122"/>
                      </a:lnTo>
                      <a:lnTo>
                        <a:pt x="2540" y="2129"/>
                      </a:lnTo>
                      <a:lnTo>
                        <a:pt x="2527" y="2135"/>
                      </a:lnTo>
                      <a:lnTo>
                        <a:pt x="2512" y="2140"/>
                      </a:lnTo>
                      <a:lnTo>
                        <a:pt x="2487" y="2147"/>
                      </a:lnTo>
                      <a:lnTo>
                        <a:pt x="2443" y="2155"/>
                      </a:lnTo>
                      <a:lnTo>
                        <a:pt x="2385" y="2165"/>
                      </a:lnTo>
                      <a:lnTo>
                        <a:pt x="2312" y="2176"/>
                      </a:lnTo>
                      <a:lnTo>
                        <a:pt x="2230" y="2189"/>
                      </a:lnTo>
                      <a:lnTo>
                        <a:pt x="2142" y="2202"/>
                      </a:lnTo>
                      <a:lnTo>
                        <a:pt x="2048" y="2216"/>
                      </a:lnTo>
                      <a:lnTo>
                        <a:pt x="1953" y="2230"/>
                      </a:lnTo>
                      <a:lnTo>
                        <a:pt x="1858" y="2243"/>
                      </a:lnTo>
                      <a:lnTo>
                        <a:pt x="1768" y="2256"/>
                      </a:lnTo>
                      <a:lnTo>
                        <a:pt x="1684" y="2267"/>
                      </a:lnTo>
                      <a:lnTo>
                        <a:pt x="1609" y="2278"/>
                      </a:lnTo>
                      <a:lnTo>
                        <a:pt x="1546" y="2286"/>
                      </a:lnTo>
                      <a:lnTo>
                        <a:pt x="1497" y="2292"/>
                      </a:lnTo>
                      <a:lnTo>
                        <a:pt x="1466" y="2297"/>
                      </a:lnTo>
                      <a:lnTo>
                        <a:pt x="1454" y="2299"/>
                      </a:lnTo>
                      <a:lnTo>
                        <a:pt x="1437" y="2298"/>
                      </a:lnTo>
                      <a:lnTo>
                        <a:pt x="1398" y="2293"/>
                      </a:lnTo>
                      <a:lnTo>
                        <a:pt x="1387" y="2291"/>
                      </a:lnTo>
                      <a:lnTo>
                        <a:pt x="1377" y="2288"/>
                      </a:lnTo>
                      <a:lnTo>
                        <a:pt x="1366" y="2285"/>
                      </a:lnTo>
                      <a:lnTo>
                        <a:pt x="1357" y="2281"/>
                      </a:lnTo>
                      <a:lnTo>
                        <a:pt x="1348" y="2276"/>
                      </a:lnTo>
                      <a:lnTo>
                        <a:pt x="1341" y="2271"/>
                      </a:lnTo>
                      <a:lnTo>
                        <a:pt x="1337" y="2268"/>
                      </a:lnTo>
                      <a:lnTo>
                        <a:pt x="1335" y="2265"/>
                      </a:lnTo>
                      <a:lnTo>
                        <a:pt x="1333" y="2261"/>
                      </a:lnTo>
                      <a:lnTo>
                        <a:pt x="1331" y="2257"/>
                      </a:lnTo>
                      <a:lnTo>
                        <a:pt x="1326" y="2243"/>
                      </a:lnTo>
                      <a:lnTo>
                        <a:pt x="1321" y="2232"/>
                      </a:lnTo>
                      <a:lnTo>
                        <a:pt x="1316" y="2222"/>
                      </a:lnTo>
                      <a:lnTo>
                        <a:pt x="1312" y="2215"/>
                      </a:lnTo>
                      <a:lnTo>
                        <a:pt x="1307" y="2205"/>
                      </a:lnTo>
                      <a:lnTo>
                        <a:pt x="1303" y="2202"/>
                      </a:lnTo>
                      <a:close/>
                    </a:path>
                  </a:pathLst>
                </a:custGeom>
                <a:grpFill/>
                <a:ln w="9525">
                  <a:noFill/>
                  <a:round/>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anose="020B0503020204020204" pitchFamily="34" charset="-122"/>
                  </a:endParaRPr>
                </a:p>
              </p:txBody>
            </p:sp>
            <p:sp>
              <p:nvSpPr>
                <p:cNvPr id="243" name="Freeform 7"/>
                <p:cNvSpPr>
                  <a:spLocks noEditPoints="1"/>
                </p:cNvSpPr>
                <p:nvPr/>
              </p:nvSpPr>
              <p:spPr bwMode="auto">
                <a:xfrm>
                  <a:off x="9586913" y="3060700"/>
                  <a:ext cx="1512888" cy="342900"/>
                </a:xfrm>
                <a:custGeom>
                  <a:avLst/>
                  <a:gdLst/>
                  <a:ahLst/>
                  <a:cxnLst>
                    <a:cxn ang="0">
                      <a:pos x="12983" y="15"/>
                    </a:cxn>
                    <a:cxn ang="0">
                      <a:pos x="13125" y="80"/>
                    </a:cxn>
                    <a:cxn ang="0">
                      <a:pos x="13238" y="187"/>
                    </a:cxn>
                    <a:cxn ang="0">
                      <a:pos x="13309" y="327"/>
                    </a:cxn>
                    <a:cxn ang="0">
                      <a:pos x="13330" y="2696"/>
                    </a:cxn>
                    <a:cxn ang="0">
                      <a:pos x="12299" y="2713"/>
                    </a:cxn>
                    <a:cxn ang="0">
                      <a:pos x="11963" y="2746"/>
                    </a:cxn>
                    <a:cxn ang="0">
                      <a:pos x="10964" y="2808"/>
                    </a:cxn>
                    <a:cxn ang="0">
                      <a:pos x="9474" y="2891"/>
                    </a:cxn>
                    <a:cxn ang="0">
                      <a:pos x="8162" y="2957"/>
                    </a:cxn>
                    <a:cxn ang="0">
                      <a:pos x="7295" y="2994"/>
                    </a:cxn>
                    <a:cxn ang="0">
                      <a:pos x="6428" y="3021"/>
                    </a:cxn>
                    <a:cxn ang="0">
                      <a:pos x="5784" y="3017"/>
                    </a:cxn>
                    <a:cxn ang="0">
                      <a:pos x="5142" y="2996"/>
                    </a:cxn>
                    <a:cxn ang="0">
                      <a:pos x="3825" y="2933"/>
                    </a:cxn>
                    <a:cxn ang="0">
                      <a:pos x="2239" y="2842"/>
                    </a:cxn>
                    <a:cxn ang="0">
                      <a:pos x="1229" y="2779"/>
                    </a:cxn>
                    <a:cxn ang="0">
                      <a:pos x="923" y="2776"/>
                    </a:cxn>
                    <a:cxn ang="0">
                      <a:pos x="463" y="2809"/>
                    </a:cxn>
                    <a:cxn ang="0">
                      <a:pos x="4" y="2842"/>
                    </a:cxn>
                    <a:cxn ang="0">
                      <a:pos x="2" y="417"/>
                    </a:cxn>
                    <a:cxn ang="0">
                      <a:pos x="45" y="263"/>
                    </a:cxn>
                    <a:cxn ang="0">
                      <a:pos x="136" y="136"/>
                    </a:cxn>
                    <a:cxn ang="0">
                      <a:pos x="262" y="46"/>
                    </a:cxn>
                    <a:cxn ang="0">
                      <a:pos x="416" y="2"/>
                    </a:cxn>
                    <a:cxn ang="0">
                      <a:pos x="6288" y="165"/>
                    </a:cxn>
                    <a:cxn ang="0">
                      <a:pos x="6323" y="197"/>
                    </a:cxn>
                    <a:cxn ang="0">
                      <a:pos x="6331" y="246"/>
                    </a:cxn>
                    <a:cxn ang="0">
                      <a:pos x="6306" y="286"/>
                    </a:cxn>
                    <a:cxn ang="0">
                      <a:pos x="6260" y="303"/>
                    </a:cxn>
                    <a:cxn ang="0">
                      <a:pos x="6215" y="286"/>
                    </a:cxn>
                    <a:cxn ang="0">
                      <a:pos x="6190" y="246"/>
                    </a:cxn>
                    <a:cxn ang="0">
                      <a:pos x="6198" y="197"/>
                    </a:cxn>
                    <a:cxn ang="0">
                      <a:pos x="6233" y="165"/>
                    </a:cxn>
                    <a:cxn ang="0">
                      <a:pos x="6679" y="161"/>
                    </a:cxn>
                    <a:cxn ang="0">
                      <a:pos x="6721" y="186"/>
                    </a:cxn>
                    <a:cxn ang="0">
                      <a:pos x="6737" y="231"/>
                    </a:cxn>
                    <a:cxn ang="0">
                      <a:pos x="6721" y="277"/>
                    </a:cxn>
                    <a:cxn ang="0">
                      <a:pos x="6679" y="301"/>
                    </a:cxn>
                    <a:cxn ang="0">
                      <a:pos x="6631" y="295"/>
                    </a:cxn>
                    <a:cxn ang="0">
                      <a:pos x="6600" y="260"/>
                    </a:cxn>
                    <a:cxn ang="0">
                      <a:pos x="6596" y="210"/>
                    </a:cxn>
                    <a:cxn ang="0">
                      <a:pos x="6625" y="172"/>
                    </a:cxn>
                    <a:cxn ang="0">
                      <a:pos x="7069" y="160"/>
                    </a:cxn>
                    <a:cxn ang="0">
                      <a:pos x="7115" y="177"/>
                    </a:cxn>
                    <a:cxn ang="0">
                      <a:pos x="7140" y="217"/>
                    </a:cxn>
                    <a:cxn ang="0">
                      <a:pos x="7132" y="265"/>
                    </a:cxn>
                    <a:cxn ang="0">
                      <a:pos x="7098" y="297"/>
                    </a:cxn>
                    <a:cxn ang="0">
                      <a:pos x="7048" y="300"/>
                    </a:cxn>
                    <a:cxn ang="0">
                      <a:pos x="7011" y="271"/>
                    </a:cxn>
                    <a:cxn ang="0">
                      <a:pos x="6998" y="224"/>
                    </a:cxn>
                    <a:cxn ang="0">
                      <a:pos x="7019" y="181"/>
                    </a:cxn>
                    <a:cxn ang="0">
                      <a:pos x="7062" y="160"/>
                    </a:cxn>
                    <a:cxn ang="0">
                      <a:pos x="589" y="468"/>
                    </a:cxn>
                    <a:cxn ang="0">
                      <a:pos x="8587" y="2531"/>
                    </a:cxn>
                    <a:cxn ang="0">
                      <a:pos x="8898" y="468"/>
                    </a:cxn>
                  </a:cxnLst>
                  <a:rect l="0" t="0" r="r" b="b"/>
                  <a:pathLst>
                    <a:path w="13330" h="3022">
                      <a:moveTo>
                        <a:pt x="463" y="0"/>
                      </a:moveTo>
                      <a:lnTo>
                        <a:pt x="12867" y="0"/>
                      </a:lnTo>
                      <a:lnTo>
                        <a:pt x="12891" y="1"/>
                      </a:lnTo>
                      <a:lnTo>
                        <a:pt x="12914" y="2"/>
                      </a:lnTo>
                      <a:lnTo>
                        <a:pt x="12937" y="5"/>
                      </a:lnTo>
                      <a:lnTo>
                        <a:pt x="12960" y="10"/>
                      </a:lnTo>
                      <a:lnTo>
                        <a:pt x="12983" y="15"/>
                      </a:lnTo>
                      <a:lnTo>
                        <a:pt x="13004" y="21"/>
                      </a:lnTo>
                      <a:lnTo>
                        <a:pt x="13026" y="29"/>
                      </a:lnTo>
                      <a:lnTo>
                        <a:pt x="13046" y="36"/>
                      </a:lnTo>
                      <a:lnTo>
                        <a:pt x="13068" y="46"/>
                      </a:lnTo>
                      <a:lnTo>
                        <a:pt x="13088" y="56"/>
                      </a:lnTo>
                      <a:lnTo>
                        <a:pt x="13107" y="67"/>
                      </a:lnTo>
                      <a:lnTo>
                        <a:pt x="13125" y="80"/>
                      </a:lnTo>
                      <a:lnTo>
                        <a:pt x="13144" y="93"/>
                      </a:lnTo>
                      <a:lnTo>
                        <a:pt x="13161" y="106"/>
                      </a:lnTo>
                      <a:lnTo>
                        <a:pt x="13178" y="121"/>
                      </a:lnTo>
                      <a:lnTo>
                        <a:pt x="13194" y="136"/>
                      </a:lnTo>
                      <a:lnTo>
                        <a:pt x="13210" y="152"/>
                      </a:lnTo>
                      <a:lnTo>
                        <a:pt x="13224" y="169"/>
                      </a:lnTo>
                      <a:lnTo>
                        <a:pt x="13238" y="187"/>
                      </a:lnTo>
                      <a:lnTo>
                        <a:pt x="13250" y="205"/>
                      </a:lnTo>
                      <a:lnTo>
                        <a:pt x="13263" y="223"/>
                      </a:lnTo>
                      <a:lnTo>
                        <a:pt x="13274" y="244"/>
                      </a:lnTo>
                      <a:lnTo>
                        <a:pt x="13284" y="263"/>
                      </a:lnTo>
                      <a:lnTo>
                        <a:pt x="13294" y="284"/>
                      </a:lnTo>
                      <a:lnTo>
                        <a:pt x="13303" y="305"/>
                      </a:lnTo>
                      <a:lnTo>
                        <a:pt x="13309" y="327"/>
                      </a:lnTo>
                      <a:lnTo>
                        <a:pt x="13315" y="348"/>
                      </a:lnTo>
                      <a:lnTo>
                        <a:pt x="13321" y="370"/>
                      </a:lnTo>
                      <a:lnTo>
                        <a:pt x="13325" y="394"/>
                      </a:lnTo>
                      <a:lnTo>
                        <a:pt x="13328" y="417"/>
                      </a:lnTo>
                      <a:lnTo>
                        <a:pt x="13330" y="440"/>
                      </a:lnTo>
                      <a:lnTo>
                        <a:pt x="13330" y="464"/>
                      </a:lnTo>
                      <a:lnTo>
                        <a:pt x="13330" y="2696"/>
                      </a:lnTo>
                      <a:lnTo>
                        <a:pt x="12564" y="2668"/>
                      </a:lnTo>
                      <a:lnTo>
                        <a:pt x="12520" y="2677"/>
                      </a:lnTo>
                      <a:lnTo>
                        <a:pt x="12475" y="2686"/>
                      </a:lnTo>
                      <a:lnTo>
                        <a:pt x="12432" y="2693"/>
                      </a:lnTo>
                      <a:lnTo>
                        <a:pt x="12387" y="2700"/>
                      </a:lnTo>
                      <a:lnTo>
                        <a:pt x="12344" y="2707"/>
                      </a:lnTo>
                      <a:lnTo>
                        <a:pt x="12299" y="2713"/>
                      </a:lnTo>
                      <a:lnTo>
                        <a:pt x="12255" y="2719"/>
                      </a:lnTo>
                      <a:lnTo>
                        <a:pt x="12211" y="2724"/>
                      </a:lnTo>
                      <a:lnTo>
                        <a:pt x="12161" y="2730"/>
                      </a:lnTo>
                      <a:lnTo>
                        <a:pt x="12112" y="2734"/>
                      </a:lnTo>
                      <a:lnTo>
                        <a:pt x="12062" y="2738"/>
                      </a:lnTo>
                      <a:lnTo>
                        <a:pt x="12013" y="2741"/>
                      </a:lnTo>
                      <a:lnTo>
                        <a:pt x="11963" y="2746"/>
                      </a:lnTo>
                      <a:lnTo>
                        <a:pt x="11913" y="2749"/>
                      </a:lnTo>
                      <a:lnTo>
                        <a:pt x="11864" y="2752"/>
                      </a:lnTo>
                      <a:lnTo>
                        <a:pt x="11814" y="2755"/>
                      </a:lnTo>
                      <a:lnTo>
                        <a:pt x="11602" y="2769"/>
                      </a:lnTo>
                      <a:lnTo>
                        <a:pt x="11389" y="2783"/>
                      </a:lnTo>
                      <a:lnTo>
                        <a:pt x="11176" y="2796"/>
                      </a:lnTo>
                      <a:lnTo>
                        <a:pt x="10964" y="2808"/>
                      </a:lnTo>
                      <a:lnTo>
                        <a:pt x="10751" y="2821"/>
                      </a:lnTo>
                      <a:lnTo>
                        <a:pt x="10538" y="2834"/>
                      </a:lnTo>
                      <a:lnTo>
                        <a:pt x="10326" y="2846"/>
                      </a:lnTo>
                      <a:lnTo>
                        <a:pt x="10112" y="2857"/>
                      </a:lnTo>
                      <a:lnTo>
                        <a:pt x="9899" y="2869"/>
                      </a:lnTo>
                      <a:lnTo>
                        <a:pt x="9687" y="2881"/>
                      </a:lnTo>
                      <a:lnTo>
                        <a:pt x="9474" y="2891"/>
                      </a:lnTo>
                      <a:lnTo>
                        <a:pt x="9262" y="2903"/>
                      </a:lnTo>
                      <a:lnTo>
                        <a:pt x="9049" y="2914"/>
                      </a:lnTo>
                      <a:lnTo>
                        <a:pt x="8835" y="2924"/>
                      </a:lnTo>
                      <a:lnTo>
                        <a:pt x="8623" y="2935"/>
                      </a:lnTo>
                      <a:lnTo>
                        <a:pt x="8410" y="2946"/>
                      </a:lnTo>
                      <a:lnTo>
                        <a:pt x="8287" y="2951"/>
                      </a:lnTo>
                      <a:lnTo>
                        <a:pt x="8162" y="2957"/>
                      </a:lnTo>
                      <a:lnTo>
                        <a:pt x="8039" y="2963"/>
                      </a:lnTo>
                      <a:lnTo>
                        <a:pt x="7915" y="2968"/>
                      </a:lnTo>
                      <a:lnTo>
                        <a:pt x="7791" y="2974"/>
                      </a:lnTo>
                      <a:lnTo>
                        <a:pt x="7667" y="2980"/>
                      </a:lnTo>
                      <a:lnTo>
                        <a:pt x="7544" y="2985"/>
                      </a:lnTo>
                      <a:lnTo>
                        <a:pt x="7419" y="2990"/>
                      </a:lnTo>
                      <a:lnTo>
                        <a:pt x="7295" y="2994"/>
                      </a:lnTo>
                      <a:lnTo>
                        <a:pt x="7171" y="3000"/>
                      </a:lnTo>
                      <a:lnTo>
                        <a:pt x="7047" y="3004"/>
                      </a:lnTo>
                      <a:lnTo>
                        <a:pt x="6924" y="3008"/>
                      </a:lnTo>
                      <a:lnTo>
                        <a:pt x="6799" y="3012"/>
                      </a:lnTo>
                      <a:lnTo>
                        <a:pt x="6676" y="3016"/>
                      </a:lnTo>
                      <a:lnTo>
                        <a:pt x="6552" y="3019"/>
                      </a:lnTo>
                      <a:lnTo>
                        <a:pt x="6428" y="3021"/>
                      </a:lnTo>
                      <a:lnTo>
                        <a:pt x="6336" y="3022"/>
                      </a:lnTo>
                      <a:lnTo>
                        <a:pt x="6244" y="3022"/>
                      </a:lnTo>
                      <a:lnTo>
                        <a:pt x="6152" y="3022"/>
                      </a:lnTo>
                      <a:lnTo>
                        <a:pt x="6061" y="3022"/>
                      </a:lnTo>
                      <a:lnTo>
                        <a:pt x="5968" y="3021"/>
                      </a:lnTo>
                      <a:lnTo>
                        <a:pt x="5877" y="3019"/>
                      </a:lnTo>
                      <a:lnTo>
                        <a:pt x="5784" y="3017"/>
                      </a:lnTo>
                      <a:lnTo>
                        <a:pt x="5693" y="3015"/>
                      </a:lnTo>
                      <a:lnTo>
                        <a:pt x="5601" y="3012"/>
                      </a:lnTo>
                      <a:lnTo>
                        <a:pt x="5509" y="3009"/>
                      </a:lnTo>
                      <a:lnTo>
                        <a:pt x="5417" y="3006"/>
                      </a:lnTo>
                      <a:lnTo>
                        <a:pt x="5325" y="3003"/>
                      </a:lnTo>
                      <a:lnTo>
                        <a:pt x="5233" y="2999"/>
                      </a:lnTo>
                      <a:lnTo>
                        <a:pt x="5142" y="2996"/>
                      </a:lnTo>
                      <a:lnTo>
                        <a:pt x="5049" y="2991"/>
                      </a:lnTo>
                      <a:lnTo>
                        <a:pt x="4958" y="2988"/>
                      </a:lnTo>
                      <a:lnTo>
                        <a:pt x="4732" y="2977"/>
                      </a:lnTo>
                      <a:lnTo>
                        <a:pt x="4504" y="2967"/>
                      </a:lnTo>
                      <a:lnTo>
                        <a:pt x="4278" y="2956"/>
                      </a:lnTo>
                      <a:lnTo>
                        <a:pt x="4051" y="2944"/>
                      </a:lnTo>
                      <a:lnTo>
                        <a:pt x="3825" y="2933"/>
                      </a:lnTo>
                      <a:lnTo>
                        <a:pt x="3598" y="2921"/>
                      </a:lnTo>
                      <a:lnTo>
                        <a:pt x="3372" y="2908"/>
                      </a:lnTo>
                      <a:lnTo>
                        <a:pt x="3144" y="2896"/>
                      </a:lnTo>
                      <a:lnTo>
                        <a:pt x="2918" y="2883"/>
                      </a:lnTo>
                      <a:lnTo>
                        <a:pt x="2691" y="2870"/>
                      </a:lnTo>
                      <a:lnTo>
                        <a:pt x="2465" y="2856"/>
                      </a:lnTo>
                      <a:lnTo>
                        <a:pt x="2239" y="2842"/>
                      </a:lnTo>
                      <a:lnTo>
                        <a:pt x="2012" y="2829"/>
                      </a:lnTo>
                      <a:lnTo>
                        <a:pt x="1786" y="2815"/>
                      </a:lnTo>
                      <a:lnTo>
                        <a:pt x="1559" y="2800"/>
                      </a:lnTo>
                      <a:lnTo>
                        <a:pt x="1333" y="2786"/>
                      </a:lnTo>
                      <a:lnTo>
                        <a:pt x="1298" y="2784"/>
                      </a:lnTo>
                      <a:lnTo>
                        <a:pt x="1264" y="2781"/>
                      </a:lnTo>
                      <a:lnTo>
                        <a:pt x="1229" y="2779"/>
                      </a:lnTo>
                      <a:lnTo>
                        <a:pt x="1194" y="2776"/>
                      </a:lnTo>
                      <a:lnTo>
                        <a:pt x="1158" y="2774"/>
                      </a:lnTo>
                      <a:lnTo>
                        <a:pt x="1124" y="2772"/>
                      </a:lnTo>
                      <a:lnTo>
                        <a:pt x="1089" y="2770"/>
                      </a:lnTo>
                      <a:lnTo>
                        <a:pt x="1054" y="2768"/>
                      </a:lnTo>
                      <a:lnTo>
                        <a:pt x="988" y="2772"/>
                      </a:lnTo>
                      <a:lnTo>
                        <a:pt x="923" y="2776"/>
                      </a:lnTo>
                      <a:lnTo>
                        <a:pt x="858" y="2782"/>
                      </a:lnTo>
                      <a:lnTo>
                        <a:pt x="792" y="2786"/>
                      </a:lnTo>
                      <a:lnTo>
                        <a:pt x="726" y="2790"/>
                      </a:lnTo>
                      <a:lnTo>
                        <a:pt x="660" y="2796"/>
                      </a:lnTo>
                      <a:lnTo>
                        <a:pt x="595" y="2800"/>
                      </a:lnTo>
                      <a:lnTo>
                        <a:pt x="529" y="2805"/>
                      </a:lnTo>
                      <a:lnTo>
                        <a:pt x="463" y="2809"/>
                      </a:lnTo>
                      <a:lnTo>
                        <a:pt x="397" y="2815"/>
                      </a:lnTo>
                      <a:lnTo>
                        <a:pt x="332" y="2819"/>
                      </a:lnTo>
                      <a:lnTo>
                        <a:pt x="266" y="2823"/>
                      </a:lnTo>
                      <a:lnTo>
                        <a:pt x="201" y="2829"/>
                      </a:lnTo>
                      <a:lnTo>
                        <a:pt x="135" y="2833"/>
                      </a:lnTo>
                      <a:lnTo>
                        <a:pt x="69" y="2838"/>
                      </a:lnTo>
                      <a:lnTo>
                        <a:pt x="4" y="2842"/>
                      </a:lnTo>
                      <a:lnTo>
                        <a:pt x="2" y="2827"/>
                      </a:lnTo>
                      <a:lnTo>
                        <a:pt x="1" y="2813"/>
                      </a:lnTo>
                      <a:lnTo>
                        <a:pt x="0" y="2798"/>
                      </a:lnTo>
                      <a:lnTo>
                        <a:pt x="0" y="2783"/>
                      </a:lnTo>
                      <a:lnTo>
                        <a:pt x="0" y="464"/>
                      </a:lnTo>
                      <a:lnTo>
                        <a:pt x="1" y="440"/>
                      </a:lnTo>
                      <a:lnTo>
                        <a:pt x="2" y="417"/>
                      </a:lnTo>
                      <a:lnTo>
                        <a:pt x="5" y="394"/>
                      </a:lnTo>
                      <a:lnTo>
                        <a:pt x="9" y="370"/>
                      </a:lnTo>
                      <a:lnTo>
                        <a:pt x="15" y="348"/>
                      </a:lnTo>
                      <a:lnTo>
                        <a:pt x="21" y="327"/>
                      </a:lnTo>
                      <a:lnTo>
                        <a:pt x="28" y="305"/>
                      </a:lnTo>
                      <a:lnTo>
                        <a:pt x="36" y="284"/>
                      </a:lnTo>
                      <a:lnTo>
                        <a:pt x="45" y="263"/>
                      </a:lnTo>
                      <a:lnTo>
                        <a:pt x="56" y="244"/>
                      </a:lnTo>
                      <a:lnTo>
                        <a:pt x="67" y="223"/>
                      </a:lnTo>
                      <a:lnTo>
                        <a:pt x="79" y="205"/>
                      </a:lnTo>
                      <a:lnTo>
                        <a:pt x="92" y="187"/>
                      </a:lnTo>
                      <a:lnTo>
                        <a:pt x="106" y="169"/>
                      </a:lnTo>
                      <a:lnTo>
                        <a:pt x="121" y="152"/>
                      </a:lnTo>
                      <a:lnTo>
                        <a:pt x="136" y="136"/>
                      </a:lnTo>
                      <a:lnTo>
                        <a:pt x="152" y="121"/>
                      </a:lnTo>
                      <a:lnTo>
                        <a:pt x="169" y="106"/>
                      </a:lnTo>
                      <a:lnTo>
                        <a:pt x="187" y="93"/>
                      </a:lnTo>
                      <a:lnTo>
                        <a:pt x="205" y="80"/>
                      </a:lnTo>
                      <a:lnTo>
                        <a:pt x="223" y="67"/>
                      </a:lnTo>
                      <a:lnTo>
                        <a:pt x="243" y="56"/>
                      </a:lnTo>
                      <a:lnTo>
                        <a:pt x="262" y="46"/>
                      </a:lnTo>
                      <a:lnTo>
                        <a:pt x="283" y="36"/>
                      </a:lnTo>
                      <a:lnTo>
                        <a:pt x="305" y="29"/>
                      </a:lnTo>
                      <a:lnTo>
                        <a:pt x="326" y="21"/>
                      </a:lnTo>
                      <a:lnTo>
                        <a:pt x="347" y="15"/>
                      </a:lnTo>
                      <a:lnTo>
                        <a:pt x="370" y="10"/>
                      </a:lnTo>
                      <a:lnTo>
                        <a:pt x="393" y="5"/>
                      </a:lnTo>
                      <a:lnTo>
                        <a:pt x="416" y="2"/>
                      </a:lnTo>
                      <a:lnTo>
                        <a:pt x="440" y="1"/>
                      </a:lnTo>
                      <a:lnTo>
                        <a:pt x="463" y="0"/>
                      </a:lnTo>
                      <a:close/>
                      <a:moveTo>
                        <a:pt x="6260" y="160"/>
                      </a:moveTo>
                      <a:lnTo>
                        <a:pt x="6268" y="160"/>
                      </a:lnTo>
                      <a:lnTo>
                        <a:pt x="6274" y="161"/>
                      </a:lnTo>
                      <a:lnTo>
                        <a:pt x="6282" y="163"/>
                      </a:lnTo>
                      <a:lnTo>
                        <a:pt x="6288" y="165"/>
                      </a:lnTo>
                      <a:lnTo>
                        <a:pt x="6294" y="168"/>
                      </a:lnTo>
                      <a:lnTo>
                        <a:pt x="6300" y="172"/>
                      </a:lnTo>
                      <a:lnTo>
                        <a:pt x="6306" y="177"/>
                      </a:lnTo>
                      <a:lnTo>
                        <a:pt x="6310" y="181"/>
                      </a:lnTo>
                      <a:lnTo>
                        <a:pt x="6316" y="186"/>
                      </a:lnTo>
                      <a:lnTo>
                        <a:pt x="6320" y="191"/>
                      </a:lnTo>
                      <a:lnTo>
                        <a:pt x="6323" y="197"/>
                      </a:lnTo>
                      <a:lnTo>
                        <a:pt x="6326" y="203"/>
                      </a:lnTo>
                      <a:lnTo>
                        <a:pt x="6328" y="210"/>
                      </a:lnTo>
                      <a:lnTo>
                        <a:pt x="6331" y="217"/>
                      </a:lnTo>
                      <a:lnTo>
                        <a:pt x="6332" y="224"/>
                      </a:lnTo>
                      <a:lnTo>
                        <a:pt x="6332" y="231"/>
                      </a:lnTo>
                      <a:lnTo>
                        <a:pt x="6332" y="238"/>
                      </a:lnTo>
                      <a:lnTo>
                        <a:pt x="6331" y="246"/>
                      </a:lnTo>
                      <a:lnTo>
                        <a:pt x="6328" y="252"/>
                      </a:lnTo>
                      <a:lnTo>
                        <a:pt x="6326" y="260"/>
                      </a:lnTo>
                      <a:lnTo>
                        <a:pt x="6323" y="265"/>
                      </a:lnTo>
                      <a:lnTo>
                        <a:pt x="6320" y="271"/>
                      </a:lnTo>
                      <a:lnTo>
                        <a:pt x="6316" y="277"/>
                      </a:lnTo>
                      <a:lnTo>
                        <a:pt x="6310" y="282"/>
                      </a:lnTo>
                      <a:lnTo>
                        <a:pt x="6306" y="286"/>
                      </a:lnTo>
                      <a:lnTo>
                        <a:pt x="6300" y="290"/>
                      </a:lnTo>
                      <a:lnTo>
                        <a:pt x="6294" y="295"/>
                      </a:lnTo>
                      <a:lnTo>
                        <a:pt x="6288" y="297"/>
                      </a:lnTo>
                      <a:lnTo>
                        <a:pt x="6282" y="300"/>
                      </a:lnTo>
                      <a:lnTo>
                        <a:pt x="6274" y="301"/>
                      </a:lnTo>
                      <a:lnTo>
                        <a:pt x="6268" y="302"/>
                      </a:lnTo>
                      <a:lnTo>
                        <a:pt x="6260" y="303"/>
                      </a:lnTo>
                      <a:lnTo>
                        <a:pt x="6253" y="302"/>
                      </a:lnTo>
                      <a:lnTo>
                        <a:pt x="6246" y="301"/>
                      </a:lnTo>
                      <a:lnTo>
                        <a:pt x="6239" y="300"/>
                      </a:lnTo>
                      <a:lnTo>
                        <a:pt x="6233" y="297"/>
                      </a:lnTo>
                      <a:lnTo>
                        <a:pt x="6226" y="295"/>
                      </a:lnTo>
                      <a:lnTo>
                        <a:pt x="6220" y="290"/>
                      </a:lnTo>
                      <a:lnTo>
                        <a:pt x="6215" y="286"/>
                      </a:lnTo>
                      <a:lnTo>
                        <a:pt x="6209" y="282"/>
                      </a:lnTo>
                      <a:lnTo>
                        <a:pt x="6205" y="277"/>
                      </a:lnTo>
                      <a:lnTo>
                        <a:pt x="6201" y="271"/>
                      </a:lnTo>
                      <a:lnTo>
                        <a:pt x="6198" y="265"/>
                      </a:lnTo>
                      <a:lnTo>
                        <a:pt x="6194" y="260"/>
                      </a:lnTo>
                      <a:lnTo>
                        <a:pt x="6192" y="252"/>
                      </a:lnTo>
                      <a:lnTo>
                        <a:pt x="6190" y="246"/>
                      </a:lnTo>
                      <a:lnTo>
                        <a:pt x="6189" y="238"/>
                      </a:lnTo>
                      <a:lnTo>
                        <a:pt x="6189" y="231"/>
                      </a:lnTo>
                      <a:lnTo>
                        <a:pt x="6189" y="224"/>
                      </a:lnTo>
                      <a:lnTo>
                        <a:pt x="6190" y="217"/>
                      </a:lnTo>
                      <a:lnTo>
                        <a:pt x="6192" y="210"/>
                      </a:lnTo>
                      <a:lnTo>
                        <a:pt x="6194" y="203"/>
                      </a:lnTo>
                      <a:lnTo>
                        <a:pt x="6198" y="197"/>
                      </a:lnTo>
                      <a:lnTo>
                        <a:pt x="6201" y="191"/>
                      </a:lnTo>
                      <a:lnTo>
                        <a:pt x="6205" y="186"/>
                      </a:lnTo>
                      <a:lnTo>
                        <a:pt x="6209" y="181"/>
                      </a:lnTo>
                      <a:lnTo>
                        <a:pt x="6215" y="177"/>
                      </a:lnTo>
                      <a:lnTo>
                        <a:pt x="6220" y="172"/>
                      </a:lnTo>
                      <a:lnTo>
                        <a:pt x="6226" y="168"/>
                      </a:lnTo>
                      <a:lnTo>
                        <a:pt x="6233" y="165"/>
                      </a:lnTo>
                      <a:lnTo>
                        <a:pt x="6239" y="163"/>
                      </a:lnTo>
                      <a:lnTo>
                        <a:pt x="6246" y="161"/>
                      </a:lnTo>
                      <a:lnTo>
                        <a:pt x="6253" y="160"/>
                      </a:lnTo>
                      <a:lnTo>
                        <a:pt x="6260" y="160"/>
                      </a:lnTo>
                      <a:close/>
                      <a:moveTo>
                        <a:pt x="6665" y="160"/>
                      </a:moveTo>
                      <a:lnTo>
                        <a:pt x="6672" y="160"/>
                      </a:lnTo>
                      <a:lnTo>
                        <a:pt x="6679" y="161"/>
                      </a:lnTo>
                      <a:lnTo>
                        <a:pt x="6687" y="163"/>
                      </a:lnTo>
                      <a:lnTo>
                        <a:pt x="6693" y="165"/>
                      </a:lnTo>
                      <a:lnTo>
                        <a:pt x="6699" y="168"/>
                      </a:lnTo>
                      <a:lnTo>
                        <a:pt x="6705" y="172"/>
                      </a:lnTo>
                      <a:lnTo>
                        <a:pt x="6710" y="177"/>
                      </a:lnTo>
                      <a:lnTo>
                        <a:pt x="6715" y="181"/>
                      </a:lnTo>
                      <a:lnTo>
                        <a:pt x="6721" y="186"/>
                      </a:lnTo>
                      <a:lnTo>
                        <a:pt x="6724" y="191"/>
                      </a:lnTo>
                      <a:lnTo>
                        <a:pt x="6728" y="197"/>
                      </a:lnTo>
                      <a:lnTo>
                        <a:pt x="6731" y="203"/>
                      </a:lnTo>
                      <a:lnTo>
                        <a:pt x="6733" y="210"/>
                      </a:lnTo>
                      <a:lnTo>
                        <a:pt x="6736" y="217"/>
                      </a:lnTo>
                      <a:lnTo>
                        <a:pt x="6737" y="224"/>
                      </a:lnTo>
                      <a:lnTo>
                        <a:pt x="6737" y="231"/>
                      </a:lnTo>
                      <a:lnTo>
                        <a:pt x="6737" y="238"/>
                      </a:lnTo>
                      <a:lnTo>
                        <a:pt x="6736" y="246"/>
                      </a:lnTo>
                      <a:lnTo>
                        <a:pt x="6733" y="252"/>
                      </a:lnTo>
                      <a:lnTo>
                        <a:pt x="6731" y="260"/>
                      </a:lnTo>
                      <a:lnTo>
                        <a:pt x="6728" y="265"/>
                      </a:lnTo>
                      <a:lnTo>
                        <a:pt x="6724" y="271"/>
                      </a:lnTo>
                      <a:lnTo>
                        <a:pt x="6721" y="277"/>
                      </a:lnTo>
                      <a:lnTo>
                        <a:pt x="6715" y="282"/>
                      </a:lnTo>
                      <a:lnTo>
                        <a:pt x="6710" y="286"/>
                      </a:lnTo>
                      <a:lnTo>
                        <a:pt x="6705" y="290"/>
                      </a:lnTo>
                      <a:lnTo>
                        <a:pt x="6699" y="295"/>
                      </a:lnTo>
                      <a:lnTo>
                        <a:pt x="6693" y="297"/>
                      </a:lnTo>
                      <a:lnTo>
                        <a:pt x="6687" y="300"/>
                      </a:lnTo>
                      <a:lnTo>
                        <a:pt x="6679" y="301"/>
                      </a:lnTo>
                      <a:lnTo>
                        <a:pt x="6672" y="302"/>
                      </a:lnTo>
                      <a:lnTo>
                        <a:pt x="6665" y="303"/>
                      </a:lnTo>
                      <a:lnTo>
                        <a:pt x="6658" y="302"/>
                      </a:lnTo>
                      <a:lnTo>
                        <a:pt x="6651" y="301"/>
                      </a:lnTo>
                      <a:lnTo>
                        <a:pt x="6644" y="300"/>
                      </a:lnTo>
                      <a:lnTo>
                        <a:pt x="6637" y="297"/>
                      </a:lnTo>
                      <a:lnTo>
                        <a:pt x="6631" y="295"/>
                      </a:lnTo>
                      <a:lnTo>
                        <a:pt x="6625" y="290"/>
                      </a:lnTo>
                      <a:lnTo>
                        <a:pt x="6620" y="286"/>
                      </a:lnTo>
                      <a:lnTo>
                        <a:pt x="6614" y="282"/>
                      </a:lnTo>
                      <a:lnTo>
                        <a:pt x="6610" y="277"/>
                      </a:lnTo>
                      <a:lnTo>
                        <a:pt x="6606" y="271"/>
                      </a:lnTo>
                      <a:lnTo>
                        <a:pt x="6602" y="265"/>
                      </a:lnTo>
                      <a:lnTo>
                        <a:pt x="6600" y="260"/>
                      </a:lnTo>
                      <a:lnTo>
                        <a:pt x="6596" y="252"/>
                      </a:lnTo>
                      <a:lnTo>
                        <a:pt x="6595" y="246"/>
                      </a:lnTo>
                      <a:lnTo>
                        <a:pt x="6594" y="238"/>
                      </a:lnTo>
                      <a:lnTo>
                        <a:pt x="6593" y="231"/>
                      </a:lnTo>
                      <a:lnTo>
                        <a:pt x="6594" y="224"/>
                      </a:lnTo>
                      <a:lnTo>
                        <a:pt x="6595" y="217"/>
                      </a:lnTo>
                      <a:lnTo>
                        <a:pt x="6596" y="210"/>
                      </a:lnTo>
                      <a:lnTo>
                        <a:pt x="6600" y="203"/>
                      </a:lnTo>
                      <a:lnTo>
                        <a:pt x="6602" y="197"/>
                      </a:lnTo>
                      <a:lnTo>
                        <a:pt x="6606" y="191"/>
                      </a:lnTo>
                      <a:lnTo>
                        <a:pt x="6610" y="186"/>
                      </a:lnTo>
                      <a:lnTo>
                        <a:pt x="6614" y="181"/>
                      </a:lnTo>
                      <a:lnTo>
                        <a:pt x="6620" y="177"/>
                      </a:lnTo>
                      <a:lnTo>
                        <a:pt x="6625" y="172"/>
                      </a:lnTo>
                      <a:lnTo>
                        <a:pt x="6631" y="168"/>
                      </a:lnTo>
                      <a:lnTo>
                        <a:pt x="6637" y="165"/>
                      </a:lnTo>
                      <a:lnTo>
                        <a:pt x="6644" y="163"/>
                      </a:lnTo>
                      <a:lnTo>
                        <a:pt x="6651" y="161"/>
                      </a:lnTo>
                      <a:lnTo>
                        <a:pt x="6658" y="160"/>
                      </a:lnTo>
                      <a:lnTo>
                        <a:pt x="6665" y="160"/>
                      </a:lnTo>
                      <a:close/>
                      <a:moveTo>
                        <a:pt x="7069" y="160"/>
                      </a:moveTo>
                      <a:lnTo>
                        <a:pt x="7077" y="160"/>
                      </a:lnTo>
                      <a:lnTo>
                        <a:pt x="7084" y="161"/>
                      </a:lnTo>
                      <a:lnTo>
                        <a:pt x="7091" y="163"/>
                      </a:lnTo>
                      <a:lnTo>
                        <a:pt x="7098" y="165"/>
                      </a:lnTo>
                      <a:lnTo>
                        <a:pt x="7103" y="168"/>
                      </a:lnTo>
                      <a:lnTo>
                        <a:pt x="7110" y="172"/>
                      </a:lnTo>
                      <a:lnTo>
                        <a:pt x="7115" y="177"/>
                      </a:lnTo>
                      <a:lnTo>
                        <a:pt x="7120" y="181"/>
                      </a:lnTo>
                      <a:lnTo>
                        <a:pt x="7125" y="186"/>
                      </a:lnTo>
                      <a:lnTo>
                        <a:pt x="7129" y="191"/>
                      </a:lnTo>
                      <a:lnTo>
                        <a:pt x="7132" y="197"/>
                      </a:lnTo>
                      <a:lnTo>
                        <a:pt x="7135" y="203"/>
                      </a:lnTo>
                      <a:lnTo>
                        <a:pt x="7139" y="210"/>
                      </a:lnTo>
                      <a:lnTo>
                        <a:pt x="7140" y="217"/>
                      </a:lnTo>
                      <a:lnTo>
                        <a:pt x="7141" y="224"/>
                      </a:lnTo>
                      <a:lnTo>
                        <a:pt x="7142" y="231"/>
                      </a:lnTo>
                      <a:lnTo>
                        <a:pt x="7141" y="238"/>
                      </a:lnTo>
                      <a:lnTo>
                        <a:pt x="7140" y="246"/>
                      </a:lnTo>
                      <a:lnTo>
                        <a:pt x="7139" y="252"/>
                      </a:lnTo>
                      <a:lnTo>
                        <a:pt x="7135" y="260"/>
                      </a:lnTo>
                      <a:lnTo>
                        <a:pt x="7132" y="265"/>
                      </a:lnTo>
                      <a:lnTo>
                        <a:pt x="7129" y="271"/>
                      </a:lnTo>
                      <a:lnTo>
                        <a:pt x="7125" y="277"/>
                      </a:lnTo>
                      <a:lnTo>
                        <a:pt x="7120" y="282"/>
                      </a:lnTo>
                      <a:lnTo>
                        <a:pt x="7115" y="286"/>
                      </a:lnTo>
                      <a:lnTo>
                        <a:pt x="7110" y="290"/>
                      </a:lnTo>
                      <a:lnTo>
                        <a:pt x="7103" y="295"/>
                      </a:lnTo>
                      <a:lnTo>
                        <a:pt x="7098" y="297"/>
                      </a:lnTo>
                      <a:lnTo>
                        <a:pt x="7091" y="300"/>
                      </a:lnTo>
                      <a:lnTo>
                        <a:pt x="7084" y="301"/>
                      </a:lnTo>
                      <a:lnTo>
                        <a:pt x="7077" y="302"/>
                      </a:lnTo>
                      <a:lnTo>
                        <a:pt x="7069" y="303"/>
                      </a:lnTo>
                      <a:lnTo>
                        <a:pt x="7062" y="302"/>
                      </a:lnTo>
                      <a:lnTo>
                        <a:pt x="7056" y="301"/>
                      </a:lnTo>
                      <a:lnTo>
                        <a:pt x="7048" y="300"/>
                      </a:lnTo>
                      <a:lnTo>
                        <a:pt x="7042" y="297"/>
                      </a:lnTo>
                      <a:lnTo>
                        <a:pt x="7035" y="295"/>
                      </a:lnTo>
                      <a:lnTo>
                        <a:pt x="7030" y="290"/>
                      </a:lnTo>
                      <a:lnTo>
                        <a:pt x="7025" y="286"/>
                      </a:lnTo>
                      <a:lnTo>
                        <a:pt x="7019" y="282"/>
                      </a:lnTo>
                      <a:lnTo>
                        <a:pt x="7014" y="277"/>
                      </a:lnTo>
                      <a:lnTo>
                        <a:pt x="7011" y="271"/>
                      </a:lnTo>
                      <a:lnTo>
                        <a:pt x="7007" y="265"/>
                      </a:lnTo>
                      <a:lnTo>
                        <a:pt x="7004" y="260"/>
                      </a:lnTo>
                      <a:lnTo>
                        <a:pt x="7001" y="252"/>
                      </a:lnTo>
                      <a:lnTo>
                        <a:pt x="6999" y="246"/>
                      </a:lnTo>
                      <a:lnTo>
                        <a:pt x="6998" y="238"/>
                      </a:lnTo>
                      <a:lnTo>
                        <a:pt x="6998" y="231"/>
                      </a:lnTo>
                      <a:lnTo>
                        <a:pt x="6998" y="224"/>
                      </a:lnTo>
                      <a:lnTo>
                        <a:pt x="6999" y="217"/>
                      </a:lnTo>
                      <a:lnTo>
                        <a:pt x="7001" y="210"/>
                      </a:lnTo>
                      <a:lnTo>
                        <a:pt x="7004" y="203"/>
                      </a:lnTo>
                      <a:lnTo>
                        <a:pt x="7007" y="197"/>
                      </a:lnTo>
                      <a:lnTo>
                        <a:pt x="7011" y="191"/>
                      </a:lnTo>
                      <a:lnTo>
                        <a:pt x="7014" y="186"/>
                      </a:lnTo>
                      <a:lnTo>
                        <a:pt x="7019" y="181"/>
                      </a:lnTo>
                      <a:lnTo>
                        <a:pt x="7025" y="177"/>
                      </a:lnTo>
                      <a:lnTo>
                        <a:pt x="7030" y="172"/>
                      </a:lnTo>
                      <a:lnTo>
                        <a:pt x="7035" y="168"/>
                      </a:lnTo>
                      <a:lnTo>
                        <a:pt x="7042" y="165"/>
                      </a:lnTo>
                      <a:lnTo>
                        <a:pt x="7048" y="163"/>
                      </a:lnTo>
                      <a:lnTo>
                        <a:pt x="7056" y="161"/>
                      </a:lnTo>
                      <a:lnTo>
                        <a:pt x="7062" y="160"/>
                      </a:lnTo>
                      <a:lnTo>
                        <a:pt x="7069" y="160"/>
                      </a:lnTo>
                      <a:close/>
                      <a:moveTo>
                        <a:pt x="6044" y="78"/>
                      </a:moveTo>
                      <a:lnTo>
                        <a:pt x="7286" y="78"/>
                      </a:lnTo>
                      <a:lnTo>
                        <a:pt x="7286" y="385"/>
                      </a:lnTo>
                      <a:lnTo>
                        <a:pt x="6044" y="385"/>
                      </a:lnTo>
                      <a:lnTo>
                        <a:pt x="6044" y="78"/>
                      </a:lnTo>
                      <a:close/>
                      <a:moveTo>
                        <a:pt x="589" y="468"/>
                      </a:moveTo>
                      <a:lnTo>
                        <a:pt x="4432" y="468"/>
                      </a:lnTo>
                      <a:lnTo>
                        <a:pt x="4432" y="2531"/>
                      </a:lnTo>
                      <a:lnTo>
                        <a:pt x="589" y="2531"/>
                      </a:lnTo>
                      <a:lnTo>
                        <a:pt x="589" y="468"/>
                      </a:lnTo>
                      <a:close/>
                      <a:moveTo>
                        <a:pt x="4743" y="468"/>
                      </a:moveTo>
                      <a:lnTo>
                        <a:pt x="8587" y="468"/>
                      </a:lnTo>
                      <a:lnTo>
                        <a:pt x="8587" y="2531"/>
                      </a:lnTo>
                      <a:lnTo>
                        <a:pt x="4743" y="2531"/>
                      </a:lnTo>
                      <a:lnTo>
                        <a:pt x="4743" y="468"/>
                      </a:lnTo>
                      <a:close/>
                      <a:moveTo>
                        <a:pt x="8898" y="468"/>
                      </a:moveTo>
                      <a:lnTo>
                        <a:pt x="12741" y="468"/>
                      </a:lnTo>
                      <a:lnTo>
                        <a:pt x="12741" y="2531"/>
                      </a:lnTo>
                      <a:lnTo>
                        <a:pt x="8898" y="2531"/>
                      </a:lnTo>
                      <a:lnTo>
                        <a:pt x="8898" y="468"/>
                      </a:lnTo>
                      <a:close/>
                    </a:path>
                  </a:pathLst>
                </a:custGeom>
                <a:grpFill/>
                <a:ln w="9525">
                  <a:noFill/>
                  <a:round/>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anose="020B0503020204020204" pitchFamily="34" charset="-122"/>
                  </a:endParaRPr>
                </a:p>
              </p:txBody>
            </p:sp>
          </p:grpSp>
          <p:sp>
            <p:nvSpPr>
              <p:cNvPr id="241" name="Freeform 128"/>
              <p:cNvSpPr>
                <a:spLocks noEditPoints="1"/>
              </p:cNvSpPr>
              <p:nvPr/>
            </p:nvSpPr>
            <p:spPr bwMode="auto">
              <a:xfrm>
                <a:off x="10275553" y="3664790"/>
                <a:ext cx="255587" cy="240459"/>
              </a:xfrm>
              <a:custGeom>
                <a:avLst/>
                <a:gdLst/>
                <a:ahLst/>
                <a:cxnLst>
                  <a:cxn ang="0">
                    <a:pos x="7800" y="10600"/>
                  </a:cxn>
                  <a:cxn ang="0">
                    <a:pos x="10150" y="11350"/>
                  </a:cxn>
                  <a:cxn ang="0">
                    <a:pos x="9950" y="13900"/>
                  </a:cxn>
                  <a:cxn ang="0">
                    <a:pos x="7650" y="14350"/>
                  </a:cxn>
                  <a:cxn ang="0">
                    <a:pos x="7550" y="13200"/>
                  </a:cxn>
                  <a:cxn ang="0">
                    <a:pos x="6550" y="12000"/>
                  </a:cxn>
                  <a:cxn ang="0">
                    <a:pos x="6000" y="2300"/>
                  </a:cxn>
                  <a:cxn ang="0">
                    <a:pos x="5700" y="5050"/>
                  </a:cxn>
                  <a:cxn ang="0">
                    <a:pos x="7250" y="7400"/>
                  </a:cxn>
                  <a:cxn ang="0">
                    <a:pos x="9700" y="8250"/>
                  </a:cxn>
                  <a:cxn ang="0">
                    <a:pos x="11700" y="8800"/>
                  </a:cxn>
                  <a:cxn ang="0">
                    <a:pos x="14400" y="14000"/>
                  </a:cxn>
                  <a:cxn ang="0">
                    <a:pos x="15850" y="13700"/>
                  </a:cxn>
                  <a:cxn ang="0">
                    <a:pos x="13750" y="8650"/>
                  </a:cxn>
                  <a:cxn ang="0">
                    <a:pos x="12700" y="6950"/>
                  </a:cxn>
                  <a:cxn ang="0">
                    <a:pos x="13800" y="3600"/>
                  </a:cxn>
                  <a:cxn ang="0">
                    <a:pos x="12500" y="1100"/>
                  </a:cxn>
                  <a:cxn ang="0">
                    <a:pos x="10000" y="0"/>
                  </a:cxn>
                  <a:cxn ang="0">
                    <a:pos x="6950" y="4750"/>
                  </a:cxn>
                  <a:cxn ang="0">
                    <a:pos x="7500" y="2200"/>
                  </a:cxn>
                  <a:cxn ang="0">
                    <a:pos x="9950" y="1200"/>
                  </a:cxn>
                  <a:cxn ang="0">
                    <a:pos x="8150" y="2350"/>
                  </a:cxn>
                  <a:cxn ang="0">
                    <a:pos x="10600" y="750"/>
                  </a:cxn>
                  <a:cxn ang="0">
                    <a:pos x="12550" y="2100"/>
                  </a:cxn>
                  <a:cxn ang="0">
                    <a:pos x="13200" y="4350"/>
                  </a:cxn>
                  <a:cxn ang="0">
                    <a:pos x="12300" y="6500"/>
                  </a:cxn>
                  <a:cxn ang="0">
                    <a:pos x="10150" y="7600"/>
                  </a:cxn>
                  <a:cxn ang="0">
                    <a:pos x="7900" y="7100"/>
                  </a:cxn>
                  <a:cxn ang="0">
                    <a:pos x="6400" y="5250"/>
                  </a:cxn>
                  <a:cxn ang="0">
                    <a:pos x="6450" y="2900"/>
                  </a:cxn>
                  <a:cxn ang="0">
                    <a:pos x="7950" y="1100"/>
                  </a:cxn>
                  <a:cxn ang="0">
                    <a:pos x="10300" y="700"/>
                  </a:cxn>
                  <a:cxn ang="0">
                    <a:pos x="5100" y="2000"/>
                  </a:cxn>
                  <a:cxn ang="0">
                    <a:pos x="5100" y="4800"/>
                  </a:cxn>
                  <a:cxn ang="0">
                    <a:pos x="7600" y="4350"/>
                  </a:cxn>
                  <a:cxn ang="0">
                    <a:pos x="8750" y="4500"/>
                  </a:cxn>
                  <a:cxn ang="0">
                    <a:pos x="2150" y="6500"/>
                  </a:cxn>
                  <a:cxn ang="0">
                    <a:pos x="2550" y="10900"/>
                  </a:cxn>
                  <a:cxn ang="0">
                    <a:pos x="4100" y="12500"/>
                  </a:cxn>
                  <a:cxn ang="0">
                    <a:pos x="4300" y="600"/>
                  </a:cxn>
                  <a:cxn ang="0">
                    <a:pos x="6050" y="250"/>
                  </a:cxn>
                  <a:cxn ang="0">
                    <a:pos x="5150" y="2550"/>
                  </a:cxn>
                  <a:cxn ang="0">
                    <a:pos x="4550" y="1500"/>
                  </a:cxn>
                  <a:cxn ang="0">
                    <a:pos x="1150" y="6800"/>
                  </a:cxn>
                  <a:cxn ang="0">
                    <a:pos x="2400" y="6250"/>
                  </a:cxn>
                  <a:cxn ang="0">
                    <a:pos x="3350" y="5900"/>
                  </a:cxn>
                  <a:cxn ang="0">
                    <a:pos x="2300" y="4650"/>
                  </a:cxn>
                  <a:cxn ang="0">
                    <a:pos x="850" y="5400"/>
                  </a:cxn>
                  <a:cxn ang="0">
                    <a:pos x="11200" y="2750"/>
                  </a:cxn>
                  <a:cxn ang="0">
                    <a:pos x="11400" y="5200"/>
                  </a:cxn>
                  <a:cxn ang="0">
                    <a:pos x="8850" y="5951"/>
                  </a:cxn>
                  <a:cxn ang="0">
                    <a:pos x="9050" y="4550"/>
                  </a:cxn>
                  <a:cxn ang="0">
                    <a:pos x="8350" y="3400"/>
                  </a:cxn>
                  <a:cxn ang="0">
                    <a:pos x="9250" y="2300"/>
                  </a:cxn>
                  <a:cxn ang="0">
                    <a:pos x="800" y="11650"/>
                  </a:cxn>
                  <a:cxn ang="0">
                    <a:pos x="3200" y="11850"/>
                  </a:cxn>
                  <a:cxn ang="0">
                    <a:pos x="3450" y="14250"/>
                  </a:cxn>
                  <a:cxn ang="0">
                    <a:pos x="1200" y="14951"/>
                  </a:cxn>
                </a:cxnLst>
                <a:rect l="0" t="0" r="r" b="b"/>
                <a:pathLst>
                  <a:path w="16050" h="15100">
                    <a:moveTo>
                      <a:pt x="6550" y="12000"/>
                    </a:moveTo>
                    <a:lnTo>
                      <a:pt x="6650" y="11700"/>
                    </a:lnTo>
                    <a:lnTo>
                      <a:pt x="6800" y="11400"/>
                    </a:lnTo>
                    <a:lnTo>
                      <a:pt x="7000" y="11150"/>
                    </a:lnTo>
                    <a:lnTo>
                      <a:pt x="7250" y="10950"/>
                    </a:lnTo>
                    <a:lnTo>
                      <a:pt x="7500" y="10750"/>
                    </a:lnTo>
                    <a:lnTo>
                      <a:pt x="7800" y="10600"/>
                    </a:lnTo>
                    <a:lnTo>
                      <a:pt x="8150" y="10500"/>
                    </a:lnTo>
                    <a:lnTo>
                      <a:pt x="8450" y="10500"/>
                    </a:lnTo>
                    <a:lnTo>
                      <a:pt x="8900" y="10550"/>
                    </a:lnTo>
                    <a:lnTo>
                      <a:pt x="9250" y="10650"/>
                    </a:lnTo>
                    <a:lnTo>
                      <a:pt x="9600" y="10800"/>
                    </a:lnTo>
                    <a:lnTo>
                      <a:pt x="9900" y="11050"/>
                    </a:lnTo>
                    <a:lnTo>
                      <a:pt x="10150" y="11350"/>
                    </a:lnTo>
                    <a:lnTo>
                      <a:pt x="10350" y="11700"/>
                    </a:lnTo>
                    <a:lnTo>
                      <a:pt x="10450" y="12100"/>
                    </a:lnTo>
                    <a:lnTo>
                      <a:pt x="10500" y="12500"/>
                    </a:lnTo>
                    <a:lnTo>
                      <a:pt x="10500" y="12900"/>
                    </a:lnTo>
                    <a:lnTo>
                      <a:pt x="10350" y="13250"/>
                    </a:lnTo>
                    <a:lnTo>
                      <a:pt x="10200" y="13600"/>
                    </a:lnTo>
                    <a:lnTo>
                      <a:pt x="9950" y="13900"/>
                    </a:lnTo>
                    <a:lnTo>
                      <a:pt x="9650" y="14150"/>
                    </a:lnTo>
                    <a:lnTo>
                      <a:pt x="9300" y="14350"/>
                    </a:lnTo>
                    <a:lnTo>
                      <a:pt x="8900" y="14500"/>
                    </a:lnTo>
                    <a:lnTo>
                      <a:pt x="8499" y="14550"/>
                    </a:lnTo>
                    <a:lnTo>
                      <a:pt x="8200" y="14500"/>
                    </a:lnTo>
                    <a:lnTo>
                      <a:pt x="7950" y="14450"/>
                    </a:lnTo>
                    <a:lnTo>
                      <a:pt x="7650" y="14350"/>
                    </a:lnTo>
                    <a:lnTo>
                      <a:pt x="7450" y="14200"/>
                    </a:lnTo>
                    <a:lnTo>
                      <a:pt x="7200" y="14050"/>
                    </a:lnTo>
                    <a:lnTo>
                      <a:pt x="7000" y="13850"/>
                    </a:lnTo>
                    <a:lnTo>
                      <a:pt x="6850" y="13650"/>
                    </a:lnTo>
                    <a:lnTo>
                      <a:pt x="6700" y="13400"/>
                    </a:lnTo>
                    <a:lnTo>
                      <a:pt x="7500" y="13300"/>
                    </a:lnTo>
                    <a:lnTo>
                      <a:pt x="7550" y="13200"/>
                    </a:lnTo>
                    <a:lnTo>
                      <a:pt x="7650" y="12850"/>
                    </a:lnTo>
                    <a:lnTo>
                      <a:pt x="7650" y="12550"/>
                    </a:lnTo>
                    <a:lnTo>
                      <a:pt x="7550" y="12250"/>
                    </a:lnTo>
                    <a:lnTo>
                      <a:pt x="7500" y="12100"/>
                    </a:lnTo>
                    <a:lnTo>
                      <a:pt x="7350" y="12000"/>
                    </a:lnTo>
                    <a:lnTo>
                      <a:pt x="7300" y="11950"/>
                    </a:lnTo>
                    <a:lnTo>
                      <a:pt x="6550" y="12000"/>
                    </a:lnTo>
                    <a:close/>
                    <a:moveTo>
                      <a:pt x="7650" y="550"/>
                    </a:moveTo>
                    <a:lnTo>
                      <a:pt x="7300" y="800"/>
                    </a:lnTo>
                    <a:lnTo>
                      <a:pt x="7000" y="1050"/>
                    </a:lnTo>
                    <a:lnTo>
                      <a:pt x="6700" y="1350"/>
                    </a:lnTo>
                    <a:lnTo>
                      <a:pt x="6450" y="1650"/>
                    </a:lnTo>
                    <a:lnTo>
                      <a:pt x="6200" y="1950"/>
                    </a:lnTo>
                    <a:lnTo>
                      <a:pt x="6000" y="2300"/>
                    </a:lnTo>
                    <a:lnTo>
                      <a:pt x="5850" y="2700"/>
                    </a:lnTo>
                    <a:lnTo>
                      <a:pt x="5750" y="3050"/>
                    </a:lnTo>
                    <a:lnTo>
                      <a:pt x="5650" y="3450"/>
                    </a:lnTo>
                    <a:lnTo>
                      <a:pt x="5600" y="3850"/>
                    </a:lnTo>
                    <a:lnTo>
                      <a:pt x="5600" y="4250"/>
                    </a:lnTo>
                    <a:lnTo>
                      <a:pt x="5650" y="4650"/>
                    </a:lnTo>
                    <a:lnTo>
                      <a:pt x="5700" y="5050"/>
                    </a:lnTo>
                    <a:lnTo>
                      <a:pt x="5800" y="5400"/>
                    </a:lnTo>
                    <a:lnTo>
                      <a:pt x="5950" y="5800"/>
                    </a:lnTo>
                    <a:lnTo>
                      <a:pt x="6150" y="6200"/>
                    </a:lnTo>
                    <a:lnTo>
                      <a:pt x="6400" y="6550"/>
                    </a:lnTo>
                    <a:lnTo>
                      <a:pt x="6650" y="6850"/>
                    </a:lnTo>
                    <a:lnTo>
                      <a:pt x="6899" y="7150"/>
                    </a:lnTo>
                    <a:lnTo>
                      <a:pt x="7250" y="7400"/>
                    </a:lnTo>
                    <a:lnTo>
                      <a:pt x="7550" y="7650"/>
                    </a:lnTo>
                    <a:lnTo>
                      <a:pt x="7900" y="7850"/>
                    </a:lnTo>
                    <a:lnTo>
                      <a:pt x="8250" y="8000"/>
                    </a:lnTo>
                    <a:lnTo>
                      <a:pt x="8650" y="8100"/>
                    </a:lnTo>
                    <a:lnTo>
                      <a:pt x="9000" y="8200"/>
                    </a:lnTo>
                    <a:lnTo>
                      <a:pt x="9350" y="8250"/>
                    </a:lnTo>
                    <a:lnTo>
                      <a:pt x="9700" y="8250"/>
                    </a:lnTo>
                    <a:lnTo>
                      <a:pt x="10050" y="8250"/>
                    </a:lnTo>
                    <a:lnTo>
                      <a:pt x="10450" y="8200"/>
                    </a:lnTo>
                    <a:lnTo>
                      <a:pt x="10800" y="8100"/>
                    </a:lnTo>
                    <a:lnTo>
                      <a:pt x="11150" y="8000"/>
                    </a:lnTo>
                    <a:lnTo>
                      <a:pt x="11500" y="7850"/>
                    </a:lnTo>
                    <a:lnTo>
                      <a:pt x="11850" y="8500"/>
                    </a:lnTo>
                    <a:lnTo>
                      <a:pt x="11700" y="8800"/>
                    </a:lnTo>
                    <a:lnTo>
                      <a:pt x="11600" y="9150"/>
                    </a:lnTo>
                    <a:lnTo>
                      <a:pt x="11650" y="9500"/>
                    </a:lnTo>
                    <a:lnTo>
                      <a:pt x="11750" y="9800"/>
                    </a:lnTo>
                    <a:lnTo>
                      <a:pt x="13950" y="13550"/>
                    </a:lnTo>
                    <a:lnTo>
                      <a:pt x="14050" y="13750"/>
                    </a:lnTo>
                    <a:lnTo>
                      <a:pt x="14250" y="13900"/>
                    </a:lnTo>
                    <a:lnTo>
                      <a:pt x="14400" y="14000"/>
                    </a:lnTo>
                    <a:lnTo>
                      <a:pt x="14600" y="14100"/>
                    </a:lnTo>
                    <a:lnTo>
                      <a:pt x="14850" y="14150"/>
                    </a:lnTo>
                    <a:lnTo>
                      <a:pt x="15050" y="14100"/>
                    </a:lnTo>
                    <a:lnTo>
                      <a:pt x="15300" y="14050"/>
                    </a:lnTo>
                    <a:lnTo>
                      <a:pt x="15500" y="14000"/>
                    </a:lnTo>
                    <a:lnTo>
                      <a:pt x="15650" y="13850"/>
                    </a:lnTo>
                    <a:lnTo>
                      <a:pt x="15850" y="13700"/>
                    </a:lnTo>
                    <a:lnTo>
                      <a:pt x="15950" y="13500"/>
                    </a:lnTo>
                    <a:lnTo>
                      <a:pt x="16000" y="13300"/>
                    </a:lnTo>
                    <a:lnTo>
                      <a:pt x="16050" y="13050"/>
                    </a:lnTo>
                    <a:lnTo>
                      <a:pt x="16050" y="12850"/>
                    </a:lnTo>
                    <a:lnTo>
                      <a:pt x="16000" y="12650"/>
                    </a:lnTo>
                    <a:lnTo>
                      <a:pt x="15900" y="12400"/>
                    </a:lnTo>
                    <a:lnTo>
                      <a:pt x="13750" y="8650"/>
                    </a:lnTo>
                    <a:lnTo>
                      <a:pt x="13500" y="8400"/>
                    </a:lnTo>
                    <a:lnTo>
                      <a:pt x="13200" y="8200"/>
                    </a:lnTo>
                    <a:lnTo>
                      <a:pt x="12900" y="8100"/>
                    </a:lnTo>
                    <a:lnTo>
                      <a:pt x="12550" y="8100"/>
                    </a:lnTo>
                    <a:lnTo>
                      <a:pt x="12150" y="7450"/>
                    </a:lnTo>
                    <a:lnTo>
                      <a:pt x="12450" y="7200"/>
                    </a:lnTo>
                    <a:lnTo>
                      <a:pt x="12700" y="6950"/>
                    </a:lnTo>
                    <a:lnTo>
                      <a:pt x="13150" y="6450"/>
                    </a:lnTo>
                    <a:lnTo>
                      <a:pt x="13450" y="5850"/>
                    </a:lnTo>
                    <a:lnTo>
                      <a:pt x="13700" y="5200"/>
                    </a:lnTo>
                    <a:lnTo>
                      <a:pt x="13750" y="4800"/>
                    </a:lnTo>
                    <a:lnTo>
                      <a:pt x="13800" y="4400"/>
                    </a:lnTo>
                    <a:lnTo>
                      <a:pt x="13850" y="4000"/>
                    </a:lnTo>
                    <a:lnTo>
                      <a:pt x="13800" y="3600"/>
                    </a:lnTo>
                    <a:lnTo>
                      <a:pt x="13750" y="3200"/>
                    </a:lnTo>
                    <a:lnTo>
                      <a:pt x="13600" y="2850"/>
                    </a:lnTo>
                    <a:lnTo>
                      <a:pt x="13450" y="2450"/>
                    </a:lnTo>
                    <a:lnTo>
                      <a:pt x="13300" y="2050"/>
                    </a:lnTo>
                    <a:lnTo>
                      <a:pt x="13050" y="1700"/>
                    </a:lnTo>
                    <a:lnTo>
                      <a:pt x="12800" y="1400"/>
                    </a:lnTo>
                    <a:lnTo>
                      <a:pt x="12500" y="1100"/>
                    </a:lnTo>
                    <a:lnTo>
                      <a:pt x="12200" y="850"/>
                    </a:lnTo>
                    <a:lnTo>
                      <a:pt x="11850" y="600"/>
                    </a:lnTo>
                    <a:lnTo>
                      <a:pt x="11500" y="450"/>
                    </a:lnTo>
                    <a:lnTo>
                      <a:pt x="11150" y="250"/>
                    </a:lnTo>
                    <a:lnTo>
                      <a:pt x="10800" y="150"/>
                    </a:lnTo>
                    <a:lnTo>
                      <a:pt x="10400" y="50"/>
                    </a:lnTo>
                    <a:lnTo>
                      <a:pt x="10000" y="0"/>
                    </a:lnTo>
                    <a:lnTo>
                      <a:pt x="9600" y="0"/>
                    </a:lnTo>
                    <a:lnTo>
                      <a:pt x="9200" y="50"/>
                    </a:lnTo>
                    <a:lnTo>
                      <a:pt x="8800" y="100"/>
                    </a:lnTo>
                    <a:lnTo>
                      <a:pt x="8400" y="200"/>
                    </a:lnTo>
                    <a:lnTo>
                      <a:pt x="8050" y="350"/>
                    </a:lnTo>
                    <a:lnTo>
                      <a:pt x="7650" y="550"/>
                    </a:lnTo>
                    <a:close/>
                    <a:moveTo>
                      <a:pt x="6950" y="4750"/>
                    </a:moveTo>
                    <a:lnTo>
                      <a:pt x="6850" y="4350"/>
                    </a:lnTo>
                    <a:lnTo>
                      <a:pt x="6850" y="3950"/>
                    </a:lnTo>
                    <a:lnTo>
                      <a:pt x="6850" y="3550"/>
                    </a:lnTo>
                    <a:lnTo>
                      <a:pt x="6950" y="3200"/>
                    </a:lnTo>
                    <a:lnTo>
                      <a:pt x="7050" y="2800"/>
                    </a:lnTo>
                    <a:lnTo>
                      <a:pt x="7250" y="2500"/>
                    </a:lnTo>
                    <a:lnTo>
                      <a:pt x="7500" y="2200"/>
                    </a:lnTo>
                    <a:lnTo>
                      <a:pt x="7750" y="1900"/>
                    </a:lnTo>
                    <a:lnTo>
                      <a:pt x="8050" y="1700"/>
                    </a:lnTo>
                    <a:lnTo>
                      <a:pt x="8350" y="1500"/>
                    </a:lnTo>
                    <a:lnTo>
                      <a:pt x="8750" y="1350"/>
                    </a:lnTo>
                    <a:lnTo>
                      <a:pt x="9100" y="1250"/>
                    </a:lnTo>
                    <a:lnTo>
                      <a:pt x="9550" y="1200"/>
                    </a:lnTo>
                    <a:lnTo>
                      <a:pt x="9950" y="1200"/>
                    </a:lnTo>
                    <a:lnTo>
                      <a:pt x="10400" y="1250"/>
                    </a:lnTo>
                    <a:lnTo>
                      <a:pt x="10850" y="1400"/>
                    </a:lnTo>
                    <a:lnTo>
                      <a:pt x="10000" y="1550"/>
                    </a:lnTo>
                    <a:lnTo>
                      <a:pt x="9300" y="1750"/>
                    </a:lnTo>
                    <a:lnTo>
                      <a:pt x="8650" y="2000"/>
                    </a:lnTo>
                    <a:lnTo>
                      <a:pt x="8400" y="2150"/>
                    </a:lnTo>
                    <a:lnTo>
                      <a:pt x="8150" y="2350"/>
                    </a:lnTo>
                    <a:lnTo>
                      <a:pt x="7900" y="2550"/>
                    </a:lnTo>
                    <a:lnTo>
                      <a:pt x="7700" y="2800"/>
                    </a:lnTo>
                    <a:lnTo>
                      <a:pt x="7550" y="3050"/>
                    </a:lnTo>
                    <a:lnTo>
                      <a:pt x="7400" y="3350"/>
                    </a:lnTo>
                    <a:lnTo>
                      <a:pt x="7100" y="4000"/>
                    </a:lnTo>
                    <a:lnTo>
                      <a:pt x="6950" y="4750"/>
                    </a:lnTo>
                    <a:close/>
                    <a:moveTo>
                      <a:pt x="10600" y="750"/>
                    </a:moveTo>
                    <a:lnTo>
                      <a:pt x="10950" y="850"/>
                    </a:lnTo>
                    <a:lnTo>
                      <a:pt x="11250" y="1000"/>
                    </a:lnTo>
                    <a:lnTo>
                      <a:pt x="11550" y="1150"/>
                    </a:lnTo>
                    <a:lnTo>
                      <a:pt x="11800" y="1350"/>
                    </a:lnTo>
                    <a:lnTo>
                      <a:pt x="12100" y="1550"/>
                    </a:lnTo>
                    <a:lnTo>
                      <a:pt x="12350" y="1800"/>
                    </a:lnTo>
                    <a:lnTo>
                      <a:pt x="12550" y="2100"/>
                    </a:lnTo>
                    <a:lnTo>
                      <a:pt x="12750" y="2400"/>
                    </a:lnTo>
                    <a:lnTo>
                      <a:pt x="12900" y="2700"/>
                    </a:lnTo>
                    <a:lnTo>
                      <a:pt x="13050" y="3000"/>
                    </a:lnTo>
                    <a:lnTo>
                      <a:pt x="13100" y="3350"/>
                    </a:lnTo>
                    <a:lnTo>
                      <a:pt x="13200" y="3700"/>
                    </a:lnTo>
                    <a:lnTo>
                      <a:pt x="13200" y="4050"/>
                    </a:lnTo>
                    <a:lnTo>
                      <a:pt x="13200" y="4350"/>
                    </a:lnTo>
                    <a:lnTo>
                      <a:pt x="13150" y="4700"/>
                    </a:lnTo>
                    <a:lnTo>
                      <a:pt x="13100" y="5050"/>
                    </a:lnTo>
                    <a:lnTo>
                      <a:pt x="12999" y="5350"/>
                    </a:lnTo>
                    <a:lnTo>
                      <a:pt x="12850" y="5650"/>
                    </a:lnTo>
                    <a:lnTo>
                      <a:pt x="12700" y="5951"/>
                    </a:lnTo>
                    <a:lnTo>
                      <a:pt x="12500" y="6250"/>
                    </a:lnTo>
                    <a:lnTo>
                      <a:pt x="12300" y="6500"/>
                    </a:lnTo>
                    <a:lnTo>
                      <a:pt x="12050" y="6750"/>
                    </a:lnTo>
                    <a:lnTo>
                      <a:pt x="11750" y="6950"/>
                    </a:lnTo>
                    <a:lnTo>
                      <a:pt x="11450" y="7150"/>
                    </a:lnTo>
                    <a:lnTo>
                      <a:pt x="11150" y="7300"/>
                    </a:lnTo>
                    <a:lnTo>
                      <a:pt x="10800" y="7450"/>
                    </a:lnTo>
                    <a:lnTo>
                      <a:pt x="10500" y="7551"/>
                    </a:lnTo>
                    <a:lnTo>
                      <a:pt x="10150" y="7600"/>
                    </a:lnTo>
                    <a:lnTo>
                      <a:pt x="9800" y="7600"/>
                    </a:lnTo>
                    <a:lnTo>
                      <a:pt x="9450" y="7600"/>
                    </a:lnTo>
                    <a:lnTo>
                      <a:pt x="9151" y="7551"/>
                    </a:lnTo>
                    <a:lnTo>
                      <a:pt x="8800" y="7500"/>
                    </a:lnTo>
                    <a:lnTo>
                      <a:pt x="8499" y="7400"/>
                    </a:lnTo>
                    <a:lnTo>
                      <a:pt x="8200" y="7250"/>
                    </a:lnTo>
                    <a:lnTo>
                      <a:pt x="7900" y="7100"/>
                    </a:lnTo>
                    <a:lnTo>
                      <a:pt x="7600" y="6900"/>
                    </a:lnTo>
                    <a:lnTo>
                      <a:pt x="7350" y="6700"/>
                    </a:lnTo>
                    <a:lnTo>
                      <a:pt x="7100" y="6450"/>
                    </a:lnTo>
                    <a:lnTo>
                      <a:pt x="6899" y="6150"/>
                    </a:lnTo>
                    <a:lnTo>
                      <a:pt x="6700" y="5850"/>
                    </a:lnTo>
                    <a:lnTo>
                      <a:pt x="6500" y="5550"/>
                    </a:lnTo>
                    <a:lnTo>
                      <a:pt x="6400" y="5250"/>
                    </a:lnTo>
                    <a:lnTo>
                      <a:pt x="6300" y="4900"/>
                    </a:lnTo>
                    <a:lnTo>
                      <a:pt x="6250" y="4550"/>
                    </a:lnTo>
                    <a:lnTo>
                      <a:pt x="6200" y="4200"/>
                    </a:lnTo>
                    <a:lnTo>
                      <a:pt x="6200" y="3900"/>
                    </a:lnTo>
                    <a:lnTo>
                      <a:pt x="6250" y="3550"/>
                    </a:lnTo>
                    <a:lnTo>
                      <a:pt x="6350" y="3200"/>
                    </a:lnTo>
                    <a:lnTo>
                      <a:pt x="6450" y="2900"/>
                    </a:lnTo>
                    <a:lnTo>
                      <a:pt x="6550" y="2600"/>
                    </a:lnTo>
                    <a:lnTo>
                      <a:pt x="6750" y="2300"/>
                    </a:lnTo>
                    <a:lnTo>
                      <a:pt x="6899" y="2000"/>
                    </a:lnTo>
                    <a:lnTo>
                      <a:pt x="7150" y="1750"/>
                    </a:lnTo>
                    <a:lnTo>
                      <a:pt x="7400" y="1500"/>
                    </a:lnTo>
                    <a:lnTo>
                      <a:pt x="7650" y="1300"/>
                    </a:lnTo>
                    <a:lnTo>
                      <a:pt x="7950" y="1100"/>
                    </a:lnTo>
                    <a:lnTo>
                      <a:pt x="8300" y="950"/>
                    </a:lnTo>
                    <a:lnTo>
                      <a:pt x="8600" y="800"/>
                    </a:lnTo>
                    <a:lnTo>
                      <a:pt x="8950" y="700"/>
                    </a:lnTo>
                    <a:lnTo>
                      <a:pt x="9300" y="650"/>
                    </a:lnTo>
                    <a:lnTo>
                      <a:pt x="9600" y="650"/>
                    </a:lnTo>
                    <a:lnTo>
                      <a:pt x="9950" y="650"/>
                    </a:lnTo>
                    <a:lnTo>
                      <a:pt x="10300" y="700"/>
                    </a:lnTo>
                    <a:lnTo>
                      <a:pt x="10600" y="750"/>
                    </a:lnTo>
                    <a:close/>
                    <a:moveTo>
                      <a:pt x="2800" y="4400"/>
                    </a:moveTo>
                    <a:lnTo>
                      <a:pt x="4800" y="1800"/>
                    </a:lnTo>
                    <a:lnTo>
                      <a:pt x="4900" y="1800"/>
                    </a:lnTo>
                    <a:lnTo>
                      <a:pt x="5000" y="1850"/>
                    </a:lnTo>
                    <a:lnTo>
                      <a:pt x="5050" y="1950"/>
                    </a:lnTo>
                    <a:lnTo>
                      <a:pt x="5100" y="2000"/>
                    </a:lnTo>
                    <a:lnTo>
                      <a:pt x="3300" y="4750"/>
                    </a:lnTo>
                    <a:lnTo>
                      <a:pt x="3050" y="4550"/>
                    </a:lnTo>
                    <a:lnTo>
                      <a:pt x="2800" y="4400"/>
                    </a:lnTo>
                    <a:close/>
                    <a:moveTo>
                      <a:pt x="3700" y="6050"/>
                    </a:moveTo>
                    <a:lnTo>
                      <a:pt x="5350" y="5700"/>
                    </a:lnTo>
                    <a:lnTo>
                      <a:pt x="5200" y="5250"/>
                    </a:lnTo>
                    <a:lnTo>
                      <a:pt x="5100" y="4800"/>
                    </a:lnTo>
                    <a:lnTo>
                      <a:pt x="3550" y="5300"/>
                    </a:lnTo>
                    <a:lnTo>
                      <a:pt x="3650" y="5600"/>
                    </a:lnTo>
                    <a:lnTo>
                      <a:pt x="3700" y="5900"/>
                    </a:lnTo>
                    <a:lnTo>
                      <a:pt x="3700" y="6050"/>
                    </a:lnTo>
                    <a:close/>
                    <a:moveTo>
                      <a:pt x="7400" y="5250"/>
                    </a:moveTo>
                    <a:lnTo>
                      <a:pt x="7500" y="4850"/>
                    </a:lnTo>
                    <a:lnTo>
                      <a:pt x="7600" y="4350"/>
                    </a:lnTo>
                    <a:lnTo>
                      <a:pt x="7700" y="3950"/>
                    </a:lnTo>
                    <a:lnTo>
                      <a:pt x="8350" y="3700"/>
                    </a:lnTo>
                    <a:lnTo>
                      <a:pt x="8499" y="3850"/>
                    </a:lnTo>
                    <a:lnTo>
                      <a:pt x="8600" y="3950"/>
                    </a:lnTo>
                    <a:lnTo>
                      <a:pt x="8650" y="4150"/>
                    </a:lnTo>
                    <a:lnTo>
                      <a:pt x="8750" y="4300"/>
                    </a:lnTo>
                    <a:lnTo>
                      <a:pt x="8750" y="4500"/>
                    </a:lnTo>
                    <a:lnTo>
                      <a:pt x="8750" y="4650"/>
                    </a:lnTo>
                    <a:lnTo>
                      <a:pt x="8700" y="4800"/>
                    </a:lnTo>
                    <a:lnTo>
                      <a:pt x="8650" y="4950"/>
                    </a:lnTo>
                    <a:lnTo>
                      <a:pt x="7400" y="5250"/>
                    </a:lnTo>
                    <a:close/>
                    <a:moveTo>
                      <a:pt x="2550" y="10900"/>
                    </a:moveTo>
                    <a:lnTo>
                      <a:pt x="2300" y="6550"/>
                    </a:lnTo>
                    <a:lnTo>
                      <a:pt x="2150" y="6500"/>
                    </a:lnTo>
                    <a:lnTo>
                      <a:pt x="2000" y="6500"/>
                    </a:lnTo>
                    <a:lnTo>
                      <a:pt x="1850" y="6500"/>
                    </a:lnTo>
                    <a:lnTo>
                      <a:pt x="1700" y="6600"/>
                    </a:lnTo>
                    <a:lnTo>
                      <a:pt x="1550" y="10900"/>
                    </a:lnTo>
                    <a:lnTo>
                      <a:pt x="2000" y="10850"/>
                    </a:lnTo>
                    <a:lnTo>
                      <a:pt x="2300" y="10850"/>
                    </a:lnTo>
                    <a:lnTo>
                      <a:pt x="2550" y="10900"/>
                    </a:lnTo>
                    <a:close/>
                    <a:moveTo>
                      <a:pt x="4250" y="13450"/>
                    </a:moveTo>
                    <a:lnTo>
                      <a:pt x="7150" y="13050"/>
                    </a:lnTo>
                    <a:lnTo>
                      <a:pt x="7200" y="12850"/>
                    </a:lnTo>
                    <a:lnTo>
                      <a:pt x="7200" y="12650"/>
                    </a:lnTo>
                    <a:lnTo>
                      <a:pt x="7150" y="12450"/>
                    </a:lnTo>
                    <a:lnTo>
                      <a:pt x="7050" y="12250"/>
                    </a:lnTo>
                    <a:lnTo>
                      <a:pt x="4100" y="12500"/>
                    </a:lnTo>
                    <a:lnTo>
                      <a:pt x="4200" y="12850"/>
                    </a:lnTo>
                    <a:lnTo>
                      <a:pt x="4250" y="13200"/>
                    </a:lnTo>
                    <a:lnTo>
                      <a:pt x="4250" y="13450"/>
                    </a:lnTo>
                    <a:close/>
                    <a:moveTo>
                      <a:pt x="4100" y="1300"/>
                    </a:moveTo>
                    <a:lnTo>
                      <a:pt x="4100" y="1050"/>
                    </a:lnTo>
                    <a:lnTo>
                      <a:pt x="4200" y="850"/>
                    </a:lnTo>
                    <a:lnTo>
                      <a:pt x="4300" y="600"/>
                    </a:lnTo>
                    <a:lnTo>
                      <a:pt x="4450" y="400"/>
                    </a:lnTo>
                    <a:lnTo>
                      <a:pt x="4650" y="250"/>
                    </a:lnTo>
                    <a:lnTo>
                      <a:pt x="4850" y="150"/>
                    </a:lnTo>
                    <a:lnTo>
                      <a:pt x="5100" y="50"/>
                    </a:lnTo>
                    <a:lnTo>
                      <a:pt x="5350" y="50"/>
                    </a:lnTo>
                    <a:lnTo>
                      <a:pt x="5700" y="100"/>
                    </a:lnTo>
                    <a:lnTo>
                      <a:pt x="6050" y="250"/>
                    </a:lnTo>
                    <a:lnTo>
                      <a:pt x="6300" y="450"/>
                    </a:lnTo>
                    <a:lnTo>
                      <a:pt x="6500" y="750"/>
                    </a:lnTo>
                    <a:lnTo>
                      <a:pt x="6100" y="1150"/>
                    </a:lnTo>
                    <a:lnTo>
                      <a:pt x="5800" y="1600"/>
                    </a:lnTo>
                    <a:lnTo>
                      <a:pt x="5550" y="2050"/>
                    </a:lnTo>
                    <a:lnTo>
                      <a:pt x="5300" y="2600"/>
                    </a:lnTo>
                    <a:lnTo>
                      <a:pt x="5150" y="2550"/>
                    </a:lnTo>
                    <a:lnTo>
                      <a:pt x="5450" y="2100"/>
                    </a:lnTo>
                    <a:lnTo>
                      <a:pt x="5400" y="1950"/>
                    </a:lnTo>
                    <a:lnTo>
                      <a:pt x="5300" y="1750"/>
                    </a:lnTo>
                    <a:lnTo>
                      <a:pt x="5150" y="1600"/>
                    </a:lnTo>
                    <a:lnTo>
                      <a:pt x="4950" y="1500"/>
                    </a:lnTo>
                    <a:lnTo>
                      <a:pt x="4700" y="1500"/>
                    </a:lnTo>
                    <a:lnTo>
                      <a:pt x="4550" y="1500"/>
                    </a:lnTo>
                    <a:lnTo>
                      <a:pt x="4250" y="1950"/>
                    </a:lnTo>
                    <a:lnTo>
                      <a:pt x="4150" y="1650"/>
                    </a:lnTo>
                    <a:lnTo>
                      <a:pt x="4100" y="1300"/>
                    </a:lnTo>
                    <a:close/>
                    <a:moveTo>
                      <a:pt x="800" y="5900"/>
                    </a:moveTo>
                    <a:lnTo>
                      <a:pt x="800" y="6250"/>
                    </a:lnTo>
                    <a:lnTo>
                      <a:pt x="950" y="6550"/>
                    </a:lnTo>
                    <a:lnTo>
                      <a:pt x="1150" y="6800"/>
                    </a:lnTo>
                    <a:lnTo>
                      <a:pt x="1350" y="6950"/>
                    </a:lnTo>
                    <a:lnTo>
                      <a:pt x="1400" y="6500"/>
                    </a:lnTo>
                    <a:lnTo>
                      <a:pt x="1450" y="6400"/>
                    </a:lnTo>
                    <a:lnTo>
                      <a:pt x="1700" y="6250"/>
                    </a:lnTo>
                    <a:lnTo>
                      <a:pt x="2000" y="6150"/>
                    </a:lnTo>
                    <a:lnTo>
                      <a:pt x="2300" y="6200"/>
                    </a:lnTo>
                    <a:lnTo>
                      <a:pt x="2400" y="6250"/>
                    </a:lnTo>
                    <a:lnTo>
                      <a:pt x="2500" y="6350"/>
                    </a:lnTo>
                    <a:lnTo>
                      <a:pt x="2600" y="6450"/>
                    </a:lnTo>
                    <a:lnTo>
                      <a:pt x="2650" y="7050"/>
                    </a:lnTo>
                    <a:lnTo>
                      <a:pt x="2900" y="6850"/>
                    </a:lnTo>
                    <a:lnTo>
                      <a:pt x="3150" y="6550"/>
                    </a:lnTo>
                    <a:lnTo>
                      <a:pt x="3300" y="6250"/>
                    </a:lnTo>
                    <a:lnTo>
                      <a:pt x="3350" y="5900"/>
                    </a:lnTo>
                    <a:lnTo>
                      <a:pt x="3300" y="5650"/>
                    </a:lnTo>
                    <a:lnTo>
                      <a:pt x="3200" y="5400"/>
                    </a:lnTo>
                    <a:lnTo>
                      <a:pt x="3100" y="5200"/>
                    </a:lnTo>
                    <a:lnTo>
                      <a:pt x="2950" y="5000"/>
                    </a:lnTo>
                    <a:lnTo>
                      <a:pt x="2750" y="4850"/>
                    </a:lnTo>
                    <a:lnTo>
                      <a:pt x="2550" y="4700"/>
                    </a:lnTo>
                    <a:lnTo>
                      <a:pt x="2300" y="4650"/>
                    </a:lnTo>
                    <a:lnTo>
                      <a:pt x="2050" y="4650"/>
                    </a:lnTo>
                    <a:lnTo>
                      <a:pt x="1800" y="4650"/>
                    </a:lnTo>
                    <a:lnTo>
                      <a:pt x="1550" y="4750"/>
                    </a:lnTo>
                    <a:lnTo>
                      <a:pt x="1350" y="4850"/>
                    </a:lnTo>
                    <a:lnTo>
                      <a:pt x="1150" y="5000"/>
                    </a:lnTo>
                    <a:lnTo>
                      <a:pt x="1000" y="5200"/>
                    </a:lnTo>
                    <a:lnTo>
                      <a:pt x="850" y="5400"/>
                    </a:lnTo>
                    <a:lnTo>
                      <a:pt x="800" y="5650"/>
                    </a:lnTo>
                    <a:lnTo>
                      <a:pt x="800" y="5900"/>
                    </a:lnTo>
                    <a:close/>
                    <a:moveTo>
                      <a:pt x="9900" y="2100"/>
                    </a:moveTo>
                    <a:lnTo>
                      <a:pt x="10300" y="2150"/>
                    </a:lnTo>
                    <a:lnTo>
                      <a:pt x="10600" y="2300"/>
                    </a:lnTo>
                    <a:lnTo>
                      <a:pt x="10900" y="2500"/>
                    </a:lnTo>
                    <a:lnTo>
                      <a:pt x="11200" y="2750"/>
                    </a:lnTo>
                    <a:lnTo>
                      <a:pt x="11400" y="3050"/>
                    </a:lnTo>
                    <a:lnTo>
                      <a:pt x="11550" y="3350"/>
                    </a:lnTo>
                    <a:lnTo>
                      <a:pt x="11650" y="3700"/>
                    </a:lnTo>
                    <a:lnTo>
                      <a:pt x="11700" y="4100"/>
                    </a:lnTo>
                    <a:lnTo>
                      <a:pt x="11700" y="4500"/>
                    </a:lnTo>
                    <a:lnTo>
                      <a:pt x="11550" y="4850"/>
                    </a:lnTo>
                    <a:lnTo>
                      <a:pt x="11400" y="5200"/>
                    </a:lnTo>
                    <a:lnTo>
                      <a:pt x="11150" y="5500"/>
                    </a:lnTo>
                    <a:lnTo>
                      <a:pt x="10850" y="5750"/>
                    </a:lnTo>
                    <a:lnTo>
                      <a:pt x="10500" y="5951"/>
                    </a:lnTo>
                    <a:lnTo>
                      <a:pt x="10100" y="6100"/>
                    </a:lnTo>
                    <a:lnTo>
                      <a:pt x="9700" y="6150"/>
                    </a:lnTo>
                    <a:lnTo>
                      <a:pt x="9250" y="6100"/>
                    </a:lnTo>
                    <a:lnTo>
                      <a:pt x="8850" y="5951"/>
                    </a:lnTo>
                    <a:lnTo>
                      <a:pt x="8450" y="5700"/>
                    </a:lnTo>
                    <a:lnTo>
                      <a:pt x="8150" y="5400"/>
                    </a:lnTo>
                    <a:lnTo>
                      <a:pt x="8800" y="5250"/>
                    </a:lnTo>
                    <a:lnTo>
                      <a:pt x="8850" y="5150"/>
                    </a:lnTo>
                    <a:lnTo>
                      <a:pt x="9000" y="5000"/>
                    </a:lnTo>
                    <a:lnTo>
                      <a:pt x="9050" y="4800"/>
                    </a:lnTo>
                    <a:lnTo>
                      <a:pt x="9050" y="4550"/>
                    </a:lnTo>
                    <a:lnTo>
                      <a:pt x="9050" y="4350"/>
                    </a:lnTo>
                    <a:lnTo>
                      <a:pt x="9000" y="4150"/>
                    </a:lnTo>
                    <a:lnTo>
                      <a:pt x="8900" y="3950"/>
                    </a:lnTo>
                    <a:lnTo>
                      <a:pt x="8800" y="3750"/>
                    </a:lnTo>
                    <a:lnTo>
                      <a:pt x="8650" y="3600"/>
                    </a:lnTo>
                    <a:lnTo>
                      <a:pt x="8450" y="3450"/>
                    </a:lnTo>
                    <a:lnTo>
                      <a:pt x="8350" y="3400"/>
                    </a:lnTo>
                    <a:lnTo>
                      <a:pt x="7900" y="3500"/>
                    </a:lnTo>
                    <a:lnTo>
                      <a:pt x="8050" y="3250"/>
                    </a:lnTo>
                    <a:lnTo>
                      <a:pt x="8250" y="3000"/>
                    </a:lnTo>
                    <a:lnTo>
                      <a:pt x="8450" y="2800"/>
                    </a:lnTo>
                    <a:lnTo>
                      <a:pt x="8700" y="2600"/>
                    </a:lnTo>
                    <a:lnTo>
                      <a:pt x="8950" y="2450"/>
                    </a:lnTo>
                    <a:lnTo>
                      <a:pt x="9250" y="2300"/>
                    </a:lnTo>
                    <a:lnTo>
                      <a:pt x="9900" y="2100"/>
                    </a:lnTo>
                    <a:close/>
                    <a:moveTo>
                      <a:pt x="0" y="13250"/>
                    </a:moveTo>
                    <a:lnTo>
                      <a:pt x="50" y="12850"/>
                    </a:lnTo>
                    <a:lnTo>
                      <a:pt x="150" y="12500"/>
                    </a:lnTo>
                    <a:lnTo>
                      <a:pt x="300" y="12150"/>
                    </a:lnTo>
                    <a:lnTo>
                      <a:pt x="550" y="11900"/>
                    </a:lnTo>
                    <a:lnTo>
                      <a:pt x="800" y="11650"/>
                    </a:lnTo>
                    <a:lnTo>
                      <a:pt x="1150" y="11500"/>
                    </a:lnTo>
                    <a:lnTo>
                      <a:pt x="1500" y="11350"/>
                    </a:lnTo>
                    <a:lnTo>
                      <a:pt x="1850" y="11350"/>
                    </a:lnTo>
                    <a:lnTo>
                      <a:pt x="2250" y="11350"/>
                    </a:lnTo>
                    <a:lnTo>
                      <a:pt x="2600" y="11450"/>
                    </a:lnTo>
                    <a:lnTo>
                      <a:pt x="2950" y="11650"/>
                    </a:lnTo>
                    <a:lnTo>
                      <a:pt x="3200" y="11850"/>
                    </a:lnTo>
                    <a:lnTo>
                      <a:pt x="3450" y="12150"/>
                    </a:lnTo>
                    <a:lnTo>
                      <a:pt x="3600" y="12450"/>
                    </a:lnTo>
                    <a:lnTo>
                      <a:pt x="3750" y="12800"/>
                    </a:lnTo>
                    <a:lnTo>
                      <a:pt x="3800" y="13200"/>
                    </a:lnTo>
                    <a:lnTo>
                      <a:pt x="3750" y="13550"/>
                    </a:lnTo>
                    <a:lnTo>
                      <a:pt x="3650" y="13900"/>
                    </a:lnTo>
                    <a:lnTo>
                      <a:pt x="3450" y="14250"/>
                    </a:lnTo>
                    <a:lnTo>
                      <a:pt x="3250" y="14550"/>
                    </a:lnTo>
                    <a:lnTo>
                      <a:pt x="2950" y="14750"/>
                    </a:lnTo>
                    <a:lnTo>
                      <a:pt x="2650" y="14951"/>
                    </a:lnTo>
                    <a:lnTo>
                      <a:pt x="2300" y="15050"/>
                    </a:lnTo>
                    <a:lnTo>
                      <a:pt x="1900" y="15100"/>
                    </a:lnTo>
                    <a:lnTo>
                      <a:pt x="1550" y="15050"/>
                    </a:lnTo>
                    <a:lnTo>
                      <a:pt x="1200" y="14951"/>
                    </a:lnTo>
                    <a:lnTo>
                      <a:pt x="850" y="14800"/>
                    </a:lnTo>
                    <a:lnTo>
                      <a:pt x="600" y="14550"/>
                    </a:lnTo>
                    <a:lnTo>
                      <a:pt x="350" y="14300"/>
                    </a:lnTo>
                    <a:lnTo>
                      <a:pt x="150" y="13950"/>
                    </a:lnTo>
                    <a:lnTo>
                      <a:pt x="50" y="13600"/>
                    </a:lnTo>
                    <a:lnTo>
                      <a:pt x="0" y="13250"/>
                    </a:lnTo>
                    <a:close/>
                  </a:path>
                </a:pathLst>
              </a:custGeom>
              <a:grpFill/>
              <a:ln w="9525">
                <a:noFill/>
                <a:round/>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anose="020B0503020204020204" pitchFamily="34" charset="-122"/>
                </a:endParaRPr>
              </a:p>
            </p:txBody>
          </p:sp>
        </p:grpSp>
        <p:grpSp>
          <p:nvGrpSpPr>
            <p:cNvPr id="235" name="组合 27"/>
            <p:cNvGrpSpPr/>
            <p:nvPr/>
          </p:nvGrpSpPr>
          <p:grpSpPr>
            <a:xfrm>
              <a:off x="10723822" y="3664790"/>
              <a:ext cx="169868" cy="232724"/>
              <a:chOff x="5713413" y="2286000"/>
              <a:chExt cx="841375" cy="1295401"/>
            </a:xfrm>
            <a:grpFill/>
          </p:grpSpPr>
          <p:sp>
            <p:nvSpPr>
              <p:cNvPr id="236" name="Freeform 17"/>
              <p:cNvSpPr>
                <a:spLocks/>
              </p:cNvSpPr>
              <p:nvPr/>
            </p:nvSpPr>
            <p:spPr bwMode="auto">
              <a:xfrm>
                <a:off x="5842001" y="2941638"/>
                <a:ext cx="277813" cy="130175"/>
              </a:xfrm>
              <a:custGeom>
                <a:avLst/>
                <a:gdLst/>
                <a:ahLst/>
                <a:cxnLst>
                  <a:cxn ang="0">
                    <a:pos x="0" y="1639"/>
                  </a:cxn>
                  <a:cxn ang="0">
                    <a:pos x="3485" y="1639"/>
                  </a:cxn>
                  <a:cxn ang="0">
                    <a:pos x="3377" y="1411"/>
                  </a:cxn>
                  <a:cxn ang="0">
                    <a:pos x="3233" y="1177"/>
                  </a:cxn>
                  <a:cxn ang="0">
                    <a:pos x="3055" y="963"/>
                  </a:cxn>
                  <a:cxn ang="0">
                    <a:pos x="2877" y="749"/>
                  </a:cxn>
                  <a:cxn ang="0">
                    <a:pos x="2662" y="534"/>
                  </a:cxn>
                  <a:cxn ang="0">
                    <a:pos x="2431" y="355"/>
                  </a:cxn>
                  <a:cxn ang="0">
                    <a:pos x="2198" y="159"/>
                  </a:cxn>
                  <a:cxn ang="0">
                    <a:pos x="1946" y="0"/>
                  </a:cxn>
                  <a:cxn ang="0">
                    <a:pos x="1626" y="141"/>
                  </a:cxn>
                  <a:cxn ang="0">
                    <a:pos x="1322" y="301"/>
                  </a:cxn>
                  <a:cxn ang="0">
                    <a:pos x="1034" y="480"/>
                  </a:cxn>
                  <a:cxn ang="0">
                    <a:pos x="785" y="677"/>
                  </a:cxn>
                  <a:cxn ang="0">
                    <a:pos x="554" y="893"/>
                  </a:cxn>
                  <a:cxn ang="0">
                    <a:pos x="339" y="1142"/>
                  </a:cxn>
                  <a:cxn ang="0">
                    <a:pos x="161" y="1374"/>
                  </a:cxn>
                  <a:cxn ang="0">
                    <a:pos x="0" y="1639"/>
                  </a:cxn>
                </a:cxnLst>
                <a:rect l="0" t="0" r="r" b="b"/>
                <a:pathLst>
                  <a:path w="3485" h="1639">
                    <a:moveTo>
                      <a:pt x="0" y="1639"/>
                    </a:moveTo>
                    <a:lnTo>
                      <a:pt x="3485" y="1639"/>
                    </a:lnTo>
                    <a:lnTo>
                      <a:pt x="3377" y="1411"/>
                    </a:lnTo>
                    <a:lnTo>
                      <a:pt x="3233" y="1177"/>
                    </a:lnTo>
                    <a:lnTo>
                      <a:pt x="3055" y="963"/>
                    </a:lnTo>
                    <a:lnTo>
                      <a:pt x="2877" y="749"/>
                    </a:lnTo>
                    <a:lnTo>
                      <a:pt x="2662" y="534"/>
                    </a:lnTo>
                    <a:lnTo>
                      <a:pt x="2431" y="355"/>
                    </a:lnTo>
                    <a:lnTo>
                      <a:pt x="2198" y="159"/>
                    </a:lnTo>
                    <a:lnTo>
                      <a:pt x="1946" y="0"/>
                    </a:lnTo>
                    <a:lnTo>
                      <a:pt x="1626" y="141"/>
                    </a:lnTo>
                    <a:lnTo>
                      <a:pt x="1322" y="301"/>
                    </a:lnTo>
                    <a:lnTo>
                      <a:pt x="1034" y="480"/>
                    </a:lnTo>
                    <a:lnTo>
                      <a:pt x="785" y="677"/>
                    </a:lnTo>
                    <a:lnTo>
                      <a:pt x="554" y="893"/>
                    </a:lnTo>
                    <a:lnTo>
                      <a:pt x="339" y="1142"/>
                    </a:lnTo>
                    <a:lnTo>
                      <a:pt x="161" y="1374"/>
                    </a:lnTo>
                    <a:lnTo>
                      <a:pt x="0" y="1639"/>
                    </a:lnTo>
                    <a:close/>
                  </a:path>
                </a:pathLst>
              </a:custGeom>
              <a:grpFill/>
              <a:ln w="9525">
                <a:noFill/>
                <a:round/>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anose="020B0503020204020204" pitchFamily="34" charset="-122"/>
                </a:endParaRPr>
              </a:p>
            </p:txBody>
          </p:sp>
          <p:sp>
            <p:nvSpPr>
              <p:cNvPr id="237" name="Freeform 18"/>
              <p:cNvSpPr>
                <a:spLocks/>
              </p:cNvSpPr>
              <p:nvPr/>
            </p:nvSpPr>
            <p:spPr bwMode="auto">
              <a:xfrm>
                <a:off x="6145213" y="2940050"/>
                <a:ext cx="290513" cy="131763"/>
              </a:xfrm>
              <a:custGeom>
                <a:avLst/>
                <a:gdLst/>
                <a:ahLst/>
                <a:cxnLst>
                  <a:cxn ang="0">
                    <a:pos x="0" y="1658"/>
                  </a:cxn>
                  <a:cxn ang="0">
                    <a:pos x="3665" y="1658"/>
                  </a:cxn>
                  <a:cxn ang="0">
                    <a:pos x="3503" y="1393"/>
                  </a:cxn>
                  <a:cxn ang="0">
                    <a:pos x="3308" y="1142"/>
                  </a:cxn>
                  <a:cxn ang="0">
                    <a:pos x="3092" y="912"/>
                  </a:cxn>
                  <a:cxn ang="0">
                    <a:pos x="2842" y="678"/>
                  </a:cxn>
                  <a:cxn ang="0">
                    <a:pos x="2594" y="482"/>
                  </a:cxn>
                  <a:cxn ang="0">
                    <a:pos x="2306" y="302"/>
                  </a:cxn>
                  <a:cxn ang="0">
                    <a:pos x="2002" y="141"/>
                  </a:cxn>
                  <a:cxn ang="0">
                    <a:pos x="1663" y="0"/>
                  </a:cxn>
                  <a:cxn ang="0">
                    <a:pos x="1395" y="160"/>
                  </a:cxn>
                  <a:cxn ang="0">
                    <a:pos x="1126" y="338"/>
                  </a:cxn>
                  <a:cxn ang="0">
                    <a:pos x="893" y="534"/>
                  </a:cxn>
                  <a:cxn ang="0">
                    <a:pos x="662" y="731"/>
                  </a:cxn>
                  <a:cxn ang="0">
                    <a:pos x="465" y="963"/>
                  </a:cxn>
                  <a:cxn ang="0">
                    <a:pos x="286" y="1178"/>
                  </a:cxn>
                  <a:cxn ang="0">
                    <a:pos x="125" y="1410"/>
                  </a:cxn>
                  <a:cxn ang="0">
                    <a:pos x="0" y="1658"/>
                  </a:cxn>
                </a:cxnLst>
                <a:rect l="0" t="0" r="r" b="b"/>
                <a:pathLst>
                  <a:path w="3665" h="1658">
                    <a:moveTo>
                      <a:pt x="0" y="1658"/>
                    </a:moveTo>
                    <a:lnTo>
                      <a:pt x="3665" y="1658"/>
                    </a:lnTo>
                    <a:lnTo>
                      <a:pt x="3503" y="1393"/>
                    </a:lnTo>
                    <a:lnTo>
                      <a:pt x="3308" y="1142"/>
                    </a:lnTo>
                    <a:lnTo>
                      <a:pt x="3092" y="912"/>
                    </a:lnTo>
                    <a:lnTo>
                      <a:pt x="2842" y="678"/>
                    </a:lnTo>
                    <a:lnTo>
                      <a:pt x="2594" y="482"/>
                    </a:lnTo>
                    <a:lnTo>
                      <a:pt x="2306" y="302"/>
                    </a:lnTo>
                    <a:lnTo>
                      <a:pt x="2002" y="141"/>
                    </a:lnTo>
                    <a:lnTo>
                      <a:pt x="1663" y="0"/>
                    </a:lnTo>
                    <a:lnTo>
                      <a:pt x="1395" y="160"/>
                    </a:lnTo>
                    <a:lnTo>
                      <a:pt x="1126" y="338"/>
                    </a:lnTo>
                    <a:lnTo>
                      <a:pt x="893" y="534"/>
                    </a:lnTo>
                    <a:lnTo>
                      <a:pt x="662" y="731"/>
                    </a:lnTo>
                    <a:lnTo>
                      <a:pt x="465" y="963"/>
                    </a:lnTo>
                    <a:lnTo>
                      <a:pt x="286" y="1178"/>
                    </a:lnTo>
                    <a:lnTo>
                      <a:pt x="125" y="1410"/>
                    </a:lnTo>
                    <a:lnTo>
                      <a:pt x="0" y="1658"/>
                    </a:lnTo>
                    <a:close/>
                  </a:path>
                </a:pathLst>
              </a:custGeom>
              <a:grpFill/>
              <a:ln w="9525">
                <a:noFill/>
                <a:round/>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anose="020B0503020204020204" pitchFamily="34" charset="-122"/>
                </a:endParaRPr>
              </a:p>
            </p:txBody>
          </p:sp>
          <p:sp>
            <p:nvSpPr>
              <p:cNvPr id="238" name="Freeform 19"/>
              <p:cNvSpPr>
                <a:spLocks noEditPoints="1"/>
              </p:cNvSpPr>
              <p:nvPr/>
            </p:nvSpPr>
            <p:spPr bwMode="auto">
              <a:xfrm>
                <a:off x="5773738" y="2286000"/>
                <a:ext cx="735013" cy="650875"/>
              </a:xfrm>
              <a:custGeom>
                <a:avLst/>
                <a:gdLst/>
                <a:ahLst/>
                <a:cxnLst>
                  <a:cxn ang="0">
                    <a:pos x="1305" y="6786"/>
                  </a:cxn>
                  <a:cxn ang="0">
                    <a:pos x="2359" y="7284"/>
                  </a:cxn>
                  <a:cxn ang="0">
                    <a:pos x="3019" y="7784"/>
                  </a:cxn>
                  <a:cxn ang="0">
                    <a:pos x="3841" y="8106"/>
                  </a:cxn>
                  <a:cxn ang="0">
                    <a:pos x="4610" y="8196"/>
                  </a:cxn>
                  <a:cxn ang="0">
                    <a:pos x="5361" y="8106"/>
                  </a:cxn>
                  <a:cxn ang="0">
                    <a:pos x="6201" y="7784"/>
                  </a:cxn>
                  <a:cxn ang="0">
                    <a:pos x="6844" y="7303"/>
                  </a:cxn>
                  <a:cxn ang="0">
                    <a:pos x="7937" y="6801"/>
                  </a:cxn>
                  <a:cxn ang="0">
                    <a:pos x="8812" y="6339"/>
                  </a:cxn>
                  <a:cxn ang="0">
                    <a:pos x="9151" y="5930"/>
                  </a:cxn>
                  <a:cxn ang="0">
                    <a:pos x="9239" y="5320"/>
                  </a:cxn>
                  <a:cxn ang="0">
                    <a:pos x="9113" y="4928"/>
                  </a:cxn>
                  <a:cxn ang="0">
                    <a:pos x="8847" y="3890"/>
                  </a:cxn>
                  <a:cxn ang="0">
                    <a:pos x="8847" y="3285"/>
                  </a:cxn>
                  <a:cxn ang="0">
                    <a:pos x="8685" y="2660"/>
                  </a:cxn>
                  <a:cxn ang="0">
                    <a:pos x="8364" y="2037"/>
                  </a:cxn>
                  <a:cxn ang="0">
                    <a:pos x="7900" y="1481"/>
                  </a:cxn>
                  <a:cxn ang="0">
                    <a:pos x="7258" y="963"/>
                  </a:cxn>
                  <a:cxn ang="0">
                    <a:pos x="6450" y="589"/>
                  </a:cxn>
                  <a:cxn ang="0">
                    <a:pos x="5826" y="233"/>
                  </a:cxn>
                  <a:cxn ang="0">
                    <a:pos x="5077" y="36"/>
                  </a:cxn>
                  <a:cxn ang="0">
                    <a:pos x="4306" y="0"/>
                  </a:cxn>
                  <a:cxn ang="0">
                    <a:pos x="3627" y="107"/>
                  </a:cxn>
                  <a:cxn ang="0">
                    <a:pos x="3038" y="340"/>
                  </a:cxn>
                  <a:cxn ang="0">
                    <a:pos x="2520" y="659"/>
                  </a:cxn>
                  <a:cxn ang="0">
                    <a:pos x="2144" y="1055"/>
                  </a:cxn>
                  <a:cxn ang="0">
                    <a:pos x="1892" y="1519"/>
                  </a:cxn>
                  <a:cxn ang="0">
                    <a:pos x="1447" y="1768"/>
                  </a:cxn>
                  <a:cxn ang="0">
                    <a:pos x="1035" y="2107"/>
                  </a:cxn>
                  <a:cxn ang="0">
                    <a:pos x="731" y="2516"/>
                  </a:cxn>
                  <a:cxn ang="0">
                    <a:pos x="534" y="2946"/>
                  </a:cxn>
                  <a:cxn ang="0">
                    <a:pos x="463" y="3394"/>
                  </a:cxn>
                  <a:cxn ang="0">
                    <a:pos x="517" y="3802"/>
                  </a:cxn>
                  <a:cxn ang="0">
                    <a:pos x="141" y="4928"/>
                  </a:cxn>
                  <a:cxn ang="0">
                    <a:pos x="15" y="5320"/>
                  </a:cxn>
                  <a:cxn ang="0">
                    <a:pos x="107" y="5930"/>
                  </a:cxn>
                  <a:cxn ang="0">
                    <a:pos x="445" y="6339"/>
                  </a:cxn>
                  <a:cxn ang="0">
                    <a:pos x="2429" y="4535"/>
                  </a:cxn>
                  <a:cxn ang="0">
                    <a:pos x="3108" y="4161"/>
                  </a:cxn>
                  <a:cxn ang="0">
                    <a:pos x="3538" y="3713"/>
                  </a:cxn>
                  <a:cxn ang="0">
                    <a:pos x="3951" y="4017"/>
                  </a:cxn>
                  <a:cxn ang="0">
                    <a:pos x="4503" y="4642"/>
                  </a:cxn>
                  <a:cxn ang="0">
                    <a:pos x="5271" y="5160"/>
                  </a:cxn>
                  <a:cxn ang="0">
                    <a:pos x="6131" y="5483"/>
                  </a:cxn>
                  <a:cxn ang="0">
                    <a:pos x="6970" y="5535"/>
                  </a:cxn>
                  <a:cxn ang="0">
                    <a:pos x="6773" y="6087"/>
                  </a:cxn>
                  <a:cxn ang="0">
                    <a:pos x="6469" y="6554"/>
                  </a:cxn>
                  <a:cxn ang="0">
                    <a:pos x="6041" y="6945"/>
                  </a:cxn>
                  <a:cxn ang="0">
                    <a:pos x="5541" y="7232"/>
                  </a:cxn>
                  <a:cxn ang="0">
                    <a:pos x="4988" y="7374"/>
                  </a:cxn>
                  <a:cxn ang="0">
                    <a:pos x="4414" y="7409"/>
                  </a:cxn>
                  <a:cxn ang="0">
                    <a:pos x="3752" y="7249"/>
                  </a:cxn>
                  <a:cxn ang="0">
                    <a:pos x="3163" y="6929"/>
                  </a:cxn>
                  <a:cxn ang="0">
                    <a:pos x="2679" y="6464"/>
                  </a:cxn>
                  <a:cxn ang="0">
                    <a:pos x="2340" y="5894"/>
                  </a:cxn>
                  <a:cxn ang="0">
                    <a:pos x="2180" y="5213"/>
                  </a:cxn>
                  <a:cxn ang="0">
                    <a:pos x="2196" y="4607"/>
                  </a:cxn>
                </a:cxnLst>
                <a:rect l="0" t="0" r="r" b="b"/>
                <a:pathLst>
                  <a:path w="9257" h="8196">
                    <a:moveTo>
                      <a:pt x="534" y="6391"/>
                    </a:moveTo>
                    <a:lnTo>
                      <a:pt x="909" y="6606"/>
                    </a:lnTo>
                    <a:lnTo>
                      <a:pt x="1305" y="6786"/>
                    </a:lnTo>
                    <a:lnTo>
                      <a:pt x="1732" y="6945"/>
                    </a:lnTo>
                    <a:lnTo>
                      <a:pt x="2162" y="7090"/>
                    </a:lnTo>
                    <a:lnTo>
                      <a:pt x="2359" y="7284"/>
                    </a:lnTo>
                    <a:lnTo>
                      <a:pt x="2555" y="7462"/>
                    </a:lnTo>
                    <a:lnTo>
                      <a:pt x="2769" y="7643"/>
                    </a:lnTo>
                    <a:lnTo>
                      <a:pt x="3019" y="7784"/>
                    </a:lnTo>
                    <a:lnTo>
                      <a:pt x="3305" y="7927"/>
                    </a:lnTo>
                    <a:lnTo>
                      <a:pt x="3608" y="8036"/>
                    </a:lnTo>
                    <a:lnTo>
                      <a:pt x="3841" y="8106"/>
                    </a:lnTo>
                    <a:lnTo>
                      <a:pt x="4091" y="8161"/>
                    </a:lnTo>
                    <a:lnTo>
                      <a:pt x="4343" y="8196"/>
                    </a:lnTo>
                    <a:lnTo>
                      <a:pt x="4610" y="8196"/>
                    </a:lnTo>
                    <a:lnTo>
                      <a:pt x="4861" y="8196"/>
                    </a:lnTo>
                    <a:lnTo>
                      <a:pt x="5110" y="8161"/>
                    </a:lnTo>
                    <a:lnTo>
                      <a:pt x="5361" y="8106"/>
                    </a:lnTo>
                    <a:lnTo>
                      <a:pt x="5592" y="8053"/>
                    </a:lnTo>
                    <a:lnTo>
                      <a:pt x="5916" y="7927"/>
                    </a:lnTo>
                    <a:lnTo>
                      <a:pt x="6201" y="7784"/>
                    </a:lnTo>
                    <a:lnTo>
                      <a:pt x="6435" y="7643"/>
                    </a:lnTo>
                    <a:lnTo>
                      <a:pt x="6647" y="7481"/>
                    </a:lnTo>
                    <a:lnTo>
                      <a:pt x="6844" y="7303"/>
                    </a:lnTo>
                    <a:lnTo>
                      <a:pt x="7042" y="7105"/>
                    </a:lnTo>
                    <a:lnTo>
                      <a:pt x="7489" y="6965"/>
                    </a:lnTo>
                    <a:lnTo>
                      <a:pt x="7937" y="6801"/>
                    </a:lnTo>
                    <a:lnTo>
                      <a:pt x="8345" y="6606"/>
                    </a:lnTo>
                    <a:lnTo>
                      <a:pt x="8723" y="6391"/>
                    </a:lnTo>
                    <a:lnTo>
                      <a:pt x="8812" y="6339"/>
                    </a:lnTo>
                    <a:lnTo>
                      <a:pt x="8899" y="6268"/>
                    </a:lnTo>
                    <a:lnTo>
                      <a:pt x="9043" y="6107"/>
                    </a:lnTo>
                    <a:lnTo>
                      <a:pt x="9151" y="5930"/>
                    </a:lnTo>
                    <a:lnTo>
                      <a:pt x="9223" y="5731"/>
                    </a:lnTo>
                    <a:lnTo>
                      <a:pt x="9257" y="5535"/>
                    </a:lnTo>
                    <a:lnTo>
                      <a:pt x="9239" y="5320"/>
                    </a:lnTo>
                    <a:lnTo>
                      <a:pt x="9205" y="5123"/>
                    </a:lnTo>
                    <a:lnTo>
                      <a:pt x="9168" y="5016"/>
                    </a:lnTo>
                    <a:lnTo>
                      <a:pt x="9113" y="4928"/>
                    </a:lnTo>
                    <a:lnTo>
                      <a:pt x="8759" y="4286"/>
                    </a:lnTo>
                    <a:lnTo>
                      <a:pt x="8812" y="4089"/>
                    </a:lnTo>
                    <a:lnTo>
                      <a:pt x="8847" y="3890"/>
                    </a:lnTo>
                    <a:lnTo>
                      <a:pt x="8864" y="3696"/>
                    </a:lnTo>
                    <a:lnTo>
                      <a:pt x="8864" y="3500"/>
                    </a:lnTo>
                    <a:lnTo>
                      <a:pt x="8847" y="3285"/>
                    </a:lnTo>
                    <a:lnTo>
                      <a:pt x="8812" y="3070"/>
                    </a:lnTo>
                    <a:lnTo>
                      <a:pt x="8759" y="2856"/>
                    </a:lnTo>
                    <a:lnTo>
                      <a:pt x="8685" y="2660"/>
                    </a:lnTo>
                    <a:lnTo>
                      <a:pt x="8598" y="2445"/>
                    </a:lnTo>
                    <a:lnTo>
                      <a:pt x="8489" y="2233"/>
                    </a:lnTo>
                    <a:lnTo>
                      <a:pt x="8364" y="2037"/>
                    </a:lnTo>
                    <a:lnTo>
                      <a:pt x="8222" y="1840"/>
                    </a:lnTo>
                    <a:lnTo>
                      <a:pt x="8059" y="1660"/>
                    </a:lnTo>
                    <a:lnTo>
                      <a:pt x="7900" y="1481"/>
                    </a:lnTo>
                    <a:lnTo>
                      <a:pt x="7703" y="1305"/>
                    </a:lnTo>
                    <a:lnTo>
                      <a:pt x="7506" y="1141"/>
                    </a:lnTo>
                    <a:lnTo>
                      <a:pt x="7258" y="963"/>
                    </a:lnTo>
                    <a:lnTo>
                      <a:pt x="6988" y="822"/>
                    </a:lnTo>
                    <a:lnTo>
                      <a:pt x="6718" y="678"/>
                    </a:lnTo>
                    <a:lnTo>
                      <a:pt x="6450" y="589"/>
                    </a:lnTo>
                    <a:lnTo>
                      <a:pt x="6275" y="445"/>
                    </a:lnTo>
                    <a:lnTo>
                      <a:pt x="6059" y="340"/>
                    </a:lnTo>
                    <a:lnTo>
                      <a:pt x="5826" y="233"/>
                    </a:lnTo>
                    <a:lnTo>
                      <a:pt x="5592" y="141"/>
                    </a:lnTo>
                    <a:lnTo>
                      <a:pt x="5341" y="90"/>
                    </a:lnTo>
                    <a:lnTo>
                      <a:pt x="5077" y="36"/>
                    </a:lnTo>
                    <a:lnTo>
                      <a:pt x="4807" y="0"/>
                    </a:lnTo>
                    <a:lnTo>
                      <a:pt x="4540" y="0"/>
                    </a:lnTo>
                    <a:lnTo>
                      <a:pt x="4306" y="0"/>
                    </a:lnTo>
                    <a:lnTo>
                      <a:pt x="4073" y="18"/>
                    </a:lnTo>
                    <a:lnTo>
                      <a:pt x="3841" y="52"/>
                    </a:lnTo>
                    <a:lnTo>
                      <a:pt x="3627" y="107"/>
                    </a:lnTo>
                    <a:lnTo>
                      <a:pt x="3412" y="179"/>
                    </a:lnTo>
                    <a:lnTo>
                      <a:pt x="3216" y="250"/>
                    </a:lnTo>
                    <a:lnTo>
                      <a:pt x="3038" y="340"/>
                    </a:lnTo>
                    <a:lnTo>
                      <a:pt x="2859" y="429"/>
                    </a:lnTo>
                    <a:lnTo>
                      <a:pt x="2679" y="537"/>
                    </a:lnTo>
                    <a:lnTo>
                      <a:pt x="2520" y="659"/>
                    </a:lnTo>
                    <a:lnTo>
                      <a:pt x="2377" y="785"/>
                    </a:lnTo>
                    <a:lnTo>
                      <a:pt x="2250" y="911"/>
                    </a:lnTo>
                    <a:lnTo>
                      <a:pt x="2144" y="1055"/>
                    </a:lnTo>
                    <a:lnTo>
                      <a:pt x="2036" y="1196"/>
                    </a:lnTo>
                    <a:lnTo>
                      <a:pt x="1966" y="1357"/>
                    </a:lnTo>
                    <a:lnTo>
                      <a:pt x="1892" y="1519"/>
                    </a:lnTo>
                    <a:lnTo>
                      <a:pt x="1732" y="1589"/>
                    </a:lnTo>
                    <a:lnTo>
                      <a:pt x="1589" y="1660"/>
                    </a:lnTo>
                    <a:lnTo>
                      <a:pt x="1447" y="1768"/>
                    </a:lnTo>
                    <a:lnTo>
                      <a:pt x="1286" y="1875"/>
                    </a:lnTo>
                    <a:lnTo>
                      <a:pt x="1160" y="1982"/>
                    </a:lnTo>
                    <a:lnTo>
                      <a:pt x="1035" y="2107"/>
                    </a:lnTo>
                    <a:lnTo>
                      <a:pt x="909" y="2233"/>
                    </a:lnTo>
                    <a:lnTo>
                      <a:pt x="820" y="2375"/>
                    </a:lnTo>
                    <a:lnTo>
                      <a:pt x="731" y="2516"/>
                    </a:lnTo>
                    <a:lnTo>
                      <a:pt x="641" y="2660"/>
                    </a:lnTo>
                    <a:lnTo>
                      <a:pt x="589" y="2804"/>
                    </a:lnTo>
                    <a:lnTo>
                      <a:pt x="534" y="2946"/>
                    </a:lnTo>
                    <a:lnTo>
                      <a:pt x="500" y="3090"/>
                    </a:lnTo>
                    <a:lnTo>
                      <a:pt x="480" y="3233"/>
                    </a:lnTo>
                    <a:lnTo>
                      <a:pt x="463" y="3394"/>
                    </a:lnTo>
                    <a:lnTo>
                      <a:pt x="463" y="3537"/>
                    </a:lnTo>
                    <a:lnTo>
                      <a:pt x="480" y="3661"/>
                    </a:lnTo>
                    <a:lnTo>
                      <a:pt x="517" y="3802"/>
                    </a:lnTo>
                    <a:lnTo>
                      <a:pt x="571" y="3927"/>
                    </a:lnTo>
                    <a:lnTo>
                      <a:pt x="624" y="4052"/>
                    </a:lnTo>
                    <a:lnTo>
                      <a:pt x="141" y="4928"/>
                    </a:lnTo>
                    <a:lnTo>
                      <a:pt x="88" y="5016"/>
                    </a:lnTo>
                    <a:lnTo>
                      <a:pt x="52" y="5123"/>
                    </a:lnTo>
                    <a:lnTo>
                      <a:pt x="15" y="5320"/>
                    </a:lnTo>
                    <a:lnTo>
                      <a:pt x="0" y="5535"/>
                    </a:lnTo>
                    <a:lnTo>
                      <a:pt x="37" y="5731"/>
                    </a:lnTo>
                    <a:lnTo>
                      <a:pt x="107" y="5930"/>
                    </a:lnTo>
                    <a:lnTo>
                      <a:pt x="212" y="6107"/>
                    </a:lnTo>
                    <a:lnTo>
                      <a:pt x="356" y="6268"/>
                    </a:lnTo>
                    <a:lnTo>
                      <a:pt x="445" y="6339"/>
                    </a:lnTo>
                    <a:lnTo>
                      <a:pt x="534" y="6391"/>
                    </a:lnTo>
                    <a:close/>
                    <a:moveTo>
                      <a:pt x="2196" y="4607"/>
                    </a:moveTo>
                    <a:lnTo>
                      <a:pt x="2429" y="4535"/>
                    </a:lnTo>
                    <a:lnTo>
                      <a:pt x="2663" y="4430"/>
                    </a:lnTo>
                    <a:lnTo>
                      <a:pt x="2894" y="4321"/>
                    </a:lnTo>
                    <a:lnTo>
                      <a:pt x="3108" y="4161"/>
                    </a:lnTo>
                    <a:lnTo>
                      <a:pt x="3252" y="4035"/>
                    </a:lnTo>
                    <a:lnTo>
                      <a:pt x="3394" y="3890"/>
                    </a:lnTo>
                    <a:lnTo>
                      <a:pt x="3538" y="3713"/>
                    </a:lnTo>
                    <a:lnTo>
                      <a:pt x="3646" y="3553"/>
                    </a:lnTo>
                    <a:lnTo>
                      <a:pt x="3790" y="3786"/>
                    </a:lnTo>
                    <a:lnTo>
                      <a:pt x="3951" y="4017"/>
                    </a:lnTo>
                    <a:lnTo>
                      <a:pt x="4110" y="4231"/>
                    </a:lnTo>
                    <a:lnTo>
                      <a:pt x="4289" y="4446"/>
                    </a:lnTo>
                    <a:lnTo>
                      <a:pt x="4503" y="4642"/>
                    </a:lnTo>
                    <a:lnTo>
                      <a:pt x="4736" y="4823"/>
                    </a:lnTo>
                    <a:lnTo>
                      <a:pt x="5003" y="5016"/>
                    </a:lnTo>
                    <a:lnTo>
                      <a:pt x="5271" y="5160"/>
                    </a:lnTo>
                    <a:lnTo>
                      <a:pt x="5557" y="5302"/>
                    </a:lnTo>
                    <a:lnTo>
                      <a:pt x="5845" y="5412"/>
                    </a:lnTo>
                    <a:lnTo>
                      <a:pt x="6131" y="5483"/>
                    </a:lnTo>
                    <a:lnTo>
                      <a:pt x="6413" y="5516"/>
                    </a:lnTo>
                    <a:lnTo>
                      <a:pt x="6702" y="5554"/>
                    </a:lnTo>
                    <a:lnTo>
                      <a:pt x="6970" y="5535"/>
                    </a:lnTo>
                    <a:lnTo>
                      <a:pt x="6917" y="5731"/>
                    </a:lnTo>
                    <a:lnTo>
                      <a:pt x="6862" y="5909"/>
                    </a:lnTo>
                    <a:lnTo>
                      <a:pt x="6773" y="6087"/>
                    </a:lnTo>
                    <a:lnTo>
                      <a:pt x="6683" y="6250"/>
                    </a:lnTo>
                    <a:lnTo>
                      <a:pt x="6576" y="6411"/>
                    </a:lnTo>
                    <a:lnTo>
                      <a:pt x="6469" y="6554"/>
                    </a:lnTo>
                    <a:lnTo>
                      <a:pt x="6327" y="6697"/>
                    </a:lnTo>
                    <a:lnTo>
                      <a:pt x="6201" y="6821"/>
                    </a:lnTo>
                    <a:lnTo>
                      <a:pt x="6041" y="6945"/>
                    </a:lnTo>
                    <a:lnTo>
                      <a:pt x="5879" y="7053"/>
                    </a:lnTo>
                    <a:lnTo>
                      <a:pt x="5718" y="7143"/>
                    </a:lnTo>
                    <a:lnTo>
                      <a:pt x="5541" y="7232"/>
                    </a:lnTo>
                    <a:lnTo>
                      <a:pt x="5361" y="7284"/>
                    </a:lnTo>
                    <a:lnTo>
                      <a:pt x="5182" y="7339"/>
                    </a:lnTo>
                    <a:lnTo>
                      <a:pt x="4988" y="7374"/>
                    </a:lnTo>
                    <a:lnTo>
                      <a:pt x="4789" y="7409"/>
                    </a:lnTo>
                    <a:lnTo>
                      <a:pt x="4610" y="7409"/>
                    </a:lnTo>
                    <a:lnTo>
                      <a:pt x="4414" y="7409"/>
                    </a:lnTo>
                    <a:lnTo>
                      <a:pt x="4180" y="7374"/>
                    </a:lnTo>
                    <a:lnTo>
                      <a:pt x="3966" y="7321"/>
                    </a:lnTo>
                    <a:lnTo>
                      <a:pt x="3752" y="7249"/>
                    </a:lnTo>
                    <a:lnTo>
                      <a:pt x="3538" y="7160"/>
                    </a:lnTo>
                    <a:lnTo>
                      <a:pt x="3342" y="7053"/>
                    </a:lnTo>
                    <a:lnTo>
                      <a:pt x="3163" y="6929"/>
                    </a:lnTo>
                    <a:lnTo>
                      <a:pt x="2983" y="6786"/>
                    </a:lnTo>
                    <a:lnTo>
                      <a:pt x="2823" y="6642"/>
                    </a:lnTo>
                    <a:lnTo>
                      <a:pt x="2679" y="6464"/>
                    </a:lnTo>
                    <a:lnTo>
                      <a:pt x="2555" y="6284"/>
                    </a:lnTo>
                    <a:lnTo>
                      <a:pt x="2429" y="6087"/>
                    </a:lnTo>
                    <a:lnTo>
                      <a:pt x="2340" y="5894"/>
                    </a:lnTo>
                    <a:lnTo>
                      <a:pt x="2270" y="5678"/>
                    </a:lnTo>
                    <a:lnTo>
                      <a:pt x="2217" y="5446"/>
                    </a:lnTo>
                    <a:lnTo>
                      <a:pt x="2180" y="5213"/>
                    </a:lnTo>
                    <a:lnTo>
                      <a:pt x="2162" y="4982"/>
                    </a:lnTo>
                    <a:lnTo>
                      <a:pt x="2180" y="4786"/>
                    </a:lnTo>
                    <a:lnTo>
                      <a:pt x="2196" y="4607"/>
                    </a:lnTo>
                    <a:close/>
                  </a:path>
                </a:pathLst>
              </a:custGeom>
              <a:grpFill/>
              <a:ln w="9525">
                <a:noFill/>
                <a:round/>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anose="020B0503020204020204" pitchFamily="34" charset="-122"/>
                </a:endParaRPr>
              </a:p>
            </p:txBody>
          </p:sp>
          <p:sp>
            <p:nvSpPr>
              <p:cNvPr id="239" name="Freeform 20"/>
              <p:cNvSpPr>
                <a:spLocks noEditPoints="1"/>
              </p:cNvSpPr>
              <p:nvPr/>
            </p:nvSpPr>
            <p:spPr bwMode="auto">
              <a:xfrm>
                <a:off x="5713413" y="3128963"/>
                <a:ext cx="841375" cy="452438"/>
              </a:xfrm>
              <a:custGeom>
                <a:avLst/>
                <a:gdLst/>
                <a:ahLst/>
                <a:cxnLst>
                  <a:cxn ang="0">
                    <a:pos x="0" y="4980"/>
                  </a:cxn>
                  <a:cxn ang="0">
                    <a:pos x="10602" y="5695"/>
                  </a:cxn>
                  <a:cxn ang="0">
                    <a:pos x="10602" y="500"/>
                  </a:cxn>
                  <a:cxn ang="0">
                    <a:pos x="10566" y="303"/>
                  </a:cxn>
                  <a:cxn ang="0">
                    <a:pos x="10458" y="141"/>
                  </a:cxn>
                  <a:cxn ang="0">
                    <a:pos x="10298" y="37"/>
                  </a:cxn>
                  <a:cxn ang="0">
                    <a:pos x="10099" y="0"/>
                  </a:cxn>
                  <a:cxn ang="0">
                    <a:pos x="1305" y="0"/>
                  </a:cxn>
                  <a:cxn ang="0">
                    <a:pos x="411" y="16"/>
                  </a:cxn>
                  <a:cxn ang="0">
                    <a:pos x="234" y="89"/>
                  </a:cxn>
                  <a:cxn ang="0">
                    <a:pos x="90" y="231"/>
                  </a:cxn>
                  <a:cxn ang="0">
                    <a:pos x="18" y="408"/>
                  </a:cxn>
                  <a:cxn ang="0">
                    <a:pos x="5291" y="2001"/>
                  </a:cxn>
                  <a:cxn ang="0">
                    <a:pos x="5918" y="2053"/>
                  </a:cxn>
                  <a:cxn ang="0">
                    <a:pos x="6417" y="2160"/>
                  </a:cxn>
                  <a:cxn ang="0">
                    <a:pos x="6758" y="2338"/>
                  </a:cxn>
                  <a:cxn ang="0">
                    <a:pos x="6846" y="2446"/>
                  </a:cxn>
                  <a:cxn ang="0">
                    <a:pos x="6883" y="2552"/>
                  </a:cxn>
                  <a:cxn ang="0">
                    <a:pos x="6846" y="2661"/>
                  </a:cxn>
                  <a:cxn ang="0">
                    <a:pos x="6758" y="2768"/>
                  </a:cxn>
                  <a:cxn ang="0">
                    <a:pos x="6417" y="2945"/>
                  </a:cxn>
                  <a:cxn ang="0">
                    <a:pos x="5918" y="3053"/>
                  </a:cxn>
                  <a:cxn ang="0">
                    <a:pos x="5291" y="3105"/>
                  </a:cxn>
                  <a:cxn ang="0">
                    <a:pos x="4667" y="3053"/>
                  </a:cxn>
                  <a:cxn ang="0">
                    <a:pos x="4165" y="2945"/>
                  </a:cxn>
                  <a:cxn ang="0">
                    <a:pos x="3827" y="2768"/>
                  </a:cxn>
                  <a:cxn ang="0">
                    <a:pos x="3738" y="2661"/>
                  </a:cxn>
                  <a:cxn ang="0">
                    <a:pos x="3700" y="2552"/>
                  </a:cxn>
                  <a:cxn ang="0">
                    <a:pos x="3738" y="2446"/>
                  </a:cxn>
                  <a:cxn ang="0">
                    <a:pos x="3827" y="2338"/>
                  </a:cxn>
                  <a:cxn ang="0">
                    <a:pos x="4165" y="2160"/>
                  </a:cxn>
                  <a:cxn ang="0">
                    <a:pos x="4667" y="2053"/>
                  </a:cxn>
                  <a:cxn ang="0">
                    <a:pos x="5291" y="2001"/>
                  </a:cxn>
                </a:cxnLst>
                <a:rect l="0" t="0" r="r" b="b"/>
                <a:pathLst>
                  <a:path w="10602" h="5695">
                    <a:moveTo>
                      <a:pt x="0" y="500"/>
                    </a:moveTo>
                    <a:lnTo>
                      <a:pt x="0" y="4980"/>
                    </a:lnTo>
                    <a:lnTo>
                      <a:pt x="0" y="5695"/>
                    </a:lnTo>
                    <a:lnTo>
                      <a:pt x="10602" y="5695"/>
                    </a:lnTo>
                    <a:lnTo>
                      <a:pt x="10602" y="4980"/>
                    </a:lnTo>
                    <a:lnTo>
                      <a:pt x="10602" y="500"/>
                    </a:lnTo>
                    <a:lnTo>
                      <a:pt x="10602" y="408"/>
                    </a:lnTo>
                    <a:lnTo>
                      <a:pt x="10566" y="303"/>
                    </a:lnTo>
                    <a:lnTo>
                      <a:pt x="10513" y="231"/>
                    </a:lnTo>
                    <a:lnTo>
                      <a:pt x="10458" y="141"/>
                    </a:lnTo>
                    <a:lnTo>
                      <a:pt x="10388" y="89"/>
                    </a:lnTo>
                    <a:lnTo>
                      <a:pt x="10298" y="37"/>
                    </a:lnTo>
                    <a:lnTo>
                      <a:pt x="10207" y="16"/>
                    </a:lnTo>
                    <a:lnTo>
                      <a:pt x="10099" y="0"/>
                    </a:lnTo>
                    <a:lnTo>
                      <a:pt x="9421" y="0"/>
                    </a:lnTo>
                    <a:lnTo>
                      <a:pt x="1305" y="0"/>
                    </a:lnTo>
                    <a:lnTo>
                      <a:pt x="519" y="0"/>
                    </a:lnTo>
                    <a:lnTo>
                      <a:pt x="411" y="16"/>
                    </a:lnTo>
                    <a:lnTo>
                      <a:pt x="323" y="37"/>
                    </a:lnTo>
                    <a:lnTo>
                      <a:pt x="234" y="89"/>
                    </a:lnTo>
                    <a:lnTo>
                      <a:pt x="162" y="141"/>
                    </a:lnTo>
                    <a:lnTo>
                      <a:pt x="90" y="231"/>
                    </a:lnTo>
                    <a:lnTo>
                      <a:pt x="55" y="303"/>
                    </a:lnTo>
                    <a:lnTo>
                      <a:pt x="18" y="408"/>
                    </a:lnTo>
                    <a:lnTo>
                      <a:pt x="0" y="500"/>
                    </a:lnTo>
                    <a:close/>
                    <a:moveTo>
                      <a:pt x="5291" y="2001"/>
                    </a:moveTo>
                    <a:lnTo>
                      <a:pt x="5615" y="2016"/>
                    </a:lnTo>
                    <a:lnTo>
                      <a:pt x="5918" y="2053"/>
                    </a:lnTo>
                    <a:lnTo>
                      <a:pt x="6186" y="2106"/>
                    </a:lnTo>
                    <a:lnTo>
                      <a:pt x="6417" y="2160"/>
                    </a:lnTo>
                    <a:lnTo>
                      <a:pt x="6616" y="2249"/>
                    </a:lnTo>
                    <a:lnTo>
                      <a:pt x="6758" y="2338"/>
                    </a:lnTo>
                    <a:lnTo>
                      <a:pt x="6812" y="2392"/>
                    </a:lnTo>
                    <a:lnTo>
                      <a:pt x="6846" y="2446"/>
                    </a:lnTo>
                    <a:lnTo>
                      <a:pt x="6865" y="2497"/>
                    </a:lnTo>
                    <a:lnTo>
                      <a:pt x="6883" y="2552"/>
                    </a:lnTo>
                    <a:lnTo>
                      <a:pt x="6865" y="2607"/>
                    </a:lnTo>
                    <a:lnTo>
                      <a:pt x="6846" y="2661"/>
                    </a:lnTo>
                    <a:lnTo>
                      <a:pt x="6812" y="2713"/>
                    </a:lnTo>
                    <a:lnTo>
                      <a:pt x="6758" y="2768"/>
                    </a:lnTo>
                    <a:lnTo>
                      <a:pt x="6616" y="2856"/>
                    </a:lnTo>
                    <a:lnTo>
                      <a:pt x="6417" y="2945"/>
                    </a:lnTo>
                    <a:lnTo>
                      <a:pt x="6186" y="2999"/>
                    </a:lnTo>
                    <a:lnTo>
                      <a:pt x="5918" y="3053"/>
                    </a:lnTo>
                    <a:lnTo>
                      <a:pt x="5615" y="3087"/>
                    </a:lnTo>
                    <a:lnTo>
                      <a:pt x="5291" y="3105"/>
                    </a:lnTo>
                    <a:lnTo>
                      <a:pt x="4971" y="3087"/>
                    </a:lnTo>
                    <a:lnTo>
                      <a:pt x="4667" y="3053"/>
                    </a:lnTo>
                    <a:lnTo>
                      <a:pt x="4398" y="2999"/>
                    </a:lnTo>
                    <a:lnTo>
                      <a:pt x="4165" y="2945"/>
                    </a:lnTo>
                    <a:lnTo>
                      <a:pt x="3969" y="2856"/>
                    </a:lnTo>
                    <a:lnTo>
                      <a:pt x="3827" y="2768"/>
                    </a:lnTo>
                    <a:lnTo>
                      <a:pt x="3773" y="2713"/>
                    </a:lnTo>
                    <a:lnTo>
                      <a:pt x="3738" y="2661"/>
                    </a:lnTo>
                    <a:lnTo>
                      <a:pt x="3700" y="2607"/>
                    </a:lnTo>
                    <a:lnTo>
                      <a:pt x="3700" y="2552"/>
                    </a:lnTo>
                    <a:lnTo>
                      <a:pt x="3700" y="2497"/>
                    </a:lnTo>
                    <a:lnTo>
                      <a:pt x="3738" y="2446"/>
                    </a:lnTo>
                    <a:lnTo>
                      <a:pt x="3773" y="2392"/>
                    </a:lnTo>
                    <a:lnTo>
                      <a:pt x="3827" y="2338"/>
                    </a:lnTo>
                    <a:lnTo>
                      <a:pt x="3969" y="2249"/>
                    </a:lnTo>
                    <a:lnTo>
                      <a:pt x="4165" y="2160"/>
                    </a:lnTo>
                    <a:lnTo>
                      <a:pt x="4398" y="2106"/>
                    </a:lnTo>
                    <a:lnTo>
                      <a:pt x="4667" y="2053"/>
                    </a:lnTo>
                    <a:lnTo>
                      <a:pt x="4971" y="2016"/>
                    </a:lnTo>
                    <a:lnTo>
                      <a:pt x="5291" y="2001"/>
                    </a:lnTo>
                    <a:close/>
                  </a:path>
                </a:pathLst>
              </a:custGeom>
              <a:grpFill/>
              <a:ln w="9525">
                <a:noFill/>
                <a:round/>
                <a:headEnd/>
                <a:tailEnd/>
              </a:ln>
            </p:spPr>
            <p:txBody>
              <a:bodyPr vert="horz" wrap="square" lIns="91437" tIns="45719" rIns="91437" bIns="45719" numCol="1" anchor="t" anchorCtr="0" compatLnSpc="1">
                <a:prstTxWarp prst="textNoShape">
                  <a:avLst/>
                </a:prstTxWarp>
              </a:bodyPr>
              <a:lstStyle/>
              <a:p>
                <a:endParaRPr lang="zh-CN" altLang="en-US">
                  <a:latin typeface="+mj-lt"/>
                  <a:ea typeface="微软雅黑" panose="020B0503020204020204" pitchFamily="34" charset="-122"/>
                </a:endParaRPr>
              </a:p>
            </p:txBody>
          </p:sp>
        </p:grpSp>
      </p:grpSp>
      <p:grpSp>
        <p:nvGrpSpPr>
          <p:cNvPr id="247" name="组合 9"/>
          <p:cNvGrpSpPr/>
          <p:nvPr/>
        </p:nvGrpSpPr>
        <p:grpSpPr>
          <a:xfrm>
            <a:off x="10228855" y="2688456"/>
            <a:ext cx="558779" cy="349189"/>
            <a:chOff x="5374073" y="1206344"/>
            <a:chExt cx="745723" cy="572816"/>
          </a:xfrm>
          <a:solidFill>
            <a:schemeClr val="tx1"/>
          </a:solidFill>
        </p:grpSpPr>
        <p:sp>
          <p:nvSpPr>
            <p:cNvPr id="248" name="Freeform 14"/>
            <p:cNvSpPr>
              <a:spLocks noEditPoints="1"/>
            </p:cNvSpPr>
            <p:nvPr/>
          </p:nvSpPr>
          <p:spPr bwMode="auto">
            <a:xfrm>
              <a:off x="5374073" y="1308980"/>
              <a:ext cx="620959" cy="470180"/>
            </a:xfrm>
            <a:custGeom>
              <a:avLst/>
              <a:gdLst/>
              <a:ahLst/>
              <a:cxnLst>
                <a:cxn ang="0">
                  <a:pos x="3845" y="13163"/>
                </a:cxn>
                <a:cxn ang="0">
                  <a:pos x="7457" y="13163"/>
                </a:cxn>
                <a:cxn ang="0">
                  <a:pos x="7457" y="11165"/>
                </a:cxn>
                <a:cxn ang="0">
                  <a:pos x="0" y="11165"/>
                </a:cxn>
                <a:cxn ang="0">
                  <a:pos x="0" y="0"/>
                </a:cxn>
                <a:cxn ang="0">
                  <a:pos x="16812" y="0"/>
                </a:cxn>
                <a:cxn ang="0">
                  <a:pos x="16812" y="11165"/>
                </a:cxn>
                <a:cxn ang="0">
                  <a:pos x="10277" y="11165"/>
                </a:cxn>
                <a:cxn ang="0">
                  <a:pos x="10277" y="13163"/>
                </a:cxn>
                <a:cxn ang="0">
                  <a:pos x="13890" y="13163"/>
                </a:cxn>
                <a:cxn ang="0">
                  <a:pos x="13890" y="13572"/>
                </a:cxn>
                <a:cxn ang="0">
                  <a:pos x="3845" y="13572"/>
                </a:cxn>
                <a:cxn ang="0">
                  <a:pos x="3845" y="13163"/>
                </a:cxn>
                <a:cxn ang="0">
                  <a:pos x="829" y="863"/>
                </a:cxn>
                <a:cxn ang="0">
                  <a:pos x="15983" y="863"/>
                </a:cxn>
                <a:cxn ang="0">
                  <a:pos x="15983" y="10067"/>
                </a:cxn>
                <a:cxn ang="0">
                  <a:pos x="829" y="10067"/>
                </a:cxn>
                <a:cxn ang="0">
                  <a:pos x="829" y="863"/>
                </a:cxn>
              </a:cxnLst>
              <a:rect l="0" t="0" r="r" b="b"/>
              <a:pathLst>
                <a:path w="16812" h="13572">
                  <a:moveTo>
                    <a:pt x="3845" y="13163"/>
                  </a:moveTo>
                  <a:lnTo>
                    <a:pt x="7457" y="13163"/>
                  </a:lnTo>
                  <a:lnTo>
                    <a:pt x="7457" y="11165"/>
                  </a:lnTo>
                  <a:lnTo>
                    <a:pt x="0" y="11165"/>
                  </a:lnTo>
                  <a:lnTo>
                    <a:pt x="0" y="0"/>
                  </a:lnTo>
                  <a:lnTo>
                    <a:pt x="16812" y="0"/>
                  </a:lnTo>
                  <a:lnTo>
                    <a:pt x="16812" y="11165"/>
                  </a:lnTo>
                  <a:lnTo>
                    <a:pt x="10277" y="11165"/>
                  </a:lnTo>
                  <a:lnTo>
                    <a:pt x="10277" y="13163"/>
                  </a:lnTo>
                  <a:lnTo>
                    <a:pt x="13890" y="13163"/>
                  </a:lnTo>
                  <a:lnTo>
                    <a:pt x="13890" y="13572"/>
                  </a:lnTo>
                  <a:lnTo>
                    <a:pt x="3845" y="13572"/>
                  </a:lnTo>
                  <a:lnTo>
                    <a:pt x="3845" y="13163"/>
                  </a:lnTo>
                  <a:close/>
                  <a:moveTo>
                    <a:pt x="829" y="863"/>
                  </a:moveTo>
                  <a:lnTo>
                    <a:pt x="15983" y="863"/>
                  </a:lnTo>
                  <a:lnTo>
                    <a:pt x="15983" y="10067"/>
                  </a:lnTo>
                  <a:lnTo>
                    <a:pt x="829" y="10067"/>
                  </a:lnTo>
                  <a:lnTo>
                    <a:pt x="829" y="863"/>
                  </a:lnTo>
                  <a:close/>
                </a:path>
              </a:pathLst>
            </a:custGeom>
            <a:grpFill/>
            <a:ln w="9525">
              <a:noFill/>
              <a:round/>
              <a:headEnd/>
              <a:tailEnd/>
            </a:ln>
          </p:spPr>
          <p:txBody>
            <a:bodyPr vert="horz" wrap="square" lIns="121944" tIns="60972" rIns="121944" bIns="60972" numCol="1" anchor="t" anchorCtr="0" compatLnSpc="1">
              <a:prstTxWarp prst="textNoShape">
                <a:avLst/>
              </a:prstTxWarp>
            </a:bodyPr>
            <a:lstStyle/>
            <a:p>
              <a:pPr fontAlgn="base">
                <a:spcBef>
                  <a:spcPct val="0"/>
                </a:spcBef>
                <a:spcAft>
                  <a:spcPct val="0"/>
                </a:spcAft>
              </a:pPr>
              <a:endParaRPr lang="zh-CN" altLang="en-US">
                <a:latin typeface="+mj-lt"/>
                <a:ea typeface="宋体" pitchFamily="2" charset="-122"/>
                <a:cs typeface="Arial" pitchFamily="34" charset="0"/>
              </a:endParaRPr>
            </a:p>
          </p:txBody>
        </p:sp>
        <p:pic>
          <p:nvPicPr>
            <p:cNvPr id="249" name="Picture 4" descr="E:\MO教育行业\pic\untitled.png"/>
            <p:cNvPicPr>
              <a:picLocks noChangeAspect="1" noChangeArrowheads="1"/>
            </p:cNvPicPr>
            <p:nvPr/>
          </p:nvPicPr>
          <p:blipFill>
            <a:blip r:embed="rId15" cstate="print"/>
            <a:srcRect/>
            <a:stretch>
              <a:fillRect/>
            </a:stretch>
          </p:blipFill>
          <p:spPr bwMode="auto">
            <a:xfrm>
              <a:off x="5557687" y="1206344"/>
              <a:ext cx="562109" cy="562094"/>
            </a:xfrm>
            <a:prstGeom prst="ellipse">
              <a:avLst/>
            </a:prstGeom>
            <a:grpFill/>
            <a:ln>
              <a:noFill/>
            </a:ln>
            <a:effectLst>
              <a:softEdge rad="112500"/>
            </a:effectLst>
          </p:spPr>
        </p:pic>
      </p:grpSp>
      <p:sp>
        <p:nvSpPr>
          <p:cNvPr id="250" name="文本框 2"/>
          <p:cNvSpPr txBox="1"/>
          <p:nvPr/>
        </p:nvSpPr>
        <p:spPr>
          <a:xfrm>
            <a:off x="10268370" y="3596242"/>
            <a:ext cx="463933" cy="267552"/>
          </a:xfrm>
          <a:prstGeom prst="rect">
            <a:avLst/>
          </a:prstGeom>
          <a:noFill/>
        </p:spPr>
        <p:txBody>
          <a:bodyPr wrap="square" lIns="82083" tIns="41042" rIns="82083" bIns="41042" rtlCol="0">
            <a:spAutoFit/>
          </a:bodyPr>
          <a:lstStyle/>
          <a:p>
            <a:r>
              <a:rPr lang="en-US" altLang="zh-CN" sz="1200" dirty="0">
                <a:latin typeface="+mj-lt"/>
                <a:ea typeface="微软雅黑" panose="020B0503020204020204" pitchFamily="34" charset="-122"/>
              </a:rPr>
              <a:t>VDI</a:t>
            </a:r>
            <a:endParaRPr lang="zh-CN" altLang="en-US" sz="1200" dirty="0">
              <a:latin typeface="+mj-lt"/>
              <a:ea typeface="微软雅黑" panose="020B0503020204020204" pitchFamily="34" charset="-122"/>
            </a:endParaRPr>
          </a:p>
        </p:txBody>
      </p:sp>
      <p:sp>
        <p:nvSpPr>
          <p:cNvPr id="251" name="文本框 100"/>
          <p:cNvSpPr txBox="1"/>
          <p:nvPr/>
        </p:nvSpPr>
        <p:spPr>
          <a:xfrm>
            <a:off x="10148890" y="4015886"/>
            <a:ext cx="627501" cy="176299"/>
          </a:xfrm>
          <a:prstGeom prst="rect">
            <a:avLst/>
          </a:prstGeom>
          <a:noFill/>
        </p:spPr>
        <p:txBody>
          <a:bodyPr wrap="none" lIns="0" tIns="0" rIns="0" bIns="0" rtlCol="0">
            <a:noAutofit/>
          </a:bodyPr>
          <a:lstStyle/>
          <a:p>
            <a:pPr algn="ctr" fontAlgn="ctr">
              <a:spcBef>
                <a:spcPts val="719"/>
              </a:spcBef>
              <a:defRPr/>
            </a:pPr>
            <a:r>
              <a:rPr lang="en-US" altLang="zh-CN" sz="1200" kern="0" dirty="0">
                <a:latin typeface="+mj-lt"/>
                <a:ea typeface="微软雅黑" panose="020B0503020204020204" pitchFamily="34" charset="-122"/>
                <a:cs typeface="Arial" pitchFamily="34" charset="0"/>
              </a:rPr>
              <a:t>Aula </a:t>
            </a:r>
            <a:r>
              <a:rPr lang="en-US" altLang="zh-CN" sz="1200" kern="0" dirty="0" err="1">
                <a:latin typeface="+mj-lt"/>
                <a:ea typeface="微软雅黑" panose="020B0503020204020204" pitchFamily="34" charset="-122"/>
                <a:cs typeface="Arial" pitchFamily="34" charset="0"/>
              </a:rPr>
              <a:t>en</a:t>
            </a:r>
            <a:r>
              <a:rPr lang="en-US" altLang="zh-CN" sz="1200" kern="0" dirty="0">
                <a:latin typeface="+mj-lt"/>
                <a:ea typeface="微软雅黑" panose="020B0503020204020204" pitchFamily="34" charset="-122"/>
                <a:cs typeface="Arial" pitchFamily="34" charset="0"/>
              </a:rPr>
              <a:t> la “</a:t>
            </a:r>
            <a:r>
              <a:rPr lang="en-US" altLang="zh-CN" sz="1200" kern="0" dirty="0" err="1">
                <a:latin typeface="+mj-lt"/>
                <a:ea typeface="微软雅黑" panose="020B0503020204020204" pitchFamily="34" charset="-122"/>
                <a:cs typeface="Arial" pitchFamily="34" charset="0"/>
              </a:rPr>
              <a:t>nube</a:t>
            </a:r>
            <a:r>
              <a:rPr lang="en-US" altLang="zh-CN" sz="1200" kern="0" dirty="0">
                <a:latin typeface="+mj-lt"/>
                <a:ea typeface="微软雅黑" panose="020B0503020204020204" pitchFamily="34" charset="-122"/>
                <a:cs typeface="Arial" pitchFamily="34" charset="0"/>
              </a:rPr>
              <a:t>”</a:t>
            </a:r>
            <a:endParaRPr lang="zh-CN" altLang="en-US" sz="1200" dirty="0">
              <a:latin typeface="+mj-lt"/>
              <a:ea typeface="微软雅黑" pitchFamily="34" charset="-122"/>
            </a:endParaRPr>
          </a:p>
        </p:txBody>
      </p:sp>
      <p:sp>
        <p:nvSpPr>
          <p:cNvPr id="252" name="Text Box 88"/>
          <p:cNvSpPr txBox="1">
            <a:spLocks noChangeArrowheads="1"/>
          </p:cNvSpPr>
          <p:nvPr/>
        </p:nvSpPr>
        <p:spPr bwMode="auto">
          <a:xfrm>
            <a:off x="8392695" y="4728841"/>
            <a:ext cx="1187356" cy="452217"/>
          </a:xfrm>
          <a:prstGeom prst="rect">
            <a:avLst/>
          </a:prstGeom>
          <a:noFill/>
          <a:ln w="9525">
            <a:noFill/>
            <a:miter lim="800000"/>
            <a:headEnd/>
            <a:tailEnd/>
          </a:ln>
        </p:spPr>
        <p:txBody>
          <a:bodyPr wrap="square" lIns="82083" tIns="41042" rIns="82083" bIns="41042">
            <a:spAutoFit/>
          </a:bodyPr>
          <a:lstStyle/>
          <a:p>
            <a:pPr algn="ctr"/>
            <a:r>
              <a:rPr lang="en-US" altLang="zh-CN" sz="1200" dirty="0" err="1">
                <a:latin typeface="+mj-lt"/>
                <a:ea typeface="微软雅黑" pitchFamily="34" charset="-122"/>
              </a:rPr>
              <a:t>Apicaciones</a:t>
            </a:r>
            <a:r>
              <a:rPr lang="en-US" altLang="zh-CN" sz="1200" dirty="0">
                <a:latin typeface="+mj-lt"/>
                <a:ea typeface="微软雅黑" pitchFamily="34" charset="-122"/>
              </a:rPr>
              <a:t> </a:t>
            </a:r>
            <a:r>
              <a:rPr lang="en-US" altLang="zh-CN" sz="1200" dirty="0" err="1">
                <a:latin typeface="+mj-lt"/>
                <a:ea typeface="微软雅黑" pitchFamily="34" charset="-122"/>
              </a:rPr>
              <a:t>IoT</a:t>
            </a:r>
            <a:endParaRPr lang="en-US" altLang="zh-CN" sz="1200" dirty="0">
              <a:latin typeface="+mj-lt"/>
              <a:ea typeface="微软雅黑" pitchFamily="34" charset="-122"/>
            </a:endParaRPr>
          </a:p>
        </p:txBody>
      </p:sp>
      <p:grpSp>
        <p:nvGrpSpPr>
          <p:cNvPr id="253" name="组合 372"/>
          <p:cNvGrpSpPr/>
          <p:nvPr/>
        </p:nvGrpSpPr>
        <p:grpSpPr>
          <a:xfrm>
            <a:off x="8742092" y="4361140"/>
            <a:ext cx="478689" cy="349764"/>
            <a:chOff x="8148637" y="3246990"/>
            <a:chExt cx="322263" cy="321710"/>
          </a:xfrm>
          <a:solidFill>
            <a:schemeClr val="tx1"/>
          </a:solidFill>
        </p:grpSpPr>
        <p:sp>
          <p:nvSpPr>
            <p:cNvPr id="254" name="Freeform 106"/>
            <p:cNvSpPr>
              <a:spLocks noEditPoints="1"/>
            </p:cNvSpPr>
            <p:nvPr/>
          </p:nvSpPr>
          <p:spPr bwMode="auto">
            <a:xfrm>
              <a:off x="8148637" y="3281363"/>
              <a:ext cx="119063" cy="190500"/>
            </a:xfrm>
            <a:custGeom>
              <a:avLst/>
              <a:gdLst/>
              <a:ahLst/>
              <a:cxnLst>
                <a:cxn ang="0">
                  <a:pos x="4472" y="8892"/>
                </a:cxn>
                <a:cxn ang="0">
                  <a:pos x="4264" y="9360"/>
                </a:cxn>
                <a:cxn ang="0">
                  <a:pos x="4680" y="9360"/>
                </a:cxn>
                <a:cxn ang="0">
                  <a:pos x="3172" y="11908"/>
                </a:cxn>
                <a:cxn ang="0">
                  <a:pos x="2496" y="11700"/>
                </a:cxn>
                <a:cxn ang="0">
                  <a:pos x="2132" y="10816"/>
                </a:cxn>
                <a:cxn ang="0">
                  <a:pos x="1248" y="8008"/>
                </a:cxn>
                <a:cxn ang="0">
                  <a:pos x="156" y="5616"/>
                </a:cxn>
                <a:cxn ang="0">
                  <a:pos x="0" y="4004"/>
                </a:cxn>
                <a:cxn ang="0">
                  <a:pos x="364" y="2704"/>
                </a:cxn>
                <a:cxn ang="0">
                  <a:pos x="988" y="1612"/>
                </a:cxn>
                <a:cxn ang="0">
                  <a:pos x="1976" y="780"/>
                </a:cxn>
                <a:cxn ang="0">
                  <a:pos x="3120" y="208"/>
                </a:cxn>
                <a:cxn ang="0">
                  <a:pos x="4472" y="0"/>
                </a:cxn>
                <a:cxn ang="0">
                  <a:pos x="5772" y="208"/>
                </a:cxn>
                <a:cxn ang="0">
                  <a:pos x="6916" y="780"/>
                </a:cxn>
                <a:cxn ang="0">
                  <a:pos x="7904" y="1612"/>
                </a:cxn>
                <a:cxn ang="0">
                  <a:pos x="8528" y="2704"/>
                </a:cxn>
                <a:cxn ang="0">
                  <a:pos x="8892" y="4004"/>
                </a:cxn>
                <a:cxn ang="0">
                  <a:pos x="8736" y="5616"/>
                </a:cxn>
                <a:cxn ang="0">
                  <a:pos x="7644" y="8008"/>
                </a:cxn>
                <a:cxn ang="0">
                  <a:pos x="6760" y="10816"/>
                </a:cxn>
                <a:cxn ang="0">
                  <a:pos x="6448" y="11700"/>
                </a:cxn>
                <a:cxn ang="0">
                  <a:pos x="5720" y="11908"/>
                </a:cxn>
                <a:cxn ang="0">
                  <a:pos x="5044" y="16016"/>
                </a:cxn>
                <a:cxn ang="0">
                  <a:pos x="4108" y="16120"/>
                </a:cxn>
                <a:cxn ang="0">
                  <a:pos x="3380" y="15548"/>
                </a:cxn>
                <a:cxn ang="0">
                  <a:pos x="2860" y="13052"/>
                </a:cxn>
                <a:cxn ang="0">
                  <a:pos x="2652" y="12896"/>
                </a:cxn>
                <a:cxn ang="0">
                  <a:pos x="2652" y="12428"/>
                </a:cxn>
                <a:cxn ang="0">
                  <a:pos x="2860" y="12272"/>
                </a:cxn>
                <a:cxn ang="0">
                  <a:pos x="6188" y="12376"/>
                </a:cxn>
                <a:cxn ang="0">
                  <a:pos x="6240" y="12792"/>
                </a:cxn>
                <a:cxn ang="0">
                  <a:pos x="6084" y="13000"/>
                </a:cxn>
                <a:cxn ang="0">
                  <a:pos x="2860" y="14144"/>
                </a:cxn>
                <a:cxn ang="0">
                  <a:pos x="2652" y="13988"/>
                </a:cxn>
                <a:cxn ang="0">
                  <a:pos x="2652" y="13520"/>
                </a:cxn>
                <a:cxn ang="0">
                  <a:pos x="2860" y="13364"/>
                </a:cxn>
                <a:cxn ang="0">
                  <a:pos x="6188" y="13416"/>
                </a:cxn>
                <a:cxn ang="0">
                  <a:pos x="6240" y="13884"/>
                </a:cxn>
                <a:cxn ang="0">
                  <a:pos x="6084" y="14092"/>
                </a:cxn>
                <a:cxn ang="0">
                  <a:pos x="2860" y="15184"/>
                </a:cxn>
                <a:cxn ang="0">
                  <a:pos x="2652" y="15080"/>
                </a:cxn>
                <a:cxn ang="0">
                  <a:pos x="2652" y="14612"/>
                </a:cxn>
                <a:cxn ang="0">
                  <a:pos x="2860" y="14456"/>
                </a:cxn>
                <a:cxn ang="0">
                  <a:pos x="6188" y="14508"/>
                </a:cxn>
                <a:cxn ang="0">
                  <a:pos x="6240" y="14976"/>
                </a:cxn>
                <a:cxn ang="0">
                  <a:pos x="6084" y="15184"/>
                </a:cxn>
              </a:cxnLst>
              <a:rect l="0" t="0" r="r" b="b"/>
              <a:pathLst>
                <a:path w="8892" h="16172">
                  <a:moveTo>
                    <a:pt x="5824" y="7332"/>
                  </a:moveTo>
                  <a:lnTo>
                    <a:pt x="5460" y="7124"/>
                  </a:lnTo>
                  <a:lnTo>
                    <a:pt x="4472" y="8892"/>
                  </a:lnTo>
                  <a:lnTo>
                    <a:pt x="3432" y="7124"/>
                  </a:lnTo>
                  <a:lnTo>
                    <a:pt x="3068" y="7332"/>
                  </a:lnTo>
                  <a:lnTo>
                    <a:pt x="4264" y="9360"/>
                  </a:lnTo>
                  <a:lnTo>
                    <a:pt x="4264" y="11232"/>
                  </a:lnTo>
                  <a:lnTo>
                    <a:pt x="4680" y="11232"/>
                  </a:lnTo>
                  <a:lnTo>
                    <a:pt x="4680" y="9360"/>
                  </a:lnTo>
                  <a:lnTo>
                    <a:pt x="5824" y="7332"/>
                  </a:lnTo>
                  <a:close/>
                  <a:moveTo>
                    <a:pt x="5720" y="11908"/>
                  </a:moveTo>
                  <a:lnTo>
                    <a:pt x="3172" y="11908"/>
                  </a:lnTo>
                  <a:lnTo>
                    <a:pt x="2756" y="11856"/>
                  </a:lnTo>
                  <a:lnTo>
                    <a:pt x="2600" y="11804"/>
                  </a:lnTo>
                  <a:lnTo>
                    <a:pt x="2496" y="11700"/>
                  </a:lnTo>
                  <a:lnTo>
                    <a:pt x="2340" y="11544"/>
                  </a:lnTo>
                  <a:lnTo>
                    <a:pt x="2288" y="11336"/>
                  </a:lnTo>
                  <a:lnTo>
                    <a:pt x="2132" y="10816"/>
                  </a:lnTo>
                  <a:lnTo>
                    <a:pt x="1976" y="9984"/>
                  </a:lnTo>
                  <a:lnTo>
                    <a:pt x="1716" y="9100"/>
                  </a:lnTo>
                  <a:lnTo>
                    <a:pt x="1248" y="8008"/>
                  </a:lnTo>
                  <a:lnTo>
                    <a:pt x="572" y="6656"/>
                  </a:lnTo>
                  <a:lnTo>
                    <a:pt x="364" y="6136"/>
                  </a:lnTo>
                  <a:lnTo>
                    <a:pt x="156" y="5616"/>
                  </a:lnTo>
                  <a:lnTo>
                    <a:pt x="52" y="5044"/>
                  </a:lnTo>
                  <a:lnTo>
                    <a:pt x="0" y="4420"/>
                  </a:lnTo>
                  <a:lnTo>
                    <a:pt x="0" y="4004"/>
                  </a:lnTo>
                  <a:lnTo>
                    <a:pt x="104" y="3536"/>
                  </a:lnTo>
                  <a:lnTo>
                    <a:pt x="208" y="3120"/>
                  </a:lnTo>
                  <a:lnTo>
                    <a:pt x="364" y="2704"/>
                  </a:lnTo>
                  <a:lnTo>
                    <a:pt x="520" y="2340"/>
                  </a:lnTo>
                  <a:lnTo>
                    <a:pt x="780" y="1976"/>
                  </a:lnTo>
                  <a:lnTo>
                    <a:pt x="988" y="1612"/>
                  </a:lnTo>
                  <a:lnTo>
                    <a:pt x="1300" y="1300"/>
                  </a:lnTo>
                  <a:lnTo>
                    <a:pt x="1612" y="988"/>
                  </a:lnTo>
                  <a:lnTo>
                    <a:pt x="1976" y="780"/>
                  </a:lnTo>
                  <a:lnTo>
                    <a:pt x="2340" y="521"/>
                  </a:lnTo>
                  <a:lnTo>
                    <a:pt x="2704" y="364"/>
                  </a:lnTo>
                  <a:lnTo>
                    <a:pt x="3120" y="208"/>
                  </a:lnTo>
                  <a:lnTo>
                    <a:pt x="3536" y="104"/>
                  </a:lnTo>
                  <a:lnTo>
                    <a:pt x="4004" y="0"/>
                  </a:lnTo>
                  <a:lnTo>
                    <a:pt x="4472" y="0"/>
                  </a:lnTo>
                  <a:lnTo>
                    <a:pt x="4888" y="0"/>
                  </a:lnTo>
                  <a:lnTo>
                    <a:pt x="5356" y="104"/>
                  </a:lnTo>
                  <a:lnTo>
                    <a:pt x="5772" y="208"/>
                  </a:lnTo>
                  <a:lnTo>
                    <a:pt x="6188" y="364"/>
                  </a:lnTo>
                  <a:lnTo>
                    <a:pt x="6552" y="521"/>
                  </a:lnTo>
                  <a:lnTo>
                    <a:pt x="6916" y="780"/>
                  </a:lnTo>
                  <a:lnTo>
                    <a:pt x="7280" y="988"/>
                  </a:lnTo>
                  <a:lnTo>
                    <a:pt x="7592" y="1300"/>
                  </a:lnTo>
                  <a:lnTo>
                    <a:pt x="7904" y="1612"/>
                  </a:lnTo>
                  <a:lnTo>
                    <a:pt x="8112" y="1976"/>
                  </a:lnTo>
                  <a:lnTo>
                    <a:pt x="8372" y="2340"/>
                  </a:lnTo>
                  <a:lnTo>
                    <a:pt x="8528" y="2704"/>
                  </a:lnTo>
                  <a:lnTo>
                    <a:pt x="8684" y="3120"/>
                  </a:lnTo>
                  <a:lnTo>
                    <a:pt x="8788" y="3536"/>
                  </a:lnTo>
                  <a:lnTo>
                    <a:pt x="8892" y="4004"/>
                  </a:lnTo>
                  <a:lnTo>
                    <a:pt x="8892" y="4420"/>
                  </a:lnTo>
                  <a:lnTo>
                    <a:pt x="8840" y="5044"/>
                  </a:lnTo>
                  <a:lnTo>
                    <a:pt x="8736" y="5616"/>
                  </a:lnTo>
                  <a:lnTo>
                    <a:pt x="8528" y="6136"/>
                  </a:lnTo>
                  <a:lnTo>
                    <a:pt x="8320" y="6656"/>
                  </a:lnTo>
                  <a:lnTo>
                    <a:pt x="7644" y="8008"/>
                  </a:lnTo>
                  <a:lnTo>
                    <a:pt x="7176" y="9100"/>
                  </a:lnTo>
                  <a:lnTo>
                    <a:pt x="6916" y="9984"/>
                  </a:lnTo>
                  <a:lnTo>
                    <a:pt x="6760" y="10816"/>
                  </a:lnTo>
                  <a:lnTo>
                    <a:pt x="6604" y="11336"/>
                  </a:lnTo>
                  <a:lnTo>
                    <a:pt x="6552" y="11544"/>
                  </a:lnTo>
                  <a:lnTo>
                    <a:pt x="6448" y="11700"/>
                  </a:lnTo>
                  <a:lnTo>
                    <a:pt x="6292" y="11804"/>
                  </a:lnTo>
                  <a:lnTo>
                    <a:pt x="6136" y="11856"/>
                  </a:lnTo>
                  <a:lnTo>
                    <a:pt x="5720" y="11908"/>
                  </a:lnTo>
                  <a:close/>
                  <a:moveTo>
                    <a:pt x="5460" y="15548"/>
                  </a:moveTo>
                  <a:lnTo>
                    <a:pt x="5304" y="15808"/>
                  </a:lnTo>
                  <a:lnTo>
                    <a:pt x="5044" y="16016"/>
                  </a:lnTo>
                  <a:lnTo>
                    <a:pt x="4784" y="16120"/>
                  </a:lnTo>
                  <a:lnTo>
                    <a:pt x="4420" y="16172"/>
                  </a:lnTo>
                  <a:lnTo>
                    <a:pt x="4108" y="16120"/>
                  </a:lnTo>
                  <a:lnTo>
                    <a:pt x="3796" y="16016"/>
                  </a:lnTo>
                  <a:lnTo>
                    <a:pt x="3536" y="15808"/>
                  </a:lnTo>
                  <a:lnTo>
                    <a:pt x="3380" y="15548"/>
                  </a:lnTo>
                  <a:lnTo>
                    <a:pt x="5460" y="15548"/>
                  </a:lnTo>
                  <a:close/>
                  <a:moveTo>
                    <a:pt x="6032" y="13052"/>
                  </a:moveTo>
                  <a:lnTo>
                    <a:pt x="2860" y="13052"/>
                  </a:lnTo>
                  <a:lnTo>
                    <a:pt x="2756" y="13000"/>
                  </a:lnTo>
                  <a:lnTo>
                    <a:pt x="2704" y="12948"/>
                  </a:lnTo>
                  <a:lnTo>
                    <a:pt x="2652" y="12896"/>
                  </a:lnTo>
                  <a:lnTo>
                    <a:pt x="2652" y="12792"/>
                  </a:lnTo>
                  <a:lnTo>
                    <a:pt x="2652" y="12532"/>
                  </a:lnTo>
                  <a:lnTo>
                    <a:pt x="2652" y="12428"/>
                  </a:lnTo>
                  <a:lnTo>
                    <a:pt x="2704" y="12376"/>
                  </a:lnTo>
                  <a:lnTo>
                    <a:pt x="2756" y="12324"/>
                  </a:lnTo>
                  <a:lnTo>
                    <a:pt x="2860" y="12272"/>
                  </a:lnTo>
                  <a:lnTo>
                    <a:pt x="6032" y="12272"/>
                  </a:lnTo>
                  <a:lnTo>
                    <a:pt x="6084" y="12324"/>
                  </a:lnTo>
                  <a:lnTo>
                    <a:pt x="6188" y="12376"/>
                  </a:lnTo>
                  <a:lnTo>
                    <a:pt x="6188" y="12428"/>
                  </a:lnTo>
                  <a:lnTo>
                    <a:pt x="6240" y="12532"/>
                  </a:lnTo>
                  <a:lnTo>
                    <a:pt x="6240" y="12792"/>
                  </a:lnTo>
                  <a:lnTo>
                    <a:pt x="6188" y="12896"/>
                  </a:lnTo>
                  <a:lnTo>
                    <a:pt x="6188" y="12948"/>
                  </a:lnTo>
                  <a:lnTo>
                    <a:pt x="6084" y="13000"/>
                  </a:lnTo>
                  <a:lnTo>
                    <a:pt x="6032" y="13052"/>
                  </a:lnTo>
                  <a:close/>
                  <a:moveTo>
                    <a:pt x="6032" y="14144"/>
                  </a:moveTo>
                  <a:lnTo>
                    <a:pt x="2860" y="14144"/>
                  </a:lnTo>
                  <a:lnTo>
                    <a:pt x="2756" y="14092"/>
                  </a:lnTo>
                  <a:lnTo>
                    <a:pt x="2704" y="14040"/>
                  </a:lnTo>
                  <a:lnTo>
                    <a:pt x="2652" y="13988"/>
                  </a:lnTo>
                  <a:lnTo>
                    <a:pt x="2652" y="13884"/>
                  </a:lnTo>
                  <a:lnTo>
                    <a:pt x="2652" y="13624"/>
                  </a:lnTo>
                  <a:lnTo>
                    <a:pt x="2652" y="13520"/>
                  </a:lnTo>
                  <a:lnTo>
                    <a:pt x="2704" y="13416"/>
                  </a:lnTo>
                  <a:lnTo>
                    <a:pt x="2756" y="13416"/>
                  </a:lnTo>
                  <a:lnTo>
                    <a:pt x="2860" y="13364"/>
                  </a:lnTo>
                  <a:lnTo>
                    <a:pt x="6032" y="13364"/>
                  </a:lnTo>
                  <a:lnTo>
                    <a:pt x="6084" y="13416"/>
                  </a:lnTo>
                  <a:lnTo>
                    <a:pt x="6188" y="13416"/>
                  </a:lnTo>
                  <a:lnTo>
                    <a:pt x="6188" y="13520"/>
                  </a:lnTo>
                  <a:lnTo>
                    <a:pt x="6240" y="13624"/>
                  </a:lnTo>
                  <a:lnTo>
                    <a:pt x="6240" y="13884"/>
                  </a:lnTo>
                  <a:lnTo>
                    <a:pt x="6188" y="13988"/>
                  </a:lnTo>
                  <a:lnTo>
                    <a:pt x="6188" y="14040"/>
                  </a:lnTo>
                  <a:lnTo>
                    <a:pt x="6084" y="14092"/>
                  </a:lnTo>
                  <a:lnTo>
                    <a:pt x="6032" y="14144"/>
                  </a:lnTo>
                  <a:close/>
                  <a:moveTo>
                    <a:pt x="6032" y="15184"/>
                  </a:moveTo>
                  <a:lnTo>
                    <a:pt x="2860" y="15184"/>
                  </a:lnTo>
                  <a:lnTo>
                    <a:pt x="2756" y="15184"/>
                  </a:lnTo>
                  <a:lnTo>
                    <a:pt x="2704" y="15132"/>
                  </a:lnTo>
                  <a:lnTo>
                    <a:pt x="2652" y="15080"/>
                  </a:lnTo>
                  <a:lnTo>
                    <a:pt x="2652" y="14976"/>
                  </a:lnTo>
                  <a:lnTo>
                    <a:pt x="2652" y="14664"/>
                  </a:lnTo>
                  <a:lnTo>
                    <a:pt x="2652" y="14612"/>
                  </a:lnTo>
                  <a:lnTo>
                    <a:pt x="2704" y="14508"/>
                  </a:lnTo>
                  <a:lnTo>
                    <a:pt x="2756" y="14456"/>
                  </a:lnTo>
                  <a:lnTo>
                    <a:pt x="2860" y="14456"/>
                  </a:lnTo>
                  <a:lnTo>
                    <a:pt x="6032" y="14456"/>
                  </a:lnTo>
                  <a:lnTo>
                    <a:pt x="6084" y="14456"/>
                  </a:lnTo>
                  <a:lnTo>
                    <a:pt x="6188" y="14508"/>
                  </a:lnTo>
                  <a:lnTo>
                    <a:pt x="6188" y="14612"/>
                  </a:lnTo>
                  <a:lnTo>
                    <a:pt x="6240" y="14664"/>
                  </a:lnTo>
                  <a:lnTo>
                    <a:pt x="6240" y="14976"/>
                  </a:lnTo>
                  <a:lnTo>
                    <a:pt x="6188" y="15080"/>
                  </a:lnTo>
                  <a:lnTo>
                    <a:pt x="6188" y="15132"/>
                  </a:lnTo>
                  <a:lnTo>
                    <a:pt x="6084" y="15184"/>
                  </a:lnTo>
                  <a:lnTo>
                    <a:pt x="6032" y="15184"/>
                  </a:lnTo>
                  <a:close/>
                </a:path>
              </a:pathLst>
            </a:custGeom>
            <a:grpFill/>
            <a:ln w="9525">
              <a:noFill/>
              <a:round/>
              <a:headEnd/>
              <a:tailEnd/>
            </a:ln>
          </p:spPr>
          <p:txBody>
            <a:bodyPr vert="horz" wrap="square" lIns="121944" tIns="60972" rIns="121944" bIns="60972" numCol="1" anchor="t" anchorCtr="0" compatLnSpc="1">
              <a:prstTxWarp prst="textNoShape">
                <a:avLst/>
              </a:prstTxWarp>
            </a:bodyPr>
            <a:lstStyle/>
            <a:p>
              <a:endParaRPr lang="zh-CN" altLang="en-US" sz="3600">
                <a:latin typeface="+mj-lt"/>
                <a:ea typeface="微软雅黑" panose="020B0503020204020204" pitchFamily="34" charset="-122"/>
              </a:endParaRPr>
            </a:p>
          </p:txBody>
        </p:sp>
        <p:sp>
          <p:nvSpPr>
            <p:cNvPr id="258" name="Freeform 121"/>
            <p:cNvSpPr>
              <a:spLocks noEditPoints="1"/>
            </p:cNvSpPr>
            <p:nvPr/>
          </p:nvSpPr>
          <p:spPr bwMode="auto">
            <a:xfrm>
              <a:off x="8242871" y="3246990"/>
              <a:ext cx="228029" cy="321710"/>
            </a:xfrm>
            <a:custGeom>
              <a:avLst/>
              <a:gdLst/>
              <a:ahLst/>
              <a:cxnLst>
                <a:cxn ang="0">
                  <a:pos x="5900" y="2850"/>
                </a:cxn>
                <a:cxn ang="0">
                  <a:pos x="6550" y="3250"/>
                </a:cxn>
                <a:cxn ang="0">
                  <a:pos x="7350" y="3100"/>
                </a:cxn>
                <a:cxn ang="0">
                  <a:pos x="7800" y="2450"/>
                </a:cxn>
                <a:cxn ang="0">
                  <a:pos x="7650" y="1650"/>
                </a:cxn>
                <a:cxn ang="0">
                  <a:pos x="7000" y="1200"/>
                </a:cxn>
                <a:cxn ang="0">
                  <a:pos x="6200" y="1400"/>
                </a:cxn>
                <a:cxn ang="0">
                  <a:pos x="5750" y="2050"/>
                </a:cxn>
                <a:cxn ang="0">
                  <a:pos x="7550" y="850"/>
                </a:cxn>
                <a:cxn ang="0">
                  <a:pos x="7500" y="200"/>
                </a:cxn>
                <a:cxn ang="0">
                  <a:pos x="8150" y="450"/>
                </a:cxn>
                <a:cxn ang="0">
                  <a:pos x="8400" y="1100"/>
                </a:cxn>
                <a:cxn ang="0">
                  <a:pos x="8200" y="1800"/>
                </a:cxn>
                <a:cxn ang="0">
                  <a:pos x="8700" y="1450"/>
                </a:cxn>
                <a:cxn ang="0">
                  <a:pos x="9000" y="1750"/>
                </a:cxn>
                <a:cxn ang="0">
                  <a:pos x="8851" y="2450"/>
                </a:cxn>
                <a:cxn ang="0">
                  <a:pos x="8050" y="2850"/>
                </a:cxn>
                <a:cxn ang="0">
                  <a:pos x="8600" y="3100"/>
                </a:cxn>
                <a:cxn ang="0">
                  <a:pos x="8800" y="3250"/>
                </a:cxn>
                <a:cxn ang="0">
                  <a:pos x="8250" y="3800"/>
                </a:cxn>
                <a:cxn ang="0">
                  <a:pos x="7450" y="3700"/>
                </a:cxn>
                <a:cxn ang="0">
                  <a:pos x="7300" y="4000"/>
                </a:cxn>
                <a:cxn ang="0">
                  <a:pos x="7650" y="4250"/>
                </a:cxn>
                <a:cxn ang="0">
                  <a:pos x="6900" y="4450"/>
                </a:cxn>
                <a:cxn ang="0">
                  <a:pos x="6350" y="4050"/>
                </a:cxn>
                <a:cxn ang="0">
                  <a:pos x="6000" y="3650"/>
                </a:cxn>
                <a:cxn ang="0">
                  <a:pos x="6050" y="4250"/>
                </a:cxn>
                <a:cxn ang="0">
                  <a:pos x="5400" y="4050"/>
                </a:cxn>
                <a:cxn ang="0">
                  <a:pos x="5150" y="3400"/>
                </a:cxn>
                <a:cxn ang="0">
                  <a:pos x="5350" y="2700"/>
                </a:cxn>
                <a:cxn ang="0">
                  <a:pos x="4850" y="3050"/>
                </a:cxn>
                <a:cxn ang="0">
                  <a:pos x="4550" y="2700"/>
                </a:cxn>
                <a:cxn ang="0">
                  <a:pos x="4700" y="2050"/>
                </a:cxn>
                <a:cxn ang="0">
                  <a:pos x="5500" y="1650"/>
                </a:cxn>
                <a:cxn ang="0">
                  <a:pos x="4950" y="1400"/>
                </a:cxn>
                <a:cxn ang="0">
                  <a:pos x="4750" y="1251"/>
                </a:cxn>
                <a:cxn ang="0">
                  <a:pos x="5300" y="700"/>
                </a:cxn>
                <a:cxn ang="0">
                  <a:pos x="6100" y="750"/>
                </a:cxn>
                <a:cxn ang="0">
                  <a:pos x="6250" y="500"/>
                </a:cxn>
                <a:cxn ang="0">
                  <a:pos x="5900" y="250"/>
                </a:cxn>
                <a:cxn ang="0">
                  <a:pos x="6650" y="50"/>
                </a:cxn>
                <a:cxn ang="0">
                  <a:pos x="7200" y="450"/>
                </a:cxn>
                <a:cxn ang="0">
                  <a:pos x="1600" y="6250"/>
                </a:cxn>
                <a:cxn ang="0">
                  <a:pos x="2350" y="5600"/>
                </a:cxn>
                <a:cxn ang="0">
                  <a:pos x="11350" y="5650"/>
                </a:cxn>
                <a:cxn ang="0">
                  <a:pos x="12000" y="6400"/>
                </a:cxn>
                <a:cxn ang="0">
                  <a:pos x="13500" y="13200"/>
                </a:cxn>
                <a:cxn ang="0">
                  <a:pos x="13100" y="13551"/>
                </a:cxn>
                <a:cxn ang="0">
                  <a:pos x="350" y="13500"/>
                </a:cxn>
                <a:cxn ang="0">
                  <a:pos x="0" y="13101"/>
                </a:cxn>
                <a:cxn ang="0">
                  <a:pos x="6400" y="9200"/>
                </a:cxn>
                <a:cxn ang="0">
                  <a:pos x="2300" y="6600"/>
                </a:cxn>
                <a:cxn ang="0">
                  <a:pos x="6400" y="10000"/>
                </a:cxn>
                <a:cxn ang="0">
                  <a:pos x="7150" y="10000"/>
                </a:cxn>
                <a:cxn ang="0">
                  <a:pos x="7150" y="10000"/>
                </a:cxn>
                <a:cxn ang="0">
                  <a:pos x="11250" y="6600"/>
                </a:cxn>
                <a:cxn ang="0">
                  <a:pos x="5300" y="14200"/>
                </a:cxn>
                <a:cxn ang="0">
                  <a:pos x="11599" y="15750"/>
                </a:cxn>
                <a:cxn ang="0">
                  <a:pos x="11750" y="16100"/>
                </a:cxn>
                <a:cxn ang="0">
                  <a:pos x="11500" y="16400"/>
                </a:cxn>
                <a:cxn ang="0">
                  <a:pos x="1800" y="16200"/>
                </a:cxn>
                <a:cxn ang="0">
                  <a:pos x="1850" y="15850"/>
                </a:cxn>
                <a:cxn ang="0">
                  <a:pos x="5300" y="14200"/>
                </a:cxn>
              </a:cxnLst>
              <a:rect l="0" t="0" r="r" b="b"/>
              <a:pathLst>
                <a:path w="13550" h="16400">
                  <a:moveTo>
                    <a:pt x="5750" y="2250"/>
                  </a:moveTo>
                  <a:lnTo>
                    <a:pt x="5750" y="2450"/>
                  </a:lnTo>
                  <a:lnTo>
                    <a:pt x="5800" y="2650"/>
                  </a:lnTo>
                  <a:lnTo>
                    <a:pt x="5900" y="2850"/>
                  </a:lnTo>
                  <a:lnTo>
                    <a:pt x="6050" y="3000"/>
                  </a:lnTo>
                  <a:lnTo>
                    <a:pt x="6200" y="3100"/>
                  </a:lnTo>
                  <a:lnTo>
                    <a:pt x="6350" y="3200"/>
                  </a:lnTo>
                  <a:lnTo>
                    <a:pt x="6550" y="3250"/>
                  </a:lnTo>
                  <a:lnTo>
                    <a:pt x="6800" y="3301"/>
                  </a:lnTo>
                  <a:lnTo>
                    <a:pt x="7000" y="3250"/>
                  </a:lnTo>
                  <a:lnTo>
                    <a:pt x="7200" y="3200"/>
                  </a:lnTo>
                  <a:lnTo>
                    <a:pt x="7350" y="3100"/>
                  </a:lnTo>
                  <a:lnTo>
                    <a:pt x="7500" y="3000"/>
                  </a:lnTo>
                  <a:lnTo>
                    <a:pt x="7650" y="2850"/>
                  </a:lnTo>
                  <a:lnTo>
                    <a:pt x="7750" y="2650"/>
                  </a:lnTo>
                  <a:lnTo>
                    <a:pt x="7800" y="2450"/>
                  </a:lnTo>
                  <a:lnTo>
                    <a:pt x="7800" y="2250"/>
                  </a:lnTo>
                  <a:lnTo>
                    <a:pt x="7800" y="2050"/>
                  </a:lnTo>
                  <a:lnTo>
                    <a:pt x="7750" y="1850"/>
                  </a:lnTo>
                  <a:lnTo>
                    <a:pt x="7650" y="1650"/>
                  </a:lnTo>
                  <a:lnTo>
                    <a:pt x="7500" y="1500"/>
                  </a:lnTo>
                  <a:lnTo>
                    <a:pt x="7350" y="1400"/>
                  </a:lnTo>
                  <a:lnTo>
                    <a:pt x="7200" y="1300"/>
                  </a:lnTo>
                  <a:lnTo>
                    <a:pt x="7000" y="1200"/>
                  </a:lnTo>
                  <a:lnTo>
                    <a:pt x="6800" y="1200"/>
                  </a:lnTo>
                  <a:lnTo>
                    <a:pt x="6550" y="1200"/>
                  </a:lnTo>
                  <a:lnTo>
                    <a:pt x="6350" y="1300"/>
                  </a:lnTo>
                  <a:lnTo>
                    <a:pt x="6200" y="1400"/>
                  </a:lnTo>
                  <a:lnTo>
                    <a:pt x="6050" y="1500"/>
                  </a:lnTo>
                  <a:lnTo>
                    <a:pt x="5900" y="1650"/>
                  </a:lnTo>
                  <a:lnTo>
                    <a:pt x="5800" y="1850"/>
                  </a:lnTo>
                  <a:lnTo>
                    <a:pt x="5750" y="2050"/>
                  </a:lnTo>
                  <a:lnTo>
                    <a:pt x="5750" y="2250"/>
                  </a:lnTo>
                  <a:close/>
                  <a:moveTo>
                    <a:pt x="7350" y="1000"/>
                  </a:moveTo>
                  <a:lnTo>
                    <a:pt x="7450" y="950"/>
                  </a:lnTo>
                  <a:lnTo>
                    <a:pt x="7550" y="850"/>
                  </a:lnTo>
                  <a:lnTo>
                    <a:pt x="7650" y="650"/>
                  </a:lnTo>
                  <a:lnTo>
                    <a:pt x="7600" y="400"/>
                  </a:lnTo>
                  <a:lnTo>
                    <a:pt x="7550" y="300"/>
                  </a:lnTo>
                  <a:lnTo>
                    <a:pt x="7500" y="200"/>
                  </a:lnTo>
                  <a:lnTo>
                    <a:pt x="7550" y="200"/>
                  </a:lnTo>
                  <a:lnTo>
                    <a:pt x="7750" y="250"/>
                  </a:lnTo>
                  <a:lnTo>
                    <a:pt x="8000" y="350"/>
                  </a:lnTo>
                  <a:lnTo>
                    <a:pt x="8150" y="450"/>
                  </a:lnTo>
                  <a:lnTo>
                    <a:pt x="8250" y="600"/>
                  </a:lnTo>
                  <a:lnTo>
                    <a:pt x="8350" y="750"/>
                  </a:lnTo>
                  <a:lnTo>
                    <a:pt x="8400" y="950"/>
                  </a:lnTo>
                  <a:lnTo>
                    <a:pt x="8400" y="1100"/>
                  </a:lnTo>
                  <a:lnTo>
                    <a:pt x="8350" y="1251"/>
                  </a:lnTo>
                  <a:lnTo>
                    <a:pt x="8250" y="1550"/>
                  </a:lnTo>
                  <a:lnTo>
                    <a:pt x="8100" y="1750"/>
                  </a:lnTo>
                  <a:lnTo>
                    <a:pt x="8200" y="1800"/>
                  </a:lnTo>
                  <a:lnTo>
                    <a:pt x="8300" y="1800"/>
                  </a:lnTo>
                  <a:lnTo>
                    <a:pt x="8500" y="1700"/>
                  </a:lnTo>
                  <a:lnTo>
                    <a:pt x="8650" y="1550"/>
                  </a:lnTo>
                  <a:lnTo>
                    <a:pt x="8700" y="1450"/>
                  </a:lnTo>
                  <a:lnTo>
                    <a:pt x="8700" y="1300"/>
                  </a:lnTo>
                  <a:lnTo>
                    <a:pt x="8800" y="1350"/>
                  </a:lnTo>
                  <a:lnTo>
                    <a:pt x="8900" y="1500"/>
                  </a:lnTo>
                  <a:lnTo>
                    <a:pt x="9000" y="1750"/>
                  </a:lnTo>
                  <a:lnTo>
                    <a:pt x="9000" y="1950"/>
                  </a:lnTo>
                  <a:lnTo>
                    <a:pt x="9000" y="2100"/>
                  </a:lnTo>
                  <a:lnTo>
                    <a:pt x="8900" y="2300"/>
                  </a:lnTo>
                  <a:lnTo>
                    <a:pt x="8851" y="2450"/>
                  </a:lnTo>
                  <a:lnTo>
                    <a:pt x="8700" y="2600"/>
                  </a:lnTo>
                  <a:lnTo>
                    <a:pt x="8600" y="2700"/>
                  </a:lnTo>
                  <a:lnTo>
                    <a:pt x="8300" y="2800"/>
                  </a:lnTo>
                  <a:lnTo>
                    <a:pt x="8050" y="2850"/>
                  </a:lnTo>
                  <a:lnTo>
                    <a:pt x="8100" y="2950"/>
                  </a:lnTo>
                  <a:lnTo>
                    <a:pt x="8150" y="3050"/>
                  </a:lnTo>
                  <a:lnTo>
                    <a:pt x="8350" y="3100"/>
                  </a:lnTo>
                  <a:lnTo>
                    <a:pt x="8600" y="3100"/>
                  </a:lnTo>
                  <a:lnTo>
                    <a:pt x="8700" y="3050"/>
                  </a:lnTo>
                  <a:lnTo>
                    <a:pt x="8800" y="2950"/>
                  </a:lnTo>
                  <a:lnTo>
                    <a:pt x="8800" y="3050"/>
                  </a:lnTo>
                  <a:lnTo>
                    <a:pt x="8800" y="3250"/>
                  </a:lnTo>
                  <a:lnTo>
                    <a:pt x="8700" y="3500"/>
                  </a:lnTo>
                  <a:lnTo>
                    <a:pt x="8600" y="3600"/>
                  </a:lnTo>
                  <a:lnTo>
                    <a:pt x="8450" y="3700"/>
                  </a:lnTo>
                  <a:lnTo>
                    <a:pt x="8250" y="3800"/>
                  </a:lnTo>
                  <a:lnTo>
                    <a:pt x="8100" y="3850"/>
                  </a:lnTo>
                  <a:lnTo>
                    <a:pt x="7900" y="3850"/>
                  </a:lnTo>
                  <a:lnTo>
                    <a:pt x="7750" y="3850"/>
                  </a:lnTo>
                  <a:lnTo>
                    <a:pt x="7450" y="3700"/>
                  </a:lnTo>
                  <a:lnTo>
                    <a:pt x="7250" y="3550"/>
                  </a:lnTo>
                  <a:lnTo>
                    <a:pt x="7250" y="3650"/>
                  </a:lnTo>
                  <a:lnTo>
                    <a:pt x="7200" y="3750"/>
                  </a:lnTo>
                  <a:lnTo>
                    <a:pt x="7300" y="4000"/>
                  </a:lnTo>
                  <a:lnTo>
                    <a:pt x="7450" y="4150"/>
                  </a:lnTo>
                  <a:lnTo>
                    <a:pt x="7600" y="4150"/>
                  </a:lnTo>
                  <a:lnTo>
                    <a:pt x="7701" y="4200"/>
                  </a:lnTo>
                  <a:lnTo>
                    <a:pt x="7650" y="4250"/>
                  </a:lnTo>
                  <a:lnTo>
                    <a:pt x="7500" y="4350"/>
                  </a:lnTo>
                  <a:lnTo>
                    <a:pt x="7250" y="4450"/>
                  </a:lnTo>
                  <a:lnTo>
                    <a:pt x="7100" y="4500"/>
                  </a:lnTo>
                  <a:lnTo>
                    <a:pt x="6900" y="4450"/>
                  </a:lnTo>
                  <a:lnTo>
                    <a:pt x="6700" y="4400"/>
                  </a:lnTo>
                  <a:lnTo>
                    <a:pt x="6550" y="4300"/>
                  </a:lnTo>
                  <a:lnTo>
                    <a:pt x="6450" y="4200"/>
                  </a:lnTo>
                  <a:lnTo>
                    <a:pt x="6350" y="4050"/>
                  </a:lnTo>
                  <a:lnTo>
                    <a:pt x="6250" y="3800"/>
                  </a:lnTo>
                  <a:lnTo>
                    <a:pt x="6200" y="3500"/>
                  </a:lnTo>
                  <a:lnTo>
                    <a:pt x="6100" y="3550"/>
                  </a:lnTo>
                  <a:lnTo>
                    <a:pt x="6000" y="3650"/>
                  </a:lnTo>
                  <a:lnTo>
                    <a:pt x="5900" y="3850"/>
                  </a:lnTo>
                  <a:lnTo>
                    <a:pt x="5950" y="4050"/>
                  </a:lnTo>
                  <a:lnTo>
                    <a:pt x="6000" y="4200"/>
                  </a:lnTo>
                  <a:lnTo>
                    <a:pt x="6050" y="4250"/>
                  </a:lnTo>
                  <a:lnTo>
                    <a:pt x="6000" y="4300"/>
                  </a:lnTo>
                  <a:lnTo>
                    <a:pt x="5800" y="4250"/>
                  </a:lnTo>
                  <a:lnTo>
                    <a:pt x="5550" y="4150"/>
                  </a:lnTo>
                  <a:lnTo>
                    <a:pt x="5400" y="4050"/>
                  </a:lnTo>
                  <a:lnTo>
                    <a:pt x="5300" y="3900"/>
                  </a:lnTo>
                  <a:lnTo>
                    <a:pt x="5200" y="3700"/>
                  </a:lnTo>
                  <a:lnTo>
                    <a:pt x="5150" y="3550"/>
                  </a:lnTo>
                  <a:lnTo>
                    <a:pt x="5150" y="3400"/>
                  </a:lnTo>
                  <a:lnTo>
                    <a:pt x="5200" y="3250"/>
                  </a:lnTo>
                  <a:lnTo>
                    <a:pt x="5300" y="2950"/>
                  </a:lnTo>
                  <a:lnTo>
                    <a:pt x="5450" y="2750"/>
                  </a:lnTo>
                  <a:lnTo>
                    <a:pt x="5350" y="2700"/>
                  </a:lnTo>
                  <a:lnTo>
                    <a:pt x="5250" y="2700"/>
                  </a:lnTo>
                  <a:lnTo>
                    <a:pt x="5050" y="2800"/>
                  </a:lnTo>
                  <a:lnTo>
                    <a:pt x="4900" y="2950"/>
                  </a:lnTo>
                  <a:lnTo>
                    <a:pt x="4850" y="3050"/>
                  </a:lnTo>
                  <a:lnTo>
                    <a:pt x="4850" y="3150"/>
                  </a:lnTo>
                  <a:lnTo>
                    <a:pt x="4750" y="3100"/>
                  </a:lnTo>
                  <a:lnTo>
                    <a:pt x="4650" y="2950"/>
                  </a:lnTo>
                  <a:lnTo>
                    <a:pt x="4550" y="2700"/>
                  </a:lnTo>
                  <a:lnTo>
                    <a:pt x="4550" y="2550"/>
                  </a:lnTo>
                  <a:lnTo>
                    <a:pt x="4550" y="2350"/>
                  </a:lnTo>
                  <a:lnTo>
                    <a:pt x="4650" y="2200"/>
                  </a:lnTo>
                  <a:lnTo>
                    <a:pt x="4700" y="2050"/>
                  </a:lnTo>
                  <a:lnTo>
                    <a:pt x="4850" y="1900"/>
                  </a:lnTo>
                  <a:lnTo>
                    <a:pt x="4950" y="1800"/>
                  </a:lnTo>
                  <a:lnTo>
                    <a:pt x="5250" y="1700"/>
                  </a:lnTo>
                  <a:lnTo>
                    <a:pt x="5500" y="1650"/>
                  </a:lnTo>
                  <a:lnTo>
                    <a:pt x="5450" y="1550"/>
                  </a:lnTo>
                  <a:lnTo>
                    <a:pt x="5400" y="1500"/>
                  </a:lnTo>
                  <a:lnTo>
                    <a:pt x="5200" y="1400"/>
                  </a:lnTo>
                  <a:lnTo>
                    <a:pt x="4950" y="1400"/>
                  </a:lnTo>
                  <a:lnTo>
                    <a:pt x="4850" y="1450"/>
                  </a:lnTo>
                  <a:lnTo>
                    <a:pt x="4750" y="1500"/>
                  </a:lnTo>
                  <a:lnTo>
                    <a:pt x="4750" y="1450"/>
                  </a:lnTo>
                  <a:lnTo>
                    <a:pt x="4750" y="1251"/>
                  </a:lnTo>
                  <a:lnTo>
                    <a:pt x="4850" y="1000"/>
                  </a:lnTo>
                  <a:lnTo>
                    <a:pt x="4950" y="900"/>
                  </a:lnTo>
                  <a:lnTo>
                    <a:pt x="5100" y="750"/>
                  </a:lnTo>
                  <a:lnTo>
                    <a:pt x="5300" y="700"/>
                  </a:lnTo>
                  <a:lnTo>
                    <a:pt x="5450" y="650"/>
                  </a:lnTo>
                  <a:lnTo>
                    <a:pt x="5650" y="650"/>
                  </a:lnTo>
                  <a:lnTo>
                    <a:pt x="5800" y="650"/>
                  </a:lnTo>
                  <a:lnTo>
                    <a:pt x="6100" y="750"/>
                  </a:lnTo>
                  <a:lnTo>
                    <a:pt x="6300" y="950"/>
                  </a:lnTo>
                  <a:lnTo>
                    <a:pt x="6350" y="850"/>
                  </a:lnTo>
                  <a:lnTo>
                    <a:pt x="6350" y="700"/>
                  </a:lnTo>
                  <a:lnTo>
                    <a:pt x="6250" y="500"/>
                  </a:lnTo>
                  <a:lnTo>
                    <a:pt x="6100" y="350"/>
                  </a:lnTo>
                  <a:lnTo>
                    <a:pt x="5950" y="300"/>
                  </a:lnTo>
                  <a:lnTo>
                    <a:pt x="5850" y="300"/>
                  </a:lnTo>
                  <a:lnTo>
                    <a:pt x="5900" y="250"/>
                  </a:lnTo>
                  <a:lnTo>
                    <a:pt x="6050" y="100"/>
                  </a:lnTo>
                  <a:lnTo>
                    <a:pt x="6300" y="0"/>
                  </a:lnTo>
                  <a:lnTo>
                    <a:pt x="6450" y="0"/>
                  </a:lnTo>
                  <a:lnTo>
                    <a:pt x="6650" y="50"/>
                  </a:lnTo>
                  <a:lnTo>
                    <a:pt x="6850" y="100"/>
                  </a:lnTo>
                  <a:lnTo>
                    <a:pt x="7000" y="200"/>
                  </a:lnTo>
                  <a:lnTo>
                    <a:pt x="7100" y="300"/>
                  </a:lnTo>
                  <a:lnTo>
                    <a:pt x="7200" y="450"/>
                  </a:lnTo>
                  <a:lnTo>
                    <a:pt x="7300" y="700"/>
                  </a:lnTo>
                  <a:lnTo>
                    <a:pt x="7350" y="1000"/>
                  </a:lnTo>
                  <a:close/>
                  <a:moveTo>
                    <a:pt x="1550" y="6400"/>
                  </a:moveTo>
                  <a:lnTo>
                    <a:pt x="1600" y="6250"/>
                  </a:lnTo>
                  <a:lnTo>
                    <a:pt x="1700" y="6100"/>
                  </a:lnTo>
                  <a:lnTo>
                    <a:pt x="1900" y="5850"/>
                  </a:lnTo>
                  <a:lnTo>
                    <a:pt x="2200" y="5650"/>
                  </a:lnTo>
                  <a:lnTo>
                    <a:pt x="2350" y="5600"/>
                  </a:lnTo>
                  <a:lnTo>
                    <a:pt x="2550" y="5600"/>
                  </a:lnTo>
                  <a:lnTo>
                    <a:pt x="11050" y="5600"/>
                  </a:lnTo>
                  <a:lnTo>
                    <a:pt x="11200" y="5600"/>
                  </a:lnTo>
                  <a:lnTo>
                    <a:pt x="11350" y="5650"/>
                  </a:lnTo>
                  <a:lnTo>
                    <a:pt x="11650" y="5850"/>
                  </a:lnTo>
                  <a:lnTo>
                    <a:pt x="11850" y="6100"/>
                  </a:lnTo>
                  <a:lnTo>
                    <a:pt x="11950" y="6250"/>
                  </a:lnTo>
                  <a:lnTo>
                    <a:pt x="12000" y="6400"/>
                  </a:lnTo>
                  <a:lnTo>
                    <a:pt x="13550" y="12800"/>
                  </a:lnTo>
                  <a:lnTo>
                    <a:pt x="13550" y="12950"/>
                  </a:lnTo>
                  <a:lnTo>
                    <a:pt x="13550" y="13101"/>
                  </a:lnTo>
                  <a:lnTo>
                    <a:pt x="13500" y="13200"/>
                  </a:lnTo>
                  <a:lnTo>
                    <a:pt x="13450" y="13350"/>
                  </a:lnTo>
                  <a:lnTo>
                    <a:pt x="13350" y="13450"/>
                  </a:lnTo>
                  <a:lnTo>
                    <a:pt x="13200" y="13500"/>
                  </a:lnTo>
                  <a:lnTo>
                    <a:pt x="13100" y="13551"/>
                  </a:lnTo>
                  <a:lnTo>
                    <a:pt x="12950" y="13551"/>
                  </a:lnTo>
                  <a:lnTo>
                    <a:pt x="600" y="13551"/>
                  </a:lnTo>
                  <a:lnTo>
                    <a:pt x="450" y="13551"/>
                  </a:lnTo>
                  <a:lnTo>
                    <a:pt x="350" y="13500"/>
                  </a:lnTo>
                  <a:lnTo>
                    <a:pt x="200" y="13450"/>
                  </a:lnTo>
                  <a:lnTo>
                    <a:pt x="100" y="13350"/>
                  </a:lnTo>
                  <a:lnTo>
                    <a:pt x="50" y="13200"/>
                  </a:lnTo>
                  <a:lnTo>
                    <a:pt x="0" y="13101"/>
                  </a:lnTo>
                  <a:lnTo>
                    <a:pt x="0" y="12950"/>
                  </a:lnTo>
                  <a:lnTo>
                    <a:pt x="0" y="12800"/>
                  </a:lnTo>
                  <a:lnTo>
                    <a:pt x="1550" y="6400"/>
                  </a:lnTo>
                  <a:close/>
                  <a:moveTo>
                    <a:pt x="6400" y="9200"/>
                  </a:moveTo>
                  <a:lnTo>
                    <a:pt x="6400" y="6400"/>
                  </a:lnTo>
                  <a:lnTo>
                    <a:pt x="2550" y="6400"/>
                  </a:lnTo>
                  <a:lnTo>
                    <a:pt x="2400" y="6450"/>
                  </a:lnTo>
                  <a:lnTo>
                    <a:pt x="2300" y="6600"/>
                  </a:lnTo>
                  <a:lnTo>
                    <a:pt x="1700" y="9200"/>
                  </a:lnTo>
                  <a:lnTo>
                    <a:pt x="6400" y="9200"/>
                  </a:lnTo>
                  <a:close/>
                  <a:moveTo>
                    <a:pt x="6400" y="12800"/>
                  </a:moveTo>
                  <a:lnTo>
                    <a:pt x="6400" y="10000"/>
                  </a:lnTo>
                  <a:lnTo>
                    <a:pt x="1501" y="10000"/>
                  </a:lnTo>
                  <a:lnTo>
                    <a:pt x="850" y="12800"/>
                  </a:lnTo>
                  <a:lnTo>
                    <a:pt x="6400" y="12800"/>
                  </a:lnTo>
                  <a:close/>
                  <a:moveTo>
                    <a:pt x="7150" y="10000"/>
                  </a:moveTo>
                  <a:lnTo>
                    <a:pt x="7150" y="12800"/>
                  </a:lnTo>
                  <a:lnTo>
                    <a:pt x="12700" y="12800"/>
                  </a:lnTo>
                  <a:lnTo>
                    <a:pt x="12050" y="10000"/>
                  </a:lnTo>
                  <a:lnTo>
                    <a:pt x="7150" y="10000"/>
                  </a:lnTo>
                  <a:close/>
                  <a:moveTo>
                    <a:pt x="7150" y="6400"/>
                  </a:moveTo>
                  <a:lnTo>
                    <a:pt x="7150" y="9200"/>
                  </a:lnTo>
                  <a:lnTo>
                    <a:pt x="11850" y="9200"/>
                  </a:lnTo>
                  <a:lnTo>
                    <a:pt x="11250" y="6600"/>
                  </a:lnTo>
                  <a:lnTo>
                    <a:pt x="11150" y="6450"/>
                  </a:lnTo>
                  <a:lnTo>
                    <a:pt x="11050" y="6400"/>
                  </a:lnTo>
                  <a:lnTo>
                    <a:pt x="7150" y="6400"/>
                  </a:lnTo>
                  <a:close/>
                  <a:moveTo>
                    <a:pt x="5300" y="14200"/>
                  </a:moveTo>
                  <a:lnTo>
                    <a:pt x="8250" y="14200"/>
                  </a:lnTo>
                  <a:lnTo>
                    <a:pt x="8250" y="15750"/>
                  </a:lnTo>
                  <a:lnTo>
                    <a:pt x="11500" y="15750"/>
                  </a:lnTo>
                  <a:lnTo>
                    <a:pt x="11599" y="15750"/>
                  </a:lnTo>
                  <a:lnTo>
                    <a:pt x="11700" y="15850"/>
                  </a:lnTo>
                  <a:lnTo>
                    <a:pt x="11750" y="15900"/>
                  </a:lnTo>
                  <a:lnTo>
                    <a:pt x="11750" y="16000"/>
                  </a:lnTo>
                  <a:lnTo>
                    <a:pt x="11750" y="16100"/>
                  </a:lnTo>
                  <a:lnTo>
                    <a:pt x="11750" y="16200"/>
                  </a:lnTo>
                  <a:lnTo>
                    <a:pt x="11700" y="16300"/>
                  </a:lnTo>
                  <a:lnTo>
                    <a:pt x="11599" y="16350"/>
                  </a:lnTo>
                  <a:lnTo>
                    <a:pt x="11500" y="16400"/>
                  </a:lnTo>
                  <a:lnTo>
                    <a:pt x="2050" y="16400"/>
                  </a:lnTo>
                  <a:lnTo>
                    <a:pt x="1951" y="16350"/>
                  </a:lnTo>
                  <a:lnTo>
                    <a:pt x="1850" y="16300"/>
                  </a:lnTo>
                  <a:lnTo>
                    <a:pt x="1800" y="16200"/>
                  </a:lnTo>
                  <a:lnTo>
                    <a:pt x="1800" y="16100"/>
                  </a:lnTo>
                  <a:lnTo>
                    <a:pt x="1800" y="16000"/>
                  </a:lnTo>
                  <a:lnTo>
                    <a:pt x="1800" y="15900"/>
                  </a:lnTo>
                  <a:lnTo>
                    <a:pt x="1850" y="15850"/>
                  </a:lnTo>
                  <a:lnTo>
                    <a:pt x="1951" y="15750"/>
                  </a:lnTo>
                  <a:lnTo>
                    <a:pt x="2050" y="15750"/>
                  </a:lnTo>
                  <a:lnTo>
                    <a:pt x="5300" y="15750"/>
                  </a:lnTo>
                  <a:lnTo>
                    <a:pt x="5300" y="14200"/>
                  </a:lnTo>
                  <a:close/>
                </a:path>
              </a:pathLst>
            </a:custGeom>
            <a:grpFill/>
            <a:ln w="9525">
              <a:noFill/>
              <a:round/>
              <a:headEnd/>
              <a:tailEnd/>
            </a:ln>
          </p:spPr>
          <p:txBody>
            <a:bodyPr vert="horz" wrap="square" lIns="121944" tIns="60972" rIns="121944" bIns="60972" numCol="1" anchor="t" anchorCtr="0" compatLnSpc="1">
              <a:prstTxWarp prst="textNoShape">
                <a:avLst/>
              </a:prstTxWarp>
            </a:bodyPr>
            <a:lstStyle/>
            <a:p>
              <a:endParaRPr lang="zh-CN" altLang="en-US" sz="3600">
                <a:latin typeface="+mj-lt"/>
                <a:ea typeface="微软雅黑" panose="020B0503020204020204" pitchFamily="34" charset="-122"/>
              </a:endParaRPr>
            </a:p>
          </p:txBody>
        </p:sp>
      </p:grpSp>
      <p:grpSp>
        <p:nvGrpSpPr>
          <p:cNvPr id="259" name="组合 90"/>
          <p:cNvGrpSpPr/>
          <p:nvPr/>
        </p:nvGrpSpPr>
        <p:grpSpPr>
          <a:xfrm>
            <a:off x="9424660" y="4441631"/>
            <a:ext cx="2064297" cy="563385"/>
            <a:chOff x="9274298" y="1367074"/>
            <a:chExt cx="2680840" cy="806740"/>
          </a:xfrm>
          <a:solidFill>
            <a:srgbClr val="00B0F0"/>
          </a:solidFill>
        </p:grpSpPr>
        <p:sp>
          <p:nvSpPr>
            <p:cNvPr id="260" name="Text Box 88"/>
            <p:cNvSpPr txBox="1">
              <a:spLocks noChangeArrowheads="1"/>
            </p:cNvSpPr>
            <p:nvPr/>
          </p:nvSpPr>
          <p:spPr bwMode="auto">
            <a:xfrm>
              <a:off x="9274298" y="1777165"/>
              <a:ext cx="2680840" cy="396649"/>
            </a:xfrm>
            <a:prstGeom prst="rect">
              <a:avLst/>
            </a:prstGeom>
            <a:noFill/>
            <a:ln w="9525">
              <a:noFill/>
              <a:miter lim="800000"/>
              <a:headEnd/>
              <a:tailEnd/>
            </a:ln>
          </p:spPr>
          <p:txBody>
            <a:bodyPr wrap="square">
              <a:spAutoFit/>
            </a:bodyPr>
            <a:lstStyle/>
            <a:p>
              <a:pPr algn="ctr">
                <a:spcBef>
                  <a:spcPct val="50000"/>
                </a:spcBef>
              </a:pPr>
              <a:r>
                <a:rPr lang="en-US" altLang="zh-CN" sz="1200" dirty="0" err="1">
                  <a:latin typeface="+mj-lt"/>
                  <a:ea typeface="微软雅黑" pitchFamily="34" charset="-122"/>
                </a:rPr>
                <a:t>Gestión</a:t>
              </a:r>
              <a:r>
                <a:rPr lang="en-US" altLang="zh-CN" sz="1200" dirty="0">
                  <a:latin typeface="+mj-lt"/>
                  <a:ea typeface="微软雅黑" pitchFamily="34" charset="-122"/>
                </a:rPr>
                <a:t> del Campus</a:t>
              </a:r>
            </a:p>
          </p:txBody>
        </p:sp>
        <p:grpSp>
          <p:nvGrpSpPr>
            <p:cNvPr id="261" name="组合 345"/>
            <p:cNvGrpSpPr>
              <a:grpSpLocks noChangeAspect="1"/>
            </p:cNvGrpSpPr>
            <p:nvPr/>
          </p:nvGrpSpPr>
          <p:grpSpPr>
            <a:xfrm>
              <a:off x="10364487" y="1367074"/>
              <a:ext cx="576000" cy="367765"/>
              <a:chOff x="10140950" y="2263775"/>
              <a:chExt cx="387350" cy="238125"/>
            </a:xfrm>
            <a:grpFill/>
          </p:grpSpPr>
          <p:sp>
            <p:nvSpPr>
              <p:cNvPr id="262" name="Freeform 111"/>
              <p:cNvSpPr>
                <a:spLocks noEditPoints="1"/>
              </p:cNvSpPr>
              <p:nvPr/>
            </p:nvSpPr>
            <p:spPr bwMode="auto">
              <a:xfrm>
                <a:off x="10375900" y="2276475"/>
                <a:ext cx="152400" cy="152400"/>
              </a:xfrm>
              <a:custGeom>
                <a:avLst/>
                <a:gdLst/>
                <a:ahLst/>
                <a:cxnLst>
                  <a:cxn ang="0">
                    <a:pos x="84" y="68"/>
                  </a:cxn>
                  <a:cxn ang="0">
                    <a:pos x="86" y="64"/>
                  </a:cxn>
                  <a:cxn ang="0">
                    <a:pos x="94" y="62"/>
                  </a:cxn>
                  <a:cxn ang="0">
                    <a:pos x="96" y="54"/>
                  </a:cxn>
                  <a:cxn ang="0">
                    <a:pos x="90" y="48"/>
                  </a:cxn>
                  <a:cxn ang="0">
                    <a:pos x="90" y="42"/>
                  </a:cxn>
                  <a:cxn ang="0">
                    <a:pos x="96" y="38"/>
                  </a:cxn>
                  <a:cxn ang="0">
                    <a:pos x="92" y="28"/>
                  </a:cxn>
                  <a:cxn ang="0">
                    <a:pos x="84" y="28"/>
                  </a:cxn>
                  <a:cxn ang="0">
                    <a:pos x="82" y="22"/>
                  </a:cxn>
                  <a:cxn ang="0">
                    <a:pos x="84" y="16"/>
                  </a:cxn>
                  <a:cxn ang="0">
                    <a:pos x="78" y="10"/>
                  </a:cxn>
                  <a:cxn ang="0">
                    <a:pos x="70" y="12"/>
                  </a:cxn>
                  <a:cxn ang="0">
                    <a:pos x="66" y="10"/>
                  </a:cxn>
                  <a:cxn ang="0">
                    <a:pos x="64" y="2"/>
                  </a:cxn>
                  <a:cxn ang="0">
                    <a:pos x="54" y="0"/>
                  </a:cxn>
                  <a:cxn ang="0">
                    <a:pos x="48" y="6"/>
                  </a:cxn>
                  <a:cxn ang="0">
                    <a:pos x="42" y="6"/>
                  </a:cxn>
                  <a:cxn ang="0">
                    <a:pos x="38" y="0"/>
                  </a:cxn>
                  <a:cxn ang="0">
                    <a:pos x="30" y="2"/>
                  </a:cxn>
                  <a:cxn ang="0">
                    <a:pos x="28" y="10"/>
                  </a:cxn>
                  <a:cxn ang="0">
                    <a:pos x="22" y="14"/>
                  </a:cxn>
                  <a:cxn ang="0">
                    <a:pos x="16" y="12"/>
                  </a:cxn>
                  <a:cxn ang="0">
                    <a:pos x="10" y="18"/>
                  </a:cxn>
                  <a:cxn ang="0">
                    <a:pos x="12" y="26"/>
                  </a:cxn>
                  <a:cxn ang="0">
                    <a:pos x="10" y="32"/>
                  </a:cxn>
                  <a:cxn ang="0">
                    <a:pos x="2" y="32"/>
                  </a:cxn>
                  <a:cxn ang="0">
                    <a:pos x="0" y="42"/>
                  </a:cxn>
                  <a:cxn ang="0">
                    <a:pos x="6" y="46"/>
                  </a:cxn>
                  <a:cxn ang="0">
                    <a:pos x="6" y="52"/>
                  </a:cxn>
                  <a:cxn ang="0">
                    <a:pos x="0" y="58"/>
                  </a:cxn>
                  <a:cxn ang="0">
                    <a:pos x="4" y="66"/>
                  </a:cxn>
                  <a:cxn ang="0">
                    <a:pos x="12" y="68"/>
                  </a:cxn>
                  <a:cxn ang="0">
                    <a:pos x="14" y="72"/>
                  </a:cxn>
                  <a:cxn ang="0">
                    <a:pos x="12" y="80"/>
                  </a:cxn>
                  <a:cxn ang="0">
                    <a:pos x="18" y="86"/>
                  </a:cxn>
                  <a:cxn ang="0">
                    <a:pos x="26" y="84"/>
                  </a:cxn>
                  <a:cxn ang="0">
                    <a:pos x="32" y="86"/>
                  </a:cxn>
                  <a:cxn ang="0">
                    <a:pos x="32" y="94"/>
                  </a:cxn>
                  <a:cxn ang="0">
                    <a:pos x="42" y="96"/>
                  </a:cxn>
                  <a:cxn ang="0">
                    <a:pos x="48" y="90"/>
                  </a:cxn>
                  <a:cxn ang="0">
                    <a:pos x="54" y="88"/>
                  </a:cxn>
                  <a:cxn ang="0">
                    <a:pos x="58" y="94"/>
                  </a:cxn>
                  <a:cxn ang="0">
                    <a:pos x="66" y="92"/>
                  </a:cxn>
                  <a:cxn ang="0">
                    <a:pos x="68" y="84"/>
                  </a:cxn>
                  <a:cxn ang="0">
                    <a:pos x="74" y="80"/>
                  </a:cxn>
                  <a:cxn ang="0">
                    <a:pos x="80" y="84"/>
                  </a:cxn>
                  <a:cxn ang="0">
                    <a:pos x="86" y="76"/>
                  </a:cxn>
                  <a:cxn ang="0">
                    <a:pos x="28" y="68"/>
                  </a:cxn>
                  <a:cxn ang="0">
                    <a:pos x="20" y="48"/>
                  </a:cxn>
                  <a:cxn ang="0">
                    <a:pos x="28" y="28"/>
                  </a:cxn>
                  <a:cxn ang="0">
                    <a:pos x="58" y="20"/>
                  </a:cxn>
                  <a:cxn ang="0">
                    <a:pos x="74" y="36"/>
                  </a:cxn>
                  <a:cxn ang="0">
                    <a:pos x="68" y="66"/>
                  </a:cxn>
                  <a:cxn ang="0">
                    <a:pos x="50" y="76"/>
                  </a:cxn>
                  <a:cxn ang="0">
                    <a:pos x="28" y="68"/>
                  </a:cxn>
                </a:cxnLst>
                <a:rect l="0" t="0" r="r" b="b"/>
                <a:pathLst>
                  <a:path w="96" h="96">
                    <a:moveTo>
                      <a:pt x="86" y="74"/>
                    </a:moveTo>
                    <a:lnTo>
                      <a:pt x="86" y="74"/>
                    </a:lnTo>
                    <a:lnTo>
                      <a:pt x="84" y="68"/>
                    </a:lnTo>
                    <a:lnTo>
                      <a:pt x="84" y="66"/>
                    </a:lnTo>
                    <a:lnTo>
                      <a:pt x="84" y="66"/>
                    </a:lnTo>
                    <a:lnTo>
                      <a:pt x="86" y="64"/>
                    </a:lnTo>
                    <a:lnTo>
                      <a:pt x="90" y="64"/>
                    </a:lnTo>
                    <a:lnTo>
                      <a:pt x="90" y="64"/>
                    </a:lnTo>
                    <a:lnTo>
                      <a:pt x="94" y="62"/>
                    </a:lnTo>
                    <a:lnTo>
                      <a:pt x="96" y="58"/>
                    </a:lnTo>
                    <a:lnTo>
                      <a:pt x="96" y="58"/>
                    </a:lnTo>
                    <a:lnTo>
                      <a:pt x="96" y="54"/>
                    </a:lnTo>
                    <a:lnTo>
                      <a:pt x="92" y="52"/>
                    </a:lnTo>
                    <a:lnTo>
                      <a:pt x="92" y="52"/>
                    </a:lnTo>
                    <a:lnTo>
                      <a:pt x="90" y="48"/>
                    </a:lnTo>
                    <a:lnTo>
                      <a:pt x="88" y="44"/>
                    </a:lnTo>
                    <a:lnTo>
                      <a:pt x="88" y="44"/>
                    </a:lnTo>
                    <a:lnTo>
                      <a:pt x="90" y="42"/>
                    </a:lnTo>
                    <a:lnTo>
                      <a:pt x="92" y="40"/>
                    </a:lnTo>
                    <a:lnTo>
                      <a:pt x="92" y="40"/>
                    </a:lnTo>
                    <a:lnTo>
                      <a:pt x="96" y="38"/>
                    </a:lnTo>
                    <a:lnTo>
                      <a:pt x="96" y="32"/>
                    </a:lnTo>
                    <a:lnTo>
                      <a:pt x="96" y="32"/>
                    </a:lnTo>
                    <a:lnTo>
                      <a:pt x="92" y="28"/>
                    </a:lnTo>
                    <a:lnTo>
                      <a:pt x="88" y="28"/>
                    </a:lnTo>
                    <a:lnTo>
                      <a:pt x="88" y="28"/>
                    </a:lnTo>
                    <a:lnTo>
                      <a:pt x="84" y="28"/>
                    </a:lnTo>
                    <a:lnTo>
                      <a:pt x="82" y="24"/>
                    </a:lnTo>
                    <a:lnTo>
                      <a:pt x="82" y="24"/>
                    </a:lnTo>
                    <a:lnTo>
                      <a:pt x="82" y="22"/>
                    </a:lnTo>
                    <a:lnTo>
                      <a:pt x="84" y="20"/>
                    </a:lnTo>
                    <a:lnTo>
                      <a:pt x="84" y="20"/>
                    </a:lnTo>
                    <a:lnTo>
                      <a:pt x="84" y="16"/>
                    </a:lnTo>
                    <a:lnTo>
                      <a:pt x="82" y="12"/>
                    </a:lnTo>
                    <a:lnTo>
                      <a:pt x="82" y="12"/>
                    </a:lnTo>
                    <a:lnTo>
                      <a:pt x="78" y="10"/>
                    </a:lnTo>
                    <a:lnTo>
                      <a:pt x="74" y="10"/>
                    </a:lnTo>
                    <a:lnTo>
                      <a:pt x="74" y="10"/>
                    </a:lnTo>
                    <a:lnTo>
                      <a:pt x="70" y="12"/>
                    </a:lnTo>
                    <a:lnTo>
                      <a:pt x="68" y="12"/>
                    </a:lnTo>
                    <a:lnTo>
                      <a:pt x="68" y="12"/>
                    </a:lnTo>
                    <a:lnTo>
                      <a:pt x="66" y="10"/>
                    </a:lnTo>
                    <a:lnTo>
                      <a:pt x="64" y="6"/>
                    </a:lnTo>
                    <a:lnTo>
                      <a:pt x="64" y="6"/>
                    </a:lnTo>
                    <a:lnTo>
                      <a:pt x="64" y="2"/>
                    </a:lnTo>
                    <a:lnTo>
                      <a:pt x="60" y="0"/>
                    </a:lnTo>
                    <a:lnTo>
                      <a:pt x="60" y="0"/>
                    </a:lnTo>
                    <a:lnTo>
                      <a:pt x="54" y="0"/>
                    </a:lnTo>
                    <a:lnTo>
                      <a:pt x="52" y="2"/>
                    </a:lnTo>
                    <a:lnTo>
                      <a:pt x="52" y="2"/>
                    </a:lnTo>
                    <a:lnTo>
                      <a:pt x="48" y="6"/>
                    </a:lnTo>
                    <a:lnTo>
                      <a:pt x="46" y="8"/>
                    </a:lnTo>
                    <a:lnTo>
                      <a:pt x="46" y="8"/>
                    </a:lnTo>
                    <a:lnTo>
                      <a:pt x="42" y="6"/>
                    </a:lnTo>
                    <a:lnTo>
                      <a:pt x="42" y="2"/>
                    </a:lnTo>
                    <a:lnTo>
                      <a:pt x="42" y="2"/>
                    </a:lnTo>
                    <a:lnTo>
                      <a:pt x="38" y="0"/>
                    </a:lnTo>
                    <a:lnTo>
                      <a:pt x="34" y="0"/>
                    </a:lnTo>
                    <a:lnTo>
                      <a:pt x="34" y="0"/>
                    </a:lnTo>
                    <a:lnTo>
                      <a:pt x="30" y="2"/>
                    </a:lnTo>
                    <a:lnTo>
                      <a:pt x="28" y="6"/>
                    </a:lnTo>
                    <a:lnTo>
                      <a:pt x="28" y="6"/>
                    </a:lnTo>
                    <a:lnTo>
                      <a:pt x="28" y="10"/>
                    </a:lnTo>
                    <a:lnTo>
                      <a:pt x="26" y="14"/>
                    </a:lnTo>
                    <a:lnTo>
                      <a:pt x="26" y="14"/>
                    </a:lnTo>
                    <a:lnTo>
                      <a:pt x="22" y="14"/>
                    </a:lnTo>
                    <a:lnTo>
                      <a:pt x="20" y="12"/>
                    </a:lnTo>
                    <a:lnTo>
                      <a:pt x="20" y="12"/>
                    </a:lnTo>
                    <a:lnTo>
                      <a:pt x="16" y="12"/>
                    </a:lnTo>
                    <a:lnTo>
                      <a:pt x="12" y="14"/>
                    </a:lnTo>
                    <a:lnTo>
                      <a:pt x="12" y="14"/>
                    </a:lnTo>
                    <a:lnTo>
                      <a:pt x="10" y="18"/>
                    </a:lnTo>
                    <a:lnTo>
                      <a:pt x="10" y="22"/>
                    </a:lnTo>
                    <a:lnTo>
                      <a:pt x="10" y="22"/>
                    </a:lnTo>
                    <a:lnTo>
                      <a:pt x="12" y="26"/>
                    </a:lnTo>
                    <a:lnTo>
                      <a:pt x="12" y="30"/>
                    </a:lnTo>
                    <a:lnTo>
                      <a:pt x="12" y="30"/>
                    </a:lnTo>
                    <a:lnTo>
                      <a:pt x="10" y="32"/>
                    </a:lnTo>
                    <a:lnTo>
                      <a:pt x="6" y="32"/>
                    </a:lnTo>
                    <a:lnTo>
                      <a:pt x="6" y="32"/>
                    </a:lnTo>
                    <a:lnTo>
                      <a:pt x="2" y="32"/>
                    </a:lnTo>
                    <a:lnTo>
                      <a:pt x="0" y="36"/>
                    </a:lnTo>
                    <a:lnTo>
                      <a:pt x="0" y="36"/>
                    </a:lnTo>
                    <a:lnTo>
                      <a:pt x="0" y="42"/>
                    </a:lnTo>
                    <a:lnTo>
                      <a:pt x="4" y="44"/>
                    </a:lnTo>
                    <a:lnTo>
                      <a:pt x="4" y="44"/>
                    </a:lnTo>
                    <a:lnTo>
                      <a:pt x="6" y="46"/>
                    </a:lnTo>
                    <a:lnTo>
                      <a:pt x="8" y="50"/>
                    </a:lnTo>
                    <a:lnTo>
                      <a:pt x="8" y="50"/>
                    </a:lnTo>
                    <a:lnTo>
                      <a:pt x="6" y="52"/>
                    </a:lnTo>
                    <a:lnTo>
                      <a:pt x="4" y="54"/>
                    </a:lnTo>
                    <a:lnTo>
                      <a:pt x="4" y="54"/>
                    </a:lnTo>
                    <a:lnTo>
                      <a:pt x="0" y="58"/>
                    </a:lnTo>
                    <a:lnTo>
                      <a:pt x="0" y="62"/>
                    </a:lnTo>
                    <a:lnTo>
                      <a:pt x="0" y="62"/>
                    </a:lnTo>
                    <a:lnTo>
                      <a:pt x="4" y="66"/>
                    </a:lnTo>
                    <a:lnTo>
                      <a:pt x="8" y="66"/>
                    </a:lnTo>
                    <a:lnTo>
                      <a:pt x="8" y="66"/>
                    </a:lnTo>
                    <a:lnTo>
                      <a:pt x="12" y="68"/>
                    </a:lnTo>
                    <a:lnTo>
                      <a:pt x="14" y="70"/>
                    </a:lnTo>
                    <a:lnTo>
                      <a:pt x="14" y="70"/>
                    </a:lnTo>
                    <a:lnTo>
                      <a:pt x="14" y="72"/>
                    </a:lnTo>
                    <a:lnTo>
                      <a:pt x="12" y="76"/>
                    </a:lnTo>
                    <a:lnTo>
                      <a:pt x="12" y="76"/>
                    </a:lnTo>
                    <a:lnTo>
                      <a:pt x="12" y="80"/>
                    </a:lnTo>
                    <a:lnTo>
                      <a:pt x="14" y="84"/>
                    </a:lnTo>
                    <a:lnTo>
                      <a:pt x="14" y="84"/>
                    </a:lnTo>
                    <a:lnTo>
                      <a:pt x="18" y="86"/>
                    </a:lnTo>
                    <a:lnTo>
                      <a:pt x="22" y="84"/>
                    </a:lnTo>
                    <a:lnTo>
                      <a:pt x="22" y="84"/>
                    </a:lnTo>
                    <a:lnTo>
                      <a:pt x="26" y="84"/>
                    </a:lnTo>
                    <a:lnTo>
                      <a:pt x="30" y="84"/>
                    </a:lnTo>
                    <a:lnTo>
                      <a:pt x="30" y="84"/>
                    </a:lnTo>
                    <a:lnTo>
                      <a:pt x="32" y="86"/>
                    </a:lnTo>
                    <a:lnTo>
                      <a:pt x="32" y="90"/>
                    </a:lnTo>
                    <a:lnTo>
                      <a:pt x="32" y="90"/>
                    </a:lnTo>
                    <a:lnTo>
                      <a:pt x="32" y="94"/>
                    </a:lnTo>
                    <a:lnTo>
                      <a:pt x="36" y="96"/>
                    </a:lnTo>
                    <a:lnTo>
                      <a:pt x="36" y="96"/>
                    </a:lnTo>
                    <a:lnTo>
                      <a:pt x="42" y="96"/>
                    </a:lnTo>
                    <a:lnTo>
                      <a:pt x="44" y="92"/>
                    </a:lnTo>
                    <a:lnTo>
                      <a:pt x="44" y="92"/>
                    </a:lnTo>
                    <a:lnTo>
                      <a:pt x="48" y="90"/>
                    </a:lnTo>
                    <a:lnTo>
                      <a:pt x="50" y="88"/>
                    </a:lnTo>
                    <a:lnTo>
                      <a:pt x="50" y="88"/>
                    </a:lnTo>
                    <a:lnTo>
                      <a:pt x="54" y="88"/>
                    </a:lnTo>
                    <a:lnTo>
                      <a:pt x="54" y="92"/>
                    </a:lnTo>
                    <a:lnTo>
                      <a:pt x="54" y="92"/>
                    </a:lnTo>
                    <a:lnTo>
                      <a:pt x="58" y="94"/>
                    </a:lnTo>
                    <a:lnTo>
                      <a:pt x="62" y="94"/>
                    </a:lnTo>
                    <a:lnTo>
                      <a:pt x="62" y="94"/>
                    </a:lnTo>
                    <a:lnTo>
                      <a:pt x="66" y="92"/>
                    </a:lnTo>
                    <a:lnTo>
                      <a:pt x="68" y="88"/>
                    </a:lnTo>
                    <a:lnTo>
                      <a:pt x="68" y="88"/>
                    </a:lnTo>
                    <a:lnTo>
                      <a:pt x="68" y="84"/>
                    </a:lnTo>
                    <a:lnTo>
                      <a:pt x="70" y="80"/>
                    </a:lnTo>
                    <a:lnTo>
                      <a:pt x="70" y="80"/>
                    </a:lnTo>
                    <a:lnTo>
                      <a:pt x="74" y="80"/>
                    </a:lnTo>
                    <a:lnTo>
                      <a:pt x="76" y="82"/>
                    </a:lnTo>
                    <a:lnTo>
                      <a:pt x="76" y="82"/>
                    </a:lnTo>
                    <a:lnTo>
                      <a:pt x="80" y="84"/>
                    </a:lnTo>
                    <a:lnTo>
                      <a:pt x="84" y="80"/>
                    </a:lnTo>
                    <a:lnTo>
                      <a:pt x="84" y="80"/>
                    </a:lnTo>
                    <a:lnTo>
                      <a:pt x="86" y="76"/>
                    </a:lnTo>
                    <a:lnTo>
                      <a:pt x="86" y="74"/>
                    </a:lnTo>
                    <a:lnTo>
                      <a:pt x="86" y="74"/>
                    </a:lnTo>
                    <a:close/>
                    <a:moveTo>
                      <a:pt x="28" y="68"/>
                    </a:moveTo>
                    <a:lnTo>
                      <a:pt x="28" y="68"/>
                    </a:lnTo>
                    <a:lnTo>
                      <a:pt x="22" y="58"/>
                    </a:lnTo>
                    <a:lnTo>
                      <a:pt x="20" y="48"/>
                    </a:lnTo>
                    <a:lnTo>
                      <a:pt x="22" y="38"/>
                    </a:lnTo>
                    <a:lnTo>
                      <a:pt x="28" y="28"/>
                    </a:lnTo>
                    <a:lnTo>
                      <a:pt x="28" y="28"/>
                    </a:lnTo>
                    <a:lnTo>
                      <a:pt x="36" y="22"/>
                    </a:lnTo>
                    <a:lnTo>
                      <a:pt x="46" y="20"/>
                    </a:lnTo>
                    <a:lnTo>
                      <a:pt x="58" y="20"/>
                    </a:lnTo>
                    <a:lnTo>
                      <a:pt x="68" y="26"/>
                    </a:lnTo>
                    <a:lnTo>
                      <a:pt x="68" y="26"/>
                    </a:lnTo>
                    <a:lnTo>
                      <a:pt x="74" y="36"/>
                    </a:lnTo>
                    <a:lnTo>
                      <a:pt x="76" y="46"/>
                    </a:lnTo>
                    <a:lnTo>
                      <a:pt x="74" y="58"/>
                    </a:lnTo>
                    <a:lnTo>
                      <a:pt x="68" y="66"/>
                    </a:lnTo>
                    <a:lnTo>
                      <a:pt x="68" y="66"/>
                    </a:lnTo>
                    <a:lnTo>
                      <a:pt x="60" y="74"/>
                    </a:lnTo>
                    <a:lnTo>
                      <a:pt x="50" y="76"/>
                    </a:lnTo>
                    <a:lnTo>
                      <a:pt x="38" y="74"/>
                    </a:lnTo>
                    <a:lnTo>
                      <a:pt x="28" y="68"/>
                    </a:lnTo>
                    <a:lnTo>
                      <a:pt x="28" y="68"/>
                    </a:lnTo>
                    <a:close/>
                  </a:path>
                </a:pathLst>
              </a:custGeom>
              <a:solidFill>
                <a:schemeClr val="tx1"/>
              </a:solidFill>
              <a:ln>
                <a:noFill/>
              </a:ln>
              <a:effectLst/>
            </p:spPr>
            <p:txBody>
              <a:bodyPr vert="horz" wrap="square" lIns="91437" tIns="45719" rIns="91437" bIns="45719" numCol="1" rtlCol="0" anchor="t" anchorCtr="0" compatLnSpc="1">
                <a:prstTxWarp prst="textNoShape">
                  <a:avLst/>
                </a:prstTxWarp>
              </a:bodyPr>
              <a:lstStyle/>
              <a:p>
                <a:pPr>
                  <a:buClr>
                    <a:srgbClr val="CC9900"/>
                  </a:buClr>
                  <a:buFont typeface="Wingdings" pitchFamily="2" charset="2"/>
                  <a:buChar char="n"/>
                </a:pPr>
                <a:endParaRPr lang="zh-CN" altLang="en-US">
                  <a:latin typeface="+mj-lt"/>
                  <a:ea typeface="微软雅黑" panose="020B0503020204020204" pitchFamily="34" charset="-122"/>
                </a:endParaRPr>
              </a:p>
            </p:txBody>
          </p:sp>
          <p:sp>
            <p:nvSpPr>
              <p:cNvPr id="263" name="Freeform 112"/>
              <p:cNvSpPr>
                <a:spLocks noEditPoints="1"/>
              </p:cNvSpPr>
              <p:nvPr/>
            </p:nvSpPr>
            <p:spPr bwMode="auto">
              <a:xfrm>
                <a:off x="10140950" y="2263775"/>
                <a:ext cx="238125" cy="238125"/>
              </a:xfrm>
              <a:custGeom>
                <a:avLst/>
                <a:gdLst/>
                <a:ahLst/>
                <a:cxnLst>
                  <a:cxn ang="0">
                    <a:pos x="130" y="108"/>
                  </a:cxn>
                  <a:cxn ang="0">
                    <a:pos x="140" y="100"/>
                  </a:cxn>
                  <a:cxn ang="0">
                    <a:pos x="148" y="96"/>
                  </a:cxn>
                  <a:cxn ang="0">
                    <a:pos x="148" y="84"/>
                  </a:cxn>
                  <a:cxn ang="0">
                    <a:pos x="142" y="78"/>
                  </a:cxn>
                  <a:cxn ang="0">
                    <a:pos x="140" y="66"/>
                  </a:cxn>
                  <a:cxn ang="0">
                    <a:pos x="148" y="60"/>
                  </a:cxn>
                  <a:cxn ang="0">
                    <a:pos x="146" y="48"/>
                  </a:cxn>
                  <a:cxn ang="0">
                    <a:pos x="138" y="44"/>
                  </a:cxn>
                  <a:cxn ang="0">
                    <a:pos x="126" y="40"/>
                  </a:cxn>
                  <a:cxn ang="0">
                    <a:pos x="130" y="28"/>
                  </a:cxn>
                  <a:cxn ang="0">
                    <a:pos x="126" y="18"/>
                  </a:cxn>
                  <a:cxn ang="0">
                    <a:pos x="114" y="18"/>
                  </a:cxn>
                  <a:cxn ang="0">
                    <a:pos x="106" y="20"/>
                  </a:cxn>
                  <a:cxn ang="0">
                    <a:pos x="100" y="10"/>
                  </a:cxn>
                  <a:cxn ang="0">
                    <a:pos x="92" y="0"/>
                  </a:cxn>
                  <a:cxn ang="0">
                    <a:pos x="82" y="2"/>
                  </a:cxn>
                  <a:cxn ang="0">
                    <a:pos x="76" y="10"/>
                  </a:cxn>
                  <a:cxn ang="0">
                    <a:pos x="64" y="6"/>
                  </a:cxn>
                  <a:cxn ang="0">
                    <a:pos x="56" y="0"/>
                  </a:cxn>
                  <a:cxn ang="0">
                    <a:pos x="46" y="6"/>
                  </a:cxn>
                  <a:cxn ang="0">
                    <a:pos x="44" y="14"/>
                  </a:cxn>
                  <a:cxn ang="0">
                    <a:pos x="36" y="22"/>
                  </a:cxn>
                  <a:cxn ang="0">
                    <a:pos x="24" y="18"/>
                  </a:cxn>
                  <a:cxn ang="0">
                    <a:pos x="16" y="26"/>
                  </a:cxn>
                  <a:cxn ang="0">
                    <a:pos x="16" y="34"/>
                  </a:cxn>
                  <a:cxn ang="0">
                    <a:pos x="18" y="48"/>
                  </a:cxn>
                  <a:cxn ang="0">
                    <a:pos x="6" y="50"/>
                  </a:cxn>
                  <a:cxn ang="0">
                    <a:pos x="0" y="58"/>
                  </a:cxn>
                  <a:cxn ang="0">
                    <a:pos x="4" y="70"/>
                  </a:cxn>
                  <a:cxn ang="0">
                    <a:pos x="12" y="80"/>
                  </a:cxn>
                  <a:cxn ang="0">
                    <a:pos x="6" y="86"/>
                  </a:cxn>
                  <a:cxn ang="0">
                    <a:pos x="2" y="98"/>
                  </a:cxn>
                  <a:cxn ang="0">
                    <a:pos x="8" y="104"/>
                  </a:cxn>
                  <a:cxn ang="0">
                    <a:pos x="18" y="106"/>
                  </a:cxn>
                  <a:cxn ang="0">
                    <a:pos x="20" y="118"/>
                  </a:cxn>
                  <a:cxn ang="0">
                    <a:pos x="20" y="128"/>
                  </a:cxn>
                  <a:cxn ang="0">
                    <a:pos x="30" y="134"/>
                  </a:cxn>
                  <a:cxn ang="0">
                    <a:pos x="38" y="130"/>
                  </a:cxn>
                  <a:cxn ang="0">
                    <a:pos x="50" y="134"/>
                  </a:cxn>
                  <a:cxn ang="0">
                    <a:pos x="52" y="146"/>
                  </a:cxn>
                  <a:cxn ang="0">
                    <a:pos x="62" y="150"/>
                  </a:cxn>
                  <a:cxn ang="0">
                    <a:pos x="68" y="144"/>
                  </a:cxn>
                  <a:cxn ang="0">
                    <a:pos x="80" y="138"/>
                  </a:cxn>
                  <a:cxn ang="0">
                    <a:pos x="86" y="146"/>
                  </a:cxn>
                  <a:cxn ang="0">
                    <a:pos x="98" y="148"/>
                  </a:cxn>
                  <a:cxn ang="0">
                    <a:pos x="104" y="138"/>
                  </a:cxn>
                  <a:cxn ang="0">
                    <a:pos x="110" y="126"/>
                  </a:cxn>
                  <a:cxn ang="0">
                    <a:pos x="118" y="130"/>
                  </a:cxn>
                  <a:cxn ang="0">
                    <a:pos x="130" y="128"/>
                  </a:cxn>
                  <a:cxn ang="0">
                    <a:pos x="134" y="118"/>
                  </a:cxn>
                  <a:cxn ang="0">
                    <a:pos x="44" y="108"/>
                  </a:cxn>
                  <a:cxn ang="0">
                    <a:pos x="30" y="76"/>
                  </a:cxn>
                  <a:cxn ang="0">
                    <a:pos x="42" y="44"/>
                  </a:cxn>
                  <a:cxn ang="0">
                    <a:pos x="64" y="32"/>
                  </a:cxn>
                  <a:cxn ang="0">
                    <a:pos x="98" y="38"/>
                  </a:cxn>
                  <a:cxn ang="0">
                    <a:pos x="114" y="56"/>
                  </a:cxn>
                  <a:cxn ang="0">
                    <a:pos x="116" y="90"/>
                  </a:cxn>
                  <a:cxn ang="0">
                    <a:pos x="100" y="110"/>
                  </a:cxn>
                  <a:cxn ang="0">
                    <a:pos x="68" y="118"/>
                  </a:cxn>
                  <a:cxn ang="0">
                    <a:pos x="44" y="108"/>
                  </a:cxn>
                </a:cxnLst>
                <a:rect l="0" t="0" r="r" b="b"/>
                <a:pathLst>
                  <a:path w="150" h="150">
                    <a:moveTo>
                      <a:pt x="132" y="114"/>
                    </a:moveTo>
                    <a:lnTo>
                      <a:pt x="132" y="114"/>
                    </a:lnTo>
                    <a:lnTo>
                      <a:pt x="130" y="112"/>
                    </a:lnTo>
                    <a:lnTo>
                      <a:pt x="130" y="108"/>
                    </a:lnTo>
                    <a:lnTo>
                      <a:pt x="132" y="102"/>
                    </a:lnTo>
                    <a:lnTo>
                      <a:pt x="132" y="102"/>
                    </a:lnTo>
                    <a:lnTo>
                      <a:pt x="134" y="100"/>
                    </a:lnTo>
                    <a:lnTo>
                      <a:pt x="140" y="100"/>
                    </a:lnTo>
                    <a:lnTo>
                      <a:pt x="140" y="100"/>
                    </a:lnTo>
                    <a:lnTo>
                      <a:pt x="142" y="100"/>
                    </a:lnTo>
                    <a:lnTo>
                      <a:pt x="146" y="98"/>
                    </a:lnTo>
                    <a:lnTo>
                      <a:pt x="148" y="96"/>
                    </a:lnTo>
                    <a:lnTo>
                      <a:pt x="150" y="92"/>
                    </a:lnTo>
                    <a:lnTo>
                      <a:pt x="150" y="92"/>
                    </a:lnTo>
                    <a:lnTo>
                      <a:pt x="150" y="88"/>
                    </a:lnTo>
                    <a:lnTo>
                      <a:pt x="148" y="84"/>
                    </a:lnTo>
                    <a:lnTo>
                      <a:pt x="148" y="82"/>
                    </a:lnTo>
                    <a:lnTo>
                      <a:pt x="144" y="80"/>
                    </a:lnTo>
                    <a:lnTo>
                      <a:pt x="144" y="80"/>
                    </a:lnTo>
                    <a:lnTo>
                      <a:pt x="142" y="78"/>
                    </a:lnTo>
                    <a:lnTo>
                      <a:pt x="140" y="76"/>
                    </a:lnTo>
                    <a:lnTo>
                      <a:pt x="138" y="70"/>
                    </a:lnTo>
                    <a:lnTo>
                      <a:pt x="138" y="70"/>
                    </a:lnTo>
                    <a:lnTo>
                      <a:pt x="140" y="66"/>
                    </a:lnTo>
                    <a:lnTo>
                      <a:pt x="144" y="64"/>
                    </a:lnTo>
                    <a:lnTo>
                      <a:pt x="144" y="64"/>
                    </a:lnTo>
                    <a:lnTo>
                      <a:pt x="146" y="62"/>
                    </a:lnTo>
                    <a:lnTo>
                      <a:pt x="148" y="60"/>
                    </a:lnTo>
                    <a:lnTo>
                      <a:pt x="148" y="56"/>
                    </a:lnTo>
                    <a:lnTo>
                      <a:pt x="148" y="52"/>
                    </a:lnTo>
                    <a:lnTo>
                      <a:pt x="148" y="52"/>
                    </a:lnTo>
                    <a:lnTo>
                      <a:pt x="146" y="48"/>
                    </a:lnTo>
                    <a:lnTo>
                      <a:pt x="144" y="46"/>
                    </a:lnTo>
                    <a:lnTo>
                      <a:pt x="140" y="44"/>
                    </a:lnTo>
                    <a:lnTo>
                      <a:pt x="138" y="44"/>
                    </a:lnTo>
                    <a:lnTo>
                      <a:pt x="138" y="44"/>
                    </a:lnTo>
                    <a:lnTo>
                      <a:pt x="134" y="44"/>
                    </a:lnTo>
                    <a:lnTo>
                      <a:pt x="132" y="44"/>
                    </a:lnTo>
                    <a:lnTo>
                      <a:pt x="126" y="40"/>
                    </a:lnTo>
                    <a:lnTo>
                      <a:pt x="126" y="40"/>
                    </a:lnTo>
                    <a:lnTo>
                      <a:pt x="126" y="36"/>
                    </a:lnTo>
                    <a:lnTo>
                      <a:pt x="130" y="30"/>
                    </a:lnTo>
                    <a:lnTo>
                      <a:pt x="130" y="30"/>
                    </a:lnTo>
                    <a:lnTo>
                      <a:pt x="130" y="28"/>
                    </a:lnTo>
                    <a:lnTo>
                      <a:pt x="130" y="24"/>
                    </a:lnTo>
                    <a:lnTo>
                      <a:pt x="130" y="22"/>
                    </a:lnTo>
                    <a:lnTo>
                      <a:pt x="126" y="18"/>
                    </a:lnTo>
                    <a:lnTo>
                      <a:pt x="126" y="18"/>
                    </a:lnTo>
                    <a:lnTo>
                      <a:pt x="124" y="16"/>
                    </a:lnTo>
                    <a:lnTo>
                      <a:pt x="120" y="16"/>
                    </a:lnTo>
                    <a:lnTo>
                      <a:pt x="118" y="16"/>
                    </a:lnTo>
                    <a:lnTo>
                      <a:pt x="114" y="18"/>
                    </a:lnTo>
                    <a:lnTo>
                      <a:pt x="114" y="18"/>
                    </a:lnTo>
                    <a:lnTo>
                      <a:pt x="110" y="20"/>
                    </a:lnTo>
                    <a:lnTo>
                      <a:pt x="106" y="20"/>
                    </a:lnTo>
                    <a:lnTo>
                      <a:pt x="106" y="20"/>
                    </a:lnTo>
                    <a:lnTo>
                      <a:pt x="102" y="16"/>
                    </a:lnTo>
                    <a:lnTo>
                      <a:pt x="100" y="12"/>
                    </a:lnTo>
                    <a:lnTo>
                      <a:pt x="100" y="10"/>
                    </a:lnTo>
                    <a:lnTo>
                      <a:pt x="100" y="10"/>
                    </a:lnTo>
                    <a:lnTo>
                      <a:pt x="100" y="6"/>
                    </a:lnTo>
                    <a:lnTo>
                      <a:pt x="98" y="4"/>
                    </a:lnTo>
                    <a:lnTo>
                      <a:pt x="96" y="2"/>
                    </a:lnTo>
                    <a:lnTo>
                      <a:pt x="92" y="0"/>
                    </a:lnTo>
                    <a:lnTo>
                      <a:pt x="92" y="0"/>
                    </a:lnTo>
                    <a:lnTo>
                      <a:pt x="88" y="0"/>
                    </a:lnTo>
                    <a:lnTo>
                      <a:pt x="84" y="0"/>
                    </a:lnTo>
                    <a:lnTo>
                      <a:pt x="82" y="2"/>
                    </a:lnTo>
                    <a:lnTo>
                      <a:pt x="80" y="4"/>
                    </a:lnTo>
                    <a:lnTo>
                      <a:pt x="80" y="4"/>
                    </a:lnTo>
                    <a:lnTo>
                      <a:pt x="78" y="8"/>
                    </a:lnTo>
                    <a:lnTo>
                      <a:pt x="76" y="10"/>
                    </a:lnTo>
                    <a:lnTo>
                      <a:pt x="70" y="12"/>
                    </a:lnTo>
                    <a:lnTo>
                      <a:pt x="70" y="12"/>
                    </a:lnTo>
                    <a:lnTo>
                      <a:pt x="66" y="10"/>
                    </a:lnTo>
                    <a:lnTo>
                      <a:pt x="64" y="6"/>
                    </a:lnTo>
                    <a:lnTo>
                      <a:pt x="64" y="6"/>
                    </a:lnTo>
                    <a:lnTo>
                      <a:pt x="62" y="2"/>
                    </a:lnTo>
                    <a:lnTo>
                      <a:pt x="60" y="2"/>
                    </a:lnTo>
                    <a:lnTo>
                      <a:pt x="56" y="0"/>
                    </a:lnTo>
                    <a:lnTo>
                      <a:pt x="52" y="2"/>
                    </a:lnTo>
                    <a:lnTo>
                      <a:pt x="52" y="2"/>
                    </a:lnTo>
                    <a:lnTo>
                      <a:pt x="48" y="4"/>
                    </a:lnTo>
                    <a:lnTo>
                      <a:pt x="46" y="6"/>
                    </a:lnTo>
                    <a:lnTo>
                      <a:pt x="44" y="8"/>
                    </a:lnTo>
                    <a:lnTo>
                      <a:pt x="44" y="12"/>
                    </a:lnTo>
                    <a:lnTo>
                      <a:pt x="44" y="12"/>
                    </a:lnTo>
                    <a:lnTo>
                      <a:pt x="44" y="14"/>
                    </a:lnTo>
                    <a:lnTo>
                      <a:pt x="44" y="18"/>
                    </a:lnTo>
                    <a:lnTo>
                      <a:pt x="40" y="22"/>
                    </a:lnTo>
                    <a:lnTo>
                      <a:pt x="40" y="22"/>
                    </a:lnTo>
                    <a:lnTo>
                      <a:pt x="36" y="22"/>
                    </a:lnTo>
                    <a:lnTo>
                      <a:pt x="30" y="20"/>
                    </a:lnTo>
                    <a:lnTo>
                      <a:pt x="30" y="20"/>
                    </a:lnTo>
                    <a:lnTo>
                      <a:pt x="28" y="18"/>
                    </a:lnTo>
                    <a:lnTo>
                      <a:pt x="24" y="18"/>
                    </a:lnTo>
                    <a:lnTo>
                      <a:pt x="22" y="20"/>
                    </a:lnTo>
                    <a:lnTo>
                      <a:pt x="18" y="22"/>
                    </a:lnTo>
                    <a:lnTo>
                      <a:pt x="18" y="22"/>
                    </a:lnTo>
                    <a:lnTo>
                      <a:pt x="16" y="26"/>
                    </a:lnTo>
                    <a:lnTo>
                      <a:pt x="16" y="30"/>
                    </a:lnTo>
                    <a:lnTo>
                      <a:pt x="16" y="32"/>
                    </a:lnTo>
                    <a:lnTo>
                      <a:pt x="16" y="34"/>
                    </a:lnTo>
                    <a:lnTo>
                      <a:pt x="16" y="34"/>
                    </a:lnTo>
                    <a:lnTo>
                      <a:pt x="18" y="38"/>
                    </a:lnTo>
                    <a:lnTo>
                      <a:pt x="20" y="42"/>
                    </a:lnTo>
                    <a:lnTo>
                      <a:pt x="18" y="48"/>
                    </a:lnTo>
                    <a:lnTo>
                      <a:pt x="18" y="48"/>
                    </a:lnTo>
                    <a:lnTo>
                      <a:pt x="14" y="50"/>
                    </a:lnTo>
                    <a:lnTo>
                      <a:pt x="10" y="50"/>
                    </a:lnTo>
                    <a:lnTo>
                      <a:pt x="10" y="50"/>
                    </a:lnTo>
                    <a:lnTo>
                      <a:pt x="6" y="50"/>
                    </a:lnTo>
                    <a:lnTo>
                      <a:pt x="4" y="52"/>
                    </a:lnTo>
                    <a:lnTo>
                      <a:pt x="2" y="54"/>
                    </a:lnTo>
                    <a:lnTo>
                      <a:pt x="0" y="58"/>
                    </a:lnTo>
                    <a:lnTo>
                      <a:pt x="0" y="58"/>
                    </a:lnTo>
                    <a:lnTo>
                      <a:pt x="0" y="62"/>
                    </a:lnTo>
                    <a:lnTo>
                      <a:pt x="0" y="66"/>
                    </a:lnTo>
                    <a:lnTo>
                      <a:pt x="2" y="68"/>
                    </a:lnTo>
                    <a:lnTo>
                      <a:pt x="4" y="70"/>
                    </a:lnTo>
                    <a:lnTo>
                      <a:pt x="4" y="70"/>
                    </a:lnTo>
                    <a:lnTo>
                      <a:pt x="8" y="70"/>
                    </a:lnTo>
                    <a:lnTo>
                      <a:pt x="10" y="74"/>
                    </a:lnTo>
                    <a:lnTo>
                      <a:pt x="12" y="80"/>
                    </a:lnTo>
                    <a:lnTo>
                      <a:pt x="12" y="80"/>
                    </a:lnTo>
                    <a:lnTo>
                      <a:pt x="10" y="82"/>
                    </a:lnTo>
                    <a:lnTo>
                      <a:pt x="6" y="86"/>
                    </a:lnTo>
                    <a:lnTo>
                      <a:pt x="6" y="86"/>
                    </a:lnTo>
                    <a:lnTo>
                      <a:pt x="2" y="88"/>
                    </a:lnTo>
                    <a:lnTo>
                      <a:pt x="2" y="90"/>
                    </a:lnTo>
                    <a:lnTo>
                      <a:pt x="0" y="94"/>
                    </a:lnTo>
                    <a:lnTo>
                      <a:pt x="2" y="98"/>
                    </a:lnTo>
                    <a:lnTo>
                      <a:pt x="2" y="98"/>
                    </a:lnTo>
                    <a:lnTo>
                      <a:pt x="2" y="100"/>
                    </a:lnTo>
                    <a:lnTo>
                      <a:pt x="6" y="104"/>
                    </a:lnTo>
                    <a:lnTo>
                      <a:pt x="8" y="104"/>
                    </a:lnTo>
                    <a:lnTo>
                      <a:pt x="12" y="104"/>
                    </a:lnTo>
                    <a:lnTo>
                      <a:pt x="12" y="104"/>
                    </a:lnTo>
                    <a:lnTo>
                      <a:pt x="14" y="104"/>
                    </a:lnTo>
                    <a:lnTo>
                      <a:pt x="18" y="106"/>
                    </a:lnTo>
                    <a:lnTo>
                      <a:pt x="22" y="110"/>
                    </a:lnTo>
                    <a:lnTo>
                      <a:pt x="22" y="110"/>
                    </a:lnTo>
                    <a:lnTo>
                      <a:pt x="22" y="114"/>
                    </a:lnTo>
                    <a:lnTo>
                      <a:pt x="20" y="118"/>
                    </a:lnTo>
                    <a:lnTo>
                      <a:pt x="20" y="118"/>
                    </a:lnTo>
                    <a:lnTo>
                      <a:pt x="18" y="122"/>
                    </a:lnTo>
                    <a:lnTo>
                      <a:pt x="18" y="124"/>
                    </a:lnTo>
                    <a:lnTo>
                      <a:pt x="20" y="128"/>
                    </a:lnTo>
                    <a:lnTo>
                      <a:pt x="22" y="130"/>
                    </a:lnTo>
                    <a:lnTo>
                      <a:pt x="22" y="130"/>
                    </a:lnTo>
                    <a:lnTo>
                      <a:pt x="26" y="134"/>
                    </a:lnTo>
                    <a:lnTo>
                      <a:pt x="30" y="134"/>
                    </a:lnTo>
                    <a:lnTo>
                      <a:pt x="32" y="134"/>
                    </a:lnTo>
                    <a:lnTo>
                      <a:pt x="34" y="132"/>
                    </a:lnTo>
                    <a:lnTo>
                      <a:pt x="34" y="132"/>
                    </a:lnTo>
                    <a:lnTo>
                      <a:pt x="38" y="130"/>
                    </a:lnTo>
                    <a:lnTo>
                      <a:pt x="42" y="130"/>
                    </a:lnTo>
                    <a:lnTo>
                      <a:pt x="48" y="132"/>
                    </a:lnTo>
                    <a:lnTo>
                      <a:pt x="48" y="132"/>
                    </a:lnTo>
                    <a:lnTo>
                      <a:pt x="50" y="134"/>
                    </a:lnTo>
                    <a:lnTo>
                      <a:pt x="50" y="140"/>
                    </a:lnTo>
                    <a:lnTo>
                      <a:pt x="50" y="140"/>
                    </a:lnTo>
                    <a:lnTo>
                      <a:pt x="50" y="144"/>
                    </a:lnTo>
                    <a:lnTo>
                      <a:pt x="52" y="146"/>
                    </a:lnTo>
                    <a:lnTo>
                      <a:pt x="54" y="148"/>
                    </a:lnTo>
                    <a:lnTo>
                      <a:pt x="58" y="150"/>
                    </a:lnTo>
                    <a:lnTo>
                      <a:pt x="58" y="150"/>
                    </a:lnTo>
                    <a:lnTo>
                      <a:pt x="62" y="150"/>
                    </a:lnTo>
                    <a:lnTo>
                      <a:pt x="64" y="150"/>
                    </a:lnTo>
                    <a:lnTo>
                      <a:pt x="68" y="148"/>
                    </a:lnTo>
                    <a:lnTo>
                      <a:pt x="68" y="144"/>
                    </a:lnTo>
                    <a:lnTo>
                      <a:pt x="68" y="144"/>
                    </a:lnTo>
                    <a:lnTo>
                      <a:pt x="70" y="142"/>
                    </a:lnTo>
                    <a:lnTo>
                      <a:pt x="74" y="140"/>
                    </a:lnTo>
                    <a:lnTo>
                      <a:pt x="80" y="138"/>
                    </a:lnTo>
                    <a:lnTo>
                      <a:pt x="80" y="138"/>
                    </a:lnTo>
                    <a:lnTo>
                      <a:pt x="82" y="140"/>
                    </a:lnTo>
                    <a:lnTo>
                      <a:pt x="86" y="144"/>
                    </a:lnTo>
                    <a:lnTo>
                      <a:pt x="86" y="144"/>
                    </a:lnTo>
                    <a:lnTo>
                      <a:pt x="86" y="146"/>
                    </a:lnTo>
                    <a:lnTo>
                      <a:pt x="90" y="148"/>
                    </a:lnTo>
                    <a:lnTo>
                      <a:pt x="94" y="148"/>
                    </a:lnTo>
                    <a:lnTo>
                      <a:pt x="98" y="148"/>
                    </a:lnTo>
                    <a:lnTo>
                      <a:pt x="98" y="148"/>
                    </a:lnTo>
                    <a:lnTo>
                      <a:pt x="100" y="146"/>
                    </a:lnTo>
                    <a:lnTo>
                      <a:pt x="104" y="144"/>
                    </a:lnTo>
                    <a:lnTo>
                      <a:pt x="104" y="142"/>
                    </a:lnTo>
                    <a:lnTo>
                      <a:pt x="104" y="138"/>
                    </a:lnTo>
                    <a:lnTo>
                      <a:pt x="104" y="138"/>
                    </a:lnTo>
                    <a:lnTo>
                      <a:pt x="104" y="134"/>
                    </a:lnTo>
                    <a:lnTo>
                      <a:pt x="106" y="132"/>
                    </a:lnTo>
                    <a:lnTo>
                      <a:pt x="110" y="126"/>
                    </a:lnTo>
                    <a:lnTo>
                      <a:pt x="110" y="126"/>
                    </a:lnTo>
                    <a:lnTo>
                      <a:pt x="114" y="126"/>
                    </a:lnTo>
                    <a:lnTo>
                      <a:pt x="118" y="130"/>
                    </a:lnTo>
                    <a:lnTo>
                      <a:pt x="118" y="130"/>
                    </a:lnTo>
                    <a:lnTo>
                      <a:pt x="122" y="130"/>
                    </a:lnTo>
                    <a:lnTo>
                      <a:pt x="124" y="130"/>
                    </a:lnTo>
                    <a:lnTo>
                      <a:pt x="128" y="130"/>
                    </a:lnTo>
                    <a:lnTo>
                      <a:pt x="130" y="128"/>
                    </a:lnTo>
                    <a:lnTo>
                      <a:pt x="130" y="128"/>
                    </a:lnTo>
                    <a:lnTo>
                      <a:pt x="134" y="124"/>
                    </a:lnTo>
                    <a:lnTo>
                      <a:pt x="134" y="120"/>
                    </a:lnTo>
                    <a:lnTo>
                      <a:pt x="134" y="118"/>
                    </a:lnTo>
                    <a:lnTo>
                      <a:pt x="132" y="114"/>
                    </a:lnTo>
                    <a:lnTo>
                      <a:pt x="132" y="114"/>
                    </a:lnTo>
                    <a:close/>
                    <a:moveTo>
                      <a:pt x="44" y="108"/>
                    </a:moveTo>
                    <a:lnTo>
                      <a:pt x="44" y="108"/>
                    </a:lnTo>
                    <a:lnTo>
                      <a:pt x="38" y="100"/>
                    </a:lnTo>
                    <a:lnTo>
                      <a:pt x="34" y="92"/>
                    </a:lnTo>
                    <a:lnTo>
                      <a:pt x="32" y="84"/>
                    </a:lnTo>
                    <a:lnTo>
                      <a:pt x="30" y="76"/>
                    </a:lnTo>
                    <a:lnTo>
                      <a:pt x="32" y="68"/>
                    </a:lnTo>
                    <a:lnTo>
                      <a:pt x="34" y="60"/>
                    </a:lnTo>
                    <a:lnTo>
                      <a:pt x="36" y="52"/>
                    </a:lnTo>
                    <a:lnTo>
                      <a:pt x="42" y="44"/>
                    </a:lnTo>
                    <a:lnTo>
                      <a:pt x="42" y="44"/>
                    </a:lnTo>
                    <a:lnTo>
                      <a:pt x="50" y="38"/>
                    </a:lnTo>
                    <a:lnTo>
                      <a:pt x="56" y="34"/>
                    </a:lnTo>
                    <a:lnTo>
                      <a:pt x="64" y="32"/>
                    </a:lnTo>
                    <a:lnTo>
                      <a:pt x="74" y="30"/>
                    </a:lnTo>
                    <a:lnTo>
                      <a:pt x="82" y="32"/>
                    </a:lnTo>
                    <a:lnTo>
                      <a:pt x="90" y="34"/>
                    </a:lnTo>
                    <a:lnTo>
                      <a:pt x="98" y="38"/>
                    </a:lnTo>
                    <a:lnTo>
                      <a:pt x="104" y="42"/>
                    </a:lnTo>
                    <a:lnTo>
                      <a:pt x="104" y="42"/>
                    </a:lnTo>
                    <a:lnTo>
                      <a:pt x="110" y="50"/>
                    </a:lnTo>
                    <a:lnTo>
                      <a:pt x="114" y="56"/>
                    </a:lnTo>
                    <a:lnTo>
                      <a:pt x="118" y="64"/>
                    </a:lnTo>
                    <a:lnTo>
                      <a:pt x="118" y="74"/>
                    </a:lnTo>
                    <a:lnTo>
                      <a:pt x="118" y="82"/>
                    </a:lnTo>
                    <a:lnTo>
                      <a:pt x="116" y="90"/>
                    </a:lnTo>
                    <a:lnTo>
                      <a:pt x="112" y="98"/>
                    </a:lnTo>
                    <a:lnTo>
                      <a:pt x="106" y="104"/>
                    </a:lnTo>
                    <a:lnTo>
                      <a:pt x="106" y="104"/>
                    </a:lnTo>
                    <a:lnTo>
                      <a:pt x="100" y="110"/>
                    </a:lnTo>
                    <a:lnTo>
                      <a:pt x="92" y="114"/>
                    </a:lnTo>
                    <a:lnTo>
                      <a:pt x="84" y="118"/>
                    </a:lnTo>
                    <a:lnTo>
                      <a:pt x="76" y="118"/>
                    </a:lnTo>
                    <a:lnTo>
                      <a:pt x="68" y="118"/>
                    </a:lnTo>
                    <a:lnTo>
                      <a:pt x="60" y="116"/>
                    </a:lnTo>
                    <a:lnTo>
                      <a:pt x="52" y="112"/>
                    </a:lnTo>
                    <a:lnTo>
                      <a:pt x="44" y="108"/>
                    </a:lnTo>
                    <a:lnTo>
                      <a:pt x="44" y="108"/>
                    </a:lnTo>
                    <a:close/>
                  </a:path>
                </a:pathLst>
              </a:custGeom>
              <a:solidFill>
                <a:schemeClr val="tx1"/>
              </a:solidFill>
              <a:ln>
                <a:noFill/>
              </a:ln>
              <a:effectLst/>
            </p:spPr>
            <p:txBody>
              <a:bodyPr vert="horz" wrap="square" lIns="91437" tIns="45719" rIns="91437" bIns="45719" numCol="1" rtlCol="0" anchor="t" anchorCtr="0" compatLnSpc="1">
                <a:prstTxWarp prst="textNoShape">
                  <a:avLst/>
                </a:prstTxWarp>
              </a:bodyPr>
              <a:lstStyle/>
              <a:p>
                <a:pPr>
                  <a:buClr>
                    <a:srgbClr val="CC9900"/>
                  </a:buClr>
                  <a:buFont typeface="Wingdings" pitchFamily="2" charset="2"/>
                  <a:buChar char="n"/>
                </a:pPr>
                <a:endParaRPr lang="zh-CN" altLang="en-US">
                  <a:latin typeface="+mj-lt"/>
                  <a:ea typeface="微软雅黑" panose="020B0503020204020204" pitchFamily="34" charset="-122"/>
                </a:endParaRPr>
              </a:p>
            </p:txBody>
          </p:sp>
          <p:sp>
            <p:nvSpPr>
              <p:cNvPr id="264" name="Freeform 113"/>
              <p:cNvSpPr>
                <a:spLocks/>
              </p:cNvSpPr>
              <p:nvPr/>
            </p:nvSpPr>
            <p:spPr bwMode="auto">
              <a:xfrm>
                <a:off x="10210800" y="2333625"/>
                <a:ext cx="98425" cy="98425"/>
              </a:xfrm>
              <a:custGeom>
                <a:avLst/>
                <a:gdLst/>
                <a:ahLst/>
                <a:cxnLst>
                  <a:cxn ang="0">
                    <a:pos x="52" y="52"/>
                  </a:cxn>
                  <a:cxn ang="0">
                    <a:pos x="52" y="52"/>
                  </a:cxn>
                  <a:cxn ang="0">
                    <a:pos x="48" y="56"/>
                  </a:cxn>
                  <a:cxn ang="0">
                    <a:pos x="42" y="60"/>
                  </a:cxn>
                  <a:cxn ang="0">
                    <a:pos x="30" y="62"/>
                  </a:cxn>
                  <a:cxn ang="0">
                    <a:pos x="18" y="60"/>
                  </a:cxn>
                  <a:cxn ang="0">
                    <a:pos x="14" y="56"/>
                  </a:cxn>
                  <a:cxn ang="0">
                    <a:pos x="8" y="52"/>
                  </a:cxn>
                  <a:cxn ang="0">
                    <a:pos x="8" y="52"/>
                  </a:cxn>
                  <a:cxn ang="0">
                    <a:pos x="4" y="48"/>
                  </a:cxn>
                  <a:cxn ang="0">
                    <a:pos x="2" y="42"/>
                  </a:cxn>
                  <a:cxn ang="0">
                    <a:pos x="0" y="30"/>
                  </a:cxn>
                  <a:cxn ang="0">
                    <a:pos x="2" y="20"/>
                  </a:cxn>
                  <a:cxn ang="0">
                    <a:pos x="4" y="14"/>
                  </a:cxn>
                  <a:cxn ang="0">
                    <a:pos x="8" y="8"/>
                  </a:cxn>
                  <a:cxn ang="0">
                    <a:pos x="8" y="8"/>
                  </a:cxn>
                  <a:cxn ang="0">
                    <a:pos x="14" y="4"/>
                  </a:cxn>
                  <a:cxn ang="0">
                    <a:pos x="18" y="2"/>
                  </a:cxn>
                  <a:cxn ang="0">
                    <a:pos x="30" y="0"/>
                  </a:cxn>
                  <a:cxn ang="0">
                    <a:pos x="42" y="2"/>
                  </a:cxn>
                  <a:cxn ang="0">
                    <a:pos x="48" y="4"/>
                  </a:cxn>
                  <a:cxn ang="0">
                    <a:pos x="52" y="8"/>
                  </a:cxn>
                  <a:cxn ang="0">
                    <a:pos x="52" y="8"/>
                  </a:cxn>
                  <a:cxn ang="0">
                    <a:pos x="56" y="14"/>
                  </a:cxn>
                  <a:cxn ang="0">
                    <a:pos x="60" y="20"/>
                  </a:cxn>
                  <a:cxn ang="0">
                    <a:pos x="62" y="30"/>
                  </a:cxn>
                  <a:cxn ang="0">
                    <a:pos x="60" y="42"/>
                  </a:cxn>
                  <a:cxn ang="0">
                    <a:pos x="56" y="48"/>
                  </a:cxn>
                  <a:cxn ang="0">
                    <a:pos x="52" y="52"/>
                  </a:cxn>
                  <a:cxn ang="0">
                    <a:pos x="52" y="52"/>
                  </a:cxn>
                </a:cxnLst>
                <a:rect l="0" t="0" r="r" b="b"/>
                <a:pathLst>
                  <a:path w="62" h="62">
                    <a:moveTo>
                      <a:pt x="52" y="52"/>
                    </a:moveTo>
                    <a:lnTo>
                      <a:pt x="52" y="52"/>
                    </a:lnTo>
                    <a:lnTo>
                      <a:pt x="48" y="56"/>
                    </a:lnTo>
                    <a:lnTo>
                      <a:pt x="42" y="60"/>
                    </a:lnTo>
                    <a:lnTo>
                      <a:pt x="30" y="62"/>
                    </a:lnTo>
                    <a:lnTo>
                      <a:pt x="18" y="60"/>
                    </a:lnTo>
                    <a:lnTo>
                      <a:pt x="14" y="56"/>
                    </a:lnTo>
                    <a:lnTo>
                      <a:pt x="8" y="52"/>
                    </a:lnTo>
                    <a:lnTo>
                      <a:pt x="8" y="52"/>
                    </a:lnTo>
                    <a:lnTo>
                      <a:pt x="4" y="48"/>
                    </a:lnTo>
                    <a:lnTo>
                      <a:pt x="2" y="42"/>
                    </a:lnTo>
                    <a:lnTo>
                      <a:pt x="0" y="30"/>
                    </a:lnTo>
                    <a:lnTo>
                      <a:pt x="2" y="20"/>
                    </a:lnTo>
                    <a:lnTo>
                      <a:pt x="4" y="14"/>
                    </a:lnTo>
                    <a:lnTo>
                      <a:pt x="8" y="8"/>
                    </a:lnTo>
                    <a:lnTo>
                      <a:pt x="8" y="8"/>
                    </a:lnTo>
                    <a:lnTo>
                      <a:pt x="14" y="4"/>
                    </a:lnTo>
                    <a:lnTo>
                      <a:pt x="18" y="2"/>
                    </a:lnTo>
                    <a:lnTo>
                      <a:pt x="30" y="0"/>
                    </a:lnTo>
                    <a:lnTo>
                      <a:pt x="42" y="2"/>
                    </a:lnTo>
                    <a:lnTo>
                      <a:pt x="48" y="4"/>
                    </a:lnTo>
                    <a:lnTo>
                      <a:pt x="52" y="8"/>
                    </a:lnTo>
                    <a:lnTo>
                      <a:pt x="52" y="8"/>
                    </a:lnTo>
                    <a:lnTo>
                      <a:pt x="56" y="14"/>
                    </a:lnTo>
                    <a:lnTo>
                      <a:pt x="60" y="20"/>
                    </a:lnTo>
                    <a:lnTo>
                      <a:pt x="62" y="30"/>
                    </a:lnTo>
                    <a:lnTo>
                      <a:pt x="60" y="42"/>
                    </a:lnTo>
                    <a:lnTo>
                      <a:pt x="56" y="48"/>
                    </a:lnTo>
                    <a:lnTo>
                      <a:pt x="52" y="52"/>
                    </a:lnTo>
                    <a:lnTo>
                      <a:pt x="52" y="52"/>
                    </a:lnTo>
                    <a:close/>
                  </a:path>
                </a:pathLst>
              </a:custGeom>
              <a:grpFill/>
              <a:ln>
                <a:noFill/>
              </a:ln>
              <a:effectLst/>
            </p:spPr>
            <p:txBody>
              <a:bodyPr vert="horz" wrap="square" lIns="91437" tIns="45719" rIns="91437" bIns="45719" numCol="1" rtlCol="0" anchor="t" anchorCtr="0" compatLnSpc="1">
                <a:prstTxWarp prst="textNoShape">
                  <a:avLst/>
                </a:prstTxWarp>
              </a:bodyPr>
              <a:lstStyle/>
              <a:p>
                <a:pPr>
                  <a:buClr>
                    <a:srgbClr val="CC9900"/>
                  </a:buClr>
                  <a:buFont typeface="Wingdings" pitchFamily="2" charset="2"/>
                  <a:buChar char="n"/>
                </a:pPr>
                <a:endParaRPr lang="zh-CN" altLang="en-US">
                  <a:latin typeface="+mj-lt"/>
                  <a:ea typeface="微软雅黑" panose="020B0503020204020204" pitchFamily="34" charset="-122"/>
                </a:endParaRPr>
              </a:p>
            </p:txBody>
          </p:sp>
        </p:grpSp>
      </p:grpSp>
      <p:sp>
        <p:nvSpPr>
          <p:cNvPr id="324" name="907797442"/>
          <p:cNvSpPr txBox="1"/>
          <p:nvPr/>
        </p:nvSpPr>
        <p:spPr>
          <a:xfrm>
            <a:off x="8830490" y="2364750"/>
            <a:ext cx="2021387" cy="215315"/>
          </a:xfrm>
          <a:prstGeom prst="rect">
            <a:avLst/>
          </a:prstGeom>
          <a:noFill/>
        </p:spPr>
        <p:txBody>
          <a:bodyPr wrap="none" lIns="0" tIns="0" rIns="0" bIns="0" rtlCol="0">
            <a:spAutoFit/>
          </a:bodyPr>
          <a:lstStyle>
            <a:defPPr>
              <a:defRPr lang="zh-CN"/>
            </a:defPPr>
            <a:lvl1pPr algn="ctr" defTabSz="685800">
              <a:spcAft>
                <a:spcPts val="450"/>
              </a:spcAft>
              <a:defRPr sz="2000" b="1" kern="0">
                <a:solidFill>
                  <a:srgbClr val="00B0F0"/>
                </a:solidFill>
                <a:latin typeface="微软雅黑"/>
                <a:ea typeface="微软雅黑"/>
              </a:defRPr>
            </a:lvl1pPr>
          </a:lstStyle>
          <a:p>
            <a:pPr algn="l"/>
            <a:r>
              <a:rPr lang="en-US" altLang="zh-CN" sz="1400" dirty="0">
                <a:solidFill>
                  <a:schemeClr val="tx1"/>
                </a:solidFill>
                <a:latin typeface="+mj-lt"/>
                <a:cs typeface="Arial" pitchFamily="34" charset="0"/>
                <a:sym typeface="微软雅黑" panose="020B0503020204020204" pitchFamily="34" charset="-122"/>
              </a:rPr>
              <a:t>Cooperation &amp; Win-win</a:t>
            </a:r>
          </a:p>
        </p:txBody>
      </p:sp>
      <p:sp>
        <p:nvSpPr>
          <p:cNvPr id="325" name="TextBox 137"/>
          <p:cNvSpPr txBox="1"/>
          <p:nvPr/>
        </p:nvSpPr>
        <p:spPr>
          <a:xfrm>
            <a:off x="8279652" y="3133479"/>
            <a:ext cx="1193464" cy="267463"/>
          </a:xfrm>
          <a:prstGeom prst="rect">
            <a:avLst/>
          </a:prstGeom>
          <a:noFill/>
        </p:spPr>
        <p:txBody>
          <a:bodyPr wrap="square" lIns="81989" tIns="40998" rIns="81989" bIns="40998" rtlCol="0">
            <a:spAutoFit/>
          </a:bodyPr>
          <a:lstStyle/>
          <a:p>
            <a:pPr algn="ctr">
              <a:buClrTx/>
              <a:buFontTx/>
              <a:buNone/>
            </a:pPr>
            <a:r>
              <a:rPr lang="en-US" altLang="zh-CN" sz="1200" dirty="0" err="1">
                <a:latin typeface="+mj-lt"/>
                <a:ea typeface="微软雅黑" pitchFamily="34" charset="-122"/>
              </a:rPr>
              <a:t>eClassroom</a:t>
            </a:r>
            <a:endParaRPr lang="zh-CN" altLang="en-US" sz="1200" dirty="0">
              <a:latin typeface="+mj-lt"/>
              <a:ea typeface="微软雅黑" pitchFamily="34" charset="-122"/>
            </a:endParaRPr>
          </a:p>
        </p:txBody>
      </p:sp>
      <p:sp>
        <p:nvSpPr>
          <p:cNvPr id="326" name="Freeform 14"/>
          <p:cNvSpPr>
            <a:spLocks noEditPoints="1"/>
          </p:cNvSpPr>
          <p:nvPr/>
        </p:nvSpPr>
        <p:spPr bwMode="auto">
          <a:xfrm>
            <a:off x="10240297" y="3605286"/>
            <a:ext cx="465292" cy="286621"/>
          </a:xfrm>
          <a:custGeom>
            <a:avLst/>
            <a:gdLst/>
            <a:ahLst/>
            <a:cxnLst>
              <a:cxn ang="0">
                <a:pos x="3845" y="13163"/>
              </a:cxn>
              <a:cxn ang="0">
                <a:pos x="7457" y="13163"/>
              </a:cxn>
              <a:cxn ang="0">
                <a:pos x="7457" y="11165"/>
              </a:cxn>
              <a:cxn ang="0">
                <a:pos x="0" y="11165"/>
              </a:cxn>
              <a:cxn ang="0">
                <a:pos x="0" y="0"/>
              </a:cxn>
              <a:cxn ang="0">
                <a:pos x="16812" y="0"/>
              </a:cxn>
              <a:cxn ang="0">
                <a:pos x="16812" y="11165"/>
              </a:cxn>
              <a:cxn ang="0">
                <a:pos x="10277" y="11165"/>
              </a:cxn>
              <a:cxn ang="0">
                <a:pos x="10277" y="13163"/>
              </a:cxn>
              <a:cxn ang="0">
                <a:pos x="13890" y="13163"/>
              </a:cxn>
              <a:cxn ang="0">
                <a:pos x="13890" y="13572"/>
              </a:cxn>
              <a:cxn ang="0">
                <a:pos x="3845" y="13572"/>
              </a:cxn>
              <a:cxn ang="0">
                <a:pos x="3845" y="13163"/>
              </a:cxn>
              <a:cxn ang="0">
                <a:pos x="829" y="863"/>
              </a:cxn>
              <a:cxn ang="0">
                <a:pos x="15983" y="863"/>
              </a:cxn>
              <a:cxn ang="0">
                <a:pos x="15983" y="10067"/>
              </a:cxn>
              <a:cxn ang="0">
                <a:pos x="829" y="10067"/>
              </a:cxn>
              <a:cxn ang="0">
                <a:pos x="829" y="863"/>
              </a:cxn>
            </a:cxnLst>
            <a:rect l="0" t="0" r="r" b="b"/>
            <a:pathLst>
              <a:path w="16812" h="13572">
                <a:moveTo>
                  <a:pt x="3845" y="13163"/>
                </a:moveTo>
                <a:lnTo>
                  <a:pt x="7457" y="13163"/>
                </a:lnTo>
                <a:lnTo>
                  <a:pt x="7457" y="11165"/>
                </a:lnTo>
                <a:lnTo>
                  <a:pt x="0" y="11165"/>
                </a:lnTo>
                <a:lnTo>
                  <a:pt x="0" y="0"/>
                </a:lnTo>
                <a:lnTo>
                  <a:pt x="16812" y="0"/>
                </a:lnTo>
                <a:lnTo>
                  <a:pt x="16812" y="11165"/>
                </a:lnTo>
                <a:lnTo>
                  <a:pt x="10277" y="11165"/>
                </a:lnTo>
                <a:lnTo>
                  <a:pt x="10277" y="13163"/>
                </a:lnTo>
                <a:lnTo>
                  <a:pt x="13890" y="13163"/>
                </a:lnTo>
                <a:lnTo>
                  <a:pt x="13890" y="13572"/>
                </a:lnTo>
                <a:lnTo>
                  <a:pt x="3845" y="13572"/>
                </a:lnTo>
                <a:lnTo>
                  <a:pt x="3845" y="13163"/>
                </a:lnTo>
                <a:close/>
                <a:moveTo>
                  <a:pt x="829" y="863"/>
                </a:moveTo>
                <a:lnTo>
                  <a:pt x="15983" y="863"/>
                </a:lnTo>
                <a:lnTo>
                  <a:pt x="15983" y="10067"/>
                </a:lnTo>
                <a:lnTo>
                  <a:pt x="829" y="10067"/>
                </a:lnTo>
                <a:lnTo>
                  <a:pt x="829" y="863"/>
                </a:lnTo>
                <a:close/>
              </a:path>
            </a:pathLst>
          </a:custGeom>
          <a:solidFill>
            <a:schemeClr val="tx1"/>
          </a:solidFill>
          <a:ln w="9525">
            <a:noFill/>
            <a:round/>
            <a:headEnd/>
            <a:tailEnd/>
          </a:ln>
        </p:spPr>
        <p:txBody>
          <a:bodyPr vert="horz" wrap="square" lIns="109469" tIns="54735" rIns="109469" bIns="54735" numCol="1" anchor="t" anchorCtr="0" compatLnSpc="1">
            <a:prstTxWarp prst="textNoShape">
              <a:avLst/>
            </a:prstTxWarp>
          </a:bodyPr>
          <a:lstStyle/>
          <a:p>
            <a:pPr fontAlgn="base">
              <a:spcBef>
                <a:spcPct val="0"/>
              </a:spcBef>
              <a:spcAft>
                <a:spcPct val="0"/>
              </a:spcAft>
            </a:pPr>
            <a:endParaRPr lang="zh-CN" altLang="en-US">
              <a:latin typeface="+mj-lt"/>
              <a:ea typeface="宋体" pitchFamily="2" charset="-122"/>
              <a:cs typeface="Arial" pitchFamily="34" charset="0"/>
            </a:endParaRPr>
          </a:p>
        </p:txBody>
      </p:sp>
      <p:sp>
        <p:nvSpPr>
          <p:cNvPr id="392" name="Freeform 7"/>
          <p:cNvSpPr>
            <a:spLocks/>
          </p:cNvSpPr>
          <p:nvPr/>
        </p:nvSpPr>
        <p:spPr bwMode="auto">
          <a:xfrm>
            <a:off x="8475860" y="810350"/>
            <a:ext cx="2382163" cy="539985"/>
          </a:xfrm>
          <a:prstGeom prst="rect">
            <a:avLst/>
          </a:prstGeom>
          <a:solidFill>
            <a:schemeClr val="accent5">
              <a:lumMod val="75000"/>
              <a:alpha val="70000"/>
            </a:schemeClr>
          </a:solidFill>
          <a:ln w="3175" cap="flat" cmpd="sng" algn="ctr">
            <a:noFill/>
            <a:prstDash val="solid"/>
            <a:round/>
            <a:headEnd type="none" w="med" len="med"/>
            <a:tailEnd type="none" w="med" len="med"/>
          </a:ln>
          <a:effectLst/>
          <a:scene3d>
            <a:camera prst="orthographicFront"/>
            <a:lightRig rig="flat" dir="t"/>
          </a:scene3d>
        </p:spPr>
        <p:txBody>
          <a:bodyPr lIns="82093" tIns="41047" rIns="82093" bIns="41047" rtlCol="0" anchor="ctr">
            <a:noAutofit/>
          </a:bodyPr>
          <a:lstStyle/>
          <a:p>
            <a:endParaRPr lang="zh-CN" altLang="en-US" sz="1400" dirty="0">
              <a:solidFill>
                <a:srgbClr val="002060"/>
              </a:solidFill>
              <a:effectLst>
                <a:outerShdw blurRad="38100" dist="38100" dir="2700000" algn="tl">
                  <a:srgbClr val="000000">
                    <a:alpha val="43137"/>
                  </a:srgbClr>
                </a:outerShdw>
              </a:effectLst>
              <a:latin typeface="+mj-lt"/>
              <a:cs typeface="Arial" pitchFamily="34" charset="0"/>
              <a:sym typeface="Arial" pitchFamily="34" charset="0"/>
            </a:endParaRPr>
          </a:p>
        </p:txBody>
      </p:sp>
      <p:sp>
        <p:nvSpPr>
          <p:cNvPr id="394" name="椭圆 393"/>
          <p:cNvSpPr/>
          <p:nvPr/>
        </p:nvSpPr>
        <p:spPr>
          <a:xfrm>
            <a:off x="8223397" y="810350"/>
            <a:ext cx="539985" cy="539985"/>
          </a:xfrm>
          <a:prstGeom prst="ellipse">
            <a:avLst/>
          </a:prstGeom>
          <a:solidFill>
            <a:schemeClr val="bg1"/>
          </a:solidFill>
          <a:ln w="12700" cap="flat" cmpd="sng" algn="ctr">
            <a:solidFill>
              <a:schemeClr val="accent6"/>
            </a:solidFill>
            <a:prstDash val="solid"/>
          </a:ln>
          <a:effectLst/>
        </p:spPr>
        <p:txBody>
          <a:bodyPr rtlCol="0" anchor="ctr"/>
          <a:lstStyle/>
          <a:p>
            <a:pPr algn="ctr">
              <a:defRPr/>
            </a:pPr>
            <a:endParaRPr lang="zh-CN" altLang="en-US" sz="2400" kern="0" dirty="0">
              <a:solidFill>
                <a:srgbClr val="002060"/>
              </a:solidFill>
              <a:latin typeface="+mj-lt"/>
              <a:ea typeface="微软雅黑" panose="020B0503020204020204" pitchFamily="34" charset="-122"/>
              <a:cs typeface="Arial" pitchFamily="34" charset="0"/>
              <a:sym typeface="Arial" panose="020B0604020202020204" pitchFamily="34" charset="0"/>
            </a:endParaRPr>
          </a:p>
        </p:txBody>
      </p:sp>
      <p:pic>
        <p:nvPicPr>
          <p:cNvPr id="390" name="Picture 9" descr="E:\01 日常工作\04 展厅相关设计\2016年\2017 cebit\PPT\千总 keynote\设计稿\过时\生态 副本.png"/>
          <p:cNvPicPr>
            <a:picLocks noChangeArrowheads="1"/>
          </p:cNvPicPr>
          <p:nvPr/>
        </p:nvPicPr>
        <p:blipFill>
          <a:blip r:embed="rId16" cstate="print"/>
          <a:srcRect/>
          <a:stretch>
            <a:fillRect/>
          </a:stretch>
        </p:blipFill>
        <p:spPr bwMode="auto">
          <a:xfrm>
            <a:off x="8248943" y="836000"/>
            <a:ext cx="489585" cy="488686"/>
          </a:xfrm>
          <a:prstGeom prst="rect">
            <a:avLst/>
          </a:prstGeom>
          <a:noFill/>
        </p:spPr>
      </p:pic>
      <p:sp>
        <p:nvSpPr>
          <p:cNvPr id="393" name="907797442"/>
          <p:cNvSpPr txBox="1"/>
          <p:nvPr/>
        </p:nvSpPr>
        <p:spPr>
          <a:xfrm>
            <a:off x="9176489" y="897752"/>
            <a:ext cx="1389804" cy="307648"/>
          </a:xfrm>
          <a:prstGeom prst="rect">
            <a:avLst/>
          </a:prstGeom>
          <a:noFill/>
        </p:spPr>
        <p:txBody>
          <a:bodyPr wrap="none" lIns="0" tIns="0" rIns="0" bIns="0" rtlCol="0">
            <a:spAutoFit/>
          </a:bodyPr>
          <a:lstStyle>
            <a:defPPr>
              <a:defRPr lang="zh-CN"/>
            </a:defPPr>
            <a:lvl1pPr defTabSz="685800">
              <a:spcAft>
                <a:spcPts val="450"/>
              </a:spcAft>
              <a:defRPr sz="2000" b="0" kern="0">
                <a:solidFill>
                  <a:schemeClr val="tx1">
                    <a:lumMod val="85000"/>
                    <a:lumOff val="15000"/>
                  </a:schemeClr>
                </a:solidFill>
                <a:latin typeface="Arial" pitchFamily="34" charset="0"/>
                <a:ea typeface="微软雅黑"/>
                <a:cs typeface="Arial" pitchFamily="34" charset="0"/>
              </a:defRPr>
            </a:lvl1pPr>
          </a:lstStyle>
          <a:p>
            <a:r>
              <a:rPr lang="en-US" altLang="zh-CN" dirty="0" err="1">
                <a:solidFill>
                  <a:srgbClr val="002060"/>
                </a:solidFill>
                <a:latin typeface="+mj-lt"/>
                <a:sym typeface="微软雅黑" panose="020B0503020204020204" pitchFamily="34" charset="-122"/>
              </a:rPr>
              <a:t>Ecosistema</a:t>
            </a:r>
            <a:endParaRPr lang="en-US" altLang="zh-CN" dirty="0">
              <a:solidFill>
                <a:srgbClr val="002060"/>
              </a:solidFill>
              <a:latin typeface="+mj-lt"/>
              <a:sym typeface="微软雅黑" panose="020B0503020204020204" pitchFamily="34" charset="-122"/>
            </a:endParaRPr>
          </a:p>
        </p:txBody>
      </p:sp>
      <p:sp>
        <p:nvSpPr>
          <p:cNvPr id="179" name="文本框 178"/>
          <p:cNvSpPr txBox="1"/>
          <p:nvPr/>
        </p:nvSpPr>
        <p:spPr>
          <a:xfrm>
            <a:off x="292942" y="1429468"/>
            <a:ext cx="4081437" cy="692497"/>
          </a:xfrm>
          <a:prstGeom prst="rect">
            <a:avLst/>
          </a:prstGeom>
          <a:noFill/>
        </p:spPr>
        <p:txBody>
          <a:bodyPr wrap="square" rtlCol="0">
            <a:spAutoFit/>
          </a:bodyPr>
          <a:lstStyle/>
          <a:p>
            <a:pPr algn="ctr">
              <a:lnSpc>
                <a:spcPct val="130000"/>
              </a:lnSpc>
            </a:pPr>
            <a:r>
              <a:rPr lang="en-US" altLang="zh-CN" sz="1600" b="1" dirty="0" err="1">
                <a:solidFill>
                  <a:srgbClr val="002060"/>
                </a:solidFill>
                <a:latin typeface="+mj-lt"/>
                <a:cs typeface="Arial" panose="020B0604020202020204" pitchFamily="34" charset="0"/>
              </a:rPr>
              <a:t>Infraestructura</a:t>
            </a:r>
            <a:r>
              <a:rPr lang="en-US" altLang="zh-CN" sz="1600" b="1" dirty="0">
                <a:solidFill>
                  <a:srgbClr val="002060"/>
                </a:solidFill>
                <a:latin typeface="+mj-lt"/>
                <a:cs typeface="Arial" panose="020B0604020202020204" pitchFamily="34" charset="0"/>
              </a:rPr>
              <a:t> Full-stack ICT</a:t>
            </a:r>
          </a:p>
          <a:p>
            <a:pPr algn="ctr">
              <a:lnSpc>
                <a:spcPct val="130000"/>
              </a:lnSpc>
            </a:pPr>
            <a:r>
              <a:rPr lang="en-US" altLang="zh-CN" sz="1400" dirty="0" err="1">
                <a:solidFill>
                  <a:srgbClr val="002060"/>
                </a:solidFill>
                <a:latin typeface="+mj-lt"/>
                <a:cs typeface="Arial" panose="020B0604020202020204" pitchFamily="34" charset="0"/>
              </a:rPr>
              <a:t>Acelera</a:t>
            </a:r>
            <a:r>
              <a:rPr lang="en-US" altLang="zh-CN" sz="1400" dirty="0">
                <a:solidFill>
                  <a:srgbClr val="002060"/>
                </a:solidFill>
                <a:latin typeface="+mj-lt"/>
                <a:cs typeface="Arial" panose="020B0604020202020204" pitchFamily="34" charset="0"/>
              </a:rPr>
              <a:t> la </a:t>
            </a:r>
            <a:r>
              <a:rPr lang="en-US" altLang="zh-CN" sz="1400" dirty="0" err="1">
                <a:solidFill>
                  <a:srgbClr val="002060"/>
                </a:solidFill>
                <a:latin typeface="+mj-lt"/>
                <a:cs typeface="Arial" panose="020B0604020202020204" pitchFamily="34" charset="0"/>
              </a:rPr>
              <a:t>Transformación</a:t>
            </a:r>
            <a:r>
              <a:rPr lang="en-US" altLang="zh-CN" sz="1400" dirty="0">
                <a:latin typeface="+mj-lt"/>
                <a:cs typeface="Arial" panose="020B0604020202020204" pitchFamily="34" charset="0"/>
              </a:rPr>
              <a:t> </a:t>
            </a:r>
            <a:r>
              <a:rPr lang="en-US" altLang="zh-CN" sz="1400" dirty="0">
                <a:solidFill>
                  <a:srgbClr val="002060"/>
                </a:solidFill>
                <a:latin typeface="+mj-lt"/>
                <a:cs typeface="Arial" panose="020B0604020202020204" pitchFamily="34" charset="0"/>
              </a:rPr>
              <a:t>de</a:t>
            </a:r>
            <a:r>
              <a:rPr lang="en-US" altLang="zh-CN" sz="1400" dirty="0">
                <a:latin typeface="+mj-lt"/>
                <a:cs typeface="Arial" panose="020B0604020202020204" pitchFamily="34" charset="0"/>
              </a:rPr>
              <a:t> </a:t>
            </a:r>
            <a:r>
              <a:rPr lang="en-US" altLang="zh-CN" sz="1400" dirty="0">
                <a:solidFill>
                  <a:srgbClr val="002060"/>
                </a:solidFill>
                <a:latin typeface="+mj-lt"/>
                <a:cs typeface="Arial" panose="020B0604020202020204" pitchFamily="34" charset="0"/>
              </a:rPr>
              <a:t>la</a:t>
            </a:r>
            <a:r>
              <a:rPr lang="en-US" altLang="zh-CN" sz="1400" dirty="0">
                <a:latin typeface="+mj-lt"/>
                <a:cs typeface="Arial" panose="020B0604020202020204" pitchFamily="34" charset="0"/>
              </a:rPr>
              <a:t> </a:t>
            </a:r>
            <a:r>
              <a:rPr lang="en-US" altLang="zh-CN" sz="1400" dirty="0" err="1">
                <a:solidFill>
                  <a:srgbClr val="002060"/>
                </a:solidFill>
                <a:latin typeface="+mj-lt"/>
                <a:cs typeface="Arial" panose="020B0604020202020204" pitchFamily="34" charset="0"/>
              </a:rPr>
              <a:t>Educación</a:t>
            </a:r>
            <a:endParaRPr lang="zh-CN" altLang="en-US" sz="1400" dirty="0">
              <a:solidFill>
                <a:srgbClr val="002060"/>
              </a:solidFill>
              <a:latin typeface="+mj-lt"/>
              <a:cs typeface="Arial" panose="020B0604020202020204" pitchFamily="34" charset="0"/>
            </a:endParaRPr>
          </a:p>
        </p:txBody>
      </p:sp>
      <p:sp>
        <p:nvSpPr>
          <p:cNvPr id="180" name="文本框 179"/>
          <p:cNvSpPr txBox="1"/>
          <p:nvPr/>
        </p:nvSpPr>
        <p:spPr>
          <a:xfrm>
            <a:off x="7872439" y="1415327"/>
            <a:ext cx="3666439" cy="971997"/>
          </a:xfrm>
          <a:prstGeom prst="rect">
            <a:avLst/>
          </a:prstGeom>
          <a:noFill/>
        </p:spPr>
        <p:txBody>
          <a:bodyPr wrap="square" rtlCol="0">
            <a:spAutoFit/>
          </a:bodyPr>
          <a:lstStyle>
            <a:defPPr>
              <a:defRPr lang="zh-CN"/>
            </a:defPPr>
            <a:lvl1pPr algn="ctr">
              <a:lnSpc>
                <a:spcPct val="150000"/>
              </a:lnSpc>
              <a:defRPr sz="1600" b="1">
                <a:solidFill>
                  <a:srgbClr val="FFC000"/>
                </a:solidFill>
                <a:latin typeface="Arial" panose="020B0604020202020204" pitchFamily="34" charset="0"/>
                <a:cs typeface="Arial" panose="020B0604020202020204" pitchFamily="34" charset="0"/>
              </a:defRPr>
            </a:lvl1pPr>
          </a:lstStyle>
          <a:p>
            <a:pPr>
              <a:lnSpc>
                <a:spcPct val="130000"/>
              </a:lnSpc>
            </a:pPr>
            <a:r>
              <a:rPr lang="en-US" altLang="zh-CN" dirty="0" err="1">
                <a:solidFill>
                  <a:srgbClr val="002060"/>
                </a:solidFill>
                <a:latin typeface="+mj-lt"/>
              </a:rPr>
              <a:t>Ecosistema</a:t>
            </a:r>
            <a:r>
              <a:rPr lang="en-US" altLang="zh-CN" dirty="0">
                <a:solidFill>
                  <a:srgbClr val="002060"/>
                </a:solidFill>
                <a:latin typeface="+mj-lt"/>
              </a:rPr>
              <a:t> </a:t>
            </a:r>
            <a:r>
              <a:rPr lang="en-US" altLang="zh-CN" dirty="0" err="1">
                <a:solidFill>
                  <a:srgbClr val="002060"/>
                </a:solidFill>
                <a:latin typeface="+mj-lt"/>
              </a:rPr>
              <a:t>Sostenible</a:t>
            </a:r>
            <a:endParaRPr lang="en-US" altLang="zh-CN" dirty="0">
              <a:solidFill>
                <a:srgbClr val="002060"/>
              </a:solidFill>
              <a:latin typeface="+mj-lt"/>
            </a:endParaRPr>
          </a:p>
          <a:p>
            <a:pPr>
              <a:lnSpc>
                <a:spcPct val="130000"/>
              </a:lnSpc>
            </a:pPr>
            <a:r>
              <a:rPr lang="en-US" altLang="zh-CN" sz="1400" dirty="0">
                <a:solidFill>
                  <a:srgbClr val="002060"/>
                </a:solidFill>
                <a:latin typeface="+mj-lt"/>
              </a:rPr>
              <a:t> </a:t>
            </a:r>
            <a:r>
              <a:rPr lang="en-US" altLang="zh-CN" sz="1400" b="0" dirty="0" err="1">
                <a:solidFill>
                  <a:srgbClr val="002060"/>
                </a:solidFill>
                <a:latin typeface="+mj-lt"/>
              </a:rPr>
              <a:t>Innovación</a:t>
            </a:r>
            <a:r>
              <a:rPr lang="en-US" altLang="zh-CN" sz="1400" b="0" dirty="0">
                <a:solidFill>
                  <a:srgbClr val="002060"/>
                </a:solidFill>
                <a:latin typeface="+mj-lt"/>
              </a:rPr>
              <a:t> y </a:t>
            </a:r>
            <a:r>
              <a:rPr lang="en-US" altLang="zh-CN" sz="1400" b="0" dirty="0" err="1">
                <a:solidFill>
                  <a:srgbClr val="002060"/>
                </a:solidFill>
                <a:latin typeface="+mj-lt"/>
              </a:rPr>
              <a:t>Desarrollo</a:t>
            </a:r>
            <a:r>
              <a:rPr lang="en-US" altLang="zh-CN" sz="1400" b="0" dirty="0">
                <a:solidFill>
                  <a:srgbClr val="002060"/>
                </a:solidFill>
                <a:latin typeface="+mj-lt"/>
              </a:rPr>
              <a:t> </a:t>
            </a:r>
          </a:p>
          <a:p>
            <a:pPr>
              <a:lnSpc>
                <a:spcPct val="130000"/>
              </a:lnSpc>
            </a:pPr>
            <a:endParaRPr lang="zh-CN" altLang="en-US" sz="1400" b="0" dirty="0">
              <a:solidFill>
                <a:srgbClr val="002060"/>
              </a:solidFill>
              <a:latin typeface="+mj-lt"/>
            </a:endParaRPr>
          </a:p>
        </p:txBody>
      </p:sp>
      <p:sp>
        <p:nvSpPr>
          <p:cNvPr id="181" name="文本框 180"/>
          <p:cNvSpPr txBox="1"/>
          <p:nvPr/>
        </p:nvSpPr>
        <p:spPr>
          <a:xfrm>
            <a:off x="4308447" y="1415327"/>
            <a:ext cx="3604079" cy="972574"/>
          </a:xfrm>
          <a:prstGeom prst="rect">
            <a:avLst/>
          </a:prstGeom>
          <a:noFill/>
        </p:spPr>
        <p:txBody>
          <a:bodyPr wrap="square" rtlCol="0">
            <a:spAutoFit/>
          </a:bodyPr>
          <a:lstStyle>
            <a:defPPr>
              <a:defRPr lang="zh-CN"/>
            </a:defPPr>
            <a:lvl1pPr algn="ctr">
              <a:lnSpc>
                <a:spcPct val="150000"/>
              </a:lnSpc>
              <a:defRPr sz="1600" b="1">
                <a:solidFill>
                  <a:srgbClr val="FFC000"/>
                </a:solidFill>
                <a:latin typeface="Arial" panose="020B0604020202020204" pitchFamily="34" charset="0"/>
                <a:cs typeface="Arial" panose="020B0604020202020204" pitchFamily="34" charset="0"/>
              </a:defRPr>
            </a:lvl1pPr>
          </a:lstStyle>
          <a:p>
            <a:pPr>
              <a:lnSpc>
                <a:spcPct val="130000"/>
              </a:lnSpc>
            </a:pPr>
            <a:r>
              <a:rPr lang="en-US" altLang="zh-CN" dirty="0">
                <a:solidFill>
                  <a:srgbClr val="002060"/>
                </a:solidFill>
                <a:latin typeface="+mj-lt"/>
              </a:rPr>
              <a:t> Innovación </a:t>
            </a:r>
            <a:r>
              <a:rPr lang="en-US" altLang="zh-CN" dirty="0" err="1">
                <a:solidFill>
                  <a:srgbClr val="002060"/>
                </a:solidFill>
                <a:latin typeface="+mj-lt"/>
              </a:rPr>
              <a:t>Progresiva</a:t>
            </a:r>
            <a:r>
              <a:rPr lang="en-US" altLang="zh-CN" dirty="0">
                <a:solidFill>
                  <a:srgbClr val="002060"/>
                </a:solidFill>
                <a:latin typeface="+mj-lt"/>
              </a:rPr>
              <a:t/>
            </a:r>
            <a:br>
              <a:rPr lang="en-US" altLang="zh-CN" dirty="0">
                <a:solidFill>
                  <a:srgbClr val="002060"/>
                </a:solidFill>
                <a:latin typeface="+mj-lt"/>
              </a:rPr>
            </a:br>
            <a:r>
              <a:rPr lang="en-US" altLang="zh-CN" sz="1400" b="0" dirty="0" err="1" smtClean="0">
                <a:solidFill>
                  <a:srgbClr val="002060"/>
                </a:solidFill>
                <a:latin typeface="+mj-lt"/>
              </a:rPr>
              <a:t>Elevar</a:t>
            </a:r>
            <a:r>
              <a:rPr lang="en-US" altLang="zh-CN" sz="1400" b="0" dirty="0" smtClean="0">
                <a:solidFill>
                  <a:srgbClr val="002060"/>
                </a:solidFill>
                <a:latin typeface="+mj-lt"/>
              </a:rPr>
              <a:t> la Educación a un </a:t>
            </a:r>
            <a:r>
              <a:rPr lang="en-US" altLang="zh-CN" sz="1400" b="0" dirty="0" err="1" smtClean="0">
                <a:solidFill>
                  <a:srgbClr val="002060"/>
                </a:solidFill>
                <a:latin typeface="+mj-lt"/>
              </a:rPr>
              <a:t>nuevo</a:t>
            </a:r>
            <a:r>
              <a:rPr lang="en-US" altLang="zh-CN" sz="1400" b="0" dirty="0" smtClean="0">
                <a:solidFill>
                  <a:srgbClr val="002060"/>
                </a:solidFill>
                <a:latin typeface="+mj-lt"/>
              </a:rPr>
              <a:t> </a:t>
            </a:r>
            <a:r>
              <a:rPr lang="en-US" altLang="zh-CN" sz="1400" b="0" dirty="0" err="1" smtClean="0">
                <a:solidFill>
                  <a:srgbClr val="002060"/>
                </a:solidFill>
                <a:latin typeface="+mj-lt"/>
              </a:rPr>
              <a:t>nivel</a:t>
            </a:r>
            <a:endParaRPr lang="en-US" altLang="zh-CN" sz="1400" b="0" dirty="0">
              <a:solidFill>
                <a:srgbClr val="002060"/>
              </a:solidFill>
              <a:latin typeface="+mj-lt"/>
            </a:endParaRPr>
          </a:p>
          <a:p>
            <a:pPr>
              <a:lnSpc>
                <a:spcPct val="130000"/>
              </a:lnSpc>
            </a:pPr>
            <a:endParaRPr lang="zh-CN" altLang="en-US" sz="1400" b="0" dirty="0">
              <a:solidFill>
                <a:srgbClr val="002060"/>
              </a:solidFill>
              <a:latin typeface="+mj-lt"/>
            </a:endParaRPr>
          </a:p>
        </p:txBody>
      </p:sp>
      <p:sp>
        <p:nvSpPr>
          <p:cNvPr id="2" name="矩形 1"/>
          <p:cNvSpPr/>
          <p:nvPr/>
        </p:nvSpPr>
        <p:spPr>
          <a:xfrm>
            <a:off x="2003558" y="5316428"/>
            <a:ext cx="8913959" cy="830997"/>
          </a:xfrm>
          <a:prstGeom prst="rect">
            <a:avLst/>
          </a:prstGeom>
        </p:spPr>
        <p:txBody>
          <a:bodyPr wrap="square">
            <a:spAutoFit/>
          </a:bodyPr>
          <a:lstStyle/>
          <a:p>
            <a:pPr algn="ctr"/>
            <a:r>
              <a:rPr lang="en-US" altLang="zh-CN" sz="2400" b="1" dirty="0" err="1"/>
              <a:t>Habilitar</a:t>
            </a:r>
            <a:r>
              <a:rPr lang="en-US" altLang="zh-CN" sz="2400" b="1" dirty="0"/>
              <a:t> la </a:t>
            </a:r>
            <a:r>
              <a:rPr lang="en-US" altLang="zh-CN" sz="2400" b="1" dirty="0" err="1"/>
              <a:t>Transformación</a:t>
            </a:r>
            <a:r>
              <a:rPr lang="en-US" altLang="zh-CN" sz="2400" b="1" dirty="0"/>
              <a:t> de la </a:t>
            </a:r>
            <a:r>
              <a:rPr lang="en-US" altLang="zh-CN" sz="2400" b="1" dirty="0" err="1"/>
              <a:t>Educación</a:t>
            </a:r>
            <a:r>
              <a:rPr lang="en-US" altLang="zh-CN" sz="2400" b="1" dirty="0"/>
              <a:t> con </a:t>
            </a:r>
            <a:r>
              <a:rPr lang="en-US" altLang="zh-CN" sz="2400" b="1" dirty="0" err="1"/>
              <a:t>Tecnología</a:t>
            </a:r>
            <a:r>
              <a:rPr lang="en-US" altLang="zh-CN" sz="2400" b="1" dirty="0"/>
              <a:t> </a:t>
            </a:r>
            <a:r>
              <a:rPr lang="en-US" altLang="zh-CN" sz="2400" b="1" dirty="0" err="1"/>
              <a:t>líder</a:t>
            </a:r>
            <a:r>
              <a:rPr lang="en-US" altLang="zh-CN" sz="2400" b="1" dirty="0"/>
              <a:t> y un </a:t>
            </a:r>
            <a:r>
              <a:rPr lang="en-US" altLang="zh-CN" sz="2400" b="1" dirty="0" err="1"/>
              <a:t>Ecosistema</a:t>
            </a:r>
            <a:r>
              <a:rPr lang="en-US" altLang="zh-CN" sz="2400" b="1" dirty="0"/>
              <a:t> </a:t>
            </a:r>
            <a:r>
              <a:rPr lang="en-US" altLang="zh-CN" sz="2400" b="1" dirty="0" err="1"/>
              <a:t>Sostenible</a:t>
            </a:r>
            <a:endParaRPr lang="zh-CN" altLang="en-US" sz="2400" b="1" dirty="0"/>
          </a:p>
        </p:txBody>
      </p:sp>
      <p:pic>
        <p:nvPicPr>
          <p:cNvPr id="182" name="Imagen 181">
            <a:extLst>
              <a:ext uri="{FF2B5EF4-FFF2-40B4-BE49-F238E27FC236}">
                <a16:creationId xmlns:a16="http://schemas.microsoft.com/office/drawing/2014/main" id="{B8778AF1-A5E5-6D4E-B50E-F73E4E88E935}"/>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80522" y="194178"/>
            <a:ext cx="1388533" cy="355600"/>
          </a:xfrm>
          <a:prstGeom prst="rect">
            <a:avLst/>
          </a:prstGeom>
        </p:spPr>
      </p:pic>
      <p:sp>
        <p:nvSpPr>
          <p:cNvPr id="183" name="Marcador de número de diapositiva 1"/>
          <p:cNvSpPr>
            <a:spLocks noGrp="1"/>
          </p:cNvSpPr>
          <p:nvPr>
            <p:ph type="sldNum" sz="quarter" idx="12"/>
          </p:nvPr>
        </p:nvSpPr>
        <p:spPr>
          <a:xfrm>
            <a:off x="11704622" y="6458134"/>
            <a:ext cx="487378" cy="481343"/>
          </a:xfrm>
        </p:spPr>
        <p:txBody>
          <a:bodyPr/>
          <a:lstStyle/>
          <a:p>
            <a:r>
              <a:rPr lang="en-US" sz="2000" dirty="0" smtClean="0"/>
              <a:t>46</a:t>
            </a:r>
            <a:endParaRPr lang="en-US" sz="2000" dirty="0"/>
          </a:p>
        </p:txBody>
      </p:sp>
    </p:spTree>
    <p:extLst>
      <p:ext uri="{BB962C8B-B14F-4D97-AF65-F5344CB8AC3E}">
        <p14:creationId xmlns:p14="http://schemas.microsoft.com/office/powerpoint/2010/main" val="321882243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73" name="643370665"/>
          <p:cNvSpPr/>
          <p:nvPr/>
        </p:nvSpPr>
        <p:spPr>
          <a:xfrm>
            <a:off x="8984246" y="2284751"/>
            <a:ext cx="1782573" cy="460936"/>
          </a:xfrm>
          <a:prstGeom prst="ellipse">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ln w="28575" cap="flat" cmpd="sng" algn="ctr">
            <a:solidFill>
              <a:srgbClr val="FFFF00"/>
            </a:solidFill>
            <a:prstDash val="solid"/>
          </a:ln>
          <a:effectLst/>
        </p:spPr>
        <p:txBody>
          <a:bodyPr rtlCol="0" anchor="ctr"/>
          <a:lstStyle/>
          <a:p>
            <a:pPr algn="ctr" defTabSz="1219008" fontAlgn="ctr">
              <a:defRPr/>
            </a:pPr>
            <a:endParaRPr lang="en-US" altLang="zh-CN" sz="1799" kern="0" dirty="0">
              <a:solidFill>
                <a:schemeClr val="bg1"/>
              </a:solidFill>
              <a:latin typeface="Calibri" panose="020F0502020204030204" pitchFamily="34" charset="0"/>
              <a:ea typeface="微软雅黑"/>
            </a:endParaRPr>
          </a:p>
        </p:txBody>
      </p:sp>
      <p:sp>
        <p:nvSpPr>
          <p:cNvPr id="390" name="1448918193"/>
          <p:cNvSpPr/>
          <p:nvPr/>
        </p:nvSpPr>
        <p:spPr bwMode="auto">
          <a:xfrm>
            <a:off x="2352233" y="5261925"/>
            <a:ext cx="8720966" cy="1052920"/>
          </a:xfrm>
          <a:prstGeom prst="roundRect">
            <a:avLst>
              <a:gd name="adj" fmla="val 3785"/>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tIns="35991" rtlCol="0" anchor="t" anchorCtr="0">
            <a:noAutofit/>
          </a:bodyPr>
          <a:lstStyle/>
          <a:p>
            <a:pPr algn="ctr" fontAlgn="ctr">
              <a:lnSpc>
                <a:spcPct val="120000"/>
              </a:lnSpc>
              <a:buClr>
                <a:schemeClr val="bg1"/>
              </a:buClr>
              <a:buSzPct val="100000"/>
            </a:pPr>
            <a:endParaRPr lang="en-US" altLang="zh-CN" sz="1100" b="1" dirty="0">
              <a:solidFill>
                <a:schemeClr val="bg1"/>
              </a:solidFill>
              <a:latin typeface="Calibri" panose="020F0502020204030204" pitchFamily="34" charset="0"/>
              <a:ea typeface="微软雅黑" pitchFamily="34" charset="-122"/>
              <a:cs typeface="Calibri" pitchFamily="34" charset="0"/>
            </a:endParaRPr>
          </a:p>
        </p:txBody>
      </p:sp>
      <p:sp>
        <p:nvSpPr>
          <p:cNvPr id="391" name="110966839"/>
          <p:cNvSpPr/>
          <p:nvPr/>
        </p:nvSpPr>
        <p:spPr bwMode="auto">
          <a:xfrm>
            <a:off x="2366858" y="2899153"/>
            <a:ext cx="8706341" cy="773389"/>
          </a:xfrm>
          <a:prstGeom prst="roundRect">
            <a:avLst>
              <a:gd name="adj" fmla="val 5217"/>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tIns="35991" rtlCol="0" anchor="t" anchorCtr="0">
            <a:noAutofit/>
          </a:bodyPr>
          <a:lstStyle/>
          <a:p>
            <a:pPr algn="ctr" fontAlgn="ctr">
              <a:lnSpc>
                <a:spcPct val="120000"/>
              </a:lnSpc>
              <a:buClr>
                <a:schemeClr val="bg1"/>
              </a:buClr>
              <a:buSzPct val="100000"/>
            </a:pPr>
            <a:endParaRPr lang="en-US" altLang="zh-CN" sz="1100" b="1" dirty="0">
              <a:solidFill>
                <a:schemeClr val="bg1"/>
              </a:solidFill>
              <a:latin typeface="Calibri" panose="020F0502020204030204" pitchFamily="34" charset="0"/>
              <a:ea typeface="微软雅黑" pitchFamily="34" charset="-122"/>
              <a:cs typeface="Calibri" pitchFamily="34" charset="0"/>
            </a:endParaRPr>
          </a:p>
        </p:txBody>
      </p:sp>
      <p:sp>
        <p:nvSpPr>
          <p:cNvPr id="178" name="标题 10"/>
          <p:cNvSpPr txBox="1">
            <a:spLocks/>
          </p:cNvSpPr>
          <p:nvPr/>
        </p:nvSpPr>
        <p:spPr>
          <a:xfrm>
            <a:off x="213152" y="715265"/>
            <a:ext cx="7624674" cy="646869"/>
          </a:xfrm>
          <a:prstGeom prst="rect">
            <a:avLst/>
          </a:prstGeom>
        </p:spPr>
        <p:txBody>
          <a:bodyPr>
            <a:noAutofit/>
          </a:bodyPr>
          <a:lstStyle>
            <a:lvl1pPr marL="0" marR="0" indent="0" algn="l" defTabSz="1219444" rtl="0" eaLnBrk="1" fontAlgn="auto" latinLnBrk="0" hangingPunct="1">
              <a:lnSpc>
                <a:spcPct val="100000"/>
              </a:lnSpc>
              <a:spcBef>
                <a:spcPct val="0"/>
              </a:spcBef>
              <a:spcAft>
                <a:spcPts val="0"/>
              </a:spcAft>
              <a:buClrTx/>
              <a:buSzTx/>
              <a:buFontTx/>
              <a:buNone/>
              <a:tabLst/>
              <a:defRPr sz="4000" b="1" kern="1200">
                <a:solidFill>
                  <a:schemeClr val="tx1"/>
                </a:solidFill>
                <a:latin typeface="+mj-lt"/>
                <a:ea typeface="+mj-ea"/>
                <a:cs typeface="+mj-cs"/>
              </a:defRPr>
            </a:lvl1pPr>
          </a:lstStyle>
          <a:p>
            <a:pPr defTabSz="801514" eaLnBrk="0" fontAlgn="ctr" hangingPunct="0">
              <a:lnSpc>
                <a:spcPct val="120000"/>
              </a:lnSpc>
              <a:spcAft>
                <a:spcPct val="0"/>
              </a:spcAft>
              <a:defRPr/>
            </a:pPr>
            <a:r>
              <a:rPr lang="en-US" altLang="zh-CN" sz="1800" b="0" dirty="0" err="1">
                <a:solidFill>
                  <a:schemeClr val="bg1"/>
                </a:solidFill>
                <a:ea typeface="+mn-ea"/>
                <a:cs typeface="Arial" pitchFamily="34" charset="0"/>
              </a:rPr>
              <a:t>Visión</a:t>
            </a:r>
            <a:r>
              <a:rPr lang="en-US" altLang="zh-CN" sz="1800" b="0" dirty="0">
                <a:solidFill>
                  <a:schemeClr val="bg1"/>
                </a:solidFill>
                <a:ea typeface="+mn-ea"/>
                <a:cs typeface="Arial" pitchFamily="34" charset="0"/>
              </a:rPr>
              <a:t> General de la </a:t>
            </a:r>
            <a:r>
              <a:rPr lang="en-US" altLang="zh-CN" sz="1800" b="0" dirty="0" err="1">
                <a:solidFill>
                  <a:schemeClr val="bg1"/>
                </a:solidFill>
                <a:ea typeface="+mn-ea"/>
                <a:cs typeface="Arial" pitchFamily="34" charset="0"/>
              </a:rPr>
              <a:t>Solución</a:t>
            </a:r>
            <a:r>
              <a:rPr lang="en-US" altLang="zh-CN" sz="1800" b="0" dirty="0">
                <a:solidFill>
                  <a:schemeClr val="bg1"/>
                </a:solidFill>
                <a:ea typeface="+mn-ea"/>
                <a:cs typeface="Arial" pitchFamily="34" charset="0"/>
              </a:rPr>
              <a:t> de Huawei para ‘Smart Education’</a:t>
            </a:r>
          </a:p>
        </p:txBody>
      </p:sp>
      <p:sp>
        <p:nvSpPr>
          <p:cNvPr id="1027" name="圆角矩形 5"/>
          <p:cNvSpPr/>
          <p:nvPr/>
        </p:nvSpPr>
        <p:spPr bwMode="auto">
          <a:xfrm>
            <a:off x="649804" y="1470699"/>
            <a:ext cx="10423395" cy="517150"/>
          </a:xfrm>
          <a:prstGeom prst="rect">
            <a:avLst/>
          </a:prstGeom>
          <a:solidFill>
            <a:srgbClr val="0070C0">
              <a:alpha val="21961"/>
            </a:srgbClr>
          </a:solidFill>
          <a:ln w="3175" cap="flat" cmpd="sng" algn="ctr">
            <a:solidFill>
              <a:schemeClr val="accent5">
                <a:lumMod val="60000"/>
                <a:lumOff val="40000"/>
              </a:schemeClr>
            </a:solidFill>
            <a:prstDash val="solid"/>
            <a:round/>
            <a:headEnd type="none" w="med" len="med"/>
            <a:tailEnd type="none" w="med" len="med"/>
          </a:ln>
          <a:effectLst/>
          <a:scene3d>
            <a:camera prst="orthographicFront"/>
            <a:lightRig rig="flat" dir="t"/>
          </a:scene3d>
        </p:spPr>
        <p:txBody>
          <a:bodyPr rtlCol="0" anchor="ctr"/>
          <a:lstStyle/>
          <a:p>
            <a:pPr indent="-239975" algn="ctr">
              <a:lnSpc>
                <a:spcPts val="3732"/>
              </a:lnSpc>
              <a:buClr>
                <a:srgbClr val="CC9900"/>
              </a:buClr>
              <a:buFont typeface="Arial" pitchFamily="34" charset="0"/>
              <a:buChar char="•"/>
            </a:pPr>
            <a:endParaRPr lang="en-US" altLang="zh-CN" sz="1799" dirty="0">
              <a:latin typeface="+mj-lt"/>
              <a:cs typeface="Arial" panose="020B0604020202020204" pitchFamily="34" charset="0"/>
            </a:endParaRPr>
          </a:p>
        </p:txBody>
      </p:sp>
      <p:sp>
        <p:nvSpPr>
          <p:cNvPr id="1028" name="文本框 1027"/>
          <p:cNvSpPr txBox="1"/>
          <p:nvPr/>
        </p:nvSpPr>
        <p:spPr>
          <a:xfrm>
            <a:off x="3960913" y="1576200"/>
            <a:ext cx="4846648" cy="338426"/>
          </a:xfrm>
          <a:prstGeom prst="rect">
            <a:avLst/>
          </a:prstGeom>
          <a:noFill/>
        </p:spPr>
        <p:txBody>
          <a:bodyPr wrap="none" rtlCol="0">
            <a:spAutoFit/>
          </a:bodyPr>
          <a:lstStyle/>
          <a:p>
            <a:r>
              <a:rPr lang="en-US" altLang="zh-CN" sz="1599" dirty="0" err="1">
                <a:solidFill>
                  <a:schemeClr val="bg1"/>
                </a:solidFill>
                <a:latin typeface="+mj-lt"/>
              </a:rPr>
              <a:t>Objetivo</a:t>
            </a:r>
            <a:r>
              <a:rPr lang="en-US" altLang="zh-CN" sz="1599" dirty="0">
                <a:solidFill>
                  <a:schemeClr val="bg1"/>
                </a:solidFill>
                <a:latin typeface="+mj-lt"/>
              </a:rPr>
              <a:t>: </a:t>
            </a:r>
            <a:r>
              <a:rPr lang="en-US" altLang="zh-CN" sz="1599" dirty="0" err="1">
                <a:solidFill>
                  <a:schemeClr val="bg1"/>
                </a:solidFill>
                <a:latin typeface="+mj-lt"/>
              </a:rPr>
              <a:t>Mejorar</a:t>
            </a:r>
            <a:r>
              <a:rPr lang="en-US" altLang="zh-CN" sz="1599" dirty="0">
                <a:solidFill>
                  <a:schemeClr val="bg1"/>
                </a:solidFill>
                <a:latin typeface="+mj-lt"/>
              </a:rPr>
              <a:t> la </a:t>
            </a:r>
            <a:r>
              <a:rPr lang="en-US" altLang="zh-CN" sz="1599" dirty="0" err="1">
                <a:solidFill>
                  <a:schemeClr val="bg1"/>
                </a:solidFill>
                <a:latin typeface="+mj-lt"/>
              </a:rPr>
              <a:t>Igualdad</a:t>
            </a:r>
            <a:r>
              <a:rPr lang="en-US" altLang="zh-CN" sz="1599" dirty="0">
                <a:solidFill>
                  <a:schemeClr val="bg1"/>
                </a:solidFill>
                <a:latin typeface="+mj-lt"/>
              </a:rPr>
              <a:t> y la </a:t>
            </a:r>
            <a:r>
              <a:rPr lang="en-US" altLang="zh-CN" sz="1599" dirty="0" err="1">
                <a:solidFill>
                  <a:schemeClr val="bg1"/>
                </a:solidFill>
                <a:latin typeface="+mj-lt"/>
              </a:rPr>
              <a:t>calidad</a:t>
            </a:r>
            <a:r>
              <a:rPr lang="en-US" altLang="zh-CN" sz="1599" dirty="0">
                <a:solidFill>
                  <a:schemeClr val="bg1"/>
                </a:solidFill>
                <a:latin typeface="+mj-lt"/>
              </a:rPr>
              <a:t> de la </a:t>
            </a:r>
            <a:r>
              <a:rPr lang="en-US" altLang="zh-CN" sz="1599" dirty="0" err="1">
                <a:solidFill>
                  <a:schemeClr val="bg1"/>
                </a:solidFill>
                <a:latin typeface="+mj-lt"/>
              </a:rPr>
              <a:t>Educación</a:t>
            </a:r>
            <a:endParaRPr lang="zh-CN" altLang="en-US" sz="1599" dirty="0">
              <a:solidFill>
                <a:schemeClr val="bg1"/>
              </a:solidFill>
              <a:latin typeface="+mj-lt"/>
            </a:endParaRPr>
          </a:p>
        </p:txBody>
      </p:sp>
      <p:sp>
        <p:nvSpPr>
          <p:cNvPr id="396" name="219712951"/>
          <p:cNvSpPr txBox="1">
            <a:spLocks noChangeArrowheads="1"/>
          </p:cNvSpPr>
          <p:nvPr/>
        </p:nvSpPr>
        <p:spPr bwMode="auto">
          <a:xfrm>
            <a:off x="5936986" y="3465014"/>
            <a:ext cx="1168590" cy="184666"/>
          </a:xfrm>
          <a:prstGeom prst="rect">
            <a:avLst/>
          </a:prstGeom>
          <a:noFill/>
          <a:ln w="9525" algn="ctr">
            <a:noFill/>
            <a:miter lim="800000"/>
            <a:headEnd/>
            <a:tailEnd/>
          </a:ln>
        </p:spPr>
        <p:txBody>
          <a:bodyPr wrap="none" lIns="0" tIns="0" rIns="0" bIns="0">
            <a:spAutoFit/>
          </a:bodyPr>
          <a:lstStyle/>
          <a:p>
            <a:pPr algn="ctr" defTabSz="1068747" fontAlgn="ctr">
              <a:defRPr/>
            </a:pPr>
            <a:r>
              <a:rPr lang="en-US" altLang="zh-CN" sz="1200" b="1" kern="0" dirty="0">
                <a:solidFill>
                  <a:schemeClr val="bg1"/>
                </a:solidFill>
                <a:cs typeface="Arial Unicode MS" pitchFamily="34" charset="-122"/>
              </a:rPr>
              <a:t>Cloud Data Center</a:t>
            </a:r>
          </a:p>
        </p:txBody>
      </p:sp>
      <p:cxnSp>
        <p:nvCxnSpPr>
          <p:cNvPr id="398" name="262429764"/>
          <p:cNvCxnSpPr/>
          <p:nvPr/>
        </p:nvCxnSpPr>
        <p:spPr bwMode="auto">
          <a:xfrm flipH="1">
            <a:off x="5298305" y="5025199"/>
            <a:ext cx="1154357" cy="581747"/>
          </a:xfrm>
          <a:prstGeom prst="line">
            <a:avLst/>
          </a:prstGeom>
          <a:noFill/>
          <a:ln w="15875">
            <a:solidFill>
              <a:sysClr val="windowText" lastClr="000000">
                <a:lumMod val="50000"/>
                <a:lumOff val="50000"/>
              </a:sysClr>
            </a:solidFill>
            <a:prstDash val="sysDash"/>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12" name="1855262155"/>
          <p:cNvSpPr>
            <a:spLocks noChangeArrowheads="1"/>
          </p:cNvSpPr>
          <p:nvPr/>
        </p:nvSpPr>
        <p:spPr bwMode="auto">
          <a:xfrm>
            <a:off x="3920258" y="6083832"/>
            <a:ext cx="1152209" cy="184666"/>
          </a:xfrm>
          <a:prstGeom prst="rect">
            <a:avLst/>
          </a:prstGeom>
          <a:noFill/>
          <a:ln w="9525" algn="ctr">
            <a:noFill/>
            <a:miter lim="800000"/>
            <a:headEnd/>
            <a:tailEnd/>
          </a:ln>
        </p:spPr>
        <p:txBody>
          <a:bodyPr wrap="square" lIns="0" tIns="0" rIns="0" bIns="0">
            <a:spAutoFit/>
          </a:bodyPr>
          <a:lstStyle/>
          <a:p>
            <a:pPr algn="ctr" defTabSz="1068747" fontAlgn="ctr">
              <a:defRPr/>
            </a:pPr>
            <a:r>
              <a:rPr lang="en-US" altLang="zh-CN" sz="1200" b="1" kern="0" dirty="0">
                <a:solidFill>
                  <a:schemeClr val="bg1"/>
                </a:solidFill>
                <a:cs typeface="Arial Unicode MS" pitchFamily="34" charset="-122"/>
              </a:rPr>
              <a:t>eC</a:t>
            </a:r>
            <a:r>
              <a:rPr lang="en-US" altLang="zh-CN" sz="1200" b="1" kern="0" dirty="0" err="1">
                <a:solidFill>
                  <a:schemeClr val="bg1"/>
                </a:solidFill>
                <a:cs typeface="Arial Unicode MS" pitchFamily="34" charset="-122"/>
              </a:rPr>
              <a:t>lassroom</a:t>
            </a:r>
            <a:endParaRPr lang="en-US" altLang="zh-CN" sz="1200" b="1" kern="0" dirty="0">
              <a:solidFill>
                <a:schemeClr val="bg1"/>
              </a:solidFill>
              <a:cs typeface="Arial Unicode MS" pitchFamily="34" charset="-122"/>
            </a:endParaRPr>
          </a:p>
        </p:txBody>
      </p:sp>
      <p:sp>
        <p:nvSpPr>
          <p:cNvPr id="413" name="1633474196"/>
          <p:cNvSpPr>
            <a:spLocks noChangeArrowheads="1"/>
          </p:cNvSpPr>
          <p:nvPr/>
        </p:nvSpPr>
        <p:spPr bwMode="auto">
          <a:xfrm>
            <a:off x="7107939" y="6130225"/>
            <a:ext cx="1171938" cy="184666"/>
          </a:xfrm>
          <a:prstGeom prst="rect">
            <a:avLst/>
          </a:prstGeom>
          <a:noFill/>
          <a:ln w="9525" algn="ctr">
            <a:noFill/>
            <a:miter lim="800000"/>
            <a:headEnd/>
            <a:tailEnd/>
          </a:ln>
        </p:spPr>
        <p:txBody>
          <a:bodyPr wrap="square" lIns="0" tIns="0" rIns="0" bIns="0">
            <a:spAutoFit/>
          </a:bodyPr>
          <a:lstStyle/>
          <a:p>
            <a:pPr algn="ctr" defTabSz="1068747" fontAlgn="ctr">
              <a:defRPr/>
            </a:pPr>
            <a:r>
              <a:rPr lang="en-US" altLang="zh-CN" sz="1200" b="1" kern="0" dirty="0" err="1">
                <a:solidFill>
                  <a:schemeClr val="bg1"/>
                </a:solidFill>
                <a:cs typeface="Arial Unicode MS" pitchFamily="34" charset="-122"/>
              </a:rPr>
              <a:t>Escritorio</a:t>
            </a:r>
            <a:r>
              <a:rPr lang="en-US" altLang="zh-CN" sz="1200" b="1" kern="0" dirty="0">
                <a:solidFill>
                  <a:schemeClr val="bg1"/>
                </a:solidFill>
                <a:cs typeface="Arial Unicode MS" pitchFamily="34" charset="-122"/>
              </a:rPr>
              <a:t> Virtual</a:t>
            </a:r>
          </a:p>
        </p:txBody>
      </p:sp>
      <p:cxnSp>
        <p:nvCxnSpPr>
          <p:cNvPr id="416" name="2022413891"/>
          <p:cNvCxnSpPr/>
          <p:nvPr/>
        </p:nvCxnSpPr>
        <p:spPr bwMode="auto">
          <a:xfrm>
            <a:off x="6384970" y="5025199"/>
            <a:ext cx="1308937" cy="582608"/>
          </a:xfrm>
          <a:prstGeom prst="line">
            <a:avLst/>
          </a:prstGeom>
          <a:noFill/>
          <a:ln w="15875">
            <a:solidFill>
              <a:sysClr val="windowText" lastClr="000000">
                <a:lumMod val="50000"/>
                <a:lumOff val="50000"/>
              </a:sysClr>
            </a:solidFill>
            <a:prstDash val="sysDash"/>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25" name="978552192"/>
          <p:cNvSpPr txBox="1"/>
          <p:nvPr/>
        </p:nvSpPr>
        <p:spPr>
          <a:xfrm>
            <a:off x="649804" y="2161581"/>
            <a:ext cx="1589415" cy="1529136"/>
          </a:xfrm>
          <a:prstGeom prst="rect">
            <a:avLst/>
          </a:prstGeom>
          <a:solidFill>
            <a:schemeClr val="accent5">
              <a:lumMod val="75000"/>
            </a:schemeClr>
          </a:solidFill>
          <a:ln>
            <a:noFill/>
          </a:ln>
          <a:effectLst/>
        </p:spPr>
        <p:txBody>
          <a:bodyPr vert="horz" wrap="square" lIns="121916" tIns="60958" rIns="121916" bIns="60958" numCol="1" rtlCol="0" anchor="ctr" anchorCtr="0" compatLnSpc="1">
            <a:prstTxWarp prst="textNoShape">
              <a:avLst/>
            </a:prstTxWarp>
          </a:bodyPr>
          <a:lstStyle>
            <a:defPPr>
              <a:defRPr lang="zh-CN"/>
            </a:defPPr>
            <a:lvl1pPr marL="176202" indent="-176202" algn="ctr" defTabSz="914339">
              <a:lnSpc>
                <a:spcPts val="2400"/>
              </a:lnSpc>
              <a:defRPr sz="1400" b="1" kern="0">
                <a:solidFill>
                  <a:schemeClr val="bg1"/>
                </a:solidFill>
                <a:ea typeface="宋体" charset="-122"/>
              </a:defRPr>
            </a:lvl1pPr>
          </a:lstStyle>
          <a:p>
            <a:r>
              <a:rPr lang="en-US" altLang="zh-CN" sz="1399" dirty="0"/>
              <a:t>MOE</a:t>
            </a:r>
          </a:p>
          <a:p>
            <a:r>
              <a:rPr lang="en-US" altLang="zh-CN" sz="1100" b="0" dirty="0"/>
              <a:t>Smart </a:t>
            </a:r>
            <a:br>
              <a:rPr lang="en-US" altLang="zh-CN" sz="1100" b="0" dirty="0"/>
            </a:br>
            <a:r>
              <a:rPr lang="en-US" altLang="zh-CN" sz="1100" b="0" dirty="0"/>
              <a:t>Education Cloud</a:t>
            </a:r>
            <a:endParaRPr lang="en-US" sz="1100" b="0" dirty="0"/>
          </a:p>
        </p:txBody>
      </p:sp>
      <p:sp>
        <p:nvSpPr>
          <p:cNvPr id="426" name="1376961403"/>
          <p:cNvSpPr txBox="1"/>
          <p:nvPr/>
        </p:nvSpPr>
        <p:spPr>
          <a:xfrm>
            <a:off x="649804" y="3827246"/>
            <a:ext cx="1589415" cy="1282912"/>
          </a:xfrm>
          <a:prstGeom prst="rect">
            <a:avLst/>
          </a:prstGeom>
          <a:solidFill>
            <a:schemeClr val="accent5">
              <a:lumMod val="75000"/>
            </a:schemeClr>
          </a:solidFill>
          <a:ln>
            <a:noFill/>
          </a:ln>
          <a:effectLst/>
        </p:spPr>
        <p:txBody>
          <a:bodyPr vert="horz" wrap="square" lIns="121916" tIns="60958" rIns="121916" bIns="60958" numCol="1" rtlCol="0" anchor="ctr" anchorCtr="0" compatLnSpc="1">
            <a:prstTxWarp prst="textNoShape">
              <a:avLst/>
            </a:prstTxWarp>
          </a:bodyPr>
          <a:lstStyle>
            <a:defPPr>
              <a:defRPr lang="zh-CN"/>
            </a:defPPr>
            <a:lvl1pPr marL="176202" indent="-176202" algn="ctr" defTabSz="914339">
              <a:lnSpc>
                <a:spcPts val="2400"/>
              </a:lnSpc>
              <a:defRPr sz="1400" b="1" kern="0">
                <a:solidFill>
                  <a:schemeClr val="bg1"/>
                </a:solidFill>
                <a:ea typeface="宋体" charset="-122"/>
              </a:defRPr>
            </a:lvl1pPr>
          </a:lstStyle>
          <a:p>
            <a:r>
              <a:rPr lang="en-US" altLang="zh-CN" sz="1399" dirty="0" err="1"/>
              <a:t>Escuela</a:t>
            </a:r>
            <a:endParaRPr lang="en-US" altLang="zh-CN" sz="1399" dirty="0"/>
          </a:p>
          <a:p>
            <a:r>
              <a:rPr lang="en-US" altLang="zh-CN" sz="1100" b="0" dirty="0"/>
              <a:t>Smart Campus</a:t>
            </a:r>
            <a:endParaRPr lang="en-US" sz="1100" b="0" dirty="0"/>
          </a:p>
        </p:txBody>
      </p:sp>
      <p:sp>
        <p:nvSpPr>
          <p:cNvPr id="427" name="689202959"/>
          <p:cNvSpPr txBox="1"/>
          <p:nvPr/>
        </p:nvSpPr>
        <p:spPr>
          <a:xfrm>
            <a:off x="649804" y="5261926"/>
            <a:ext cx="1589415" cy="1066081"/>
          </a:xfrm>
          <a:prstGeom prst="rect">
            <a:avLst/>
          </a:prstGeom>
          <a:solidFill>
            <a:schemeClr val="accent5">
              <a:lumMod val="75000"/>
            </a:schemeClr>
          </a:solidFill>
          <a:ln>
            <a:noFill/>
          </a:ln>
          <a:effectLst/>
        </p:spPr>
        <p:txBody>
          <a:bodyPr vert="horz" wrap="square" lIns="121916" tIns="60958" rIns="121916" bIns="60958" numCol="1" rtlCol="0" anchor="ctr" anchorCtr="0" compatLnSpc="1">
            <a:prstTxWarp prst="textNoShape">
              <a:avLst/>
            </a:prstTxWarp>
          </a:bodyPr>
          <a:lstStyle>
            <a:defPPr>
              <a:defRPr lang="zh-CN"/>
            </a:defPPr>
            <a:lvl1pPr marL="176202" indent="-176202" algn="ctr" defTabSz="914339">
              <a:lnSpc>
                <a:spcPts val="2400"/>
              </a:lnSpc>
              <a:defRPr sz="1400" b="1" kern="0">
                <a:solidFill>
                  <a:schemeClr val="bg1"/>
                </a:solidFill>
                <a:ea typeface="宋体" charset="-122"/>
              </a:defRPr>
            </a:lvl1pPr>
          </a:lstStyle>
          <a:p>
            <a:r>
              <a:rPr lang="en-US" altLang="zh-CN" sz="1399" dirty="0" err="1"/>
              <a:t>Aulas</a:t>
            </a:r>
            <a:endParaRPr lang="en-US" altLang="zh-CN" sz="1399" dirty="0"/>
          </a:p>
          <a:p>
            <a:r>
              <a:rPr lang="en-US" sz="1100" b="0" dirty="0"/>
              <a:t>Smart  </a:t>
            </a:r>
            <a:r>
              <a:rPr lang="en-US" sz="1100" b="0" dirty="0">
                <a:solidFill>
                  <a:srgbClr val="00602B"/>
                </a:solidFill>
              </a:rPr>
              <a:t>Classroom</a:t>
            </a:r>
          </a:p>
        </p:txBody>
      </p:sp>
      <p:sp>
        <p:nvSpPr>
          <p:cNvPr id="437" name="539096141"/>
          <p:cNvSpPr/>
          <p:nvPr/>
        </p:nvSpPr>
        <p:spPr bwMode="auto">
          <a:xfrm>
            <a:off x="2325030" y="2161581"/>
            <a:ext cx="8748169" cy="628403"/>
          </a:xfrm>
          <a:prstGeom prst="roundRect">
            <a:avLst>
              <a:gd name="adj" fmla="val 14674"/>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tIns="35991" rtlCol="0" anchor="t" anchorCtr="0">
            <a:noAutofit/>
          </a:bodyPr>
          <a:lstStyle/>
          <a:p>
            <a:pPr algn="ctr" fontAlgn="ctr">
              <a:lnSpc>
                <a:spcPct val="120000"/>
              </a:lnSpc>
              <a:buClr>
                <a:schemeClr val="bg1"/>
              </a:buClr>
              <a:buSzPct val="100000"/>
            </a:pPr>
            <a:endParaRPr lang="en-US" altLang="zh-CN" sz="1100" b="1" dirty="0">
              <a:solidFill>
                <a:schemeClr val="bg1"/>
              </a:solidFill>
              <a:latin typeface="Calibri" panose="020F0502020204030204" pitchFamily="34" charset="0"/>
              <a:ea typeface="微软雅黑" pitchFamily="34" charset="-122"/>
              <a:cs typeface="Calibri" pitchFamily="34" charset="0"/>
            </a:endParaRPr>
          </a:p>
        </p:txBody>
      </p:sp>
      <p:sp>
        <p:nvSpPr>
          <p:cNvPr id="441" name="383340241"/>
          <p:cNvSpPr/>
          <p:nvPr/>
        </p:nvSpPr>
        <p:spPr>
          <a:xfrm>
            <a:off x="7656203" y="2268722"/>
            <a:ext cx="1049613" cy="460936"/>
          </a:xfrm>
          <a:prstGeom prst="rect">
            <a:avLst/>
          </a:prstGeom>
          <a:noFill/>
          <a:ln>
            <a:noFill/>
            <a:headEnd/>
            <a:tailEnd/>
          </a:ln>
          <a:effectLst/>
          <a:scene3d>
            <a:camera prst="orthographicFront"/>
            <a:lightRig rig="threePt" dir="t">
              <a:rot lat="0" lon="0" rev="1200000"/>
            </a:lightRig>
          </a:scene3d>
          <a:sp3d/>
        </p:spPr>
        <p:txBody>
          <a:bodyPr wrap="square" lIns="16841" tIns="8421" rIns="16841" bIns="8421" anchor="ctr" anchorCtr="0">
            <a:noAutofit/>
          </a:bodyPr>
          <a:lstStyle/>
          <a:p>
            <a:pPr algn="ctr" defTabSz="1219008" eaLnBrk="0" fontAlgn="ctr" hangingPunct="0">
              <a:lnSpc>
                <a:spcPct val="80000"/>
              </a:lnSpc>
              <a:buClr>
                <a:srgbClr val="CC9900"/>
              </a:buClr>
              <a:defRPr/>
            </a:pPr>
            <a:r>
              <a:rPr lang="en-US" altLang="zh-CN" sz="1200" kern="0" dirty="0" err="1">
                <a:solidFill>
                  <a:schemeClr val="bg1"/>
                </a:solidFill>
                <a:latin typeface="Calibri" panose="020F0502020204030204" pitchFamily="34" charset="0"/>
                <a:ea typeface="微软雅黑"/>
                <a:cs typeface="Arial" pitchFamily="34" charset="0"/>
                <a:sym typeface="Arial"/>
              </a:rPr>
              <a:t>Administración</a:t>
            </a:r>
            <a:endParaRPr lang="en-US" altLang="zh-CN" sz="1200" kern="0" dirty="0">
              <a:solidFill>
                <a:schemeClr val="bg1"/>
              </a:solidFill>
              <a:latin typeface="Calibri" panose="020F0502020204030204" pitchFamily="34" charset="0"/>
              <a:ea typeface="微软雅黑"/>
              <a:cs typeface="Arial" pitchFamily="34" charset="0"/>
              <a:sym typeface="Arial"/>
            </a:endParaRPr>
          </a:p>
        </p:txBody>
      </p:sp>
      <p:sp>
        <p:nvSpPr>
          <p:cNvPr id="444" name="1438699760"/>
          <p:cNvSpPr/>
          <p:nvPr/>
        </p:nvSpPr>
        <p:spPr>
          <a:xfrm>
            <a:off x="4400654" y="2199501"/>
            <a:ext cx="1536332" cy="530157"/>
          </a:xfrm>
          <a:prstGeom prst="rect">
            <a:avLst/>
          </a:prstGeom>
          <a:noFill/>
          <a:ln>
            <a:noFill/>
            <a:headEnd/>
            <a:tailEnd/>
          </a:ln>
          <a:effectLst/>
          <a:scene3d>
            <a:camera prst="orthographicFront"/>
            <a:lightRig rig="threePt" dir="t">
              <a:rot lat="0" lon="0" rev="1200000"/>
            </a:lightRig>
          </a:scene3d>
          <a:sp3d/>
        </p:spPr>
        <p:txBody>
          <a:bodyPr wrap="square" lIns="16841" tIns="8421" rIns="16841" bIns="8421" anchor="ctr" anchorCtr="0">
            <a:noAutofit/>
          </a:bodyPr>
          <a:lstStyle/>
          <a:p>
            <a:pPr algn="ctr" defTabSz="1219008" eaLnBrk="0" fontAlgn="ctr" hangingPunct="0">
              <a:lnSpc>
                <a:spcPct val="80000"/>
              </a:lnSpc>
              <a:buClr>
                <a:srgbClr val="CC9900"/>
              </a:buClr>
              <a:defRPr/>
            </a:pPr>
            <a:r>
              <a:rPr lang="en-US" altLang="zh-CN" sz="1000" kern="0" dirty="0">
                <a:solidFill>
                  <a:schemeClr val="bg1"/>
                </a:solidFill>
                <a:latin typeface="Calibri" panose="020F0502020204030204" pitchFamily="34" charset="0"/>
                <a:ea typeface="微软雅黑"/>
                <a:cs typeface="Arial" pitchFamily="34" charset="0"/>
                <a:sym typeface="Arial"/>
              </a:rPr>
              <a:t>Sistema de </a:t>
            </a:r>
            <a:r>
              <a:rPr lang="en-US" altLang="zh-CN" sz="1000" kern="0" dirty="0" err="1">
                <a:solidFill>
                  <a:schemeClr val="bg1"/>
                </a:solidFill>
                <a:latin typeface="Calibri" panose="020F0502020204030204" pitchFamily="34" charset="0"/>
                <a:ea typeface="微软雅黑"/>
                <a:cs typeface="Arial" pitchFamily="34" charset="0"/>
                <a:sym typeface="Arial"/>
              </a:rPr>
              <a:t>Gestión</a:t>
            </a:r>
            <a:r>
              <a:rPr lang="en-US" altLang="zh-CN" sz="1000" kern="0" dirty="0">
                <a:solidFill>
                  <a:schemeClr val="bg1"/>
                </a:solidFill>
                <a:latin typeface="Calibri" panose="020F0502020204030204" pitchFamily="34" charset="0"/>
                <a:ea typeface="微软雅黑"/>
                <a:cs typeface="Arial" pitchFamily="34" charset="0"/>
                <a:sym typeface="Arial"/>
              </a:rPr>
              <a:t> de </a:t>
            </a:r>
            <a:r>
              <a:rPr lang="en-US" altLang="zh-CN" sz="1000" kern="0" dirty="0" err="1">
                <a:solidFill>
                  <a:schemeClr val="bg1"/>
                </a:solidFill>
                <a:latin typeface="Calibri" panose="020F0502020204030204" pitchFamily="34" charset="0"/>
                <a:ea typeface="微软雅黑"/>
                <a:cs typeface="Arial" pitchFamily="34" charset="0"/>
                <a:sym typeface="Arial"/>
              </a:rPr>
              <a:t>Evaluación</a:t>
            </a:r>
            <a:endParaRPr lang="en-US" altLang="zh-CN" sz="1000" kern="0" dirty="0">
              <a:solidFill>
                <a:schemeClr val="bg1"/>
              </a:solidFill>
              <a:latin typeface="Calibri" panose="020F0502020204030204" pitchFamily="34" charset="0"/>
              <a:ea typeface="微软雅黑"/>
              <a:cs typeface="Arial" pitchFamily="34" charset="0"/>
              <a:sym typeface="Arial"/>
            </a:endParaRPr>
          </a:p>
        </p:txBody>
      </p:sp>
      <p:sp>
        <p:nvSpPr>
          <p:cNvPr id="445" name="584681972"/>
          <p:cNvSpPr/>
          <p:nvPr/>
        </p:nvSpPr>
        <p:spPr>
          <a:xfrm>
            <a:off x="9073832" y="2268722"/>
            <a:ext cx="1603403" cy="460936"/>
          </a:xfrm>
          <a:prstGeom prst="rect">
            <a:avLst/>
          </a:prstGeom>
          <a:noFill/>
          <a:ln>
            <a:noFill/>
            <a:headEnd/>
            <a:tailEnd/>
          </a:ln>
          <a:effectLst/>
          <a:scene3d>
            <a:camera prst="orthographicFront"/>
            <a:lightRig rig="threePt" dir="t">
              <a:rot lat="0" lon="0" rev="1200000"/>
            </a:lightRig>
          </a:scene3d>
          <a:sp3d/>
        </p:spPr>
        <p:txBody>
          <a:bodyPr wrap="square" lIns="16841" tIns="8421" rIns="16841" bIns="8421" anchor="ctr" anchorCtr="0">
            <a:noAutofit/>
          </a:bodyPr>
          <a:lstStyle/>
          <a:p>
            <a:pPr algn="ctr" defTabSz="1219008" eaLnBrk="0" fontAlgn="ctr" hangingPunct="0">
              <a:lnSpc>
                <a:spcPct val="80000"/>
              </a:lnSpc>
              <a:buClr>
                <a:srgbClr val="CC9900"/>
              </a:buClr>
              <a:defRPr/>
            </a:pPr>
            <a:r>
              <a:rPr lang="en-US" altLang="zh-CN" sz="1000" kern="0" dirty="0" err="1">
                <a:solidFill>
                  <a:schemeClr val="bg1"/>
                </a:solidFill>
                <a:latin typeface="Calibri" panose="020F0502020204030204" pitchFamily="34" charset="0"/>
                <a:ea typeface="微软雅黑"/>
                <a:cs typeface="Arial" pitchFamily="34" charset="0"/>
                <a:sym typeface="Arial"/>
              </a:rPr>
              <a:t>Evaluación</a:t>
            </a:r>
            <a:r>
              <a:rPr lang="en-US" altLang="zh-CN" sz="1000" kern="0" dirty="0">
                <a:solidFill>
                  <a:schemeClr val="bg1"/>
                </a:solidFill>
                <a:latin typeface="Calibri" panose="020F0502020204030204" pitchFamily="34" charset="0"/>
                <a:ea typeface="微软雅黑"/>
                <a:cs typeface="Arial" pitchFamily="34" charset="0"/>
                <a:sym typeface="Arial"/>
              </a:rPr>
              <a:t> de </a:t>
            </a:r>
            <a:r>
              <a:rPr lang="en-US" altLang="zh-CN" sz="1000" kern="0" dirty="0" err="1">
                <a:solidFill>
                  <a:schemeClr val="bg1"/>
                </a:solidFill>
                <a:latin typeface="Calibri" panose="020F0502020204030204" pitchFamily="34" charset="0"/>
                <a:ea typeface="微软雅黑"/>
                <a:cs typeface="Arial" pitchFamily="34" charset="0"/>
                <a:sym typeface="Arial"/>
              </a:rPr>
              <a:t>Profesores</a:t>
            </a:r>
            <a:endParaRPr lang="en-US" altLang="zh-CN" sz="1000" kern="0" dirty="0">
              <a:solidFill>
                <a:schemeClr val="bg1"/>
              </a:solidFill>
              <a:latin typeface="Calibri" panose="020F0502020204030204" pitchFamily="34" charset="0"/>
              <a:ea typeface="微软雅黑"/>
              <a:cs typeface="Arial" pitchFamily="34" charset="0"/>
              <a:sym typeface="Arial"/>
            </a:endParaRPr>
          </a:p>
        </p:txBody>
      </p:sp>
      <p:sp>
        <p:nvSpPr>
          <p:cNvPr id="446" name="205031778"/>
          <p:cNvSpPr/>
          <p:nvPr/>
        </p:nvSpPr>
        <p:spPr>
          <a:xfrm>
            <a:off x="6137564" y="2268722"/>
            <a:ext cx="969737" cy="460936"/>
          </a:xfrm>
          <a:prstGeom prst="rect">
            <a:avLst/>
          </a:prstGeom>
          <a:noFill/>
          <a:ln>
            <a:noFill/>
            <a:headEnd/>
            <a:tailEnd/>
          </a:ln>
          <a:effectLst/>
          <a:scene3d>
            <a:camera prst="orthographicFront"/>
            <a:lightRig rig="threePt" dir="t">
              <a:rot lat="0" lon="0" rev="1200000"/>
            </a:lightRig>
          </a:scene3d>
          <a:sp3d/>
        </p:spPr>
        <p:txBody>
          <a:bodyPr wrap="square" lIns="16841" tIns="8421" rIns="16841" bIns="8421" anchor="ctr" anchorCtr="0">
            <a:noAutofit/>
          </a:bodyPr>
          <a:lstStyle/>
          <a:p>
            <a:pPr algn="ctr" defTabSz="1219008" eaLnBrk="0" fontAlgn="ctr" hangingPunct="0">
              <a:lnSpc>
                <a:spcPct val="80000"/>
              </a:lnSpc>
              <a:buClr>
                <a:srgbClr val="CC9900"/>
              </a:buClr>
              <a:defRPr/>
            </a:pPr>
            <a:r>
              <a:rPr lang="en-US" altLang="zh-CN" sz="1200" kern="0" dirty="0" err="1">
                <a:solidFill>
                  <a:schemeClr val="bg1"/>
                </a:solidFill>
                <a:latin typeface="Calibri" panose="020F0502020204030204" pitchFamily="34" charset="0"/>
                <a:ea typeface="微软雅黑"/>
                <a:cs typeface="Arial" pitchFamily="34" charset="0"/>
                <a:sym typeface="Arial"/>
              </a:rPr>
              <a:t>Libros</a:t>
            </a:r>
            <a:r>
              <a:rPr lang="en-US" altLang="zh-CN" sz="1200" kern="0" dirty="0">
                <a:solidFill>
                  <a:schemeClr val="bg1"/>
                </a:solidFill>
                <a:latin typeface="Calibri" panose="020F0502020204030204" pitchFamily="34" charset="0"/>
                <a:ea typeface="微软雅黑"/>
                <a:cs typeface="Arial" pitchFamily="34" charset="0"/>
                <a:sym typeface="Arial"/>
              </a:rPr>
              <a:t> Online</a:t>
            </a:r>
          </a:p>
        </p:txBody>
      </p:sp>
      <p:sp>
        <p:nvSpPr>
          <p:cNvPr id="458" name="762732789"/>
          <p:cNvSpPr/>
          <p:nvPr/>
        </p:nvSpPr>
        <p:spPr>
          <a:xfrm>
            <a:off x="2872242" y="2297743"/>
            <a:ext cx="1135443" cy="460936"/>
          </a:xfrm>
          <a:prstGeom prst="rect">
            <a:avLst/>
          </a:prstGeom>
          <a:noFill/>
          <a:ln>
            <a:noFill/>
            <a:headEnd/>
            <a:tailEnd/>
          </a:ln>
          <a:effectLst/>
          <a:scene3d>
            <a:camera prst="orthographicFront"/>
            <a:lightRig rig="threePt" dir="t">
              <a:rot lat="0" lon="0" rev="1200000"/>
            </a:lightRig>
          </a:scene3d>
          <a:sp3d/>
        </p:spPr>
        <p:txBody>
          <a:bodyPr wrap="square" lIns="16841" tIns="8421" rIns="16841" bIns="8421" anchor="ctr" anchorCtr="0">
            <a:noAutofit/>
          </a:bodyPr>
          <a:lstStyle/>
          <a:p>
            <a:pPr algn="ctr" defTabSz="1219008" eaLnBrk="0" fontAlgn="ctr" hangingPunct="0">
              <a:lnSpc>
                <a:spcPct val="80000"/>
              </a:lnSpc>
              <a:buClr>
                <a:srgbClr val="CC9900"/>
              </a:buClr>
              <a:defRPr/>
            </a:pPr>
            <a:r>
              <a:rPr lang="en-US" altLang="zh-CN" sz="1050" kern="0" dirty="0">
                <a:solidFill>
                  <a:schemeClr val="bg1"/>
                </a:solidFill>
                <a:latin typeface="Calibri" panose="020F0502020204030204" pitchFamily="34" charset="0"/>
                <a:ea typeface="微软雅黑"/>
                <a:cs typeface="Arial" pitchFamily="34" charset="0"/>
                <a:sym typeface="Arial"/>
              </a:rPr>
              <a:t>Portal de </a:t>
            </a:r>
            <a:r>
              <a:rPr lang="en-US" altLang="zh-CN" sz="1050" kern="0" dirty="0" err="1">
                <a:solidFill>
                  <a:schemeClr val="bg1"/>
                </a:solidFill>
                <a:latin typeface="Calibri" panose="020F0502020204030204" pitchFamily="34" charset="0"/>
                <a:ea typeface="微软雅黑"/>
                <a:cs typeface="Arial" pitchFamily="34" charset="0"/>
                <a:sym typeface="Arial"/>
              </a:rPr>
              <a:t>Servicio</a:t>
            </a:r>
            <a:r>
              <a:rPr lang="en-US" altLang="zh-CN" sz="1050" kern="0" dirty="0">
                <a:solidFill>
                  <a:schemeClr val="bg1"/>
                </a:solidFill>
                <a:latin typeface="Calibri" panose="020F0502020204030204" pitchFamily="34" charset="0"/>
                <a:ea typeface="微软雅黑"/>
                <a:cs typeface="Arial" pitchFamily="34" charset="0"/>
                <a:sym typeface="Arial"/>
              </a:rPr>
              <a:t> </a:t>
            </a:r>
            <a:r>
              <a:rPr lang="en-US" altLang="zh-CN" sz="1050" kern="0" dirty="0" err="1">
                <a:solidFill>
                  <a:schemeClr val="bg1"/>
                </a:solidFill>
                <a:latin typeface="Calibri" panose="020F0502020204030204" pitchFamily="34" charset="0"/>
                <a:ea typeface="微软雅黑"/>
                <a:cs typeface="Arial" pitchFamily="34" charset="0"/>
                <a:sym typeface="Arial"/>
              </a:rPr>
              <a:t>Publico</a:t>
            </a:r>
            <a:endParaRPr lang="en-US" altLang="zh-CN" sz="1050" kern="0" dirty="0">
              <a:solidFill>
                <a:schemeClr val="bg1"/>
              </a:solidFill>
              <a:latin typeface="Calibri" panose="020F0502020204030204" pitchFamily="34" charset="0"/>
              <a:ea typeface="微软雅黑"/>
              <a:cs typeface="Arial" pitchFamily="34" charset="0"/>
              <a:sym typeface="Arial"/>
            </a:endParaRPr>
          </a:p>
        </p:txBody>
      </p:sp>
      <p:sp>
        <p:nvSpPr>
          <p:cNvPr id="469" name="1444774080"/>
          <p:cNvSpPr/>
          <p:nvPr/>
        </p:nvSpPr>
        <p:spPr>
          <a:xfrm>
            <a:off x="2754528" y="2180336"/>
            <a:ext cx="1200367" cy="589118"/>
          </a:xfrm>
          <a:prstGeom prst="ellipse">
            <a:avLst/>
          </a:prstGeom>
          <a:noFill/>
          <a:ln w="28575" cap="flat" cmpd="sng" algn="ctr">
            <a:solidFill>
              <a:srgbClr val="FFFF00"/>
            </a:solidFill>
            <a:prstDash val="solid"/>
          </a:ln>
          <a:effectLst/>
        </p:spPr>
        <p:txBody>
          <a:bodyPr rtlCol="0" anchor="ctr"/>
          <a:lstStyle/>
          <a:p>
            <a:pPr algn="ctr" defTabSz="1219008" fontAlgn="ctr">
              <a:defRPr/>
            </a:pPr>
            <a:endParaRPr lang="en-US" altLang="zh-CN" sz="1050" kern="0" dirty="0">
              <a:solidFill>
                <a:schemeClr val="bg1"/>
              </a:solidFill>
              <a:latin typeface="Calibri" panose="020F0502020204030204" pitchFamily="34" charset="0"/>
              <a:ea typeface="微软雅黑"/>
            </a:endParaRPr>
          </a:p>
        </p:txBody>
      </p:sp>
      <p:sp>
        <p:nvSpPr>
          <p:cNvPr id="470" name="732244191"/>
          <p:cNvSpPr/>
          <p:nvPr/>
        </p:nvSpPr>
        <p:spPr>
          <a:xfrm>
            <a:off x="4453445" y="2198640"/>
            <a:ext cx="1483542" cy="510897"/>
          </a:xfrm>
          <a:prstGeom prst="ellipse">
            <a:avLst/>
          </a:prstGeom>
          <a:noFill/>
          <a:ln w="28575" cap="flat" cmpd="sng" algn="ctr">
            <a:solidFill>
              <a:srgbClr val="FFFF00"/>
            </a:solidFill>
            <a:prstDash val="solid"/>
          </a:ln>
          <a:effectLst/>
        </p:spPr>
        <p:txBody>
          <a:bodyPr rtlCol="0" anchor="ctr"/>
          <a:lstStyle/>
          <a:p>
            <a:pPr algn="ctr" defTabSz="1219008" fontAlgn="ctr">
              <a:defRPr/>
            </a:pPr>
            <a:endParaRPr lang="en-US" altLang="zh-CN" sz="1400" kern="0" dirty="0">
              <a:solidFill>
                <a:schemeClr val="bg1"/>
              </a:solidFill>
              <a:latin typeface="Calibri" panose="020F0502020204030204" pitchFamily="34" charset="0"/>
              <a:ea typeface="微软雅黑"/>
            </a:endParaRPr>
          </a:p>
        </p:txBody>
      </p:sp>
      <p:sp>
        <p:nvSpPr>
          <p:cNvPr id="471" name="1906177810"/>
          <p:cNvSpPr/>
          <p:nvPr/>
        </p:nvSpPr>
        <p:spPr>
          <a:xfrm>
            <a:off x="6099788" y="2248601"/>
            <a:ext cx="1019625" cy="460936"/>
          </a:xfrm>
          <a:prstGeom prst="ellipse">
            <a:avLst/>
          </a:prstGeom>
          <a:noFill/>
          <a:ln w="28575" cap="flat" cmpd="sng" algn="ctr">
            <a:solidFill>
              <a:srgbClr val="FFFF00"/>
            </a:solidFill>
            <a:prstDash val="solid"/>
          </a:ln>
          <a:effectLst/>
        </p:spPr>
        <p:txBody>
          <a:bodyPr rtlCol="0" anchor="ctr"/>
          <a:lstStyle/>
          <a:p>
            <a:pPr algn="ctr" defTabSz="1219008" fontAlgn="ctr">
              <a:defRPr/>
            </a:pPr>
            <a:endParaRPr lang="en-US" altLang="zh-CN" sz="1799" kern="0" dirty="0">
              <a:solidFill>
                <a:schemeClr val="bg1"/>
              </a:solidFill>
              <a:latin typeface="Calibri" panose="020F0502020204030204" pitchFamily="34" charset="0"/>
              <a:ea typeface="微软雅黑"/>
            </a:endParaRPr>
          </a:p>
        </p:txBody>
      </p:sp>
      <p:sp>
        <p:nvSpPr>
          <p:cNvPr id="472" name="553487229"/>
          <p:cNvSpPr/>
          <p:nvPr/>
        </p:nvSpPr>
        <p:spPr>
          <a:xfrm>
            <a:off x="7649707" y="2248601"/>
            <a:ext cx="1019625" cy="460936"/>
          </a:xfrm>
          <a:prstGeom prst="ellipse">
            <a:avLst/>
          </a:prstGeom>
          <a:noFill/>
          <a:ln w="28575" cap="flat" cmpd="sng" algn="ctr">
            <a:solidFill>
              <a:srgbClr val="FFFF00"/>
            </a:solidFill>
            <a:prstDash val="solid"/>
          </a:ln>
          <a:effectLst/>
        </p:spPr>
        <p:txBody>
          <a:bodyPr rtlCol="0" anchor="ctr"/>
          <a:lstStyle/>
          <a:p>
            <a:pPr algn="ctr" defTabSz="1219008" fontAlgn="ctr">
              <a:defRPr/>
            </a:pPr>
            <a:endParaRPr lang="en-US" altLang="zh-CN" sz="1799" kern="0" dirty="0">
              <a:solidFill>
                <a:schemeClr val="bg1"/>
              </a:solidFill>
              <a:latin typeface="Calibri" panose="020F0502020204030204" pitchFamily="34" charset="0"/>
              <a:ea typeface="微软雅黑"/>
            </a:endParaRPr>
          </a:p>
        </p:txBody>
      </p:sp>
      <p:sp>
        <p:nvSpPr>
          <p:cNvPr id="505" name="429713255"/>
          <p:cNvSpPr>
            <a:spLocks noEditPoints="1"/>
          </p:cNvSpPr>
          <p:nvPr/>
        </p:nvSpPr>
        <p:spPr bwMode="auto">
          <a:xfrm>
            <a:off x="7503884" y="5587123"/>
            <a:ext cx="333941" cy="232855"/>
          </a:xfrm>
          <a:custGeom>
            <a:avLst/>
            <a:gdLst/>
            <a:ahLst/>
            <a:cxnLst>
              <a:cxn ang="0">
                <a:pos x="302" y="2"/>
              </a:cxn>
              <a:cxn ang="0">
                <a:pos x="376" y="32"/>
              </a:cxn>
              <a:cxn ang="0">
                <a:pos x="428" y="88"/>
              </a:cxn>
              <a:cxn ang="0">
                <a:pos x="448" y="112"/>
              </a:cxn>
              <a:cxn ang="0">
                <a:pos x="476" y="114"/>
              </a:cxn>
              <a:cxn ang="0">
                <a:pos x="514" y="128"/>
              </a:cxn>
              <a:cxn ang="0">
                <a:pos x="546" y="152"/>
              </a:cxn>
              <a:cxn ang="0">
                <a:pos x="570" y="184"/>
              </a:cxn>
              <a:cxn ang="0">
                <a:pos x="584" y="224"/>
              </a:cxn>
              <a:cxn ang="0">
                <a:pos x="586" y="252"/>
              </a:cxn>
              <a:cxn ang="0">
                <a:pos x="580" y="292"/>
              </a:cxn>
              <a:cxn ang="0">
                <a:pos x="562" y="330"/>
              </a:cxn>
              <a:cxn ang="0">
                <a:pos x="536" y="358"/>
              </a:cxn>
              <a:cxn ang="0">
                <a:pos x="502" y="380"/>
              </a:cxn>
              <a:cxn ang="0">
                <a:pos x="462" y="390"/>
              </a:cxn>
              <a:cxn ang="0">
                <a:pos x="116" y="390"/>
              </a:cxn>
              <a:cxn ang="0">
                <a:pos x="70" y="382"/>
              </a:cxn>
              <a:cxn ang="0">
                <a:pos x="20" y="340"/>
              </a:cxn>
              <a:cxn ang="0">
                <a:pos x="0" y="286"/>
              </a:cxn>
              <a:cxn ang="0">
                <a:pos x="2" y="254"/>
              </a:cxn>
              <a:cxn ang="0">
                <a:pos x="28" y="198"/>
              </a:cxn>
              <a:cxn ang="0">
                <a:pos x="78" y="166"/>
              </a:cxn>
              <a:cxn ang="0">
                <a:pos x="100" y="144"/>
              </a:cxn>
              <a:cxn ang="0">
                <a:pos x="116" y="98"/>
              </a:cxn>
              <a:cxn ang="0">
                <a:pos x="144" y="58"/>
              </a:cxn>
              <a:cxn ang="0">
                <a:pos x="180" y="28"/>
              </a:cxn>
              <a:cxn ang="0">
                <a:pos x="224" y="8"/>
              </a:cxn>
              <a:cxn ang="0">
                <a:pos x="274" y="0"/>
              </a:cxn>
              <a:cxn ang="0">
                <a:pos x="400" y="204"/>
              </a:cxn>
              <a:cxn ang="0">
                <a:pos x="402" y="172"/>
              </a:cxn>
              <a:cxn ang="0">
                <a:pos x="360" y="148"/>
              </a:cxn>
              <a:cxn ang="0">
                <a:pos x="310" y="136"/>
              </a:cxn>
              <a:cxn ang="0">
                <a:pos x="276" y="136"/>
              </a:cxn>
              <a:cxn ang="0">
                <a:pos x="226" y="148"/>
              </a:cxn>
              <a:cxn ang="0">
                <a:pos x="184" y="172"/>
              </a:cxn>
              <a:cxn ang="0">
                <a:pos x="194" y="216"/>
              </a:cxn>
              <a:cxn ang="0">
                <a:pos x="196" y="214"/>
              </a:cxn>
              <a:cxn ang="0">
                <a:pos x="228" y="190"/>
              </a:cxn>
              <a:cxn ang="0">
                <a:pos x="266" y="176"/>
              </a:cxn>
              <a:cxn ang="0">
                <a:pos x="294" y="174"/>
              </a:cxn>
              <a:cxn ang="0">
                <a:pos x="334" y="180"/>
              </a:cxn>
              <a:cxn ang="0">
                <a:pos x="370" y="196"/>
              </a:cxn>
              <a:cxn ang="0">
                <a:pos x="390" y="214"/>
              </a:cxn>
              <a:cxn ang="0">
                <a:pos x="294" y="208"/>
              </a:cxn>
              <a:cxn ang="0">
                <a:pos x="332" y="216"/>
              </a:cxn>
              <a:cxn ang="0">
                <a:pos x="364" y="238"/>
              </a:cxn>
              <a:cxn ang="0">
                <a:pos x="348" y="280"/>
              </a:cxn>
              <a:cxn ang="0">
                <a:pos x="338" y="266"/>
              </a:cxn>
              <a:cxn ang="0">
                <a:pos x="306" y="248"/>
              </a:cxn>
              <a:cxn ang="0">
                <a:pos x="280" y="248"/>
              </a:cxn>
              <a:cxn ang="0">
                <a:pos x="250" y="266"/>
              </a:cxn>
              <a:cxn ang="0">
                <a:pos x="238" y="280"/>
              </a:cxn>
              <a:cxn ang="0">
                <a:pos x="222" y="238"/>
              </a:cxn>
              <a:cxn ang="0">
                <a:pos x="254" y="216"/>
              </a:cxn>
              <a:cxn ang="0">
                <a:pos x="294" y="208"/>
              </a:cxn>
              <a:cxn ang="0">
                <a:pos x="304" y="284"/>
              </a:cxn>
              <a:cxn ang="0">
                <a:pos x="320" y="310"/>
              </a:cxn>
              <a:cxn ang="0">
                <a:pos x="312" y="330"/>
              </a:cxn>
              <a:cxn ang="0">
                <a:pos x="294" y="338"/>
              </a:cxn>
              <a:cxn ang="0">
                <a:pos x="268" y="320"/>
              </a:cxn>
              <a:cxn ang="0">
                <a:pos x="268" y="300"/>
              </a:cxn>
              <a:cxn ang="0">
                <a:pos x="294" y="282"/>
              </a:cxn>
            </a:cxnLst>
            <a:rect l="0" t="0" r="r" b="b"/>
            <a:pathLst>
              <a:path w="586" h="390">
                <a:moveTo>
                  <a:pt x="274" y="0"/>
                </a:moveTo>
                <a:lnTo>
                  <a:pt x="274" y="0"/>
                </a:lnTo>
                <a:lnTo>
                  <a:pt x="302" y="2"/>
                </a:lnTo>
                <a:lnTo>
                  <a:pt x="328" y="8"/>
                </a:lnTo>
                <a:lnTo>
                  <a:pt x="354" y="18"/>
                </a:lnTo>
                <a:lnTo>
                  <a:pt x="376" y="32"/>
                </a:lnTo>
                <a:lnTo>
                  <a:pt x="396" y="48"/>
                </a:lnTo>
                <a:lnTo>
                  <a:pt x="414" y="66"/>
                </a:lnTo>
                <a:lnTo>
                  <a:pt x="428" y="88"/>
                </a:lnTo>
                <a:lnTo>
                  <a:pt x="440" y="112"/>
                </a:lnTo>
                <a:lnTo>
                  <a:pt x="440" y="112"/>
                </a:lnTo>
                <a:lnTo>
                  <a:pt x="448" y="112"/>
                </a:lnTo>
                <a:lnTo>
                  <a:pt x="448" y="112"/>
                </a:lnTo>
                <a:lnTo>
                  <a:pt x="462" y="112"/>
                </a:lnTo>
                <a:lnTo>
                  <a:pt x="476" y="114"/>
                </a:lnTo>
                <a:lnTo>
                  <a:pt x="488" y="118"/>
                </a:lnTo>
                <a:lnTo>
                  <a:pt x="502" y="122"/>
                </a:lnTo>
                <a:lnTo>
                  <a:pt x="514" y="128"/>
                </a:lnTo>
                <a:lnTo>
                  <a:pt x="526" y="136"/>
                </a:lnTo>
                <a:lnTo>
                  <a:pt x="536" y="144"/>
                </a:lnTo>
                <a:lnTo>
                  <a:pt x="546" y="152"/>
                </a:lnTo>
                <a:lnTo>
                  <a:pt x="554" y="162"/>
                </a:lnTo>
                <a:lnTo>
                  <a:pt x="562" y="174"/>
                </a:lnTo>
                <a:lnTo>
                  <a:pt x="570" y="184"/>
                </a:lnTo>
                <a:lnTo>
                  <a:pt x="576" y="196"/>
                </a:lnTo>
                <a:lnTo>
                  <a:pt x="580" y="210"/>
                </a:lnTo>
                <a:lnTo>
                  <a:pt x="584" y="224"/>
                </a:lnTo>
                <a:lnTo>
                  <a:pt x="586" y="236"/>
                </a:lnTo>
                <a:lnTo>
                  <a:pt x="586" y="252"/>
                </a:lnTo>
                <a:lnTo>
                  <a:pt x="586" y="252"/>
                </a:lnTo>
                <a:lnTo>
                  <a:pt x="586" y="266"/>
                </a:lnTo>
                <a:lnTo>
                  <a:pt x="584" y="280"/>
                </a:lnTo>
                <a:lnTo>
                  <a:pt x="580" y="292"/>
                </a:lnTo>
                <a:lnTo>
                  <a:pt x="576" y="306"/>
                </a:lnTo>
                <a:lnTo>
                  <a:pt x="570" y="318"/>
                </a:lnTo>
                <a:lnTo>
                  <a:pt x="562" y="330"/>
                </a:lnTo>
                <a:lnTo>
                  <a:pt x="554" y="340"/>
                </a:lnTo>
                <a:lnTo>
                  <a:pt x="546" y="350"/>
                </a:lnTo>
                <a:lnTo>
                  <a:pt x="536" y="358"/>
                </a:lnTo>
                <a:lnTo>
                  <a:pt x="526" y="366"/>
                </a:lnTo>
                <a:lnTo>
                  <a:pt x="514" y="374"/>
                </a:lnTo>
                <a:lnTo>
                  <a:pt x="502" y="380"/>
                </a:lnTo>
                <a:lnTo>
                  <a:pt x="488" y="384"/>
                </a:lnTo>
                <a:lnTo>
                  <a:pt x="476" y="388"/>
                </a:lnTo>
                <a:lnTo>
                  <a:pt x="462" y="390"/>
                </a:lnTo>
                <a:lnTo>
                  <a:pt x="448" y="390"/>
                </a:lnTo>
                <a:lnTo>
                  <a:pt x="116" y="390"/>
                </a:lnTo>
                <a:lnTo>
                  <a:pt x="116" y="390"/>
                </a:lnTo>
                <a:lnTo>
                  <a:pt x="104" y="390"/>
                </a:lnTo>
                <a:lnTo>
                  <a:pt x="92" y="388"/>
                </a:lnTo>
                <a:lnTo>
                  <a:pt x="70" y="382"/>
                </a:lnTo>
                <a:lnTo>
                  <a:pt x="52" y="370"/>
                </a:lnTo>
                <a:lnTo>
                  <a:pt x="34" y="356"/>
                </a:lnTo>
                <a:lnTo>
                  <a:pt x="20" y="340"/>
                </a:lnTo>
                <a:lnTo>
                  <a:pt x="10" y="320"/>
                </a:lnTo>
                <a:lnTo>
                  <a:pt x="2" y="298"/>
                </a:lnTo>
                <a:lnTo>
                  <a:pt x="0" y="286"/>
                </a:lnTo>
                <a:lnTo>
                  <a:pt x="0" y="274"/>
                </a:lnTo>
                <a:lnTo>
                  <a:pt x="0" y="274"/>
                </a:lnTo>
                <a:lnTo>
                  <a:pt x="2" y="254"/>
                </a:lnTo>
                <a:lnTo>
                  <a:pt x="8" y="234"/>
                </a:lnTo>
                <a:lnTo>
                  <a:pt x="16" y="216"/>
                </a:lnTo>
                <a:lnTo>
                  <a:pt x="28" y="198"/>
                </a:lnTo>
                <a:lnTo>
                  <a:pt x="42" y="184"/>
                </a:lnTo>
                <a:lnTo>
                  <a:pt x="58" y="174"/>
                </a:lnTo>
                <a:lnTo>
                  <a:pt x="78" y="166"/>
                </a:lnTo>
                <a:lnTo>
                  <a:pt x="98" y="160"/>
                </a:lnTo>
                <a:lnTo>
                  <a:pt x="98" y="160"/>
                </a:lnTo>
                <a:lnTo>
                  <a:pt x="100" y="144"/>
                </a:lnTo>
                <a:lnTo>
                  <a:pt x="104" y="128"/>
                </a:lnTo>
                <a:lnTo>
                  <a:pt x="110" y="112"/>
                </a:lnTo>
                <a:lnTo>
                  <a:pt x="116" y="98"/>
                </a:lnTo>
                <a:lnTo>
                  <a:pt x="124" y="84"/>
                </a:lnTo>
                <a:lnTo>
                  <a:pt x="134" y="70"/>
                </a:lnTo>
                <a:lnTo>
                  <a:pt x="144" y="58"/>
                </a:lnTo>
                <a:lnTo>
                  <a:pt x="154" y="46"/>
                </a:lnTo>
                <a:lnTo>
                  <a:pt x="168" y="36"/>
                </a:lnTo>
                <a:lnTo>
                  <a:pt x="180" y="28"/>
                </a:lnTo>
                <a:lnTo>
                  <a:pt x="194" y="20"/>
                </a:lnTo>
                <a:lnTo>
                  <a:pt x="210" y="12"/>
                </a:lnTo>
                <a:lnTo>
                  <a:pt x="224" y="8"/>
                </a:lnTo>
                <a:lnTo>
                  <a:pt x="242" y="4"/>
                </a:lnTo>
                <a:lnTo>
                  <a:pt x="258" y="2"/>
                </a:lnTo>
                <a:lnTo>
                  <a:pt x="274" y="0"/>
                </a:lnTo>
                <a:lnTo>
                  <a:pt x="274" y="0"/>
                </a:lnTo>
                <a:close/>
                <a:moveTo>
                  <a:pt x="392" y="216"/>
                </a:moveTo>
                <a:lnTo>
                  <a:pt x="400" y="204"/>
                </a:lnTo>
                <a:lnTo>
                  <a:pt x="414" y="184"/>
                </a:lnTo>
                <a:lnTo>
                  <a:pt x="414" y="184"/>
                </a:lnTo>
                <a:lnTo>
                  <a:pt x="402" y="172"/>
                </a:lnTo>
                <a:lnTo>
                  <a:pt x="388" y="162"/>
                </a:lnTo>
                <a:lnTo>
                  <a:pt x="374" y="154"/>
                </a:lnTo>
                <a:lnTo>
                  <a:pt x="360" y="148"/>
                </a:lnTo>
                <a:lnTo>
                  <a:pt x="344" y="142"/>
                </a:lnTo>
                <a:lnTo>
                  <a:pt x="328" y="138"/>
                </a:lnTo>
                <a:lnTo>
                  <a:pt x="310" y="136"/>
                </a:lnTo>
                <a:lnTo>
                  <a:pt x="294" y="134"/>
                </a:lnTo>
                <a:lnTo>
                  <a:pt x="294" y="134"/>
                </a:lnTo>
                <a:lnTo>
                  <a:pt x="276" y="136"/>
                </a:lnTo>
                <a:lnTo>
                  <a:pt x="258" y="138"/>
                </a:lnTo>
                <a:lnTo>
                  <a:pt x="242" y="142"/>
                </a:lnTo>
                <a:lnTo>
                  <a:pt x="226" y="148"/>
                </a:lnTo>
                <a:lnTo>
                  <a:pt x="212" y="154"/>
                </a:lnTo>
                <a:lnTo>
                  <a:pt x="198" y="162"/>
                </a:lnTo>
                <a:lnTo>
                  <a:pt x="184" y="172"/>
                </a:lnTo>
                <a:lnTo>
                  <a:pt x="172" y="184"/>
                </a:lnTo>
                <a:lnTo>
                  <a:pt x="186" y="204"/>
                </a:lnTo>
                <a:lnTo>
                  <a:pt x="194" y="216"/>
                </a:lnTo>
                <a:lnTo>
                  <a:pt x="194" y="216"/>
                </a:lnTo>
                <a:lnTo>
                  <a:pt x="196" y="214"/>
                </a:lnTo>
                <a:lnTo>
                  <a:pt x="196" y="214"/>
                </a:lnTo>
                <a:lnTo>
                  <a:pt x="206" y="204"/>
                </a:lnTo>
                <a:lnTo>
                  <a:pt x="216" y="196"/>
                </a:lnTo>
                <a:lnTo>
                  <a:pt x="228" y="190"/>
                </a:lnTo>
                <a:lnTo>
                  <a:pt x="240" y="184"/>
                </a:lnTo>
                <a:lnTo>
                  <a:pt x="252" y="180"/>
                </a:lnTo>
                <a:lnTo>
                  <a:pt x="266" y="176"/>
                </a:lnTo>
                <a:lnTo>
                  <a:pt x="280" y="174"/>
                </a:lnTo>
                <a:lnTo>
                  <a:pt x="294" y="174"/>
                </a:lnTo>
                <a:lnTo>
                  <a:pt x="294" y="174"/>
                </a:lnTo>
                <a:lnTo>
                  <a:pt x="308" y="174"/>
                </a:lnTo>
                <a:lnTo>
                  <a:pt x="320" y="176"/>
                </a:lnTo>
                <a:lnTo>
                  <a:pt x="334" y="180"/>
                </a:lnTo>
                <a:lnTo>
                  <a:pt x="346" y="184"/>
                </a:lnTo>
                <a:lnTo>
                  <a:pt x="358" y="190"/>
                </a:lnTo>
                <a:lnTo>
                  <a:pt x="370" y="196"/>
                </a:lnTo>
                <a:lnTo>
                  <a:pt x="380" y="204"/>
                </a:lnTo>
                <a:lnTo>
                  <a:pt x="390" y="214"/>
                </a:lnTo>
                <a:lnTo>
                  <a:pt x="390" y="214"/>
                </a:lnTo>
                <a:lnTo>
                  <a:pt x="392" y="216"/>
                </a:lnTo>
                <a:lnTo>
                  <a:pt x="392" y="216"/>
                </a:lnTo>
                <a:close/>
                <a:moveTo>
                  <a:pt x="294" y="208"/>
                </a:moveTo>
                <a:lnTo>
                  <a:pt x="294" y="208"/>
                </a:lnTo>
                <a:lnTo>
                  <a:pt x="314" y="210"/>
                </a:lnTo>
                <a:lnTo>
                  <a:pt x="332" y="216"/>
                </a:lnTo>
                <a:lnTo>
                  <a:pt x="350" y="226"/>
                </a:lnTo>
                <a:lnTo>
                  <a:pt x="364" y="238"/>
                </a:lnTo>
                <a:lnTo>
                  <a:pt x="364" y="238"/>
                </a:lnTo>
                <a:lnTo>
                  <a:pt x="372" y="246"/>
                </a:lnTo>
                <a:lnTo>
                  <a:pt x="348" y="280"/>
                </a:lnTo>
                <a:lnTo>
                  <a:pt x="348" y="280"/>
                </a:lnTo>
                <a:lnTo>
                  <a:pt x="344" y="272"/>
                </a:lnTo>
                <a:lnTo>
                  <a:pt x="338" y="266"/>
                </a:lnTo>
                <a:lnTo>
                  <a:pt x="338" y="266"/>
                </a:lnTo>
                <a:lnTo>
                  <a:pt x="328" y="258"/>
                </a:lnTo>
                <a:lnTo>
                  <a:pt x="318" y="252"/>
                </a:lnTo>
                <a:lnTo>
                  <a:pt x="306" y="248"/>
                </a:lnTo>
                <a:lnTo>
                  <a:pt x="294" y="248"/>
                </a:lnTo>
                <a:lnTo>
                  <a:pt x="294" y="248"/>
                </a:lnTo>
                <a:lnTo>
                  <a:pt x="280" y="248"/>
                </a:lnTo>
                <a:lnTo>
                  <a:pt x="270" y="252"/>
                </a:lnTo>
                <a:lnTo>
                  <a:pt x="258" y="258"/>
                </a:lnTo>
                <a:lnTo>
                  <a:pt x="250" y="266"/>
                </a:lnTo>
                <a:lnTo>
                  <a:pt x="250" y="266"/>
                </a:lnTo>
                <a:lnTo>
                  <a:pt x="244" y="272"/>
                </a:lnTo>
                <a:lnTo>
                  <a:pt x="238" y="280"/>
                </a:lnTo>
                <a:lnTo>
                  <a:pt x="216" y="246"/>
                </a:lnTo>
                <a:lnTo>
                  <a:pt x="216" y="246"/>
                </a:lnTo>
                <a:lnTo>
                  <a:pt x="222" y="238"/>
                </a:lnTo>
                <a:lnTo>
                  <a:pt x="222" y="238"/>
                </a:lnTo>
                <a:lnTo>
                  <a:pt x="236" y="226"/>
                </a:lnTo>
                <a:lnTo>
                  <a:pt x="254" y="216"/>
                </a:lnTo>
                <a:lnTo>
                  <a:pt x="272" y="210"/>
                </a:lnTo>
                <a:lnTo>
                  <a:pt x="294" y="208"/>
                </a:lnTo>
                <a:lnTo>
                  <a:pt x="294" y="208"/>
                </a:lnTo>
                <a:close/>
                <a:moveTo>
                  <a:pt x="294" y="282"/>
                </a:moveTo>
                <a:lnTo>
                  <a:pt x="294" y="282"/>
                </a:lnTo>
                <a:lnTo>
                  <a:pt x="304" y="284"/>
                </a:lnTo>
                <a:lnTo>
                  <a:pt x="312" y="290"/>
                </a:lnTo>
                <a:lnTo>
                  <a:pt x="318" y="300"/>
                </a:lnTo>
                <a:lnTo>
                  <a:pt x="320" y="310"/>
                </a:lnTo>
                <a:lnTo>
                  <a:pt x="320" y="310"/>
                </a:lnTo>
                <a:lnTo>
                  <a:pt x="318" y="320"/>
                </a:lnTo>
                <a:lnTo>
                  <a:pt x="312" y="330"/>
                </a:lnTo>
                <a:lnTo>
                  <a:pt x="304" y="336"/>
                </a:lnTo>
                <a:lnTo>
                  <a:pt x="294" y="338"/>
                </a:lnTo>
                <a:lnTo>
                  <a:pt x="294" y="338"/>
                </a:lnTo>
                <a:lnTo>
                  <a:pt x="282" y="336"/>
                </a:lnTo>
                <a:lnTo>
                  <a:pt x="274" y="330"/>
                </a:lnTo>
                <a:lnTo>
                  <a:pt x="268" y="320"/>
                </a:lnTo>
                <a:lnTo>
                  <a:pt x="266" y="310"/>
                </a:lnTo>
                <a:lnTo>
                  <a:pt x="266" y="310"/>
                </a:lnTo>
                <a:lnTo>
                  <a:pt x="268" y="300"/>
                </a:lnTo>
                <a:lnTo>
                  <a:pt x="274" y="290"/>
                </a:lnTo>
                <a:lnTo>
                  <a:pt x="282" y="284"/>
                </a:lnTo>
                <a:lnTo>
                  <a:pt x="294" y="282"/>
                </a:lnTo>
                <a:lnTo>
                  <a:pt x="294" y="282"/>
                </a:lnTo>
                <a:close/>
              </a:path>
            </a:pathLst>
          </a:custGeom>
          <a:noFill/>
          <a:ln w="9525">
            <a:solidFill>
              <a:srgbClr val="00B0F0"/>
            </a:solidFill>
            <a:round/>
            <a:headEnd/>
            <a:tailEnd/>
          </a:ln>
        </p:spPr>
        <p:txBody>
          <a:bodyPr vert="horz" wrap="square" lIns="91416" tIns="45708" rIns="91416" bIns="45708" numCol="1" anchor="t" anchorCtr="0" compatLnSpc="1">
            <a:prstTxWarp prst="textNoShape">
              <a:avLst/>
            </a:prstTxWarp>
          </a:bodyPr>
          <a:lstStyle/>
          <a:p>
            <a:pPr defTabSz="1219008" fontAlgn="ctr">
              <a:defRPr/>
            </a:pPr>
            <a:endParaRPr lang="en-US" altLang="zh-CN" sz="1799" kern="0" dirty="0">
              <a:solidFill>
                <a:schemeClr val="bg1"/>
              </a:solidFill>
              <a:cs typeface="Arial" pitchFamily="34" charset="0"/>
            </a:endParaRPr>
          </a:p>
        </p:txBody>
      </p:sp>
      <p:sp>
        <p:nvSpPr>
          <p:cNvPr id="506" name="1832270926"/>
          <p:cNvSpPr>
            <a:spLocks noEditPoints="1"/>
          </p:cNvSpPr>
          <p:nvPr/>
        </p:nvSpPr>
        <p:spPr bwMode="auto">
          <a:xfrm>
            <a:off x="7358724" y="5510311"/>
            <a:ext cx="629686" cy="502723"/>
          </a:xfrm>
          <a:custGeom>
            <a:avLst/>
            <a:gdLst/>
            <a:ahLst/>
            <a:cxnLst>
              <a:cxn ang="0">
                <a:pos x="3845" y="13163"/>
              </a:cxn>
              <a:cxn ang="0">
                <a:pos x="7457" y="13163"/>
              </a:cxn>
              <a:cxn ang="0">
                <a:pos x="7457" y="11165"/>
              </a:cxn>
              <a:cxn ang="0">
                <a:pos x="0" y="11165"/>
              </a:cxn>
              <a:cxn ang="0">
                <a:pos x="0" y="0"/>
              </a:cxn>
              <a:cxn ang="0">
                <a:pos x="16812" y="0"/>
              </a:cxn>
              <a:cxn ang="0">
                <a:pos x="16812" y="11165"/>
              </a:cxn>
              <a:cxn ang="0">
                <a:pos x="10277" y="11165"/>
              </a:cxn>
              <a:cxn ang="0">
                <a:pos x="10277" y="13163"/>
              </a:cxn>
              <a:cxn ang="0">
                <a:pos x="13890" y="13163"/>
              </a:cxn>
              <a:cxn ang="0">
                <a:pos x="13890" y="13572"/>
              </a:cxn>
              <a:cxn ang="0">
                <a:pos x="3845" y="13572"/>
              </a:cxn>
              <a:cxn ang="0">
                <a:pos x="3845" y="13163"/>
              </a:cxn>
              <a:cxn ang="0">
                <a:pos x="829" y="863"/>
              </a:cxn>
              <a:cxn ang="0">
                <a:pos x="15983" y="863"/>
              </a:cxn>
              <a:cxn ang="0">
                <a:pos x="15983" y="10067"/>
              </a:cxn>
              <a:cxn ang="0">
                <a:pos x="829" y="10067"/>
              </a:cxn>
              <a:cxn ang="0">
                <a:pos x="829" y="863"/>
              </a:cxn>
            </a:cxnLst>
            <a:rect l="0" t="0" r="r" b="b"/>
            <a:pathLst>
              <a:path w="16812" h="13572">
                <a:moveTo>
                  <a:pt x="3845" y="13163"/>
                </a:moveTo>
                <a:lnTo>
                  <a:pt x="7457" y="13163"/>
                </a:lnTo>
                <a:lnTo>
                  <a:pt x="7457" y="11165"/>
                </a:lnTo>
                <a:lnTo>
                  <a:pt x="0" y="11165"/>
                </a:lnTo>
                <a:lnTo>
                  <a:pt x="0" y="0"/>
                </a:lnTo>
                <a:lnTo>
                  <a:pt x="16812" y="0"/>
                </a:lnTo>
                <a:lnTo>
                  <a:pt x="16812" y="11165"/>
                </a:lnTo>
                <a:lnTo>
                  <a:pt x="10277" y="11165"/>
                </a:lnTo>
                <a:lnTo>
                  <a:pt x="10277" y="13163"/>
                </a:lnTo>
                <a:lnTo>
                  <a:pt x="13890" y="13163"/>
                </a:lnTo>
                <a:lnTo>
                  <a:pt x="13890" y="13572"/>
                </a:lnTo>
                <a:lnTo>
                  <a:pt x="3845" y="13572"/>
                </a:lnTo>
                <a:lnTo>
                  <a:pt x="3845" y="13163"/>
                </a:lnTo>
                <a:close/>
                <a:moveTo>
                  <a:pt x="829" y="863"/>
                </a:moveTo>
                <a:lnTo>
                  <a:pt x="15983" y="863"/>
                </a:lnTo>
                <a:lnTo>
                  <a:pt x="15983" y="10067"/>
                </a:lnTo>
                <a:lnTo>
                  <a:pt x="829" y="10067"/>
                </a:lnTo>
                <a:lnTo>
                  <a:pt x="829" y="863"/>
                </a:lnTo>
                <a:close/>
              </a:path>
            </a:pathLst>
          </a:custGeom>
          <a:noFill/>
          <a:ln w="9525">
            <a:solidFill>
              <a:srgbClr val="00B0F0"/>
            </a:solidFill>
            <a:round/>
            <a:headEnd/>
            <a:tailEnd/>
          </a:ln>
        </p:spPr>
        <p:txBody>
          <a:bodyPr vert="horz" wrap="square" lIns="91416" tIns="45708" rIns="91416" bIns="45708" numCol="1" anchor="t" anchorCtr="0" compatLnSpc="1">
            <a:prstTxWarp prst="textNoShape">
              <a:avLst/>
            </a:prstTxWarp>
          </a:bodyPr>
          <a:lstStyle/>
          <a:p>
            <a:pPr defTabSz="1219008" fontAlgn="ctr">
              <a:defRPr/>
            </a:pPr>
            <a:endParaRPr lang="en-US" altLang="zh-CN" sz="1799" kern="0" dirty="0">
              <a:solidFill>
                <a:schemeClr val="bg1"/>
              </a:solidFill>
              <a:cs typeface="Arial" pitchFamily="34" charset="0"/>
            </a:endParaRPr>
          </a:p>
        </p:txBody>
      </p:sp>
      <p:sp>
        <p:nvSpPr>
          <p:cNvPr id="531" name="425064963"/>
          <p:cNvSpPr>
            <a:spLocks noChangeAspect="1" noEditPoints="1"/>
          </p:cNvSpPr>
          <p:nvPr/>
        </p:nvSpPr>
        <p:spPr bwMode="auto">
          <a:xfrm>
            <a:off x="6200237" y="2962378"/>
            <a:ext cx="529324" cy="471302"/>
          </a:xfrm>
          <a:custGeom>
            <a:avLst/>
            <a:gdLst/>
            <a:ahLst/>
            <a:cxnLst>
              <a:cxn ang="0">
                <a:pos x="302" y="2"/>
              </a:cxn>
              <a:cxn ang="0">
                <a:pos x="376" y="32"/>
              </a:cxn>
              <a:cxn ang="0">
                <a:pos x="428" y="88"/>
              </a:cxn>
              <a:cxn ang="0">
                <a:pos x="448" y="112"/>
              </a:cxn>
              <a:cxn ang="0">
                <a:pos x="476" y="114"/>
              </a:cxn>
              <a:cxn ang="0">
                <a:pos x="514" y="128"/>
              </a:cxn>
              <a:cxn ang="0">
                <a:pos x="546" y="152"/>
              </a:cxn>
              <a:cxn ang="0">
                <a:pos x="570" y="186"/>
              </a:cxn>
              <a:cxn ang="0">
                <a:pos x="584" y="224"/>
              </a:cxn>
              <a:cxn ang="0">
                <a:pos x="586" y="252"/>
              </a:cxn>
              <a:cxn ang="0">
                <a:pos x="580" y="294"/>
              </a:cxn>
              <a:cxn ang="0">
                <a:pos x="562" y="330"/>
              </a:cxn>
              <a:cxn ang="0">
                <a:pos x="536" y="360"/>
              </a:cxn>
              <a:cxn ang="0">
                <a:pos x="502" y="380"/>
              </a:cxn>
              <a:cxn ang="0">
                <a:pos x="462" y="390"/>
              </a:cxn>
              <a:cxn ang="0">
                <a:pos x="442" y="158"/>
              </a:cxn>
              <a:cxn ang="0">
                <a:pos x="116" y="392"/>
              </a:cxn>
              <a:cxn ang="0">
                <a:pos x="92" y="388"/>
              </a:cxn>
              <a:cxn ang="0">
                <a:pos x="34" y="358"/>
              </a:cxn>
              <a:cxn ang="0">
                <a:pos x="2" y="298"/>
              </a:cxn>
              <a:cxn ang="0">
                <a:pos x="0" y="274"/>
              </a:cxn>
              <a:cxn ang="0">
                <a:pos x="16" y="216"/>
              </a:cxn>
              <a:cxn ang="0">
                <a:pos x="58" y="174"/>
              </a:cxn>
              <a:cxn ang="0">
                <a:pos x="98" y="160"/>
              </a:cxn>
              <a:cxn ang="0">
                <a:pos x="110" y="112"/>
              </a:cxn>
              <a:cxn ang="0">
                <a:pos x="134" y="70"/>
              </a:cxn>
              <a:cxn ang="0">
                <a:pos x="168" y="36"/>
              </a:cxn>
              <a:cxn ang="0">
                <a:pos x="210" y="14"/>
              </a:cxn>
              <a:cxn ang="0">
                <a:pos x="258" y="2"/>
              </a:cxn>
              <a:cxn ang="0">
                <a:pos x="180" y="262"/>
              </a:cxn>
              <a:cxn ang="0">
                <a:pos x="180" y="284"/>
              </a:cxn>
              <a:cxn ang="0">
                <a:pos x="180" y="226"/>
              </a:cxn>
              <a:cxn ang="0">
                <a:pos x="180" y="248"/>
              </a:cxn>
              <a:cxn ang="0">
                <a:pos x="180" y="190"/>
              </a:cxn>
              <a:cxn ang="0">
                <a:pos x="180" y="210"/>
              </a:cxn>
              <a:cxn ang="0">
                <a:pos x="160" y="172"/>
              </a:cxn>
              <a:cxn ang="0">
                <a:pos x="160" y="424"/>
              </a:cxn>
              <a:cxn ang="0">
                <a:pos x="448" y="488"/>
              </a:cxn>
              <a:cxn ang="0">
                <a:pos x="448" y="470"/>
              </a:cxn>
              <a:cxn ang="0">
                <a:pos x="194" y="488"/>
              </a:cxn>
              <a:cxn ang="0">
                <a:pos x="194" y="470"/>
              </a:cxn>
              <a:cxn ang="0">
                <a:pos x="336" y="488"/>
              </a:cxn>
              <a:cxn ang="0">
                <a:pos x="336" y="470"/>
              </a:cxn>
              <a:cxn ang="0">
                <a:pos x="374" y="462"/>
              </a:cxn>
              <a:cxn ang="0">
                <a:pos x="342" y="498"/>
              </a:cxn>
              <a:cxn ang="0">
                <a:pos x="354" y="434"/>
              </a:cxn>
              <a:cxn ang="0">
                <a:pos x="374" y="462"/>
              </a:cxn>
              <a:cxn ang="0">
                <a:pos x="244" y="498"/>
              </a:cxn>
              <a:cxn ang="0">
                <a:pos x="214" y="462"/>
              </a:cxn>
              <a:cxn ang="0">
                <a:pos x="232" y="462"/>
              </a:cxn>
              <a:cxn ang="0">
                <a:pos x="408" y="262"/>
              </a:cxn>
              <a:cxn ang="0">
                <a:pos x="320" y="262"/>
              </a:cxn>
              <a:cxn ang="0">
                <a:pos x="408" y="226"/>
              </a:cxn>
              <a:cxn ang="0">
                <a:pos x="320" y="226"/>
              </a:cxn>
              <a:cxn ang="0">
                <a:pos x="408" y="190"/>
              </a:cxn>
              <a:cxn ang="0">
                <a:pos x="320" y="190"/>
              </a:cxn>
              <a:cxn ang="0">
                <a:pos x="426" y="172"/>
              </a:cxn>
              <a:cxn ang="0">
                <a:pos x="302" y="172"/>
              </a:cxn>
            </a:cxnLst>
            <a:rect l="0" t="0" r="r" b="b"/>
            <a:pathLst>
              <a:path w="586" h="498">
                <a:moveTo>
                  <a:pt x="274" y="0"/>
                </a:moveTo>
                <a:lnTo>
                  <a:pt x="274" y="0"/>
                </a:lnTo>
                <a:lnTo>
                  <a:pt x="302" y="2"/>
                </a:lnTo>
                <a:lnTo>
                  <a:pt x="328" y="10"/>
                </a:lnTo>
                <a:lnTo>
                  <a:pt x="354" y="18"/>
                </a:lnTo>
                <a:lnTo>
                  <a:pt x="376" y="32"/>
                </a:lnTo>
                <a:lnTo>
                  <a:pt x="396" y="48"/>
                </a:lnTo>
                <a:lnTo>
                  <a:pt x="414" y="68"/>
                </a:lnTo>
                <a:lnTo>
                  <a:pt x="428" y="88"/>
                </a:lnTo>
                <a:lnTo>
                  <a:pt x="440" y="112"/>
                </a:lnTo>
                <a:lnTo>
                  <a:pt x="440" y="112"/>
                </a:lnTo>
                <a:lnTo>
                  <a:pt x="448" y="112"/>
                </a:lnTo>
                <a:lnTo>
                  <a:pt x="448" y="112"/>
                </a:lnTo>
                <a:lnTo>
                  <a:pt x="462" y="112"/>
                </a:lnTo>
                <a:lnTo>
                  <a:pt x="476" y="114"/>
                </a:lnTo>
                <a:lnTo>
                  <a:pt x="488" y="118"/>
                </a:lnTo>
                <a:lnTo>
                  <a:pt x="502" y="124"/>
                </a:lnTo>
                <a:lnTo>
                  <a:pt x="514" y="128"/>
                </a:lnTo>
                <a:lnTo>
                  <a:pt x="526" y="136"/>
                </a:lnTo>
                <a:lnTo>
                  <a:pt x="536" y="144"/>
                </a:lnTo>
                <a:lnTo>
                  <a:pt x="546" y="152"/>
                </a:lnTo>
                <a:lnTo>
                  <a:pt x="554" y="162"/>
                </a:lnTo>
                <a:lnTo>
                  <a:pt x="562" y="174"/>
                </a:lnTo>
                <a:lnTo>
                  <a:pt x="570" y="186"/>
                </a:lnTo>
                <a:lnTo>
                  <a:pt x="576" y="198"/>
                </a:lnTo>
                <a:lnTo>
                  <a:pt x="580" y="210"/>
                </a:lnTo>
                <a:lnTo>
                  <a:pt x="584" y="224"/>
                </a:lnTo>
                <a:lnTo>
                  <a:pt x="586" y="238"/>
                </a:lnTo>
                <a:lnTo>
                  <a:pt x="586" y="252"/>
                </a:lnTo>
                <a:lnTo>
                  <a:pt x="586" y="252"/>
                </a:lnTo>
                <a:lnTo>
                  <a:pt x="586" y="266"/>
                </a:lnTo>
                <a:lnTo>
                  <a:pt x="584" y="280"/>
                </a:lnTo>
                <a:lnTo>
                  <a:pt x="580" y="294"/>
                </a:lnTo>
                <a:lnTo>
                  <a:pt x="576" y="306"/>
                </a:lnTo>
                <a:lnTo>
                  <a:pt x="570" y="318"/>
                </a:lnTo>
                <a:lnTo>
                  <a:pt x="562" y="330"/>
                </a:lnTo>
                <a:lnTo>
                  <a:pt x="554" y="340"/>
                </a:lnTo>
                <a:lnTo>
                  <a:pt x="546" y="350"/>
                </a:lnTo>
                <a:lnTo>
                  <a:pt x="536" y="360"/>
                </a:lnTo>
                <a:lnTo>
                  <a:pt x="526" y="368"/>
                </a:lnTo>
                <a:lnTo>
                  <a:pt x="514" y="374"/>
                </a:lnTo>
                <a:lnTo>
                  <a:pt x="502" y="380"/>
                </a:lnTo>
                <a:lnTo>
                  <a:pt x="488" y="384"/>
                </a:lnTo>
                <a:lnTo>
                  <a:pt x="476" y="388"/>
                </a:lnTo>
                <a:lnTo>
                  <a:pt x="462" y="390"/>
                </a:lnTo>
                <a:lnTo>
                  <a:pt x="448" y="392"/>
                </a:lnTo>
                <a:lnTo>
                  <a:pt x="442" y="392"/>
                </a:lnTo>
                <a:lnTo>
                  <a:pt x="442" y="158"/>
                </a:lnTo>
                <a:lnTo>
                  <a:pt x="146" y="158"/>
                </a:lnTo>
                <a:lnTo>
                  <a:pt x="146" y="392"/>
                </a:lnTo>
                <a:lnTo>
                  <a:pt x="116" y="392"/>
                </a:lnTo>
                <a:lnTo>
                  <a:pt x="116" y="392"/>
                </a:lnTo>
                <a:lnTo>
                  <a:pt x="104" y="390"/>
                </a:lnTo>
                <a:lnTo>
                  <a:pt x="92" y="388"/>
                </a:lnTo>
                <a:lnTo>
                  <a:pt x="70" y="382"/>
                </a:lnTo>
                <a:lnTo>
                  <a:pt x="52" y="372"/>
                </a:lnTo>
                <a:lnTo>
                  <a:pt x="34" y="358"/>
                </a:lnTo>
                <a:lnTo>
                  <a:pt x="20" y="340"/>
                </a:lnTo>
                <a:lnTo>
                  <a:pt x="10" y="320"/>
                </a:lnTo>
                <a:lnTo>
                  <a:pt x="2" y="298"/>
                </a:lnTo>
                <a:lnTo>
                  <a:pt x="0" y="286"/>
                </a:lnTo>
                <a:lnTo>
                  <a:pt x="0" y="274"/>
                </a:lnTo>
                <a:lnTo>
                  <a:pt x="0" y="274"/>
                </a:lnTo>
                <a:lnTo>
                  <a:pt x="2" y="254"/>
                </a:lnTo>
                <a:lnTo>
                  <a:pt x="8" y="234"/>
                </a:lnTo>
                <a:lnTo>
                  <a:pt x="16" y="216"/>
                </a:lnTo>
                <a:lnTo>
                  <a:pt x="28" y="200"/>
                </a:lnTo>
                <a:lnTo>
                  <a:pt x="42" y="186"/>
                </a:lnTo>
                <a:lnTo>
                  <a:pt x="58" y="174"/>
                </a:lnTo>
                <a:lnTo>
                  <a:pt x="78" y="166"/>
                </a:lnTo>
                <a:lnTo>
                  <a:pt x="98" y="160"/>
                </a:lnTo>
                <a:lnTo>
                  <a:pt x="98" y="160"/>
                </a:lnTo>
                <a:lnTo>
                  <a:pt x="100" y="144"/>
                </a:lnTo>
                <a:lnTo>
                  <a:pt x="104" y="128"/>
                </a:lnTo>
                <a:lnTo>
                  <a:pt x="110" y="112"/>
                </a:lnTo>
                <a:lnTo>
                  <a:pt x="116" y="98"/>
                </a:lnTo>
                <a:lnTo>
                  <a:pt x="124" y="84"/>
                </a:lnTo>
                <a:lnTo>
                  <a:pt x="134" y="70"/>
                </a:lnTo>
                <a:lnTo>
                  <a:pt x="144" y="58"/>
                </a:lnTo>
                <a:lnTo>
                  <a:pt x="154" y="46"/>
                </a:lnTo>
                <a:lnTo>
                  <a:pt x="168" y="36"/>
                </a:lnTo>
                <a:lnTo>
                  <a:pt x="180" y="28"/>
                </a:lnTo>
                <a:lnTo>
                  <a:pt x="194" y="20"/>
                </a:lnTo>
                <a:lnTo>
                  <a:pt x="210" y="14"/>
                </a:lnTo>
                <a:lnTo>
                  <a:pt x="224" y="8"/>
                </a:lnTo>
                <a:lnTo>
                  <a:pt x="242" y="4"/>
                </a:lnTo>
                <a:lnTo>
                  <a:pt x="258" y="2"/>
                </a:lnTo>
                <a:lnTo>
                  <a:pt x="274" y="0"/>
                </a:lnTo>
                <a:lnTo>
                  <a:pt x="274" y="0"/>
                </a:lnTo>
                <a:close/>
                <a:moveTo>
                  <a:pt x="180" y="262"/>
                </a:moveTo>
                <a:lnTo>
                  <a:pt x="266" y="262"/>
                </a:lnTo>
                <a:lnTo>
                  <a:pt x="266" y="284"/>
                </a:lnTo>
                <a:lnTo>
                  <a:pt x="180" y="284"/>
                </a:lnTo>
                <a:lnTo>
                  <a:pt x="180" y="262"/>
                </a:lnTo>
                <a:lnTo>
                  <a:pt x="180" y="262"/>
                </a:lnTo>
                <a:close/>
                <a:moveTo>
                  <a:pt x="180" y="226"/>
                </a:moveTo>
                <a:lnTo>
                  <a:pt x="266" y="226"/>
                </a:lnTo>
                <a:lnTo>
                  <a:pt x="266" y="248"/>
                </a:lnTo>
                <a:lnTo>
                  <a:pt x="180" y="248"/>
                </a:lnTo>
                <a:lnTo>
                  <a:pt x="180" y="226"/>
                </a:lnTo>
                <a:lnTo>
                  <a:pt x="180" y="226"/>
                </a:lnTo>
                <a:close/>
                <a:moveTo>
                  <a:pt x="180" y="190"/>
                </a:moveTo>
                <a:lnTo>
                  <a:pt x="266" y="190"/>
                </a:lnTo>
                <a:lnTo>
                  <a:pt x="266" y="210"/>
                </a:lnTo>
                <a:lnTo>
                  <a:pt x="180" y="210"/>
                </a:lnTo>
                <a:lnTo>
                  <a:pt x="180" y="190"/>
                </a:lnTo>
                <a:lnTo>
                  <a:pt x="180" y="190"/>
                </a:lnTo>
                <a:close/>
                <a:moveTo>
                  <a:pt x="160" y="172"/>
                </a:moveTo>
                <a:lnTo>
                  <a:pt x="284" y="172"/>
                </a:lnTo>
                <a:lnTo>
                  <a:pt x="284" y="424"/>
                </a:lnTo>
                <a:lnTo>
                  <a:pt x="160" y="424"/>
                </a:lnTo>
                <a:lnTo>
                  <a:pt x="160" y="172"/>
                </a:lnTo>
                <a:lnTo>
                  <a:pt x="160" y="172"/>
                </a:lnTo>
                <a:close/>
                <a:moveTo>
                  <a:pt x="448" y="488"/>
                </a:moveTo>
                <a:lnTo>
                  <a:pt x="392" y="488"/>
                </a:lnTo>
                <a:lnTo>
                  <a:pt x="392" y="470"/>
                </a:lnTo>
                <a:lnTo>
                  <a:pt x="448" y="470"/>
                </a:lnTo>
                <a:lnTo>
                  <a:pt x="448" y="488"/>
                </a:lnTo>
                <a:lnTo>
                  <a:pt x="448" y="488"/>
                </a:lnTo>
                <a:close/>
                <a:moveTo>
                  <a:pt x="194" y="488"/>
                </a:moveTo>
                <a:lnTo>
                  <a:pt x="138" y="488"/>
                </a:lnTo>
                <a:lnTo>
                  <a:pt x="138" y="470"/>
                </a:lnTo>
                <a:lnTo>
                  <a:pt x="194" y="470"/>
                </a:lnTo>
                <a:lnTo>
                  <a:pt x="194" y="488"/>
                </a:lnTo>
                <a:lnTo>
                  <a:pt x="194" y="488"/>
                </a:lnTo>
                <a:close/>
                <a:moveTo>
                  <a:pt x="336" y="488"/>
                </a:moveTo>
                <a:lnTo>
                  <a:pt x="250" y="488"/>
                </a:lnTo>
                <a:lnTo>
                  <a:pt x="250" y="470"/>
                </a:lnTo>
                <a:lnTo>
                  <a:pt x="336" y="470"/>
                </a:lnTo>
                <a:lnTo>
                  <a:pt x="336" y="488"/>
                </a:lnTo>
                <a:lnTo>
                  <a:pt x="336" y="488"/>
                </a:lnTo>
                <a:close/>
                <a:moveTo>
                  <a:pt x="374" y="462"/>
                </a:moveTo>
                <a:lnTo>
                  <a:pt x="386" y="462"/>
                </a:lnTo>
                <a:lnTo>
                  <a:pt x="386" y="498"/>
                </a:lnTo>
                <a:lnTo>
                  <a:pt x="342" y="498"/>
                </a:lnTo>
                <a:lnTo>
                  <a:pt x="342" y="462"/>
                </a:lnTo>
                <a:lnTo>
                  <a:pt x="354" y="462"/>
                </a:lnTo>
                <a:lnTo>
                  <a:pt x="354" y="434"/>
                </a:lnTo>
                <a:lnTo>
                  <a:pt x="374" y="434"/>
                </a:lnTo>
                <a:lnTo>
                  <a:pt x="374" y="462"/>
                </a:lnTo>
                <a:lnTo>
                  <a:pt x="374" y="462"/>
                </a:lnTo>
                <a:close/>
                <a:moveTo>
                  <a:pt x="232" y="462"/>
                </a:moveTo>
                <a:lnTo>
                  <a:pt x="244" y="462"/>
                </a:lnTo>
                <a:lnTo>
                  <a:pt x="244" y="498"/>
                </a:lnTo>
                <a:lnTo>
                  <a:pt x="202" y="498"/>
                </a:lnTo>
                <a:lnTo>
                  <a:pt x="202" y="462"/>
                </a:lnTo>
                <a:lnTo>
                  <a:pt x="214" y="462"/>
                </a:lnTo>
                <a:lnTo>
                  <a:pt x="214" y="434"/>
                </a:lnTo>
                <a:lnTo>
                  <a:pt x="232" y="434"/>
                </a:lnTo>
                <a:lnTo>
                  <a:pt x="232" y="462"/>
                </a:lnTo>
                <a:lnTo>
                  <a:pt x="232" y="462"/>
                </a:lnTo>
                <a:close/>
                <a:moveTo>
                  <a:pt x="320" y="262"/>
                </a:moveTo>
                <a:lnTo>
                  <a:pt x="408" y="262"/>
                </a:lnTo>
                <a:lnTo>
                  <a:pt x="408" y="284"/>
                </a:lnTo>
                <a:lnTo>
                  <a:pt x="320" y="284"/>
                </a:lnTo>
                <a:lnTo>
                  <a:pt x="320" y="262"/>
                </a:lnTo>
                <a:lnTo>
                  <a:pt x="320" y="262"/>
                </a:lnTo>
                <a:close/>
                <a:moveTo>
                  <a:pt x="320" y="226"/>
                </a:moveTo>
                <a:lnTo>
                  <a:pt x="408" y="226"/>
                </a:lnTo>
                <a:lnTo>
                  <a:pt x="408" y="248"/>
                </a:lnTo>
                <a:lnTo>
                  <a:pt x="320" y="248"/>
                </a:lnTo>
                <a:lnTo>
                  <a:pt x="320" y="226"/>
                </a:lnTo>
                <a:lnTo>
                  <a:pt x="320" y="226"/>
                </a:lnTo>
                <a:close/>
                <a:moveTo>
                  <a:pt x="320" y="190"/>
                </a:moveTo>
                <a:lnTo>
                  <a:pt x="408" y="190"/>
                </a:lnTo>
                <a:lnTo>
                  <a:pt x="408" y="210"/>
                </a:lnTo>
                <a:lnTo>
                  <a:pt x="320" y="210"/>
                </a:lnTo>
                <a:lnTo>
                  <a:pt x="320" y="190"/>
                </a:lnTo>
                <a:lnTo>
                  <a:pt x="320" y="190"/>
                </a:lnTo>
                <a:close/>
                <a:moveTo>
                  <a:pt x="302" y="172"/>
                </a:moveTo>
                <a:lnTo>
                  <a:pt x="426" y="172"/>
                </a:lnTo>
                <a:lnTo>
                  <a:pt x="426" y="424"/>
                </a:lnTo>
                <a:lnTo>
                  <a:pt x="302" y="424"/>
                </a:lnTo>
                <a:lnTo>
                  <a:pt x="302" y="172"/>
                </a:lnTo>
                <a:lnTo>
                  <a:pt x="302" y="172"/>
                </a:lnTo>
                <a:close/>
              </a:path>
            </a:pathLst>
          </a:custGeom>
          <a:solidFill>
            <a:schemeClr val="tx1"/>
          </a:solidFill>
          <a:ln w="9525">
            <a:solidFill>
              <a:srgbClr val="00B0F0"/>
            </a:solidFill>
            <a:round/>
            <a:headEnd/>
            <a:tailEnd/>
          </a:ln>
        </p:spPr>
        <p:txBody>
          <a:bodyPr vert="horz" wrap="square" lIns="91416" tIns="45708" rIns="91416" bIns="45708" numCol="1" anchor="t" anchorCtr="0" compatLnSpc="1">
            <a:prstTxWarp prst="textNoShape">
              <a:avLst/>
            </a:prstTxWarp>
          </a:bodyPr>
          <a:lstStyle/>
          <a:p>
            <a:pPr defTabSz="1219008" fontAlgn="ctr">
              <a:defRPr/>
            </a:pPr>
            <a:endParaRPr lang="en-US" altLang="zh-CN" sz="1799" kern="0">
              <a:solidFill>
                <a:schemeClr val="bg1"/>
              </a:solidFill>
            </a:endParaRPr>
          </a:p>
        </p:txBody>
      </p:sp>
      <p:sp>
        <p:nvSpPr>
          <p:cNvPr id="125" name="2111188055"/>
          <p:cNvSpPr/>
          <p:nvPr/>
        </p:nvSpPr>
        <p:spPr bwMode="auto">
          <a:xfrm>
            <a:off x="2296951" y="3813175"/>
            <a:ext cx="8776247" cy="1296983"/>
          </a:xfrm>
          <a:prstGeom prst="roundRect">
            <a:avLst>
              <a:gd name="adj" fmla="val 4545"/>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tIns="35991" rtlCol="0" anchor="t" anchorCtr="0">
            <a:noAutofit/>
          </a:bodyPr>
          <a:lstStyle/>
          <a:p>
            <a:pPr algn="ctr" fontAlgn="ctr">
              <a:lnSpc>
                <a:spcPct val="120000"/>
              </a:lnSpc>
              <a:buClr>
                <a:schemeClr val="bg1"/>
              </a:buClr>
              <a:buSzPct val="100000"/>
            </a:pPr>
            <a:endParaRPr lang="en-US" altLang="zh-CN" sz="1100" b="1" dirty="0">
              <a:solidFill>
                <a:schemeClr val="bg1"/>
              </a:solidFill>
              <a:latin typeface="Calibri" panose="020F0502020204030204" pitchFamily="34" charset="0"/>
              <a:ea typeface="微软雅黑" pitchFamily="34" charset="-122"/>
              <a:cs typeface="Calibri" pitchFamily="34" charset="0"/>
            </a:endParaRPr>
          </a:p>
        </p:txBody>
      </p:sp>
      <p:sp>
        <p:nvSpPr>
          <p:cNvPr id="126" name="508237567"/>
          <p:cNvSpPr/>
          <p:nvPr/>
        </p:nvSpPr>
        <p:spPr bwMode="auto">
          <a:xfrm>
            <a:off x="2937639" y="4024827"/>
            <a:ext cx="1830824" cy="888075"/>
          </a:xfrm>
          <a:prstGeom prst="ellipse">
            <a:avLst/>
          </a:prstGeom>
          <a:noFill/>
          <a:ln w="3175" cmpd="thickThin">
            <a:solidFill>
              <a:schemeClr val="accent5">
                <a:lumMod val="60000"/>
                <a:lumOff val="40000"/>
              </a:schemeClr>
            </a:solidFill>
            <a:prstDash val="lgDash"/>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16" tIns="60958" rIns="121916" bIns="60958" numCol="1" rtlCol="0" anchor="t" anchorCtr="0" compatLnSpc="1">
            <a:prstTxWarp prst="textNoShape">
              <a:avLst/>
            </a:prstTxWarp>
          </a:bodyPr>
          <a:lstStyle/>
          <a:p>
            <a:pPr defTabSz="1219008" fontAlgn="ctr">
              <a:buClr>
                <a:srgbClr val="CC9900"/>
              </a:buClr>
              <a:buFont typeface="Wingdings" pitchFamily="2" charset="2"/>
              <a:buChar char="n"/>
              <a:defRPr/>
            </a:pPr>
            <a:endParaRPr lang="en-US" altLang="zh-CN" sz="1200" kern="0">
              <a:solidFill>
                <a:schemeClr val="bg1"/>
              </a:solidFill>
            </a:endParaRPr>
          </a:p>
        </p:txBody>
      </p:sp>
      <p:sp>
        <p:nvSpPr>
          <p:cNvPr id="128" name="1323280795"/>
          <p:cNvSpPr/>
          <p:nvPr/>
        </p:nvSpPr>
        <p:spPr>
          <a:xfrm>
            <a:off x="4601179" y="4148051"/>
            <a:ext cx="3612527" cy="292259"/>
          </a:xfrm>
          <a:prstGeom prst="rect">
            <a:avLst/>
          </a:prstGeom>
        </p:spPr>
        <p:txBody>
          <a:bodyPr wrap="square">
            <a:spAutoFit/>
          </a:bodyPr>
          <a:lstStyle/>
          <a:p>
            <a:pPr algn="ctr" defTabSz="1219008" fontAlgn="ctr">
              <a:defRPr/>
            </a:pPr>
            <a:r>
              <a:rPr lang="en-US" altLang="zh-CN" sz="1299" b="1" kern="0" dirty="0">
                <a:solidFill>
                  <a:schemeClr val="bg1"/>
                </a:solidFill>
              </a:rPr>
              <a:t>Red de </a:t>
            </a:r>
            <a:r>
              <a:rPr lang="en-US" altLang="zh-CN" sz="1299" b="1" kern="0" dirty="0" err="1">
                <a:solidFill>
                  <a:schemeClr val="bg1"/>
                </a:solidFill>
              </a:rPr>
              <a:t>Educación</a:t>
            </a:r>
            <a:r>
              <a:rPr lang="en-US" altLang="zh-CN" sz="1299" b="1" kern="0" dirty="0">
                <a:solidFill>
                  <a:schemeClr val="bg1"/>
                </a:solidFill>
              </a:rPr>
              <a:t> </a:t>
            </a:r>
            <a:r>
              <a:rPr lang="en-US" altLang="zh-CN" sz="1299" b="1" kern="0" dirty="0" err="1">
                <a:solidFill>
                  <a:schemeClr val="bg1"/>
                </a:solidFill>
              </a:rPr>
              <a:t>Metropolitana</a:t>
            </a:r>
            <a:endParaRPr lang="en-US" altLang="zh-CN" sz="1299" b="1" kern="0" dirty="0">
              <a:solidFill>
                <a:schemeClr val="bg1"/>
              </a:solidFill>
            </a:endParaRPr>
          </a:p>
        </p:txBody>
      </p:sp>
      <p:grpSp>
        <p:nvGrpSpPr>
          <p:cNvPr id="130" name="组合 129"/>
          <p:cNvGrpSpPr/>
          <p:nvPr/>
        </p:nvGrpSpPr>
        <p:grpSpPr>
          <a:xfrm>
            <a:off x="3041282" y="4718382"/>
            <a:ext cx="365665" cy="182833"/>
            <a:chOff x="3824620" y="4164196"/>
            <a:chExt cx="283985" cy="188570"/>
          </a:xfrm>
          <a:noFill/>
        </p:grpSpPr>
        <p:sp>
          <p:nvSpPr>
            <p:cNvPr id="131" name="336623122"/>
            <p:cNvSpPr>
              <a:spLocks/>
            </p:cNvSpPr>
            <p:nvPr/>
          </p:nvSpPr>
          <p:spPr bwMode="auto">
            <a:xfrm>
              <a:off x="4049312" y="4164196"/>
              <a:ext cx="59293" cy="165713"/>
            </a:xfrm>
            <a:custGeom>
              <a:avLst/>
              <a:gdLst/>
              <a:ahLst/>
              <a:cxnLst>
                <a:cxn ang="0">
                  <a:pos x="2" y="102"/>
                </a:cxn>
                <a:cxn ang="0">
                  <a:pos x="2" y="102"/>
                </a:cxn>
                <a:cxn ang="0">
                  <a:pos x="10" y="92"/>
                </a:cxn>
                <a:cxn ang="0">
                  <a:pos x="16" y="82"/>
                </a:cxn>
                <a:cxn ang="0">
                  <a:pos x="20" y="70"/>
                </a:cxn>
                <a:cxn ang="0">
                  <a:pos x="22" y="58"/>
                </a:cxn>
                <a:cxn ang="0">
                  <a:pos x="22" y="58"/>
                </a:cxn>
                <a:cxn ang="0">
                  <a:pos x="20" y="46"/>
                </a:cxn>
                <a:cxn ang="0">
                  <a:pos x="16" y="34"/>
                </a:cxn>
                <a:cxn ang="0">
                  <a:pos x="10" y="24"/>
                </a:cxn>
                <a:cxn ang="0">
                  <a:pos x="2" y="14"/>
                </a:cxn>
                <a:cxn ang="0">
                  <a:pos x="2" y="14"/>
                </a:cxn>
                <a:cxn ang="0">
                  <a:pos x="2" y="10"/>
                </a:cxn>
                <a:cxn ang="0">
                  <a:pos x="0" y="8"/>
                </a:cxn>
                <a:cxn ang="0">
                  <a:pos x="2" y="4"/>
                </a:cxn>
                <a:cxn ang="0">
                  <a:pos x="2" y="2"/>
                </a:cxn>
                <a:cxn ang="0">
                  <a:pos x="2" y="2"/>
                </a:cxn>
                <a:cxn ang="0">
                  <a:pos x="6" y="0"/>
                </a:cxn>
                <a:cxn ang="0">
                  <a:pos x="8" y="0"/>
                </a:cxn>
                <a:cxn ang="0">
                  <a:pos x="12" y="0"/>
                </a:cxn>
                <a:cxn ang="0">
                  <a:pos x="14" y="2"/>
                </a:cxn>
                <a:cxn ang="0">
                  <a:pos x="14" y="2"/>
                </a:cxn>
                <a:cxn ang="0">
                  <a:pos x="24" y="14"/>
                </a:cxn>
                <a:cxn ang="0">
                  <a:pos x="32" y="28"/>
                </a:cxn>
                <a:cxn ang="0">
                  <a:pos x="36" y="42"/>
                </a:cxn>
                <a:cxn ang="0">
                  <a:pos x="38" y="58"/>
                </a:cxn>
                <a:cxn ang="0">
                  <a:pos x="36" y="72"/>
                </a:cxn>
                <a:cxn ang="0">
                  <a:pos x="32" y="88"/>
                </a:cxn>
                <a:cxn ang="0">
                  <a:pos x="24" y="100"/>
                </a:cxn>
                <a:cxn ang="0">
                  <a:pos x="14" y="114"/>
                </a:cxn>
                <a:cxn ang="0">
                  <a:pos x="14" y="114"/>
                </a:cxn>
                <a:cxn ang="0">
                  <a:pos x="12" y="116"/>
                </a:cxn>
                <a:cxn ang="0">
                  <a:pos x="8" y="116"/>
                </a:cxn>
                <a:cxn ang="0">
                  <a:pos x="6" y="116"/>
                </a:cxn>
                <a:cxn ang="0">
                  <a:pos x="2" y="114"/>
                </a:cxn>
                <a:cxn ang="0">
                  <a:pos x="2" y="114"/>
                </a:cxn>
                <a:cxn ang="0">
                  <a:pos x="2" y="110"/>
                </a:cxn>
                <a:cxn ang="0">
                  <a:pos x="0" y="108"/>
                </a:cxn>
                <a:cxn ang="0">
                  <a:pos x="2" y="104"/>
                </a:cxn>
                <a:cxn ang="0">
                  <a:pos x="2" y="102"/>
                </a:cxn>
                <a:cxn ang="0">
                  <a:pos x="2" y="102"/>
                </a:cxn>
              </a:cxnLst>
              <a:rect l="0" t="0" r="r" b="b"/>
              <a:pathLst>
                <a:path w="38" h="116">
                  <a:moveTo>
                    <a:pt x="2" y="102"/>
                  </a:moveTo>
                  <a:lnTo>
                    <a:pt x="2" y="102"/>
                  </a:lnTo>
                  <a:lnTo>
                    <a:pt x="10" y="92"/>
                  </a:lnTo>
                  <a:lnTo>
                    <a:pt x="16" y="82"/>
                  </a:lnTo>
                  <a:lnTo>
                    <a:pt x="20" y="70"/>
                  </a:lnTo>
                  <a:lnTo>
                    <a:pt x="22" y="58"/>
                  </a:lnTo>
                  <a:lnTo>
                    <a:pt x="22" y="58"/>
                  </a:lnTo>
                  <a:lnTo>
                    <a:pt x="20" y="46"/>
                  </a:lnTo>
                  <a:lnTo>
                    <a:pt x="16" y="34"/>
                  </a:lnTo>
                  <a:lnTo>
                    <a:pt x="10" y="24"/>
                  </a:lnTo>
                  <a:lnTo>
                    <a:pt x="2" y="14"/>
                  </a:lnTo>
                  <a:lnTo>
                    <a:pt x="2" y="14"/>
                  </a:lnTo>
                  <a:lnTo>
                    <a:pt x="2" y="10"/>
                  </a:lnTo>
                  <a:lnTo>
                    <a:pt x="0" y="8"/>
                  </a:lnTo>
                  <a:lnTo>
                    <a:pt x="2" y="4"/>
                  </a:lnTo>
                  <a:lnTo>
                    <a:pt x="2" y="2"/>
                  </a:lnTo>
                  <a:lnTo>
                    <a:pt x="2" y="2"/>
                  </a:lnTo>
                  <a:lnTo>
                    <a:pt x="6" y="0"/>
                  </a:lnTo>
                  <a:lnTo>
                    <a:pt x="8" y="0"/>
                  </a:lnTo>
                  <a:lnTo>
                    <a:pt x="12" y="0"/>
                  </a:lnTo>
                  <a:lnTo>
                    <a:pt x="14" y="2"/>
                  </a:lnTo>
                  <a:lnTo>
                    <a:pt x="14" y="2"/>
                  </a:lnTo>
                  <a:lnTo>
                    <a:pt x="24" y="14"/>
                  </a:lnTo>
                  <a:lnTo>
                    <a:pt x="32" y="28"/>
                  </a:lnTo>
                  <a:lnTo>
                    <a:pt x="36" y="42"/>
                  </a:lnTo>
                  <a:lnTo>
                    <a:pt x="38" y="58"/>
                  </a:lnTo>
                  <a:lnTo>
                    <a:pt x="36" y="72"/>
                  </a:lnTo>
                  <a:lnTo>
                    <a:pt x="32" y="88"/>
                  </a:lnTo>
                  <a:lnTo>
                    <a:pt x="24" y="100"/>
                  </a:lnTo>
                  <a:lnTo>
                    <a:pt x="14" y="114"/>
                  </a:lnTo>
                  <a:lnTo>
                    <a:pt x="14" y="114"/>
                  </a:lnTo>
                  <a:lnTo>
                    <a:pt x="12" y="116"/>
                  </a:lnTo>
                  <a:lnTo>
                    <a:pt x="8" y="116"/>
                  </a:lnTo>
                  <a:lnTo>
                    <a:pt x="6" y="116"/>
                  </a:lnTo>
                  <a:lnTo>
                    <a:pt x="2" y="114"/>
                  </a:lnTo>
                  <a:lnTo>
                    <a:pt x="2" y="114"/>
                  </a:lnTo>
                  <a:lnTo>
                    <a:pt x="2" y="110"/>
                  </a:lnTo>
                  <a:lnTo>
                    <a:pt x="0" y="108"/>
                  </a:lnTo>
                  <a:lnTo>
                    <a:pt x="2" y="104"/>
                  </a:lnTo>
                  <a:lnTo>
                    <a:pt x="2" y="102"/>
                  </a:lnTo>
                  <a:lnTo>
                    <a:pt x="2" y="102"/>
                  </a:lnTo>
                  <a:close/>
                </a:path>
              </a:pathLst>
            </a:custGeom>
            <a:grpFill/>
            <a:ln w="3175">
              <a:solidFill>
                <a:srgbClr val="00B0F0"/>
              </a:solidFill>
              <a:round/>
              <a:headEnd/>
              <a:tailEnd/>
            </a:ln>
          </p:spPr>
          <p:txBody>
            <a:bodyPr vert="horz" wrap="square" lIns="91416" tIns="45708" rIns="91416" bIns="45708" numCol="1" anchor="t" anchorCtr="0" compatLnSpc="1">
              <a:prstTxWarp prst="textNoShape">
                <a:avLst/>
              </a:prstTxWarp>
            </a:bodyPr>
            <a:lstStyle/>
            <a:p>
              <a:pPr defTabSz="1219008" fontAlgn="ctr">
                <a:defRPr/>
              </a:pPr>
              <a:endParaRPr lang="en-US" altLang="zh-CN" sz="1799" kern="0">
                <a:solidFill>
                  <a:schemeClr val="bg1"/>
                </a:solidFill>
              </a:endParaRPr>
            </a:p>
          </p:txBody>
        </p:sp>
        <p:sp>
          <p:nvSpPr>
            <p:cNvPr id="132" name="296831863"/>
            <p:cNvSpPr>
              <a:spLocks/>
            </p:cNvSpPr>
            <p:nvPr/>
          </p:nvSpPr>
          <p:spPr bwMode="auto">
            <a:xfrm>
              <a:off x="4024347" y="4187053"/>
              <a:ext cx="43691" cy="117142"/>
            </a:xfrm>
            <a:custGeom>
              <a:avLst/>
              <a:gdLst/>
              <a:ahLst/>
              <a:cxnLst>
                <a:cxn ang="0">
                  <a:pos x="2" y="68"/>
                </a:cxn>
                <a:cxn ang="0">
                  <a:pos x="2" y="68"/>
                </a:cxn>
                <a:cxn ang="0">
                  <a:pos x="6" y="62"/>
                </a:cxn>
                <a:cxn ang="0">
                  <a:pos x="10" y="56"/>
                </a:cxn>
                <a:cxn ang="0">
                  <a:pos x="12" y="48"/>
                </a:cxn>
                <a:cxn ang="0">
                  <a:pos x="12" y="42"/>
                </a:cxn>
                <a:cxn ang="0">
                  <a:pos x="12" y="34"/>
                </a:cxn>
                <a:cxn ang="0">
                  <a:pos x="10" y="28"/>
                </a:cxn>
                <a:cxn ang="0">
                  <a:pos x="6" y="20"/>
                </a:cxn>
                <a:cxn ang="0">
                  <a:pos x="2" y="14"/>
                </a:cxn>
                <a:cxn ang="0">
                  <a:pos x="2" y="14"/>
                </a:cxn>
                <a:cxn ang="0">
                  <a:pos x="0" y="12"/>
                </a:cxn>
                <a:cxn ang="0">
                  <a:pos x="0" y="8"/>
                </a:cxn>
                <a:cxn ang="0">
                  <a:pos x="0" y="6"/>
                </a:cxn>
                <a:cxn ang="0">
                  <a:pos x="2" y="4"/>
                </a:cxn>
                <a:cxn ang="0">
                  <a:pos x="2" y="4"/>
                </a:cxn>
                <a:cxn ang="0">
                  <a:pos x="4" y="2"/>
                </a:cxn>
                <a:cxn ang="0">
                  <a:pos x="8" y="0"/>
                </a:cxn>
                <a:cxn ang="0">
                  <a:pos x="10" y="2"/>
                </a:cxn>
                <a:cxn ang="0">
                  <a:pos x="12" y="4"/>
                </a:cxn>
                <a:cxn ang="0">
                  <a:pos x="12" y="4"/>
                </a:cxn>
                <a:cxn ang="0">
                  <a:pos x="20" y="12"/>
                </a:cxn>
                <a:cxn ang="0">
                  <a:pos x="24" y="22"/>
                </a:cxn>
                <a:cxn ang="0">
                  <a:pos x="28" y="32"/>
                </a:cxn>
                <a:cxn ang="0">
                  <a:pos x="28" y="42"/>
                </a:cxn>
                <a:cxn ang="0">
                  <a:pos x="28" y="52"/>
                </a:cxn>
                <a:cxn ang="0">
                  <a:pos x="24" y="62"/>
                </a:cxn>
                <a:cxn ang="0">
                  <a:pos x="20" y="72"/>
                </a:cxn>
                <a:cxn ang="0">
                  <a:pos x="12" y="80"/>
                </a:cxn>
                <a:cxn ang="0">
                  <a:pos x="12" y="80"/>
                </a:cxn>
                <a:cxn ang="0">
                  <a:pos x="10" y="82"/>
                </a:cxn>
                <a:cxn ang="0">
                  <a:pos x="8" y="82"/>
                </a:cxn>
                <a:cxn ang="0">
                  <a:pos x="4" y="82"/>
                </a:cxn>
                <a:cxn ang="0">
                  <a:pos x="2" y="80"/>
                </a:cxn>
                <a:cxn ang="0">
                  <a:pos x="2" y="80"/>
                </a:cxn>
                <a:cxn ang="0">
                  <a:pos x="0" y="78"/>
                </a:cxn>
                <a:cxn ang="0">
                  <a:pos x="0" y="74"/>
                </a:cxn>
                <a:cxn ang="0">
                  <a:pos x="0" y="72"/>
                </a:cxn>
                <a:cxn ang="0">
                  <a:pos x="2" y="68"/>
                </a:cxn>
                <a:cxn ang="0">
                  <a:pos x="2" y="68"/>
                </a:cxn>
              </a:cxnLst>
              <a:rect l="0" t="0" r="r" b="b"/>
              <a:pathLst>
                <a:path w="28" h="82">
                  <a:moveTo>
                    <a:pt x="2" y="68"/>
                  </a:moveTo>
                  <a:lnTo>
                    <a:pt x="2" y="68"/>
                  </a:lnTo>
                  <a:lnTo>
                    <a:pt x="6" y="62"/>
                  </a:lnTo>
                  <a:lnTo>
                    <a:pt x="10" y="56"/>
                  </a:lnTo>
                  <a:lnTo>
                    <a:pt x="12" y="48"/>
                  </a:lnTo>
                  <a:lnTo>
                    <a:pt x="12" y="42"/>
                  </a:lnTo>
                  <a:lnTo>
                    <a:pt x="12" y="34"/>
                  </a:lnTo>
                  <a:lnTo>
                    <a:pt x="10" y="28"/>
                  </a:lnTo>
                  <a:lnTo>
                    <a:pt x="6" y="20"/>
                  </a:lnTo>
                  <a:lnTo>
                    <a:pt x="2" y="14"/>
                  </a:lnTo>
                  <a:lnTo>
                    <a:pt x="2" y="14"/>
                  </a:lnTo>
                  <a:lnTo>
                    <a:pt x="0" y="12"/>
                  </a:lnTo>
                  <a:lnTo>
                    <a:pt x="0" y="8"/>
                  </a:lnTo>
                  <a:lnTo>
                    <a:pt x="0" y="6"/>
                  </a:lnTo>
                  <a:lnTo>
                    <a:pt x="2" y="4"/>
                  </a:lnTo>
                  <a:lnTo>
                    <a:pt x="2" y="4"/>
                  </a:lnTo>
                  <a:lnTo>
                    <a:pt x="4" y="2"/>
                  </a:lnTo>
                  <a:lnTo>
                    <a:pt x="8" y="0"/>
                  </a:lnTo>
                  <a:lnTo>
                    <a:pt x="10" y="2"/>
                  </a:lnTo>
                  <a:lnTo>
                    <a:pt x="12" y="4"/>
                  </a:lnTo>
                  <a:lnTo>
                    <a:pt x="12" y="4"/>
                  </a:lnTo>
                  <a:lnTo>
                    <a:pt x="20" y="12"/>
                  </a:lnTo>
                  <a:lnTo>
                    <a:pt x="24" y="22"/>
                  </a:lnTo>
                  <a:lnTo>
                    <a:pt x="28" y="32"/>
                  </a:lnTo>
                  <a:lnTo>
                    <a:pt x="28" y="42"/>
                  </a:lnTo>
                  <a:lnTo>
                    <a:pt x="28" y="52"/>
                  </a:lnTo>
                  <a:lnTo>
                    <a:pt x="24" y="62"/>
                  </a:lnTo>
                  <a:lnTo>
                    <a:pt x="20" y="72"/>
                  </a:lnTo>
                  <a:lnTo>
                    <a:pt x="12" y="80"/>
                  </a:lnTo>
                  <a:lnTo>
                    <a:pt x="12" y="80"/>
                  </a:lnTo>
                  <a:lnTo>
                    <a:pt x="10" y="82"/>
                  </a:lnTo>
                  <a:lnTo>
                    <a:pt x="8" y="82"/>
                  </a:lnTo>
                  <a:lnTo>
                    <a:pt x="4" y="82"/>
                  </a:lnTo>
                  <a:lnTo>
                    <a:pt x="2" y="80"/>
                  </a:lnTo>
                  <a:lnTo>
                    <a:pt x="2" y="80"/>
                  </a:lnTo>
                  <a:lnTo>
                    <a:pt x="0" y="78"/>
                  </a:lnTo>
                  <a:lnTo>
                    <a:pt x="0" y="74"/>
                  </a:lnTo>
                  <a:lnTo>
                    <a:pt x="0" y="72"/>
                  </a:lnTo>
                  <a:lnTo>
                    <a:pt x="2" y="68"/>
                  </a:lnTo>
                  <a:lnTo>
                    <a:pt x="2" y="68"/>
                  </a:lnTo>
                  <a:close/>
                </a:path>
              </a:pathLst>
            </a:custGeom>
            <a:grpFill/>
            <a:ln w="3175">
              <a:solidFill>
                <a:srgbClr val="00B0F0"/>
              </a:solidFill>
              <a:round/>
              <a:headEnd/>
              <a:tailEnd/>
            </a:ln>
          </p:spPr>
          <p:txBody>
            <a:bodyPr vert="horz" wrap="square" lIns="91416" tIns="45708" rIns="91416" bIns="45708" numCol="1" anchor="t" anchorCtr="0" compatLnSpc="1">
              <a:prstTxWarp prst="textNoShape">
                <a:avLst/>
              </a:prstTxWarp>
            </a:bodyPr>
            <a:lstStyle/>
            <a:p>
              <a:pPr defTabSz="1219008" fontAlgn="ctr">
                <a:defRPr/>
              </a:pPr>
              <a:endParaRPr lang="en-US" altLang="zh-CN" sz="1799" kern="0">
                <a:solidFill>
                  <a:schemeClr val="bg1"/>
                </a:solidFill>
              </a:endParaRPr>
            </a:p>
          </p:txBody>
        </p:sp>
        <p:sp>
          <p:nvSpPr>
            <p:cNvPr id="133" name="1673090072"/>
            <p:cNvSpPr>
              <a:spLocks/>
            </p:cNvSpPr>
            <p:nvPr/>
          </p:nvSpPr>
          <p:spPr bwMode="auto">
            <a:xfrm>
              <a:off x="3824620" y="4164196"/>
              <a:ext cx="59293" cy="165713"/>
            </a:xfrm>
            <a:custGeom>
              <a:avLst/>
              <a:gdLst/>
              <a:ahLst/>
              <a:cxnLst>
                <a:cxn ang="0">
                  <a:pos x="34" y="14"/>
                </a:cxn>
                <a:cxn ang="0">
                  <a:pos x="34" y="14"/>
                </a:cxn>
                <a:cxn ang="0">
                  <a:pos x="26" y="24"/>
                </a:cxn>
                <a:cxn ang="0">
                  <a:pos x="22" y="34"/>
                </a:cxn>
                <a:cxn ang="0">
                  <a:pos x="18" y="46"/>
                </a:cxn>
                <a:cxn ang="0">
                  <a:pos x="16" y="58"/>
                </a:cxn>
                <a:cxn ang="0">
                  <a:pos x="16" y="58"/>
                </a:cxn>
                <a:cxn ang="0">
                  <a:pos x="18" y="70"/>
                </a:cxn>
                <a:cxn ang="0">
                  <a:pos x="22" y="82"/>
                </a:cxn>
                <a:cxn ang="0">
                  <a:pos x="26" y="92"/>
                </a:cxn>
                <a:cxn ang="0">
                  <a:pos x="34" y="102"/>
                </a:cxn>
                <a:cxn ang="0">
                  <a:pos x="34" y="102"/>
                </a:cxn>
                <a:cxn ang="0">
                  <a:pos x="36" y="104"/>
                </a:cxn>
                <a:cxn ang="0">
                  <a:pos x="38" y="108"/>
                </a:cxn>
                <a:cxn ang="0">
                  <a:pos x="36" y="110"/>
                </a:cxn>
                <a:cxn ang="0">
                  <a:pos x="34" y="114"/>
                </a:cxn>
                <a:cxn ang="0">
                  <a:pos x="34" y="114"/>
                </a:cxn>
                <a:cxn ang="0">
                  <a:pos x="32" y="116"/>
                </a:cxn>
                <a:cxn ang="0">
                  <a:pos x="30" y="116"/>
                </a:cxn>
                <a:cxn ang="0">
                  <a:pos x="26" y="116"/>
                </a:cxn>
                <a:cxn ang="0">
                  <a:pos x="24" y="114"/>
                </a:cxn>
                <a:cxn ang="0">
                  <a:pos x="24" y="114"/>
                </a:cxn>
                <a:cxn ang="0">
                  <a:pos x="14" y="100"/>
                </a:cxn>
                <a:cxn ang="0">
                  <a:pos x="6" y="88"/>
                </a:cxn>
                <a:cxn ang="0">
                  <a:pos x="2" y="72"/>
                </a:cxn>
                <a:cxn ang="0">
                  <a:pos x="0" y="58"/>
                </a:cxn>
                <a:cxn ang="0">
                  <a:pos x="2" y="42"/>
                </a:cxn>
                <a:cxn ang="0">
                  <a:pos x="6" y="28"/>
                </a:cxn>
                <a:cxn ang="0">
                  <a:pos x="14" y="14"/>
                </a:cxn>
                <a:cxn ang="0">
                  <a:pos x="24" y="2"/>
                </a:cxn>
                <a:cxn ang="0">
                  <a:pos x="24" y="2"/>
                </a:cxn>
                <a:cxn ang="0">
                  <a:pos x="26" y="0"/>
                </a:cxn>
                <a:cxn ang="0">
                  <a:pos x="30" y="0"/>
                </a:cxn>
                <a:cxn ang="0">
                  <a:pos x="32" y="0"/>
                </a:cxn>
                <a:cxn ang="0">
                  <a:pos x="34" y="2"/>
                </a:cxn>
                <a:cxn ang="0">
                  <a:pos x="34" y="2"/>
                </a:cxn>
                <a:cxn ang="0">
                  <a:pos x="36" y="4"/>
                </a:cxn>
                <a:cxn ang="0">
                  <a:pos x="38" y="8"/>
                </a:cxn>
                <a:cxn ang="0">
                  <a:pos x="36" y="10"/>
                </a:cxn>
                <a:cxn ang="0">
                  <a:pos x="34" y="14"/>
                </a:cxn>
                <a:cxn ang="0">
                  <a:pos x="34" y="14"/>
                </a:cxn>
              </a:cxnLst>
              <a:rect l="0" t="0" r="r" b="b"/>
              <a:pathLst>
                <a:path w="38" h="116">
                  <a:moveTo>
                    <a:pt x="34" y="14"/>
                  </a:moveTo>
                  <a:lnTo>
                    <a:pt x="34" y="14"/>
                  </a:lnTo>
                  <a:lnTo>
                    <a:pt x="26" y="24"/>
                  </a:lnTo>
                  <a:lnTo>
                    <a:pt x="22" y="34"/>
                  </a:lnTo>
                  <a:lnTo>
                    <a:pt x="18" y="46"/>
                  </a:lnTo>
                  <a:lnTo>
                    <a:pt x="16" y="58"/>
                  </a:lnTo>
                  <a:lnTo>
                    <a:pt x="16" y="58"/>
                  </a:lnTo>
                  <a:lnTo>
                    <a:pt x="18" y="70"/>
                  </a:lnTo>
                  <a:lnTo>
                    <a:pt x="22" y="82"/>
                  </a:lnTo>
                  <a:lnTo>
                    <a:pt x="26" y="92"/>
                  </a:lnTo>
                  <a:lnTo>
                    <a:pt x="34" y="102"/>
                  </a:lnTo>
                  <a:lnTo>
                    <a:pt x="34" y="102"/>
                  </a:lnTo>
                  <a:lnTo>
                    <a:pt x="36" y="104"/>
                  </a:lnTo>
                  <a:lnTo>
                    <a:pt x="38" y="108"/>
                  </a:lnTo>
                  <a:lnTo>
                    <a:pt x="36" y="110"/>
                  </a:lnTo>
                  <a:lnTo>
                    <a:pt x="34" y="114"/>
                  </a:lnTo>
                  <a:lnTo>
                    <a:pt x="34" y="114"/>
                  </a:lnTo>
                  <a:lnTo>
                    <a:pt x="32" y="116"/>
                  </a:lnTo>
                  <a:lnTo>
                    <a:pt x="30" y="116"/>
                  </a:lnTo>
                  <a:lnTo>
                    <a:pt x="26" y="116"/>
                  </a:lnTo>
                  <a:lnTo>
                    <a:pt x="24" y="114"/>
                  </a:lnTo>
                  <a:lnTo>
                    <a:pt x="24" y="114"/>
                  </a:lnTo>
                  <a:lnTo>
                    <a:pt x="14" y="100"/>
                  </a:lnTo>
                  <a:lnTo>
                    <a:pt x="6" y="88"/>
                  </a:lnTo>
                  <a:lnTo>
                    <a:pt x="2" y="72"/>
                  </a:lnTo>
                  <a:lnTo>
                    <a:pt x="0" y="58"/>
                  </a:lnTo>
                  <a:lnTo>
                    <a:pt x="2" y="42"/>
                  </a:lnTo>
                  <a:lnTo>
                    <a:pt x="6" y="28"/>
                  </a:lnTo>
                  <a:lnTo>
                    <a:pt x="14" y="14"/>
                  </a:lnTo>
                  <a:lnTo>
                    <a:pt x="24" y="2"/>
                  </a:lnTo>
                  <a:lnTo>
                    <a:pt x="24" y="2"/>
                  </a:lnTo>
                  <a:lnTo>
                    <a:pt x="26" y="0"/>
                  </a:lnTo>
                  <a:lnTo>
                    <a:pt x="30" y="0"/>
                  </a:lnTo>
                  <a:lnTo>
                    <a:pt x="32" y="0"/>
                  </a:lnTo>
                  <a:lnTo>
                    <a:pt x="34" y="2"/>
                  </a:lnTo>
                  <a:lnTo>
                    <a:pt x="34" y="2"/>
                  </a:lnTo>
                  <a:lnTo>
                    <a:pt x="36" y="4"/>
                  </a:lnTo>
                  <a:lnTo>
                    <a:pt x="38" y="8"/>
                  </a:lnTo>
                  <a:lnTo>
                    <a:pt x="36" y="10"/>
                  </a:lnTo>
                  <a:lnTo>
                    <a:pt x="34" y="14"/>
                  </a:lnTo>
                  <a:lnTo>
                    <a:pt x="34" y="14"/>
                  </a:lnTo>
                  <a:close/>
                </a:path>
              </a:pathLst>
            </a:custGeom>
            <a:grpFill/>
            <a:ln w="3175">
              <a:solidFill>
                <a:srgbClr val="00B0F0"/>
              </a:solidFill>
              <a:round/>
              <a:headEnd/>
              <a:tailEnd/>
            </a:ln>
          </p:spPr>
          <p:txBody>
            <a:bodyPr vert="horz" wrap="square" lIns="91416" tIns="45708" rIns="91416" bIns="45708" numCol="1" anchor="t" anchorCtr="0" compatLnSpc="1">
              <a:prstTxWarp prst="textNoShape">
                <a:avLst/>
              </a:prstTxWarp>
            </a:bodyPr>
            <a:lstStyle/>
            <a:p>
              <a:pPr defTabSz="1219008" fontAlgn="ctr">
                <a:defRPr/>
              </a:pPr>
              <a:endParaRPr lang="en-US" altLang="zh-CN" sz="1799" kern="0">
                <a:solidFill>
                  <a:schemeClr val="bg1"/>
                </a:solidFill>
              </a:endParaRPr>
            </a:p>
          </p:txBody>
        </p:sp>
        <p:sp>
          <p:nvSpPr>
            <p:cNvPr id="134" name="925420628"/>
            <p:cNvSpPr>
              <a:spLocks/>
            </p:cNvSpPr>
            <p:nvPr/>
          </p:nvSpPr>
          <p:spPr bwMode="auto">
            <a:xfrm>
              <a:off x="3862069" y="4187053"/>
              <a:ext cx="46810" cy="117142"/>
            </a:xfrm>
            <a:custGeom>
              <a:avLst/>
              <a:gdLst/>
              <a:ahLst/>
              <a:cxnLst>
                <a:cxn ang="0">
                  <a:pos x="28" y="14"/>
                </a:cxn>
                <a:cxn ang="0">
                  <a:pos x="28" y="14"/>
                </a:cxn>
                <a:cxn ang="0">
                  <a:pos x="24" y="20"/>
                </a:cxn>
                <a:cxn ang="0">
                  <a:pos x="20" y="28"/>
                </a:cxn>
                <a:cxn ang="0">
                  <a:pos x="18" y="34"/>
                </a:cxn>
                <a:cxn ang="0">
                  <a:pos x="16" y="42"/>
                </a:cxn>
                <a:cxn ang="0">
                  <a:pos x="18" y="48"/>
                </a:cxn>
                <a:cxn ang="0">
                  <a:pos x="20" y="56"/>
                </a:cxn>
                <a:cxn ang="0">
                  <a:pos x="24" y="62"/>
                </a:cxn>
                <a:cxn ang="0">
                  <a:pos x="28" y="68"/>
                </a:cxn>
                <a:cxn ang="0">
                  <a:pos x="28" y="68"/>
                </a:cxn>
                <a:cxn ang="0">
                  <a:pos x="30" y="72"/>
                </a:cxn>
                <a:cxn ang="0">
                  <a:pos x="30" y="74"/>
                </a:cxn>
                <a:cxn ang="0">
                  <a:pos x="30" y="78"/>
                </a:cxn>
                <a:cxn ang="0">
                  <a:pos x="28" y="80"/>
                </a:cxn>
                <a:cxn ang="0">
                  <a:pos x="28" y="80"/>
                </a:cxn>
                <a:cxn ang="0">
                  <a:pos x="26" y="82"/>
                </a:cxn>
                <a:cxn ang="0">
                  <a:pos x="22" y="82"/>
                </a:cxn>
                <a:cxn ang="0">
                  <a:pos x="20" y="82"/>
                </a:cxn>
                <a:cxn ang="0">
                  <a:pos x="16" y="80"/>
                </a:cxn>
                <a:cxn ang="0">
                  <a:pos x="16" y="80"/>
                </a:cxn>
                <a:cxn ang="0">
                  <a:pos x="10" y="72"/>
                </a:cxn>
                <a:cxn ang="0">
                  <a:pos x="4" y="62"/>
                </a:cxn>
                <a:cxn ang="0">
                  <a:pos x="2" y="52"/>
                </a:cxn>
                <a:cxn ang="0">
                  <a:pos x="0" y="42"/>
                </a:cxn>
                <a:cxn ang="0">
                  <a:pos x="2" y="32"/>
                </a:cxn>
                <a:cxn ang="0">
                  <a:pos x="4" y="22"/>
                </a:cxn>
                <a:cxn ang="0">
                  <a:pos x="10" y="12"/>
                </a:cxn>
                <a:cxn ang="0">
                  <a:pos x="16" y="4"/>
                </a:cxn>
                <a:cxn ang="0">
                  <a:pos x="16" y="4"/>
                </a:cxn>
                <a:cxn ang="0">
                  <a:pos x="20" y="2"/>
                </a:cxn>
                <a:cxn ang="0">
                  <a:pos x="22" y="0"/>
                </a:cxn>
                <a:cxn ang="0">
                  <a:pos x="26" y="2"/>
                </a:cxn>
                <a:cxn ang="0">
                  <a:pos x="28" y="4"/>
                </a:cxn>
                <a:cxn ang="0">
                  <a:pos x="28" y="4"/>
                </a:cxn>
                <a:cxn ang="0">
                  <a:pos x="30" y="6"/>
                </a:cxn>
                <a:cxn ang="0">
                  <a:pos x="30" y="8"/>
                </a:cxn>
                <a:cxn ang="0">
                  <a:pos x="30" y="12"/>
                </a:cxn>
                <a:cxn ang="0">
                  <a:pos x="28" y="14"/>
                </a:cxn>
                <a:cxn ang="0">
                  <a:pos x="28" y="14"/>
                </a:cxn>
              </a:cxnLst>
              <a:rect l="0" t="0" r="r" b="b"/>
              <a:pathLst>
                <a:path w="30" h="82">
                  <a:moveTo>
                    <a:pt x="28" y="14"/>
                  </a:moveTo>
                  <a:lnTo>
                    <a:pt x="28" y="14"/>
                  </a:lnTo>
                  <a:lnTo>
                    <a:pt x="24" y="20"/>
                  </a:lnTo>
                  <a:lnTo>
                    <a:pt x="20" y="28"/>
                  </a:lnTo>
                  <a:lnTo>
                    <a:pt x="18" y="34"/>
                  </a:lnTo>
                  <a:lnTo>
                    <a:pt x="16" y="42"/>
                  </a:lnTo>
                  <a:lnTo>
                    <a:pt x="18" y="48"/>
                  </a:lnTo>
                  <a:lnTo>
                    <a:pt x="20" y="56"/>
                  </a:lnTo>
                  <a:lnTo>
                    <a:pt x="24" y="62"/>
                  </a:lnTo>
                  <a:lnTo>
                    <a:pt x="28" y="68"/>
                  </a:lnTo>
                  <a:lnTo>
                    <a:pt x="28" y="68"/>
                  </a:lnTo>
                  <a:lnTo>
                    <a:pt x="30" y="72"/>
                  </a:lnTo>
                  <a:lnTo>
                    <a:pt x="30" y="74"/>
                  </a:lnTo>
                  <a:lnTo>
                    <a:pt x="30" y="78"/>
                  </a:lnTo>
                  <a:lnTo>
                    <a:pt x="28" y="80"/>
                  </a:lnTo>
                  <a:lnTo>
                    <a:pt x="28" y="80"/>
                  </a:lnTo>
                  <a:lnTo>
                    <a:pt x="26" y="82"/>
                  </a:lnTo>
                  <a:lnTo>
                    <a:pt x="22" y="82"/>
                  </a:lnTo>
                  <a:lnTo>
                    <a:pt x="20" y="82"/>
                  </a:lnTo>
                  <a:lnTo>
                    <a:pt x="16" y="80"/>
                  </a:lnTo>
                  <a:lnTo>
                    <a:pt x="16" y="80"/>
                  </a:lnTo>
                  <a:lnTo>
                    <a:pt x="10" y="72"/>
                  </a:lnTo>
                  <a:lnTo>
                    <a:pt x="4" y="62"/>
                  </a:lnTo>
                  <a:lnTo>
                    <a:pt x="2" y="52"/>
                  </a:lnTo>
                  <a:lnTo>
                    <a:pt x="0" y="42"/>
                  </a:lnTo>
                  <a:lnTo>
                    <a:pt x="2" y="32"/>
                  </a:lnTo>
                  <a:lnTo>
                    <a:pt x="4" y="22"/>
                  </a:lnTo>
                  <a:lnTo>
                    <a:pt x="10" y="12"/>
                  </a:lnTo>
                  <a:lnTo>
                    <a:pt x="16" y="4"/>
                  </a:lnTo>
                  <a:lnTo>
                    <a:pt x="16" y="4"/>
                  </a:lnTo>
                  <a:lnTo>
                    <a:pt x="20" y="2"/>
                  </a:lnTo>
                  <a:lnTo>
                    <a:pt x="22" y="0"/>
                  </a:lnTo>
                  <a:lnTo>
                    <a:pt x="26" y="2"/>
                  </a:lnTo>
                  <a:lnTo>
                    <a:pt x="28" y="4"/>
                  </a:lnTo>
                  <a:lnTo>
                    <a:pt x="28" y="4"/>
                  </a:lnTo>
                  <a:lnTo>
                    <a:pt x="30" y="6"/>
                  </a:lnTo>
                  <a:lnTo>
                    <a:pt x="30" y="8"/>
                  </a:lnTo>
                  <a:lnTo>
                    <a:pt x="30" y="12"/>
                  </a:lnTo>
                  <a:lnTo>
                    <a:pt x="28" y="14"/>
                  </a:lnTo>
                  <a:lnTo>
                    <a:pt x="28" y="14"/>
                  </a:lnTo>
                  <a:close/>
                </a:path>
              </a:pathLst>
            </a:custGeom>
            <a:grpFill/>
            <a:ln w="3175">
              <a:solidFill>
                <a:srgbClr val="00B0F0"/>
              </a:solidFill>
              <a:round/>
              <a:headEnd/>
              <a:tailEnd/>
            </a:ln>
          </p:spPr>
          <p:txBody>
            <a:bodyPr vert="horz" wrap="square" lIns="91416" tIns="45708" rIns="91416" bIns="45708" numCol="1" anchor="t" anchorCtr="0" compatLnSpc="1">
              <a:prstTxWarp prst="textNoShape">
                <a:avLst/>
              </a:prstTxWarp>
            </a:bodyPr>
            <a:lstStyle/>
            <a:p>
              <a:pPr defTabSz="1219008" fontAlgn="ctr">
                <a:defRPr/>
              </a:pPr>
              <a:endParaRPr lang="en-US" altLang="zh-CN" sz="1799" kern="0">
                <a:solidFill>
                  <a:schemeClr val="bg1"/>
                </a:solidFill>
              </a:endParaRPr>
            </a:p>
          </p:txBody>
        </p:sp>
        <p:sp>
          <p:nvSpPr>
            <p:cNvPr id="135" name="1922837404"/>
            <p:cNvSpPr>
              <a:spLocks/>
            </p:cNvSpPr>
            <p:nvPr/>
          </p:nvSpPr>
          <p:spPr bwMode="auto">
            <a:xfrm>
              <a:off x="3949449" y="4235624"/>
              <a:ext cx="34327" cy="117142"/>
            </a:xfrm>
            <a:custGeom>
              <a:avLst/>
              <a:gdLst/>
              <a:ahLst/>
              <a:cxnLst>
                <a:cxn ang="0">
                  <a:pos x="22" y="76"/>
                </a:cxn>
                <a:cxn ang="0">
                  <a:pos x="22" y="76"/>
                </a:cxn>
                <a:cxn ang="0">
                  <a:pos x="20" y="80"/>
                </a:cxn>
                <a:cxn ang="0">
                  <a:pos x="16" y="82"/>
                </a:cxn>
                <a:cxn ang="0">
                  <a:pos x="4" y="82"/>
                </a:cxn>
                <a:cxn ang="0">
                  <a:pos x="4" y="82"/>
                </a:cxn>
                <a:cxn ang="0">
                  <a:pos x="2" y="80"/>
                </a:cxn>
                <a:cxn ang="0">
                  <a:pos x="0" y="76"/>
                </a:cxn>
                <a:cxn ang="0">
                  <a:pos x="0" y="4"/>
                </a:cxn>
                <a:cxn ang="0">
                  <a:pos x="0" y="4"/>
                </a:cxn>
                <a:cxn ang="0">
                  <a:pos x="2" y="2"/>
                </a:cxn>
                <a:cxn ang="0">
                  <a:pos x="4" y="0"/>
                </a:cxn>
                <a:cxn ang="0">
                  <a:pos x="16" y="0"/>
                </a:cxn>
                <a:cxn ang="0">
                  <a:pos x="16" y="0"/>
                </a:cxn>
                <a:cxn ang="0">
                  <a:pos x="20" y="2"/>
                </a:cxn>
                <a:cxn ang="0">
                  <a:pos x="22" y="4"/>
                </a:cxn>
                <a:cxn ang="0">
                  <a:pos x="22" y="76"/>
                </a:cxn>
              </a:cxnLst>
              <a:rect l="0" t="0" r="r" b="b"/>
              <a:pathLst>
                <a:path w="22" h="82">
                  <a:moveTo>
                    <a:pt x="22" y="76"/>
                  </a:moveTo>
                  <a:lnTo>
                    <a:pt x="22" y="76"/>
                  </a:lnTo>
                  <a:lnTo>
                    <a:pt x="20" y="80"/>
                  </a:lnTo>
                  <a:lnTo>
                    <a:pt x="16" y="82"/>
                  </a:lnTo>
                  <a:lnTo>
                    <a:pt x="4" y="82"/>
                  </a:lnTo>
                  <a:lnTo>
                    <a:pt x="4" y="82"/>
                  </a:lnTo>
                  <a:lnTo>
                    <a:pt x="2" y="80"/>
                  </a:lnTo>
                  <a:lnTo>
                    <a:pt x="0" y="76"/>
                  </a:lnTo>
                  <a:lnTo>
                    <a:pt x="0" y="4"/>
                  </a:lnTo>
                  <a:lnTo>
                    <a:pt x="0" y="4"/>
                  </a:lnTo>
                  <a:lnTo>
                    <a:pt x="2" y="2"/>
                  </a:lnTo>
                  <a:lnTo>
                    <a:pt x="4" y="0"/>
                  </a:lnTo>
                  <a:lnTo>
                    <a:pt x="16" y="0"/>
                  </a:lnTo>
                  <a:lnTo>
                    <a:pt x="16" y="0"/>
                  </a:lnTo>
                  <a:lnTo>
                    <a:pt x="20" y="2"/>
                  </a:lnTo>
                  <a:lnTo>
                    <a:pt x="22" y="4"/>
                  </a:lnTo>
                  <a:lnTo>
                    <a:pt x="22" y="76"/>
                  </a:lnTo>
                  <a:close/>
                </a:path>
              </a:pathLst>
            </a:custGeom>
            <a:grpFill/>
            <a:ln w="3175">
              <a:solidFill>
                <a:srgbClr val="00B0F0"/>
              </a:solidFill>
              <a:round/>
              <a:headEnd/>
              <a:tailEnd/>
            </a:ln>
          </p:spPr>
          <p:txBody>
            <a:bodyPr vert="horz" wrap="square" lIns="91416" tIns="45708" rIns="91416" bIns="45708" numCol="1" anchor="t" anchorCtr="0" compatLnSpc="1">
              <a:prstTxWarp prst="textNoShape">
                <a:avLst/>
              </a:prstTxWarp>
            </a:bodyPr>
            <a:lstStyle/>
            <a:p>
              <a:pPr defTabSz="1219008" fontAlgn="ctr">
                <a:defRPr/>
              </a:pPr>
              <a:endParaRPr lang="en-US" altLang="zh-CN" sz="1799" kern="0">
                <a:solidFill>
                  <a:schemeClr val="bg1"/>
                </a:solidFill>
              </a:endParaRPr>
            </a:p>
          </p:txBody>
        </p:sp>
      </p:grpSp>
      <p:sp>
        <p:nvSpPr>
          <p:cNvPr id="136" name="1901948586"/>
          <p:cNvSpPr>
            <a:spLocks noChangeArrowheads="1"/>
          </p:cNvSpPr>
          <p:nvPr/>
        </p:nvSpPr>
        <p:spPr bwMode="auto">
          <a:xfrm>
            <a:off x="3106177" y="4149528"/>
            <a:ext cx="1438273" cy="184666"/>
          </a:xfrm>
          <a:prstGeom prst="rect">
            <a:avLst/>
          </a:prstGeom>
          <a:noFill/>
          <a:ln w="9525" algn="ctr">
            <a:noFill/>
            <a:miter lim="800000"/>
            <a:headEnd/>
            <a:tailEnd/>
          </a:ln>
        </p:spPr>
        <p:txBody>
          <a:bodyPr wrap="square" lIns="0" tIns="0" rIns="0" bIns="0">
            <a:spAutoFit/>
          </a:bodyPr>
          <a:lstStyle/>
          <a:p>
            <a:pPr algn="ctr" defTabSz="1068747" fontAlgn="ctr">
              <a:defRPr/>
            </a:pPr>
            <a:r>
              <a:rPr lang="es-ES" altLang="zh-CN" sz="1200" b="1" kern="0" dirty="0">
                <a:solidFill>
                  <a:schemeClr val="bg1"/>
                </a:solidFill>
                <a:cs typeface="Arial Unicode MS" pitchFamily="34" charset="-122"/>
              </a:rPr>
              <a:t>Red Segura</a:t>
            </a:r>
            <a:endParaRPr lang="en-US" altLang="zh-CN" sz="1200" b="1" kern="0" dirty="0">
              <a:solidFill>
                <a:schemeClr val="bg1"/>
              </a:solidFill>
              <a:cs typeface="Arial Unicode MS" pitchFamily="34" charset="-122"/>
            </a:endParaRPr>
          </a:p>
        </p:txBody>
      </p:sp>
      <p:grpSp>
        <p:nvGrpSpPr>
          <p:cNvPr id="137" name="组合 136"/>
          <p:cNvGrpSpPr/>
          <p:nvPr/>
        </p:nvGrpSpPr>
        <p:grpSpPr>
          <a:xfrm>
            <a:off x="5403575" y="4453626"/>
            <a:ext cx="611171" cy="286617"/>
            <a:chOff x="5458125" y="4644587"/>
            <a:chExt cx="696913" cy="319831"/>
          </a:xfrm>
          <a:noFill/>
        </p:grpSpPr>
        <p:sp>
          <p:nvSpPr>
            <p:cNvPr id="138" name="1525300974"/>
            <p:cNvSpPr>
              <a:spLocks noEditPoints="1"/>
            </p:cNvSpPr>
            <p:nvPr/>
          </p:nvSpPr>
          <p:spPr bwMode="auto">
            <a:xfrm>
              <a:off x="5458125" y="4839455"/>
              <a:ext cx="696913" cy="124963"/>
            </a:xfrm>
            <a:custGeom>
              <a:avLst/>
              <a:gdLst/>
              <a:ahLst/>
              <a:cxnLst>
                <a:cxn ang="0">
                  <a:pos x="16278" y="39"/>
                </a:cxn>
                <a:cxn ang="0">
                  <a:pos x="16504" y="184"/>
                </a:cxn>
                <a:cxn ang="0">
                  <a:pos x="16649" y="411"/>
                </a:cxn>
                <a:cxn ang="0">
                  <a:pos x="16687" y="3376"/>
                </a:cxn>
                <a:cxn ang="0">
                  <a:pos x="16612" y="3641"/>
                </a:cxn>
                <a:cxn ang="0">
                  <a:pos x="16437" y="3844"/>
                </a:cxn>
                <a:cxn ang="0">
                  <a:pos x="16189" y="3955"/>
                </a:cxn>
                <a:cxn ang="0">
                  <a:pos x="499" y="3955"/>
                </a:cxn>
                <a:cxn ang="0">
                  <a:pos x="251" y="3844"/>
                </a:cxn>
                <a:cxn ang="0">
                  <a:pos x="75" y="3641"/>
                </a:cxn>
                <a:cxn ang="0">
                  <a:pos x="1" y="3376"/>
                </a:cxn>
                <a:cxn ang="0">
                  <a:pos x="38" y="411"/>
                </a:cxn>
                <a:cxn ang="0">
                  <a:pos x="184" y="184"/>
                </a:cxn>
                <a:cxn ang="0">
                  <a:pos x="410" y="39"/>
                </a:cxn>
                <a:cxn ang="0">
                  <a:pos x="13820" y="2430"/>
                </a:cxn>
                <a:cxn ang="0">
                  <a:pos x="13953" y="2510"/>
                </a:cxn>
                <a:cxn ang="0">
                  <a:pos x="13976" y="2666"/>
                </a:cxn>
                <a:cxn ang="0">
                  <a:pos x="13873" y="2780"/>
                </a:cxn>
                <a:cxn ang="0">
                  <a:pos x="13714" y="2773"/>
                </a:cxn>
                <a:cxn ang="0">
                  <a:pos x="13623" y="2648"/>
                </a:cxn>
                <a:cxn ang="0">
                  <a:pos x="13661" y="2496"/>
                </a:cxn>
                <a:cxn ang="0">
                  <a:pos x="13802" y="2429"/>
                </a:cxn>
                <a:cxn ang="0">
                  <a:pos x="14470" y="2482"/>
                </a:cxn>
                <a:cxn ang="0">
                  <a:pos x="14522" y="2631"/>
                </a:cxn>
                <a:cxn ang="0">
                  <a:pos x="14442" y="2763"/>
                </a:cxn>
                <a:cxn ang="0">
                  <a:pos x="14286" y="2786"/>
                </a:cxn>
                <a:cxn ang="0">
                  <a:pos x="14172" y="2683"/>
                </a:cxn>
                <a:cxn ang="0">
                  <a:pos x="14180" y="2525"/>
                </a:cxn>
                <a:cxn ang="0">
                  <a:pos x="14304" y="2433"/>
                </a:cxn>
                <a:cxn ang="0">
                  <a:pos x="14981" y="2460"/>
                </a:cxn>
                <a:cxn ang="0">
                  <a:pos x="15061" y="2593"/>
                </a:cxn>
                <a:cxn ang="0">
                  <a:pos x="15008" y="2741"/>
                </a:cxn>
                <a:cxn ang="0">
                  <a:pos x="14861" y="2794"/>
                </a:cxn>
                <a:cxn ang="0">
                  <a:pos x="14728" y="2714"/>
                </a:cxn>
                <a:cxn ang="0">
                  <a:pos x="14705" y="2558"/>
                </a:cxn>
                <a:cxn ang="0">
                  <a:pos x="14809" y="2444"/>
                </a:cxn>
                <a:cxn ang="0">
                  <a:pos x="15489" y="2444"/>
                </a:cxn>
                <a:cxn ang="0">
                  <a:pos x="15592" y="2558"/>
                </a:cxn>
                <a:cxn ang="0">
                  <a:pos x="15569" y="2714"/>
                </a:cxn>
                <a:cxn ang="0">
                  <a:pos x="15436" y="2794"/>
                </a:cxn>
                <a:cxn ang="0">
                  <a:pos x="15289" y="2741"/>
                </a:cxn>
                <a:cxn ang="0">
                  <a:pos x="15236" y="2593"/>
                </a:cxn>
                <a:cxn ang="0">
                  <a:pos x="15315" y="2460"/>
                </a:cxn>
                <a:cxn ang="0">
                  <a:pos x="15712" y="1546"/>
                </a:cxn>
                <a:cxn ang="0">
                  <a:pos x="1822" y="1769"/>
                </a:cxn>
                <a:cxn ang="0">
                  <a:pos x="3288" y="1769"/>
                </a:cxn>
                <a:cxn ang="0">
                  <a:pos x="4754" y="1769"/>
                </a:cxn>
                <a:cxn ang="0">
                  <a:pos x="6219" y="1769"/>
                </a:cxn>
                <a:cxn ang="0">
                  <a:pos x="7685" y="1769"/>
                </a:cxn>
                <a:cxn ang="0">
                  <a:pos x="9151" y="1769"/>
                </a:cxn>
                <a:cxn ang="0">
                  <a:pos x="10617" y="1769"/>
                </a:cxn>
                <a:cxn ang="0">
                  <a:pos x="1822" y="2199"/>
                </a:cxn>
                <a:cxn ang="0">
                  <a:pos x="3288" y="2199"/>
                </a:cxn>
                <a:cxn ang="0">
                  <a:pos x="4754" y="2199"/>
                </a:cxn>
                <a:cxn ang="0">
                  <a:pos x="6219" y="2199"/>
                </a:cxn>
                <a:cxn ang="0">
                  <a:pos x="7685" y="2199"/>
                </a:cxn>
                <a:cxn ang="0">
                  <a:pos x="9151" y="2199"/>
                </a:cxn>
                <a:cxn ang="0">
                  <a:pos x="10617" y="2199"/>
                </a:cxn>
                <a:cxn ang="0">
                  <a:pos x="12128" y="1769"/>
                </a:cxn>
                <a:cxn ang="0">
                  <a:pos x="12128" y="2199"/>
                </a:cxn>
              </a:cxnLst>
              <a:rect l="0" t="0" r="r" b="b"/>
              <a:pathLst>
                <a:path w="16688" h="3968">
                  <a:moveTo>
                    <a:pt x="624" y="0"/>
                  </a:moveTo>
                  <a:lnTo>
                    <a:pt x="16064" y="0"/>
                  </a:lnTo>
                  <a:lnTo>
                    <a:pt x="16097" y="1"/>
                  </a:lnTo>
                  <a:lnTo>
                    <a:pt x="16128" y="3"/>
                  </a:lnTo>
                  <a:lnTo>
                    <a:pt x="16159" y="7"/>
                  </a:lnTo>
                  <a:lnTo>
                    <a:pt x="16189" y="13"/>
                  </a:lnTo>
                  <a:lnTo>
                    <a:pt x="16220" y="20"/>
                  </a:lnTo>
                  <a:lnTo>
                    <a:pt x="16249" y="28"/>
                  </a:lnTo>
                  <a:lnTo>
                    <a:pt x="16278" y="39"/>
                  </a:lnTo>
                  <a:lnTo>
                    <a:pt x="16306" y="49"/>
                  </a:lnTo>
                  <a:lnTo>
                    <a:pt x="16334" y="62"/>
                  </a:lnTo>
                  <a:lnTo>
                    <a:pt x="16360" y="76"/>
                  </a:lnTo>
                  <a:lnTo>
                    <a:pt x="16387" y="91"/>
                  </a:lnTo>
                  <a:lnTo>
                    <a:pt x="16413" y="108"/>
                  </a:lnTo>
                  <a:lnTo>
                    <a:pt x="16437" y="124"/>
                  </a:lnTo>
                  <a:lnTo>
                    <a:pt x="16461" y="143"/>
                  </a:lnTo>
                  <a:lnTo>
                    <a:pt x="16484" y="163"/>
                  </a:lnTo>
                  <a:lnTo>
                    <a:pt x="16504" y="184"/>
                  </a:lnTo>
                  <a:lnTo>
                    <a:pt x="16525" y="205"/>
                  </a:lnTo>
                  <a:lnTo>
                    <a:pt x="16545" y="228"/>
                  </a:lnTo>
                  <a:lnTo>
                    <a:pt x="16564" y="252"/>
                  </a:lnTo>
                  <a:lnTo>
                    <a:pt x="16581" y="276"/>
                  </a:lnTo>
                  <a:lnTo>
                    <a:pt x="16597" y="302"/>
                  </a:lnTo>
                  <a:lnTo>
                    <a:pt x="16612" y="328"/>
                  </a:lnTo>
                  <a:lnTo>
                    <a:pt x="16626" y="354"/>
                  </a:lnTo>
                  <a:lnTo>
                    <a:pt x="16639" y="382"/>
                  </a:lnTo>
                  <a:lnTo>
                    <a:pt x="16649" y="411"/>
                  </a:lnTo>
                  <a:lnTo>
                    <a:pt x="16660" y="440"/>
                  </a:lnTo>
                  <a:lnTo>
                    <a:pt x="16668" y="469"/>
                  </a:lnTo>
                  <a:lnTo>
                    <a:pt x="16675" y="499"/>
                  </a:lnTo>
                  <a:lnTo>
                    <a:pt x="16681" y="530"/>
                  </a:lnTo>
                  <a:lnTo>
                    <a:pt x="16685" y="561"/>
                  </a:lnTo>
                  <a:lnTo>
                    <a:pt x="16687" y="592"/>
                  </a:lnTo>
                  <a:lnTo>
                    <a:pt x="16688" y="625"/>
                  </a:lnTo>
                  <a:lnTo>
                    <a:pt x="16688" y="3343"/>
                  </a:lnTo>
                  <a:lnTo>
                    <a:pt x="16687" y="3376"/>
                  </a:lnTo>
                  <a:lnTo>
                    <a:pt x="16685" y="3407"/>
                  </a:lnTo>
                  <a:lnTo>
                    <a:pt x="16681" y="3438"/>
                  </a:lnTo>
                  <a:lnTo>
                    <a:pt x="16675" y="3469"/>
                  </a:lnTo>
                  <a:lnTo>
                    <a:pt x="16668" y="3499"/>
                  </a:lnTo>
                  <a:lnTo>
                    <a:pt x="16660" y="3529"/>
                  </a:lnTo>
                  <a:lnTo>
                    <a:pt x="16649" y="3557"/>
                  </a:lnTo>
                  <a:lnTo>
                    <a:pt x="16639" y="3586"/>
                  </a:lnTo>
                  <a:lnTo>
                    <a:pt x="16626" y="3614"/>
                  </a:lnTo>
                  <a:lnTo>
                    <a:pt x="16612" y="3641"/>
                  </a:lnTo>
                  <a:lnTo>
                    <a:pt x="16597" y="3667"/>
                  </a:lnTo>
                  <a:lnTo>
                    <a:pt x="16581" y="3692"/>
                  </a:lnTo>
                  <a:lnTo>
                    <a:pt x="16564" y="3716"/>
                  </a:lnTo>
                  <a:lnTo>
                    <a:pt x="16545" y="3740"/>
                  </a:lnTo>
                  <a:lnTo>
                    <a:pt x="16525" y="3763"/>
                  </a:lnTo>
                  <a:lnTo>
                    <a:pt x="16504" y="3784"/>
                  </a:lnTo>
                  <a:lnTo>
                    <a:pt x="16484" y="3805"/>
                  </a:lnTo>
                  <a:lnTo>
                    <a:pt x="16461" y="3825"/>
                  </a:lnTo>
                  <a:lnTo>
                    <a:pt x="16437" y="3844"/>
                  </a:lnTo>
                  <a:lnTo>
                    <a:pt x="16413" y="3861"/>
                  </a:lnTo>
                  <a:lnTo>
                    <a:pt x="16387" y="3877"/>
                  </a:lnTo>
                  <a:lnTo>
                    <a:pt x="16360" y="3893"/>
                  </a:lnTo>
                  <a:lnTo>
                    <a:pt x="16334" y="3906"/>
                  </a:lnTo>
                  <a:lnTo>
                    <a:pt x="16306" y="3919"/>
                  </a:lnTo>
                  <a:lnTo>
                    <a:pt x="16278" y="3930"/>
                  </a:lnTo>
                  <a:lnTo>
                    <a:pt x="16249" y="3940"/>
                  </a:lnTo>
                  <a:lnTo>
                    <a:pt x="16220" y="3948"/>
                  </a:lnTo>
                  <a:lnTo>
                    <a:pt x="16189" y="3955"/>
                  </a:lnTo>
                  <a:lnTo>
                    <a:pt x="16159" y="3961"/>
                  </a:lnTo>
                  <a:lnTo>
                    <a:pt x="16128" y="3965"/>
                  </a:lnTo>
                  <a:lnTo>
                    <a:pt x="16097" y="3967"/>
                  </a:lnTo>
                  <a:lnTo>
                    <a:pt x="16064" y="3968"/>
                  </a:lnTo>
                  <a:lnTo>
                    <a:pt x="624" y="3968"/>
                  </a:lnTo>
                  <a:lnTo>
                    <a:pt x="591" y="3967"/>
                  </a:lnTo>
                  <a:lnTo>
                    <a:pt x="560" y="3965"/>
                  </a:lnTo>
                  <a:lnTo>
                    <a:pt x="529" y="3961"/>
                  </a:lnTo>
                  <a:lnTo>
                    <a:pt x="499" y="3955"/>
                  </a:lnTo>
                  <a:lnTo>
                    <a:pt x="468" y="3948"/>
                  </a:lnTo>
                  <a:lnTo>
                    <a:pt x="438" y="3940"/>
                  </a:lnTo>
                  <a:lnTo>
                    <a:pt x="410" y="3930"/>
                  </a:lnTo>
                  <a:lnTo>
                    <a:pt x="382" y="3919"/>
                  </a:lnTo>
                  <a:lnTo>
                    <a:pt x="354" y="3906"/>
                  </a:lnTo>
                  <a:lnTo>
                    <a:pt x="326" y="3893"/>
                  </a:lnTo>
                  <a:lnTo>
                    <a:pt x="300" y="3877"/>
                  </a:lnTo>
                  <a:lnTo>
                    <a:pt x="275" y="3861"/>
                  </a:lnTo>
                  <a:lnTo>
                    <a:pt x="251" y="3844"/>
                  </a:lnTo>
                  <a:lnTo>
                    <a:pt x="227" y="3825"/>
                  </a:lnTo>
                  <a:lnTo>
                    <a:pt x="204" y="3805"/>
                  </a:lnTo>
                  <a:lnTo>
                    <a:pt x="184" y="3784"/>
                  </a:lnTo>
                  <a:lnTo>
                    <a:pt x="163" y="3763"/>
                  </a:lnTo>
                  <a:lnTo>
                    <a:pt x="143" y="3740"/>
                  </a:lnTo>
                  <a:lnTo>
                    <a:pt x="124" y="3716"/>
                  </a:lnTo>
                  <a:lnTo>
                    <a:pt x="106" y="3692"/>
                  </a:lnTo>
                  <a:lnTo>
                    <a:pt x="91" y="3667"/>
                  </a:lnTo>
                  <a:lnTo>
                    <a:pt x="75" y="3641"/>
                  </a:lnTo>
                  <a:lnTo>
                    <a:pt x="62" y="3614"/>
                  </a:lnTo>
                  <a:lnTo>
                    <a:pt x="49" y="3586"/>
                  </a:lnTo>
                  <a:lnTo>
                    <a:pt x="38" y="3557"/>
                  </a:lnTo>
                  <a:lnTo>
                    <a:pt x="28" y="3529"/>
                  </a:lnTo>
                  <a:lnTo>
                    <a:pt x="20" y="3499"/>
                  </a:lnTo>
                  <a:lnTo>
                    <a:pt x="13" y="3469"/>
                  </a:lnTo>
                  <a:lnTo>
                    <a:pt x="7" y="3438"/>
                  </a:lnTo>
                  <a:lnTo>
                    <a:pt x="3" y="3407"/>
                  </a:lnTo>
                  <a:lnTo>
                    <a:pt x="1" y="3376"/>
                  </a:lnTo>
                  <a:lnTo>
                    <a:pt x="0" y="3343"/>
                  </a:lnTo>
                  <a:lnTo>
                    <a:pt x="0" y="625"/>
                  </a:lnTo>
                  <a:lnTo>
                    <a:pt x="1" y="592"/>
                  </a:lnTo>
                  <a:lnTo>
                    <a:pt x="3" y="561"/>
                  </a:lnTo>
                  <a:lnTo>
                    <a:pt x="7" y="530"/>
                  </a:lnTo>
                  <a:lnTo>
                    <a:pt x="13" y="499"/>
                  </a:lnTo>
                  <a:lnTo>
                    <a:pt x="20" y="469"/>
                  </a:lnTo>
                  <a:lnTo>
                    <a:pt x="28" y="440"/>
                  </a:lnTo>
                  <a:lnTo>
                    <a:pt x="38" y="411"/>
                  </a:lnTo>
                  <a:lnTo>
                    <a:pt x="49" y="382"/>
                  </a:lnTo>
                  <a:lnTo>
                    <a:pt x="62" y="354"/>
                  </a:lnTo>
                  <a:lnTo>
                    <a:pt x="75" y="328"/>
                  </a:lnTo>
                  <a:lnTo>
                    <a:pt x="91" y="302"/>
                  </a:lnTo>
                  <a:lnTo>
                    <a:pt x="106" y="276"/>
                  </a:lnTo>
                  <a:lnTo>
                    <a:pt x="124" y="252"/>
                  </a:lnTo>
                  <a:lnTo>
                    <a:pt x="143" y="228"/>
                  </a:lnTo>
                  <a:lnTo>
                    <a:pt x="163" y="205"/>
                  </a:lnTo>
                  <a:lnTo>
                    <a:pt x="184" y="184"/>
                  </a:lnTo>
                  <a:lnTo>
                    <a:pt x="204" y="163"/>
                  </a:lnTo>
                  <a:lnTo>
                    <a:pt x="227" y="143"/>
                  </a:lnTo>
                  <a:lnTo>
                    <a:pt x="251" y="124"/>
                  </a:lnTo>
                  <a:lnTo>
                    <a:pt x="275" y="108"/>
                  </a:lnTo>
                  <a:lnTo>
                    <a:pt x="300" y="91"/>
                  </a:lnTo>
                  <a:lnTo>
                    <a:pt x="326" y="76"/>
                  </a:lnTo>
                  <a:lnTo>
                    <a:pt x="354" y="62"/>
                  </a:lnTo>
                  <a:lnTo>
                    <a:pt x="382" y="49"/>
                  </a:lnTo>
                  <a:lnTo>
                    <a:pt x="410" y="39"/>
                  </a:lnTo>
                  <a:lnTo>
                    <a:pt x="438" y="28"/>
                  </a:lnTo>
                  <a:lnTo>
                    <a:pt x="468" y="20"/>
                  </a:lnTo>
                  <a:lnTo>
                    <a:pt x="499" y="13"/>
                  </a:lnTo>
                  <a:lnTo>
                    <a:pt x="529" y="7"/>
                  </a:lnTo>
                  <a:lnTo>
                    <a:pt x="560" y="3"/>
                  </a:lnTo>
                  <a:lnTo>
                    <a:pt x="591" y="1"/>
                  </a:lnTo>
                  <a:lnTo>
                    <a:pt x="624" y="0"/>
                  </a:lnTo>
                  <a:close/>
                  <a:moveTo>
                    <a:pt x="13802" y="2429"/>
                  </a:moveTo>
                  <a:lnTo>
                    <a:pt x="13820" y="2430"/>
                  </a:lnTo>
                  <a:lnTo>
                    <a:pt x="13839" y="2433"/>
                  </a:lnTo>
                  <a:lnTo>
                    <a:pt x="13856" y="2437"/>
                  </a:lnTo>
                  <a:lnTo>
                    <a:pt x="13873" y="2444"/>
                  </a:lnTo>
                  <a:lnTo>
                    <a:pt x="13889" y="2451"/>
                  </a:lnTo>
                  <a:lnTo>
                    <a:pt x="13903" y="2460"/>
                  </a:lnTo>
                  <a:lnTo>
                    <a:pt x="13918" y="2471"/>
                  </a:lnTo>
                  <a:lnTo>
                    <a:pt x="13930" y="2482"/>
                  </a:lnTo>
                  <a:lnTo>
                    <a:pt x="13942" y="2496"/>
                  </a:lnTo>
                  <a:lnTo>
                    <a:pt x="13953" y="2510"/>
                  </a:lnTo>
                  <a:lnTo>
                    <a:pt x="13962" y="2525"/>
                  </a:lnTo>
                  <a:lnTo>
                    <a:pt x="13970" y="2541"/>
                  </a:lnTo>
                  <a:lnTo>
                    <a:pt x="13976" y="2558"/>
                  </a:lnTo>
                  <a:lnTo>
                    <a:pt x="13980" y="2575"/>
                  </a:lnTo>
                  <a:lnTo>
                    <a:pt x="13984" y="2593"/>
                  </a:lnTo>
                  <a:lnTo>
                    <a:pt x="13985" y="2612"/>
                  </a:lnTo>
                  <a:lnTo>
                    <a:pt x="13984" y="2631"/>
                  </a:lnTo>
                  <a:lnTo>
                    <a:pt x="13980" y="2648"/>
                  </a:lnTo>
                  <a:lnTo>
                    <a:pt x="13976" y="2666"/>
                  </a:lnTo>
                  <a:lnTo>
                    <a:pt x="13970" y="2683"/>
                  </a:lnTo>
                  <a:lnTo>
                    <a:pt x="13962" y="2699"/>
                  </a:lnTo>
                  <a:lnTo>
                    <a:pt x="13953" y="2714"/>
                  </a:lnTo>
                  <a:lnTo>
                    <a:pt x="13942" y="2728"/>
                  </a:lnTo>
                  <a:lnTo>
                    <a:pt x="13930" y="2741"/>
                  </a:lnTo>
                  <a:lnTo>
                    <a:pt x="13918" y="2753"/>
                  </a:lnTo>
                  <a:lnTo>
                    <a:pt x="13903" y="2763"/>
                  </a:lnTo>
                  <a:lnTo>
                    <a:pt x="13889" y="2773"/>
                  </a:lnTo>
                  <a:lnTo>
                    <a:pt x="13873" y="2780"/>
                  </a:lnTo>
                  <a:lnTo>
                    <a:pt x="13856" y="2786"/>
                  </a:lnTo>
                  <a:lnTo>
                    <a:pt x="13839" y="2791"/>
                  </a:lnTo>
                  <a:lnTo>
                    <a:pt x="13820" y="2794"/>
                  </a:lnTo>
                  <a:lnTo>
                    <a:pt x="13802" y="2795"/>
                  </a:lnTo>
                  <a:lnTo>
                    <a:pt x="13783" y="2794"/>
                  </a:lnTo>
                  <a:lnTo>
                    <a:pt x="13764" y="2791"/>
                  </a:lnTo>
                  <a:lnTo>
                    <a:pt x="13748" y="2786"/>
                  </a:lnTo>
                  <a:lnTo>
                    <a:pt x="13731" y="2780"/>
                  </a:lnTo>
                  <a:lnTo>
                    <a:pt x="13714" y="2773"/>
                  </a:lnTo>
                  <a:lnTo>
                    <a:pt x="13700" y="2763"/>
                  </a:lnTo>
                  <a:lnTo>
                    <a:pt x="13685" y="2753"/>
                  </a:lnTo>
                  <a:lnTo>
                    <a:pt x="13673" y="2741"/>
                  </a:lnTo>
                  <a:lnTo>
                    <a:pt x="13661" y="2728"/>
                  </a:lnTo>
                  <a:lnTo>
                    <a:pt x="13651" y="2714"/>
                  </a:lnTo>
                  <a:lnTo>
                    <a:pt x="13641" y="2699"/>
                  </a:lnTo>
                  <a:lnTo>
                    <a:pt x="13634" y="2683"/>
                  </a:lnTo>
                  <a:lnTo>
                    <a:pt x="13628" y="2666"/>
                  </a:lnTo>
                  <a:lnTo>
                    <a:pt x="13623" y="2648"/>
                  </a:lnTo>
                  <a:lnTo>
                    <a:pt x="13621" y="2631"/>
                  </a:lnTo>
                  <a:lnTo>
                    <a:pt x="13619" y="2612"/>
                  </a:lnTo>
                  <a:lnTo>
                    <a:pt x="13621" y="2593"/>
                  </a:lnTo>
                  <a:lnTo>
                    <a:pt x="13623" y="2575"/>
                  </a:lnTo>
                  <a:lnTo>
                    <a:pt x="13628" y="2558"/>
                  </a:lnTo>
                  <a:lnTo>
                    <a:pt x="13634" y="2541"/>
                  </a:lnTo>
                  <a:lnTo>
                    <a:pt x="13641" y="2525"/>
                  </a:lnTo>
                  <a:lnTo>
                    <a:pt x="13651" y="2510"/>
                  </a:lnTo>
                  <a:lnTo>
                    <a:pt x="13661" y="2496"/>
                  </a:lnTo>
                  <a:lnTo>
                    <a:pt x="13673" y="2482"/>
                  </a:lnTo>
                  <a:lnTo>
                    <a:pt x="13685" y="2471"/>
                  </a:lnTo>
                  <a:lnTo>
                    <a:pt x="13700" y="2460"/>
                  </a:lnTo>
                  <a:lnTo>
                    <a:pt x="13714" y="2451"/>
                  </a:lnTo>
                  <a:lnTo>
                    <a:pt x="13731" y="2444"/>
                  </a:lnTo>
                  <a:lnTo>
                    <a:pt x="13748" y="2437"/>
                  </a:lnTo>
                  <a:lnTo>
                    <a:pt x="13764" y="2433"/>
                  </a:lnTo>
                  <a:lnTo>
                    <a:pt x="13783" y="2430"/>
                  </a:lnTo>
                  <a:lnTo>
                    <a:pt x="13802" y="2429"/>
                  </a:lnTo>
                  <a:close/>
                  <a:moveTo>
                    <a:pt x="14340" y="2429"/>
                  </a:moveTo>
                  <a:lnTo>
                    <a:pt x="14359" y="2430"/>
                  </a:lnTo>
                  <a:lnTo>
                    <a:pt x="14377" y="2433"/>
                  </a:lnTo>
                  <a:lnTo>
                    <a:pt x="14394" y="2437"/>
                  </a:lnTo>
                  <a:lnTo>
                    <a:pt x="14411" y="2444"/>
                  </a:lnTo>
                  <a:lnTo>
                    <a:pt x="14427" y="2451"/>
                  </a:lnTo>
                  <a:lnTo>
                    <a:pt x="14442" y="2460"/>
                  </a:lnTo>
                  <a:lnTo>
                    <a:pt x="14456" y="2471"/>
                  </a:lnTo>
                  <a:lnTo>
                    <a:pt x="14470" y="2482"/>
                  </a:lnTo>
                  <a:lnTo>
                    <a:pt x="14481" y="2496"/>
                  </a:lnTo>
                  <a:lnTo>
                    <a:pt x="14491" y="2510"/>
                  </a:lnTo>
                  <a:lnTo>
                    <a:pt x="14501" y="2525"/>
                  </a:lnTo>
                  <a:lnTo>
                    <a:pt x="14508" y="2541"/>
                  </a:lnTo>
                  <a:lnTo>
                    <a:pt x="14514" y="2558"/>
                  </a:lnTo>
                  <a:lnTo>
                    <a:pt x="14519" y="2575"/>
                  </a:lnTo>
                  <a:lnTo>
                    <a:pt x="14522" y="2593"/>
                  </a:lnTo>
                  <a:lnTo>
                    <a:pt x="14523" y="2612"/>
                  </a:lnTo>
                  <a:lnTo>
                    <a:pt x="14522" y="2631"/>
                  </a:lnTo>
                  <a:lnTo>
                    <a:pt x="14519" y="2648"/>
                  </a:lnTo>
                  <a:lnTo>
                    <a:pt x="14514" y="2666"/>
                  </a:lnTo>
                  <a:lnTo>
                    <a:pt x="14508" y="2683"/>
                  </a:lnTo>
                  <a:lnTo>
                    <a:pt x="14501" y="2699"/>
                  </a:lnTo>
                  <a:lnTo>
                    <a:pt x="14491" y="2714"/>
                  </a:lnTo>
                  <a:lnTo>
                    <a:pt x="14481" y="2728"/>
                  </a:lnTo>
                  <a:lnTo>
                    <a:pt x="14470" y="2741"/>
                  </a:lnTo>
                  <a:lnTo>
                    <a:pt x="14456" y="2753"/>
                  </a:lnTo>
                  <a:lnTo>
                    <a:pt x="14442" y="2763"/>
                  </a:lnTo>
                  <a:lnTo>
                    <a:pt x="14427" y="2773"/>
                  </a:lnTo>
                  <a:lnTo>
                    <a:pt x="14411" y="2780"/>
                  </a:lnTo>
                  <a:lnTo>
                    <a:pt x="14394" y="2786"/>
                  </a:lnTo>
                  <a:lnTo>
                    <a:pt x="14377" y="2791"/>
                  </a:lnTo>
                  <a:lnTo>
                    <a:pt x="14359" y="2794"/>
                  </a:lnTo>
                  <a:lnTo>
                    <a:pt x="14340" y="2795"/>
                  </a:lnTo>
                  <a:lnTo>
                    <a:pt x="14321" y="2794"/>
                  </a:lnTo>
                  <a:lnTo>
                    <a:pt x="14304" y="2791"/>
                  </a:lnTo>
                  <a:lnTo>
                    <a:pt x="14286" y="2786"/>
                  </a:lnTo>
                  <a:lnTo>
                    <a:pt x="14269" y="2780"/>
                  </a:lnTo>
                  <a:lnTo>
                    <a:pt x="14254" y="2773"/>
                  </a:lnTo>
                  <a:lnTo>
                    <a:pt x="14238" y="2763"/>
                  </a:lnTo>
                  <a:lnTo>
                    <a:pt x="14224" y="2753"/>
                  </a:lnTo>
                  <a:lnTo>
                    <a:pt x="14212" y="2741"/>
                  </a:lnTo>
                  <a:lnTo>
                    <a:pt x="14199" y="2728"/>
                  </a:lnTo>
                  <a:lnTo>
                    <a:pt x="14189" y="2714"/>
                  </a:lnTo>
                  <a:lnTo>
                    <a:pt x="14180" y="2699"/>
                  </a:lnTo>
                  <a:lnTo>
                    <a:pt x="14172" y="2683"/>
                  </a:lnTo>
                  <a:lnTo>
                    <a:pt x="14166" y="2666"/>
                  </a:lnTo>
                  <a:lnTo>
                    <a:pt x="14162" y="2648"/>
                  </a:lnTo>
                  <a:lnTo>
                    <a:pt x="14159" y="2631"/>
                  </a:lnTo>
                  <a:lnTo>
                    <a:pt x="14158" y="2612"/>
                  </a:lnTo>
                  <a:lnTo>
                    <a:pt x="14159" y="2593"/>
                  </a:lnTo>
                  <a:lnTo>
                    <a:pt x="14162" y="2575"/>
                  </a:lnTo>
                  <a:lnTo>
                    <a:pt x="14166" y="2558"/>
                  </a:lnTo>
                  <a:lnTo>
                    <a:pt x="14172" y="2541"/>
                  </a:lnTo>
                  <a:lnTo>
                    <a:pt x="14180" y="2525"/>
                  </a:lnTo>
                  <a:lnTo>
                    <a:pt x="14189" y="2510"/>
                  </a:lnTo>
                  <a:lnTo>
                    <a:pt x="14199" y="2496"/>
                  </a:lnTo>
                  <a:lnTo>
                    <a:pt x="14212" y="2482"/>
                  </a:lnTo>
                  <a:lnTo>
                    <a:pt x="14224" y="2471"/>
                  </a:lnTo>
                  <a:lnTo>
                    <a:pt x="14238" y="2460"/>
                  </a:lnTo>
                  <a:lnTo>
                    <a:pt x="14254" y="2451"/>
                  </a:lnTo>
                  <a:lnTo>
                    <a:pt x="14269" y="2444"/>
                  </a:lnTo>
                  <a:lnTo>
                    <a:pt x="14286" y="2437"/>
                  </a:lnTo>
                  <a:lnTo>
                    <a:pt x="14304" y="2433"/>
                  </a:lnTo>
                  <a:lnTo>
                    <a:pt x="14321" y="2430"/>
                  </a:lnTo>
                  <a:lnTo>
                    <a:pt x="14340" y="2429"/>
                  </a:lnTo>
                  <a:close/>
                  <a:moveTo>
                    <a:pt x="14879" y="2429"/>
                  </a:moveTo>
                  <a:lnTo>
                    <a:pt x="14897" y="2430"/>
                  </a:lnTo>
                  <a:lnTo>
                    <a:pt x="14916" y="2433"/>
                  </a:lnTo>
                  <a:lnTo>
                    <a:pt x="14933" y="2437"/>
                  </a:lnTo>
                  <a:lnTo>
                    <a:pt x="14950" y="2444"/>
                  </a:lnTo>
                  <a:lnTo>
                    <a:pt x="14966" y="2451"/>
                  </a:lnTo>
                  <a:lnTo>
                    <a:pt x="14981" y="2460"/>
                  </a:lnTo>
                  <a:lnTo>
                    <a:pt x="14995" y="2471"/>
                  </a:lnTo>
                  <a:lnTo>
                    <a:pt x="15008" y="2482"/>
                  </a:lnTo>
                  <a:lnTo>
                    <a:pt x="15019" y="2496"/>
                  </a:lnTo>
                  <a:lnTo>
                    <a:pt x="15031" y="2510"/>
                  </a:lnTo>
                  <a:lnTo>
                    <a:pt x="15039" y="2525"/>
                  </a:lnTo>
                  <a:lnTo>
                    <a:pt x="15047" y="2541"/>
                  </a:lnTo>
                  <a:lnTo>
                    <a:pt x="15054" y="2558"/>
                  </a:lnTo>
                  <a:lnTo>
                    <a:pt x="15058" y="2575"/>
                  </a:lnTo>
                  <a:lnTo>
                    <a:pt x="15061" y="2593"/>
                  </a:lnTo>
                  <a:lnTo>
                    <a:pt x="15062" y="2612"/>
                  </a:lnTo>
                  <a:lnTo>
                    <a:pt x="15061" y="2631"/>
                  </a:lnTo>
                  <a:lnTo>
                    <a:pt x="15058" y="2648"/>
                  </a:lnTo>
                  <a:lnTo>
                    <a:pt x="15054" y="2666"/>
                  </a:lnTo>
                  <a:lnTo>
                    <a:pt x="15047" y="2683"/>
                  </a:lnTo>
                  <a:lnTo>
                    <a:pt x="15039" y="2699"/>
                  </a:lnTo>
                  <a:lnTo>
                    <a:pt x="15031" y="2714"/>
                  </a:lnTo>
                  <a:lnTo>
                    <a:pt x="15019" y="2728"/>
                  </a:lnTo>
                  <a:lnTo>
                    <a:pt x="15008" y="2741"/>
                  </a:lnTo>
                  <a:lnTo>
                    <a:pt x="14995" y="2753"/>
                  </a:lnTo>
                  <a:lnTo>
                    <a:pt x="14981" y="2763"/>
                  </a:lnTo>
                  <a:lnTo>
                    <a:pt x="14966" y="2773"/>
                  </a:lnTo>
                  <a:lnTo>
                    <a:pt x="14950" y="2780"/>
                  </a:lnTo>
                  <a:lnTo>
                    <a:pt x="14933" y="2786"/>
                  </a:lnTo>
                  <a:lnTo>
                    <a:pt x="14916" y="2791"/>
                  </a:lnTo>
                  <a:lnTo>
                    <a:pt x="14897" y="2794"/>
                  </a:lnTo>
                  <a:lnTo>
                    <a:pt x="14879" y="2795"/>
                  </a:lnTo>
                  <a:lnTo>
                    <a:pt x="14861" y="2794"/>
                  </a:lnTo>
                  <a:lnTo>
                    <a:pt x="14842" y="2791"/>
                  </a:lnTo>
                  <a:lnTo>
                    <a:pt x="14825" y="2786"/>
                  </a:lnTo>
                  <a:lnTo>
                    <a:pt x="14809" y="2780"/>
                  </a:lnTo>
                  <a:lnTo>
                    <a:pt x="14792" y="2773"/>
                  </a:lnTo>
                  <a:lnTo>
                    <a:pt x="14777" y="2763"/>
                  </a:lnTo>
                  <a:lnTo>
                    <a:pt x="14763" y="2753"/>
                  </a:lnTo>
                  <a:lnTo>
                    <a:pt x="14750" y="2741"/>
                  </a:lnTo>
                  <a:lnTo>
                    <a:pt x="14739" y="2728"/>
                  </a:lnTo>
                  <a:lnTo>
                    <a:pt x="14728" y="2714"/>
                  </a:lnTo>
                  <a:lnTo>
                    <a:pt x="14719" y="2699"/>
                  </a:lnTo>
                  <a:lnTo>
                    <a:pt x="14710" y="2683"/>
                  </a:lnTo>
                  <a:lnTo>
                    <a:pt x="14705" y="2666"/>
                  </a:lnTo>
                  <a:lnTo>
                    <a:pt x="14700" y="2648"/>
                  </a:lnTo>
                  <a:lnTo>
                    <a:pt x="14698" y="2631"/>
                  </a:lnTo>
                  <a:lnTo>
                    <a:pt x="14697" y="2612"/>
                  </a:lnTo>
                  <a:lnTo>
                    <a:pt x="14698" y="2593"/>
                  </a:lnTo>
                  <a:lnTo>
                    <a:pt x="14700" y="2575"/>
                  </a:lnTo>
                  <a:lnTo>
                    <a:pt x="14705" y="2558"/>
                  </a:lnTo>
                  <a:lnTo>
                    <a:pt x="14710" y="2541"/>
                  </a:lnTo>
                  <a:lnTo>
                    <a:pt x="14719" y="2525"/>
                  </a:lnTo>
                  <a:lnTo>
                    <a:pt x="14728" y="2510"/>
                  </a:lnTo>
                  <a:lnTo>
                    <a:pt x="14739" y="2496"/>
                  </a:lnTo>
                  <a:lnTo>
                    <a:pt x="14750" y="2482"/>
                  </a:lnTo>
                  <a:lnTo>
                    <a:pt x="14763" y="2471"/>
                  </a:lnTo>
                  <a:lnTo>
                    <a:pt x="14777" y="2460"/>
                  </a:lnTo>
                  <a:lnTo>
                    <a:pt x="14792" y="2451"/>
                  </a:lnTo>
                  <a:lnTo>
                    <a:pt x="14809" y="2444"/>
                  </a:lnTo>
                  <a:lnTo>
                    <a:pt x="14825" y="2437"/>
                  </a:lnTo>
                  <a:lnTo>
                    <a:pt x="14842" y="2433"/>
                  </a:lnTo>
                  <a:lnTo>
                    <a:pt x="14861" y="2430"/>
                  </a:lnTo>
                  <a:lnTo>
                    <a:pt x="14879" y="2429"/>
                  </a:lnTo>
                  <a:close/>
                  <a:moveTo>
                    <a:pt x="15418" y="2429"/>
                  </a:moveTo>
                  <a:lnTo>
                    <a:pt x="15436" y="2430"/>
                  </a:lnTo>
                  <a:lnTo>
                    <a:pt x="15454" y="2433"/>
                  </a:lnTo>
                  <a:lnTo>
                    <a:pt x="15472" y="2437"/>
                  </a:lnTo>
                  <a:lnTo>
                    <a:pt x="15489" y="2444"/>
                  </a:lnTo>
                  <a:lnTo>
                    <a:pt x="15504" y="2451"/>
                  </a:lnTo>
                  <a:lnTo>
                    <a:pt x="15520" y="2460"/>
                  </a:lnTo>
                  <a:lnTo>
                    <a:pt x="15533" y="2471"/>
                  </a:lnTo>
                  <a:lnTo>
                    <a:pt x="15547" y="2482"/>
                  </a:lnTo>
                  <a:lnTo>
                    <a:pt x="15558" y="2496"/>
                  </a:lnTo>
                  <a:lnTo>
                    <a:pt x="15569" y="2510"/>
                  </a:lnTo>
                  <a:lnTo>
                    <a:pt x="15578" y="2525"/>
                  </a:lnTo>
                  <a:lnTo>
                    <a:pt x="15586" y="2541"/>
                  </a:lnTo>
                  <a:lnTo>
                    <a:pt x="15592" y="2558"/>
                  </a:lnTo>
                  <a:lnTo>
                    <a:pt x="15596" y="2575"/>
                  </a:lnTo>
                  <a:lnTo>
                    <a:pt x="15599" y="2593"/>
                  </a:lnTo>
                  <a:lnTo>
                    <a:pt x="15600" y="2612"/>
                  </a:lnTo>
                  <a:lnTo>
                    <a:pt x="15599" y="2631"/>
                  </a:lnTo>
                  <a:lnTo>
                    <a:pt x="15596" y="2648"/>
                  </a:lnTo>
                  <a:lnTo>
                    <a:pt x="15592" y="2666"/>
                  </a:lnTo>
                  <a:lnTo>
                    <a:pt x="15586" y="2683"/>
                  </a:lnTo>
                  <a:lnTo>
                    <a:pt x="15578" y="2699"/>
                  </a:lnTo>
                  <a:lnTo>
                    <a:pt x="15569" y="2714"/>
                  </a:lnTo>
                  <a:lnTo>
                    <a:pt x="15558" y="2728"/>
                  </a:lnTo>
                  <a:lnTo>
                    <a:pt x="15547" y="2741"/>
                  </a:lnTo>
                  <a:lnTo>
                    <a:pt x="15533" y="2753"/>
                  </a:lnTo>
                  <a:lnTo>
                    <a:pt x="15520" y="2763"/>
                  </a:lnTo>
                  <a:lnTo>
                    <a:pt x="15504" y="2773"/>
                  </a:lnTo>
                  <a:lnTo>
                    <a:pt x="15489" y="2780"/>
                  </a:lnTo>
                  <a:lnTo>
                    <a:pt x="15472" y="2786"/>
                  </a:lnTo>
                  <a:lnTo>
                    <a:pt x="15454" y="2791"/>
                  </a:lnTo>
                  <a:lnTo>
                    <a:pt x="15436" y="2794"/>
                  </a:lnTo>
                  <a:lnTo>
                    <a:pt x="15418" y="2795"/>
                  </a:lnTo>
                  <a:lnTo>
                    <a:pt x="15399" y="2794"/>
                  </a:lnTo>
                  <a:lnTo>
                    <a:pt x="15381" y="2791"/>
                  </a:lnTo>
                  <a:lnTo>
                    <a:pt x="15363" y="2786"/>
                  </a:lnTo>
                  <a:lnTo>
                    <a:pt x="15347" y="2780"/>
                  </a:lnTo>
                  <a:lnTo>
                    <a:pt x="15331" y="2773"/>
                  </a:lnTo>
                  <a:lnTo>
                    <a:pt x="15315" y="2763"/>
                  </a:lnTo>
                  <a:lnTo>
                    <a:pt x="15302" y="2753"/>
                  </a:lnTo>
                  <a:lnTo>
                    <a:pt x="15289" y="2741"/>
                  </a:lnTo>
                  <a:lnTo>
                    <a:pt x="15277" y="2728"/>
                  </a:lnTo>
                  <a:lnTo>
                    <a:pt x="15266" y="2714"/>
                  </a:lnTo>
                  <a:lnTo>
                    <a:pt x="15257" y="2699"/>
                  </a:lnTo>
                  <a:lnTo>
                    <a:pt x="15250" y="2683"/>
                  </a:lnTo>
                  <a:lnTo>
                    <a:pt x="15243" y="2666"/>
                  </a:lnTo>
                  <a:lnTo>
                    <a:pt x="15239" y="2648"/>
                  </a:lnTo>
                  <a:lnTo>
                    <a:pt x="15236" y="2631"/>
                  </a:lnTo>
                  <a:lnTo>
                    <a:pt x="15235" y="2612"/>
                  </a:lnTo>
                  <a:lnTo>
                    <a:pt x="15236" y="2593"/>
                  </a:lnTo>
                  <a:lnTo>
                    <a:pt x="15239" y="2575"/>
                  </a:lnTo>
                  <a:lnTo>
                    <a:pt x="15243" y="2558"/>
                  </a:lnTo>
                  <a:lnTo>
                    <a:pt x="15250" y="2541"/>
                  </a:lnTo>
                  <a:lnTo>
                    <a:pt x="15257" y="2525"/>
                  </a:lnTo>
                  <a:lnTo>
                    <a:pt x="15266" y="2510"/>
                  </a:lnTo>
                  <a:lnTo>
                    <a:pt x="15277" y="2496"/>
                  </a:lnTo>
                  <a:lnTo>
                    <a:pt x="15289" y="2482"/>
                  </a:lnTo>
                  <a:lnTo>
                    <a:pt x="15302" y="2471"/>
                  </a:lnTo>
                  <a:lnTo>
                    <a:pt x="15315" y="2460"/>
                  </a:lnTo>
                  <a:lnTo>
                    <a:pt x="15331" y="2451"/>
                  </a:lnTo>
                  <a:lnTo>
                    <a:pt x="15347" y="2444"/>
                  </a:lnTo>
                  <a:lnTo>
                    <a:pt x="15363" y="2437"/>
                  </a:lnTo>
                  <a:lnTo>
                    <a:pt x="15381" y="2433"/>
                  </a:lnTo>
                  <a:lnTo>
                    <a:pt x="15399" y="2430"/>
                  </a:lnTo>
                  <a:lnTo>
                    <a:pt x="15418" y="2429"/>
                  </a:lnTo>
                  <a:close/>
                  <a:moveTo>
                    <a:pt x="13682" y="943"/>
                  </a:moveTo>
                  <a:lnTo>
                    <a:pt x="15712" y="943"/>
                  </a:lnTo>
                  <a:lnTo>
                    <a:pt x="15712" y="1546"/>
                  </a:lnTo>
                  <a:lnTo>
                    <a:pt x="13682" y="1546"/>
                  </a:lnTo>
                  <a:lnTo>
                    <a:pt x="13682" y="943"/>
                  </a:lnTo>
                  <a:close/>
                  <a:moveTo>
                    <a:pt x="1545" y="1123"/>
                  </a:moveTo>
                  <a:lnTo>
                    <a:pt x="1545" y="943"/>
                  </a:lnTo>
                  <a:lnTo>
                    <a:pt x="1089" y="943"/>
                  </a:lnTo>
                  <a:lnTo>
                    <a:pt x="1089" y="1123"/>
                  </a:lnTo>
                  <a:lnTo>
                    <a:pt x="811" y="1123"/>
                  </a:lnTo>
                  <a:lnTo>
                    <a:pt x="811" y="1769"/>
                  </a:lnTo>
                  <a:lnTo>
                    <a:pt x="1822" y="1769"/>
                  </a:lnTo>
                  <a:lnTo>
                    <a:pt x="1822" y="1123"/>
                  </a:lnTo>
                  <a:lnTo>
                    <a:pt x="1545" y="1123"/>
                  </a:lnTo>
                  <a:close/>
                  <a:moveTo>
                    <a:pt x="3010" y="1123"/>
                  </a:moveTo>
                  <a:lnTo>
                    <a:pt x="3010" y="943"/>
                  </a:lnTo>
                  <a:lnTo>
                    <a:pt x="2555" y="943"/>
                  </a:lnTo>
                  <a:lnTo>
                    <a:pt x="2555" y="1123"/>
                  </a:lnTo>
                  <a:lnTo>
                    <a:pt x="2278" y="1123"/>
                  </a:lnTo>
                  <a:lnTo>
                    <a:pt x="2278" y="1769"/>
                  </a:lnTo>
                  <a:lnTo>
                    <a:pt x="3288" y="1769"/>
                  </a:lnTo>
                  <a:lnTo>
                    <a:pt x="3288" y="1123"/>
                  </a:lnTo>
                  <a:lnTo>
                    <a:pt x="3010" y="1123"/>
                  </a:lnTo>
                  <a:close/>
                  <a:moveTo>
                    <a:pt x="4477" y="1123"/>
                  </a:moveTo>
                  <a:lnTo>
                    <a:pt x="4477" y="943"/>
                  </a:lnTo>
                  <a:lnTo>
                    <a:pt x="4021" y="943"/>
                  </a:lnTo>
                  <a:lnTo>
                    <a:pt x="4021" y="1123"/>
                  </a:lnTo>
                  <a:lnTo>
                    <a:pt x="3743" y="1123"/>
                  </a:lnTo>
                  <a:lnTo>
                    <a:pt x="3743" y="1769"/>
                  </a:lnTo>
                  <a:lnTo>
                    <a:pt x="4754" y="1769"/>
                  </a:lnTo>
                  <a:lnTo>
                    <a:pt x="4754" y="1123"/>
                  </a:lnTo>
                  <a:lnTo>
                    <a:pt x="4477" y="1123"/>
                  </a:lnTo>
                  <a:close/>
                  <a:moveTo>
                    <a:pt x="5942" y="1123"/>
                  </a:moveTo>
                  <a:lnTo>
                    <a:pt x="5942" y="943"/>
                  </a:lnTo>
                  <a:lnTo>
                    <a:pt x="5486" y="943"/>
                  </a:lnTo>
                  <a:lnTo>
                    <a:pt x="5486" y="1123"/>
                  </a:lnTo>
                  <a:lnTo>
                    <a:pt x="5209" y="1123"/>
                  </a:lnTo>
                  <a:lnTo>
                    <a:pt x="5209" y="1769"/>
                  </a:lnTo>
                  <a:lnTo>
                    <a:pt x="6219" y="1769"/>
                  </a:lnTo>
                  <a:lnTo>
                    <a:pt x="6219" y="1123"/>
                  </a:lnTo>
                  <a:lnTo>
                    <a:pt x="5942" y="1123"/>
                  </a:lnTo>
                  <a:close/>
                  <a:moveTo>
                    <a:pt x="7407" y="1123"/>
                  </a:moveTo>
                  <a:lnTo>
                    <a:pt x="7407" y="943"/>
                  </a:lnTo>
                  <a:lnTo>
                    <a:pt x="6953" y="943"/>
                  </a:lnTo>
                  <a:lnTo>
                    <a:pt x="6953" y="1123"/>
                  </a:lnTo>
                  <a:lnTo>
                    <a:pt x="6675" y="1123"/>
                  </a:lnTo>
                  <a:lnTo>
                    <a:pt x="6675" y="1769"/>
                  </a:lnTo>
                  <a:lnTo>
                    <a:pt x="7685" y="1769"/>
                  </a:lnTo>
                  <a:lnTo>
                    <a:pt x="7685" y="1123"/>
                  </a:lnTo>
                  <a:lnTo>
                    <a:pt x="7407" y="1123"/>
                  </a:lnTo>
                  <a:close/>
                  <a:moveTo>
                    <a:pt x="8874" y="1123"/>
                  </a:moveTo>
                  <a:lnTo>
                    <a:pt x="8874" y="943"/>
                  </a:lnTo>
                  <a:lnTo>
                    <a:pt x="8418" y="943"/>
                  </a:lnTo>
                  <a:lnTo>
                    <a:pt x="8418" y="1123"/>
                  </a:lnTo>
                  <a:lnTo>
                    <a:pt x="8141" y="1123"/>
                  </a:lnTo>
                  <a:lnTo>
                    <a:pt x="8141" y="1769"/>
                  </a:lnTo>
                  <a:lnTo>
                    <a:pt x="9151" y="1769"/>
                  </a:lnTo>
                  <a:lnTo>
                    <a:pt x="9151" y="1123"/>
                  </a:lnTo>
                  <a:lnTo>
                    <a:pt x="8874" y="1123"/>
                  </a:lnTo>
                  <a:close/>
                  <a:moveTo>
                    <a:pt x="10339" y="1123"/>
                  </a:moveTo>
                  <a:lnTo>
                    <a:pt x="10339" y="943"/>
                  </a:lnTo>
                  <a:lnTo>
                    <a:pt x="9883" y="943"/>
                  </a:lnTo>
                  <a:lnTo>
                    <a:pt x="9883" y="1123"/>
                  </a:lnTo>
                  <a:lnTo>
                    <a:pt x="9606" y="1123"/>
                  </a:lnTo>
                  <a:lnTo>
                    <a:pt x="9606" y="1769"/>
                  </a:lnTo>
                  <a:lnTo>
                    <a:pt x="10617" y="1769"/>
                  </a:lnTo>
                  <a:lnTo>
                    <a:pt x="10617" y="1123"/>
                  </a:lnTo>
                  <a:lnTo>
                    <a:pt x="10339" y="1123"/>
                  </a:lnTo>
                  <a:close/>
                  <a:moveTo>
                    <a:pt x="1545" y="2845"/>
                  </a:moveTo>
                  <a:lnTo>
                    <a:pt x="1545" y="3025"/>
                  </a:lnTo>
                  <a:lnTo>
                    <a:pt x="1089" y="3025"/>
                  </a:lnTo>
                  <a:lnTo>
                    <a:pt x="1089" y="2845"/>
                  </a:lnTo>
                  <a:lnTo>
                    <a:pt x="811" y="2845"/>
                  </a:lnTo>
                  <a:lnTo>
                    <a:pt x="811" y="2199"/>
                  </a:lnTo>
                  <a:lnTo>
                    <a:pt x="1822" y="2199"/>
                  </a:lnTo>
                  <a:lnTo>
                    <a:pt x="1822" y="2845"/>
                  </a:lnTo>
                  <a:lnTo>
                    <a:pt x="1545" y="2845"/>
                  </a:lnTo>
                  <a:close/>
                  <a:moveTo>
                    <a:pt x="3010" y="2845"/>
                  </a:moveTo>
                  <a:lnTo>
                    <a:pt x="3010" y="3025"/>
                  </a:lnTo>
                  <a:lnTo>
                    <a:pt x="2555" y="3025"/>
                  </a:lnTo>
                  <a:lnTo>
                    <a:pt x="2555" y="2845"/>
                  </a:lnTo>
                  <a:lnTo>
                    <a:pt x="2278" y="2845"/>
                  </a:lnTo>
                  <a:lnTo>
                    <a:pt x="2278" y="2199"/>
                  </a:lnTo>
                  <a:lnTo>
                    <a:pt x="3288" y="2199"/>
                  </a:lnTo>
                  <a:lnTo>
                    <a:pt x="3288" y="2845"/>
                  </a:lnTo>
                  <a:lnTo>
                    <a:pt x="3010" y="2845"/>
                  </a:lnTo>
                  <a:close/>
                  <a:moveTo>
                    <a:pt x="4477" y="2845"/>
                  </a:moveTo>
                  <a:lnTo>
                    <a:pt x="4477" y="3025"/>
                  </a:lnTo>
                  <a:lnTo>
                    <a:pt x="4021" y="3025"/>
                  </a:lnTo>
                  <a:lnTo>
                    <a:pt x="4021" y="2845"/>
                  </a:lnTo>
                  <a:lnTo>
                    <a:pt x="3743" y="2845"/>
                  </a:lnTo>
                  <a:lnTo>
                    <a:pt x="3743" y="2199"/>
                  </a:lnTo>
                  <a:lnTo>
                    <a:pt x="4754" y="2199"/>
                  </a:lnTo>
                  <a:lnTo>
                    <a:pt x="4754" y="2845"/>
                  </a:lnTo>
                  <a:lnTo>
                    <a:pt x="4477" y="2845"/>
                  </a:lnTo>
                  <a:close/>
                  <a:moveTo>
                    <a:pt x="5942" y="2845"/>
                  </a:moveTo>
                  <a:lnTo>
                    <a:pt x="5942" y="3025"/>
                  </a:lnTo>
                  <a:lnTo>
                    <a:pt x="5486" y="3025"/>
                  </a:lnTo>
                  <a:lnTo>
                    <a:pt x="5486" y="2845"/>
                  </a:lnTo>
                  <a:lnTo>
                    <a:pt x="5209" y="2845"/>
                  </a:lnTo>
                  <a:lnTo>
                    <a:pt x="5209" y="2199"/>
                  </a:lnTo>
                  <a:lnTo>
                    <a:pt x="6219" y="2199"/>
                  </a:lnTo>
                  <a:lnTo>
                    <a:pt x="6219" y="2845"/>
                  </a:lnTo>
                  <a:lnTo>
                    <a:pt x="5942" y="2845"/>
                  </a:lnTo>
                  <a:close/>
                  <a:moveTo>
                    <a:pt x="7407" y="2845"/>
                  </a:moveTo>
                  <a:lnTo>
                    <a:pt x="7407" y="3025"/>
                  </a:lnTo>
                  <a:lnTo>
                    <a:pt x="6953" y="3025"/>
                  </a:lnTo>
                  <a:lnTo>
                    <a:pt x="6953" y="2845"/>
                  </a:lnTo>
                  <a:lnTo>
                    <a:pt x="6675" y="2845"/>
                  </a:lnTo>
                  <a:lnTo>
                    <a:pt x="6675" y="2199"/>
                  </a:lnTo>
                  <a:lnTo>
                    <a:pt x="7685" y="2199"/>
                  </a:lnTo>
                  <a:lnTo>
                    <a:pt x="7685" y="2845"/>
                  </a:lnTo>
                  <a:lnTo>
                    <a:pt x="7407" y="2845"/>
                  </a:lnTo>
                  <a:close/>
                  <a:moveTo>
                    <a:pt x="8874" y="2845"/>
                  </a:moveTo>
                  <a:lnTo>
                    <a:pt x="8874" y="3025"/>
                  </a:lnTo>
                  <a:lnTo>
                    <a:pt x="8418" y="3025"/>
                  </a:lnTo>
                  <a:lnTo>
                    <a:pt x="8418" y="2845"/>
                  </a:lnTo>
                  <a:lnTo>
                    <a:pt x="8141" y="2845"/>
                  </a:lnTo>
                  <a:lnTo>
                    <a:pt x="8141" y="2199"/>
                  </a:lnTo>
                  <a:lnTo>
                    <a:pt x="9151" y="2199"/>
                  </a:lnTo>
                  <a:lnTo>
                    <a:pt x="9151" y="2845"/>
                  </a:lnTo>
                  <a:lnTo>
                    <a:pt x="8874" y="2845"/>
                  </a:lnTo>
                  <a:close/>
                  <a:moveTo>
                    <a:pt x="10339" y="2845"/>
                  </a:moveTo>
                  <a:lnTo>
                    <a:pt x="10339" y="3025"/>
                  </a:lnTo>
                  <a:lnTo>
                    <a:pt x="9883" y="3025"/>
                  </a:lnTo>
                  <a:lnTo>
                    <a:pt x="9883" y="2845"/>
                  </a:lnTo>
                  <a:lnTo>
                    <a:pt x="9606" y="2845"/>
                  </a:lnTo>
                  <a:lnTo>
                    <a:pt x="9606" y="2199"/>
                  </a:lnTo>
                  <a:lnTo>
                    <a:pt x="10617" y="2199"/>
                  </a:lnTo>
                  <a:lnTo>
                    <a:pt x="10617" y="2845"/>
                  </a:lnTo>
                  <a:lnTo>
                    <a:pt x="10339" y="2845"/>
                  </a:lnTo>
                  <a:close/>
                  <a:moveTo>
                    <a:pt x="11851" y="1123"/>
                  </a:moveTo>
                  <a:lnTo>
                    <a:pt x="11851" y="943"/>
                  </a:lnTo>
                  <a:lnTo>
                    <a:pt x="11395" y="943"/>
                  </a:lnTo>
                  <a:lnTo>
                    <a:pt x="11395" y="1123"/>
                  </a:lnTo>
                  <a:lnTo>
                    <a:pt x="11117" y="1123"/>
                  </a:lnTo>
                  <a:lnTo>
                    <a:pt x="11117" y="1769"/>
                  </a:lnTo>
                  <a:lnTo>
                    <a:pt x="12128" y="1769"/>
                  </a:lnTo>
                  <a:lnTo>
                    <a:pt x="12128" y="1123"/>
                  </a:lnTo>
                  <a:lnTo>
                    <a:pt x="11851" y="1123"/>
                  </a:lnTo>
                  <a:close/>
                  <a:moveTo>
                    <a:pt x="11851" y="2845"/>
                  </a:moveTo>
                  <a:lnTo>
                    <a:pt x="11851" y="3025"/>
                  </a:lnTo>
                  <a:lnTo>
                    <a:pt x="11395" y="3025"/>
                  </a:lnTo>
                  <a:lnTo>
                    <a:pt x="11395" y="2845"/>
                  </a:lnTo>
                  <a:lnTo>
                    <a:pt x="11117" y="2845"/>
                  </a:lnTo>
                  <a:lnTo>
                    <a:pt x="11117" y="2199"/>
                  </a:lnTo>
                  <a:lnTo>
                    <a:pt x="12128" y="2199"/>
                  </a:lnTo>
                  <a:lnTo>
                    <a:pt x="12128" y="2845"/>
                  </a:lnTo>
                  <a:lnTo>
                    <a:pt x="11851" y="2845"/>
                  </a:lnTo>
                  <a:close/>
                </a:path>
              </a:pathLst>
            </a:custGeom>
            <a:grpFill/>
            <a:ln w="9525">
              <a:solidFill>
                <a:srgbClr val="00B0F0"/>
              </a:solidFill>
              <a:round/>
              <a:headEnd/>
              <a:tailEnd/>
            </a:ln>
          </p:spPr>
          <p:txBody>
            <a:bodyPr vert="horz" wrap="square" lIns="91416" tIns="45708" rIns="91416" bIns="45708" numCol="1" anchor="t" anchorCtr="0" compatLnSpc="1">
              <a:prstTxWarp prst="textNoShape">
                <a:avLst/>
              </a:prstTxWarp>
            </a:bodyPr>
            <a:lstStyle/>
            <a:p>
              <a:pPr defTabSz="914072" fontAlgn="ctr">
                <a:defRPr/>
              </a:pPr>
              <a:endParaRPr lang="en-US" altLang="zh-CN" sz="1200" kern="0" dirty="0">
                <a:solidFill>
                  <a:schemeClr val="bg1"/>
                </a:solidFill>
                <a:cs typeface="Times New Roman" pitchFamily="18" charset="0"/>
              </a:endParaRPr>
            </a:p>
          </p:txBody>
        </p:sp>
        <p:sp>
          <p:nvSpPr>
            <p:cNvPr id="139" name="41041075"/>
            <p:cNvSpPr>
              <a:spLocks noEditPoints="1"/>
            </p:cNvSpPr>
            <p:nvPr/>
          </p:nvSpPr>
          <p:spPr bwMode="auto">
            <a:xfrm>
              <a:off x="5458125" y="4644587"/>
              <a:ext cx="696913" cy="124963"/>
            </a:xfrm>
            <a:custGeom>
              <a:avLst/>
              <a:gdLst/>
              <a:ahLst/>
              <a:cxnLst>
                <a:cxn ang="0">
                  <a:pos x="16278" y="39"/>
                </a:cxn>
                <a:cxn ang="0">
                  <a:pos x="16504" y="184"/>
                </a:cxn>
                <a:cxn ang="0">
                  <a:pos x="16649" y="411"/>
                </a:cxn>
                <a:cxn ang="0">
                  <a:pos x="16687" y="3376"/>
                </a:cxn>
                <a:cxn ang="0">
                  <a:pos x="16612" y="3641"/>
                </a:cxn>
                <a:cxn ang="0">
                  <a:pos x="16437" y="3844"/>
                </a:cxn>
                <a:cxn ang="0">
                  <a:pos x="16189" y="3955"/>
                </a:cxn>
                <a:cxn ang="0">
                  <a:pos x="499" y="3955"/>
                </a:cxn>
                <a:cxn ang="0">
                  <a:pos x="251" y="3844"/>
                </a:cxn>
                <a:cxn ang="0">
                  <a:pos x="75" y="3641"/>
                </a:cxn>
                <a:cxn ang="0">
                  <a:pos x="1" y="3376"/>
                </a:cxn>
                <a:cxn ang="0">
                  <a:pos x="38" y="411"/>
                </a:cxn>
                <a:cxn ang="0">
                  <a:pos x="184" y="184"/>
                </a:cxn>
                <a:cxn ang="0">
                  <a:pos x="410" y="39"/>
                </a:cxn>
                <a:cxn ang="0">
                  <a:pos x="13820" y="2430"/>
                </a:cxn>
                <a:cxn ang="0">
                  <a:pos x="13953" y="2510"/>
                </a:cxn>
                <a:cxn ang="0">
                  <a:pos x="13976" y="2666"/>
                </a:cxn>
                <a:cxn ang="0">
                  <a:pos x="13873" y="2780"/>
                </a:cxn>
                <a:cxn ang="0">
                  <a:pos x="13714" y="2773"/>
                </a:cxn>
                <a:cxn ang="0">
                  <a:pos x="13623" y="2648"/>
                </a:cxn>
                <a:cxn ang="0">
                  <a:pos x="13661" y="2496"/>
                </a:cxn>
                <a:cxn ang="0">
                  <a:pos x="13802" y="2429"/>
                </a:cxn>
                <a:cxn ang="0">
                  <a:pos x="14470" y="2482"/>
                </a:cxn>
                <a:cxn ang="0">
                  <a:pos x="14522" y="2631"/>
                </a:cxn>
                <a:cxn ang="0">
                  <a:pos x="14442" y="2763"/>
                </a:cxn>
                <a:cxn ang="0">
                  <a:pos x="14286" y="2786"/>
                </a:cxn>
                <a:cxn ang="0">
                  <a:pos x="14172" y="2683"/>
                </a:cxn>
                <a:cxn ang="0">
                  <a:pos x="14180" y="2525"/>
                </a:cxn>
                <a:cxn ang="0">
                  <a:pos x="14304" y="2433"/>
                </a:cxn>
                <a:cxn ang="0">
                  <a:pos x="14981" y="2460"/>
                </a:cxn>
                <a:cxn ang="0">
                  <a:pos x="15061" y="2593"/>
                </a:cxn>
                <a:cxn ang="0">
                  <a:pos x="15008" y="2741"/>
                </a:cxn>
                <a:cxn ang="0">
                  <a:pos x="14861" y="2794"/>
                </a:cxn>
                <a:cxn ang="0">
                  <a:pos x="14728" y="2714"/>
                </a:cxn>
                <a:cxn ang="0">
                  <a:pos x="14705" y="2558"/>
                </a:cxn>
                <a:cxn ang="0">
                  <a:pos x="14809" y="2444"/>
                </a:cxn>
                <a:cxn ang="0">
                  <a:pos x="15489" y="2444"/>
                </a:cxn>
                <a:cxn ang="0">
                  <a:pos x="15592" y="2558"/>
                </a:cxn>
                <a:cxn ang="0">
                  <a:pos x="15569" y="2714"/>
                </a:cxn>
                <a:cxn ang="0">
                  <a:pos x="15436" y="2794"/>
                </a:cxn>
                <a:cxn ang="0">
                  <a:pos x="15289" y="2741"/>
                </a:cxn>
                <a:cxn ang="0">
                  <a:pos x="15236" y="2593"/>
                </a:cxn>
                <a:cxn ang="0">
                  <a:pos x="15315" y="2460"/>
                </a:cxn>
                <a:cxn ang="0">
                  <a:pos x="15712" y="1546"/>
                </a:cxn>
                <a:cxn ang="0">
                  <a:pos x="1822" y="1769"/>
                </a:cxn>
                <a:cxn ang="0">
                  <a:pos x="3288" y="1769"/>
                </a:cxn>
                <a:cxn ang="0">
                  <a:pos x="4754" y="1769"/>
                </a:cxn>
                <a:cxn ang="0">
                  <a:pos x="6219" y="1769"/>
                </a:cxn>
                <a:cxn ang="0">
                  <a:pos x="7685" y="1769"/>
                </a:cxn>
                <a:cxn ang="0">
                  <a:pos x="9151" y="1769"/>
                </a:cxn>
                <a:cxn ang="0">
                  <a:pos x="10617" y="1769"/>
                </a:cxn>
                <a:cxn ang="0">
                  <a:pos x="1822" y="2199"/>
                </a:cxn>
                <a:cxn ang="0">
                  <a:pos x="3288" y="2199"/>
                </a:cxn>
                <a:cxn ang="0">
                  <a:pos x="4754" y="2199"/>
                </a:cxn>
                <a:cxn ang="0">
                  <a:pos x="6219" y="2199"/>
                </a:cxn>
                <a:cxn ang="0">
                  <a:pos x="7685" y="2199"/>
                </a:cxn>
                <a:cxn ang="0">
                  <a:pos x="9151" y="2199"/>
                </a:cxn>
                <a:cxn ang="0">
                  <a:pos x="10617" y="2199"/>
                </a:cxn>
                <a:cxn ang="0">
                  <a:pos x="12128" y="1769"/>
                </a:cxn>
                <a:cxn ang="0">
                  <a:pos x="12128" y="2199"/>
                </a:cxn>
              </a:cxnLst>
              <a:rect l="0" t="0" r="r" b="b"/>
              <a:pathLst>
                <a:path w="16688" h="3968">
                  <a:moveTo>
                    <a:pt x="624" y="0"/>
                  </a:moveTo>
                  <a:lnTo>
                    <a:pt x="16064" y="0"/>
                  </a:lnTo>
                  <a:lnTo>
                    <a:pt x="16097" y="1"/>
                  </a:lnTo>
                  <a:lnTo>
                    <a:pt x="16128" y="3"/>
                  </a:lnTo>
                  <a:lnTo>
                    <a:pt x="16159" y="7"/>
                  </a:lnTo>
                  <a:lnTo>
                    <a:pt x="16189" y="13"/>
                  </a:lnTo>
                  <a:lnTo>
                    <a:pt x="16220" y="20"/>
                  </a:lnTo>
                  <a:lnTo>
                    <a:pt x="16249" y="28"/>
                  </a:lnTo>
                  <a:lnTo>
                    <a:pt x="16278" y="39"/>
                  </a:lnTo>
                  <a:lnTo>
                    <a:pt x="16306" y="49"/>
                  </a:lnTo>
                  <a:lnTo>
                    <a:pt x="16334" y="62"/>
                  </a:lnTo>
                  <a:lnTo>
                    <a:pt x="16360" y="76"/>
                  </a:lnTo>
                  <a:lnTo>
                    <a:pt x="16387" y="91"/>
                  </a:lnTo>
                  <a:lnTo>
                    <a:pt x="16413" y="108"/>
                  </a:lnTo>
                  <a:lnTo>
                    <a:pt x="16437" y="124"/>
                  </a:lnTo>
                  <a:lnTo>
                    <a:pt x="16461" y="143"/>
                  </a:lnTo>
                  <a:lnTo>
                    <a:pt x="16484" y="163"/>
                  </a:lnTo>
                  <a:lnTo>
                    <a:pt x="16504" y="184"/>
                  </a:lnTo>
                  <a:lnTo>
                    <a:pt x="16525" y="205"/>
                  </a:lnTo>
                  <a:lnTo>
                    <a:pt x="16545" y="228"/>
                  </a:lnTo>
                  <a:lnTo>
                    <a:pt x="16564" y="252"/>
                  </a:lnTo>
                  <a:lnTo>
                    <a:pt x="16581" y="276"/>
                  </a:lnTo>
                  <a:lnTo>
                    <a:pt x="16597" y="302"/>
                  </a:lnTo>
                  <a:lnTo>
                    <a:pt x="16612" y="328"/>
                  </a:lnTo>
                  <a:lnTo>
                    <a:pt x="16626" y="354"/>
                  </a:lnTo>
                  <a:lnTo>
                    <a:pt x="16639" y="382"/>
                  </a:lnTo>
                  <a:lnTo>
                    <a:pt x="16649" y="411"/>
                  </a:lnTo>
                  <a:lnTo>
                    <a:pt x="16660" y="440"/>
                  </a:lnTo>
                  <a:lnTo>
                    <a:pt x="16668" y="469"/>
                  </a:lnTo>
                  <a:lnTo>
                    <a:pt x="16675" y="499"/>
                  </a:lnTo>
                  <a:lnTo>
                    <a:pt x="16681" y="530"/>
                  </a:lnTo>
                  <a:lnTo>
                    <a:pt x="16685" y="561"/>
                  </a:lnTo>
                  <a:lnTo>
                    <a:pt x="16687" y="592"/>
                  </a:lnTo>
                  <a:lnTo>
                    <a:pt x="16688" y="625"/>
                  </a:lnTo>
                  <a:lnTo>
                    <a:pt x="16688" y="3343"/>
                  </a:lnTo>
                  <a:lnTo>
                    <a:pt x="16687" y="3376"/>
                  </a:lnTo>
                  <a:lnTo>
                    <a:pt x="16685" y="3407"/>
                  </a:lnTo>
                  <a:lnTo>
                    <a:pt x="16681" y="3438"/>
                  </a:lnTo>
                  <a:lnTo>
                    <a:pt x="16675" y="3469"/>
                  </a:lnTo>
                  <a:lnTo>
                    <a:pt x="16668" y="3499"/>
                  </a:lnTo>
                  <a:lnTo>
                    <a:pt x="16660" y="3529"/>
                  </a:lnTo>
                  <a:lnTo>
                    <a:pt x="16649" y="3557"/>
                  </a:lnTo>
                  <a:lnTo>
                    <a:pt x="16639" y="3586"/>
                  </a:lnTo>
                  <a:lnTo>
                    <a:pt x="16626" y="3614"/>
                  </a:lnTo>
                  <a:lnTo>
                    <a:pt x="16612" y="3641"/>
                  </a:lnTo>
                  <a:lnTo>
                    <a:pt x="16597" y="3667"/>
                  </a:lnTo>
                  <a:lnTo>
                    <a:pt x="16581" y="3692"/>
                  </a:lnTo>
                  <a:lnTo>
                    <a:pt x="16564" y="3716"/>
                  </a:lnTo>
                  <a:lnTo>
                    <a:pt x="16545" y="3740"/>
                  </a:lnTo>
                  <a:lnTo>
                    <a:pt x="16525" y="3763"/>
                  </a:lnTo>
                  <a:lnTo>
                    <a:pt x="16504" y="3784"/>
                  </a:lnTo>
                  <a:lnTo>
                    <a:pt x="16484" y="3805"/>
                  </a:lnTo>
                  <a:lnTo>
                    <a:pt x="16461" y="3825"/>
                  </a:lnTo>
                  <a:lnTo>
                    <a:pt x="16437" y="3844"/>
                  </a:lnTo>
                  <a:lnTo>
                    <a:pt x="16413" y="3861"/>
                  </a:lnTo>
                  <a:lnTo>
                    <a:pt x="16387" y="3877"/>
                  </a:lnTo>
                  <a:lnTo>
                    <a:pt x="16360" y="3893"/>
                  </a:lnTo>
                  <a:lnTo>
                    <a:pt x="16334" y="3906"/>
                  </a:lnTo>
                  <a:lnTo>
                    <a:pt x="16306" y="3919"/>
                  </a:lnTo>
                  <a:lnTo>
                    <a:pt x="16278" y="3930"/>
                  </a:lnTo>
                  <a:lnTo>
                    <a:pt x="16249" y="3940"/>
                  </a:lnTo>
                  <a:lnTo>
                    <a:pt x="16220" y="3948"/>
                  </a:lnTo>
                  <a:lnTo>
                    <a:pt x="16189" y="3955"/>
                  </a:lnTo>
                  <a:lnTo>
                    <a:pt x="16159" y="3961"/>
                  </a:lnTo>
                  <a:lnTo>
                    <a:pt x="16128" y="3965"/>
                  </a:lnTo>
                  <a:lnTo>
                    <a:pt x="16097" y="3967"/>
                  </a:lnTo>
                  <a:lnTo>
                    <a:pt x="16064" y="3968"/>
                  </a:lnTo>
                  <a:lnTo>
                    <a:pt x="624" y="3968"/>
                  </a:lnTo>
                  <a:lnTo>
                    <a:pt x="591" y="3967"/>
                  </a:lnTo>
                  <a:lnTo>
                    <a:pt x="560" y="3965"/>
                  </a:lnTo>
                  <a:lnTo>
                    <a:pt x="529" y="3961"/>
                  </a:lnTo>
                  <a:lnTo>
                    <a:pt x="499" y="3955"/>
                  </a:lnTo>
                  <a:lnTo>
                    <a:pt x="468" y="3948"/>
                  </a:lnTo>
                  <a:lnTo>
                    <a:pt x="438" y="3940"/>
                  </a:lnTo>
                  <a:lnTo>
                    <a:pt x="410" y="3930"/>
                  </a:lnTo>
                  <a:lnTo>
                    <a:pt x="382" y="3919"/>
                  </a:lnTo>
                  <a:lnTo>
                    <a:pt x="354" y="3906"/>
                  </a:lnTo>
                  <a:lnTo>
                    <a:pt x="326" y="3893"/>
                  </a:lnTo>
                  <a:lnTo>
                    <a:pt x="300" y="3877"/>
                  </a:lnTo>
                  <a:lnTo>
                    <a:pt x="275" y="3861"/>
                  </a:lnTo>
                  <a:lnTo>
                    <a:pt x="251" y="3844"/>
                  </a:lnTo>
                  <a:lnTo>
                    <a:pt x="227" y="3825"/>
                  </a:lnTo>
                  <a:lnTo>
                    <a:pt x="204" y="3805"/>
                  </a:lnTo>
                  <a:lnTo>
                    <a:pt x="184" y="3784"/>
                  </a:lnTo>
                  <a:lnTo>
                    <a:pt x="163" y="3763"/>
                  </a:lnTo>
                  <a:lnTo>
                    <a:pt x="143" y="3740"/>
                  </a:lnTo>
                  <a:lnTo>
                    <a:pt x="124" y="3716"/>
                  </a:lnTo>
                  <a:lnTo>
                    <a:pt x="106" y="3692"/>
                  </a:lnTo>
                  <a:lnTo>
                    <a:pt x="91" y="3667"/>
                  </a:lnTo>
                  <a:lnTo>
                    <a:pt x="75" y="3641"/>
                  </a:lnTo>
                  <a:lnTo>
                    <a:pt x="62" y="3614"/>
                  </a:lnTo>
                  <a:lnTo>
                    <a:pt x="49" y="3586"/>
                  </a:lnTo>
                  <a:lnTo>
                    <a:pt x="38" y="3557"/>
                  </a:lnTo>
                  <a:lnTo>
                    <a:pt x="28" y="3529"/>
                  </a:lnTo>
                  <a:lnTo>
                    <a:pt x="20" y="3499"/>
                  </a:lnTo>
                  <a:lnTo>
                    <a:pt x="13" y="3469"/>
                  </a:lnTo>
                  <a:lnTo>
                    <a:pt x="7" y="3438"/>
                  </a:lnTo>
                  <a:lnTo>
                    <a:pt x="3" y="3407"/>
                  </a:lnTo>
                  <a:lnTo>
                    <a:pt x="1" y="3376"/>
                  </a:lnTo>
                  <a:lnTo>
                    <a:pt x="0" y="3343"/>
                  </a:lnTo>
                  <a:lnTo>
                    <a:pt x="0" y="625"/>
                  </a:lnTo>
                  <a:lnTo>
                    <a:pt x="1" y="592"/>
                  </a:lnTo>
                  <a:lnTo>
                    <a:pt x="3" y="561"/>
                  </a:lnTo>
                  <a:lnTo>
                    <a:pt x="7" y="530"/>
                  </a:lnTo>
                  <a:lnTo>
                    <a:pt x="13" y="499"/>
                  </a:lnTo>
                  <a:lnTo>
                    <a:pt x="20" y="469"/>
                  </a:lnTo>
                  <a:lnTo>
                    <a:pt x="28" y="440"/>
                  </a:lnTo>
                  <a:lnTo>
                    <a:pt x="38" y="411"/>
                  </a:lnTo>
                  <a:lnTo>
                    <a:pt x="49" y="382"/>
                  </a:lnTo>
                  <a:lnTo>
                    <a:pt x="62" y="354"/>
                  </a:lnTo>
                  <a:lnTo>
                    <a:pt x="75" y="328"/>
                  </a:lnTo>
                  <a:lnTo>
                    <a:pt x="91" y="302"/>
                  </a:lnTo>
                  <a:lnTo>
                    <a:pt x="106" y="276"/>
                  </a:lnTo>
                  <a:lnTo>
                    <a:pt x="124" y="252"/>
                  </a:lnTo>
                  <a:lnTo>
                    <a:pt x="143" y="228"/>
                  </a:lnTo>
                  <a:lnTo>
                    <a:pt x="163" y="205"/>
                  </a:lnTo>
                  <a:lnTo>
                    <a:pt x="184" y="184"/>
                  </a:lnTo>
                  <a:lnTo>
                    <a:pt x="204" y="163"/>
                  </a:lnTo>
                  <a:lnTo>
                    <a:pt x="227" y="143"/>
                  </a:lnTo>
                  <a:lnTo>
                    <a:pt x="251" y="124"/>
                  </a:lnTo>
                  <a:lnTo>
                    <a:pt x="275" y="108"/>
                  </a:lnTo>
                  <a:lnTo>
                    <a:pt x="300" y="91"/>
                  </a:lnTo>
                  <a:lnTo>
                    <a:pt x="326" y="76"/>
                  </a:lnTo>
                  <a:lnTo>
                    <a:pt x="354" y="62"/>
                  </a:lnTo>
                  <a:lnTo>
                    <a:pt x="382" y="49"/>
                  </a:lnTo>
                  <a:lnTo>
                    <a:pt x="410" y="39"/>
                  </a:lnTo>
                  <a:lnTo>
                    <a:pt x="438" y="28"/>
                  </a:lnTo>
                  <a:lnTo>
                    <a:pt x="468" y="20"/>
                  </a:lnTo>
                  <a:lnTo>
                    <a:pt x="499" y="13"/>
                  </a:lnTo>
                  <a:lnTo>
                    <a:pt x="529" y="7"/>
                  </a:lnTo>
                  <a:lnTo>
                    <a:pt x="560" y="3"/>
                  </a:lnTo>
                  <a:lnTo>
                    <a:pt x="591" y="1"/>
                  </a:lnTo>
                  <a:lnTo>
                    <a:pt x="624" y="0"/>
                  </a:lnTo>
                  <a:close/>
                  <a:moveTo>
                    <a:pt x="13802" y="2429"/>
                  </a:moveTo>
                  <a:lnTo>
                    <a:pt x="13820" y="2430"/>
                  </a:lnTo>
                  <a:lnTo>
                    <a:pt x="13839" y="2433"/>
                  </a:lnTo>
                  <a:lnTo>
                    <a:pt x="13856" y="2437"/>
                  </a:lnTo>
                  <a:lnTo>
                    <a:pt x="13873" y="2444"/>
                  </a:lnTo>
                  <a:lnTo>
                    <a:pt x="13889" y="2451"/>
                  </a:lnTo>
                  <a:lnTo>
                    <a:pt x="13903" y="2460"/>
                  </a:lnTo>
                  <a:lnTo>
                    <a:pt x="13918" y="2471"/>
                  </a:lnTo>
                  <a:lnTo>
                    <a:pt x="13930" y="2482"/>
                  </a:lnTo>
                  <a:lnTo>
                    <a:pt x="13942" y="2496"/>
                  </a:lnTo>
                  <a:lnTo>
                    <a:pt x="13953" y="2510"/>
                  </a:lnTo>
                  <a:lnTo>
                    <a:pt x="13962" y="2525"/>
                  </a:lnTo>
                  <a:lnTo>
                    <a:pt x="13970" y="2541"/>
                  </a:lnTo>
                  <a:lnTo>
                    <a:pt x="13976" y="2558"/>
                  </a:lnTo>
                  <a:lnTo>
                    <a:pt x="13980" y="2575"/>
                  </a:lnTo>
                  <a:lnTo>
                    <a:pt x="13984" y="2593"/>
                  </a:lnTo>
                  <a:lnTo>
                    <a:pt x="13985" y="2612"/>
                  </a:lnTo>
                  <a:lnTo>
                    <a:pt x="13984" y="2631"/>
                  </a:lnTo>
                  <a:lnTo>
                    <a:pt x="13980" y="2648"/>
                  </a:lnTo>
                  <a:lnTo>
                    <a:pt x="13976" y="2666"/>
                  </a:lnTo>
                  <a:lnTo>
                    <a:pt x="13970" y="2683"/>
                  </a:lnTo>
                  <a:lnTo>
                    <a:pt x="13962" y="2699"/>
                  </a:lnTo>
                  <a:lnTo>
                    <a:pt x="13953" y="2714"/>
                  </a:lnTo>
                  <a:lnTo>
                    <a:pt x="13942" y="2728"/>
                  </a:lnTo>
                  <a:lnTo>
                    <a:pt x="13930" y="2741"/>
                  </a:lnTo>
                  <a:lnTo>
                    <a:pt x="13918" y="2753"/>
                  </a:lnTo>
                  <a:lnTo>
                    <a:pt x="13903" y="2763"/>
                  </a:lnTo>
                  <a:lnTo>
                    <a:pt x="13889" y="2773"/>
                  </a:lnTo>
                  <a:lnTo>
                    <a:pt x="13873" y="2780"/>
                  </a:lnTo>
                  <a:lnTo>
                    <a:pt x="13856" y="2786"/>
                  </a:lnTo>
                  <a:lnTo>
                    <a:pt x="13839" y="2791"/>
                  </a:lnTo>
                  <a:lnTo>
                    <a:pt x="13820" y="2794"/>
                  </a:lnTo>
                  <a:lnTo>
                    <a:pt x="13802" y="2795"/>
                  </a:lnTo>
                  <a:lnTo>
                    <a:pt x="13783" y="2794"/>
                  </a:lnTo>
                  <a:lnTo>
                    <a:pt x="13764" y="2791"/>
                  </a:lnTo>
                  <a:lnTo>
                    <a:pt x="13748" y="2786"/>
                  </a:lnTo>
                  <a:lnTo>
                    <a:pt x="13731" y="2780"/>
                  </a:lnTo>
                  <a:lnTo>
                    <a:pt x="13714" y="2773"/>
                  </a:lnTo>
                  <a:lnTo>
                    <a:pt x="13700" y="2763"/>
                  </a:lnTo>
                  <a:lnTo>
                    <a:pt x="13685" y="2753"/>
                  </a:lnTo>
                  <a:lnTo>
                    <a:pt x="13673" y="2741"/>
                  </a:lnTo>
                  <a:lnTo>
                    <a:pt x="13661" y="2728"/>
                  </a:lnTo>
                  <a:lnTo>
                    <a:pt x="13651" y="2714"/>
                  </a:lnTo>
                  <a:lnTo>
                    <a:pt x="13641" y="2699"/>
                  </a:lnTo>
                  <a:lnTo>
                    <a:pt x="13634" y="2683"/>
                  </a:lnTo>
                  <a:lnTo>
                    <a:pt x="13628" y="2666"/>
                  </a:lnTo>
                  <a:lnTo>
                    <a:pt x="13623" y="2648"/>
                  </a:lnTo>
                  <a:lnTo>
                    <a:pt x="13621" y="2631"/>
                  </a:lnTo>
                  <a:lnTo>
                    <a:pt x="13619" y="2612"/>
                  </a:lnTo>
                  <a:lnTo>
                    <a:pt x="13621" y="2593"/>
                  </a:lnTo>
                  <a:lnTo>
                    <a:pt x="13623" y="2575"/>
                  </a:lnTo>
                  <a:lnTo>
                    <a:pt x="13628" y="2558"/>
                  </a:lnTo>
                  <a:lnTo>
                    <a:pt x="13634" y="2541"/>
                  </a:lnTo>
                  <a:lnTo>
                    <a:pt x="13641" y="2525"/>
                  </a:lnTo>
                  <a:lnTo>
                    <a:pt x="13651" y="2510"/>
                  </a:lnTo>
                  <a:lnTo>
                    <a:pt x="13661" y="2496"/>
                  </a:lnTo>
                  <a:lnTo>
                    <a:pt x="13673" y="2482"/>
                  </a:lnTo>
                  <a:lnTo>
                    <a:pt x="13685" y="2471"/>
                  </a:lnTo>
                  <a:lnTo>
                    <a:pt x="13700" y="2460"/>
                  </a:lnTo>
                  <a:lnTo>
                    <a:pt x="13714" y="2451"/>
                  </a:lnTo>
                  <a:lnTo>
                    <a:pt x="13731" y="2444"/>
                  </a:lnTo>
                  <a:lnTo>
                    <a:pt x="13748" y="2437"/>
                  </a:lnTo>
                  <a:lnTo>
                    <a:pt x="13764" y="2433"/>
                  </a:lnTo>
                  <a:lnTo>
                    <a:pt x="13783" y="2430"/>
                  </a:lnTo>
                  <a:lnTo>
                    <a:pt x="13802" y="2429"/>
                  </a:lnTo>
                  <a:close/>
                  <a:moveTo>
                    <a:pt x="14340" y="2429"/>
                  </a:moveTo>
                  <a:lnTo>
                    <a:pt x="14359" y="2430"/>
                  </a:lnTo>
                  <a:lnTo>
                    <a:pt x="14377" y="2433"/>
                  </a:lnTo>
                  <a:lnTo>
                    <a:pt x="14394" y="2437"/>
                  </a:lnTo>
                  <a:lnTo>
                    <a:pt x="14411" y="2444"/>
                  </a:lnTo>
                  <a:lnTo>
                    <a:pt x="14427" y="2451"/>
                  </a:lnTo>
                  <a:lnTo>
                    <a:pt x="14442" y="2460"/>
                  </a:lnTo>
                  <a:lnTo>
                    <a:pt x="14456" y="2471"/>
                  </a:lnTo>
                  <a:lnTo>
                    <a:pt x="14470" y="2482"/>
                  </a:lnTo>
                  <a:lnTo>
                    <a:pt x="14481" y="2496"/>
                  </a:lnTo>
                  <a:lnTo>
                    <a:pt x="14491" y="2510"/>
                  </a:lnTo>
                  <a:lnTo>
                    <a:pt x="14501" y="2525"/>
                  </a:lnTo>
                  <a:lnTo>
                    <a:pt x="14508" y="2541"/>
                  </a:lnTo>
                  <a:lnTo>
                    <a:pt x="14514" y="2558"/>
                  </a:lnTo>
                  <a:lnTo>
                    <a:pt x="14519" y="2575"/>
                  </a:lnTo>
                  <a:lnTo>
                    <a:pt x="14522" y="2593"/>
                  </a:lnTo>
                  <a:lnTo>
                    <a:pt x="14523" y="2612"/>
                  </a:lnTo>
                  <a:lnTo>
                    <a:pt x="14522" y="2631"/>
                  </a:lnTo>
                  <a:lnTo>
                    <a:pt x="14519" y="2648"/>
                  </a:lnTo>
                  <a:lnTo>
                    <a:pt x="14514" y="2666"/>
                  </a:lnTo>
                  <a:lnTo>
                    <a:pt x="14508" y="2683"/>
                  </a:lnTo>
                  <a:lnTo>
                    <a:pt x="14501" y="2699"/>
                  </a:lnTo>
                  <a:lnTo>
                    <a:pt x="14491" y="2714"/>
                  </a:lnTo>
                  <a:lnTo>
                    <a:pt x="14481" y="2728"/>
                  </a:lnTo>
                  <a:lnTo>
                    <a:pt x="14470" y="2741"/>
                  </a:lnTo>
                  <a:lnTo>
                    <a:pt x="14456" y="2753"/>
                  </a:lnTo>
                  <a:lnTo>
                    <a:pt x="14442" y="2763"/>
                  </a:lnTo>
                  <a:lnTo>
                    <a:pt x="14427" y="2773"/>
                  </a:lnTo>
                  <a:lnTo>
                    <a:pt x="14411" y="2780"/>
                  </a:lnTo>
                  <a:lnTo>
                    <a:pt x="14394" y="2786"/>
                  </a:lnTo>
                  <a:lnTo>
                    <a:pt x="14377" y="2791"/>
                  </a:lnTo>
                  <a:lnTo>
                    <a:pt x="14359" y="2794"/>
                  </a:lnTo>
                  <a:lnTo>
                    <a:pt x="14340" y="2795"/>
                  </a:lnTo>
                  <a:lnTo>
                    <a:pt x="14321" y="2794"/>
                  </a:lnTo>
                  <a:lnTo>
                    <a:pt x="14304" y="2791"/>
                  </a:lnTo>
                  <a:lnTo>
                    <a:pt x="14286" y="2786"/>
                  </a:lnTo>
                  <a:lnTo>
                    <a:pt x="14269" y="2780"/>
                  </a:lnTo>
                  <a:lnTo>
                    <a:pt x="14254" y="2773"/>
                  </a:lnTo>
                  <a:lnTo>
                    <a:pt x="14238" y="2763"/>
                  </a:lnTo>
                  <a:lnTo>
                    <a:pt x="14224" y="2753"/>
                  </a:lnTo>
                  <a:lnTo>
                    <a:pt x="14212" y="2741"/>
                  </a:lnTo>
                  <a:lnTo>
                    <a:pt x="14199" y="2728"/>
                  </a:lnTo>
                  <a:lnTo>
                    <a:pt x="14189" y="2714"/>
                  </a:lnTo>
                  <a:lnTo>
                    <a:pt x="14180" y="2699"/>
                  </a:lnTo>
                  <a:lnTo>
                    <a:pt x="14172" y="2683"/>
                  </a:lnTo>
                  <a:lnTo>
                    <a:pt x="14166" y="2666"/>
                  </a:lnTo>
                  <a:lnTo>
                    <a:pt x="14162" y="2648"/>
                  </a:lnTo>
                  <a:lnTo>
                    <a:pt x="14159" y="2631"/>
                  </a:lnTo>
                  <a:lnTo>
                    <a:pt x="14158" y="2612"/>
                  </a:lnTo>
                  <a:lnTo>
                    <a:pt x="14159" y="2593"/>
                  </a:lnTo>
                  <a:lnTo>
                    <a:pt x="14162" y="2575"/>
                  </a:lnTo>
                  <a:lnTo>
                    <a:pt x="14166" y="2558"/>
                  </a:lnTo>
                  <a:lnTo>
                    <a:pt x="14172" y="2541"/>
                  </a:lnTo>
                  <a:lnTo>
                    <a:pt x="14180" y="2525"/>
                  </a:lnTo>
                  <a:lnTo>
                    <a:pt x="14189" y="2510"/>
                  </a:lnTo>
                  <a:lnTo>
                    <a:pt x="14199" y="2496"/>
                  </a:lnTo>
                  <a:lnTo>
                    <a:pt x="14212" y="2482"/>
                  </a:lnTo>
                  <a:lnTo>
                    <a:pt x="14224" y="2471"/>
                  </a:lnTo>
                  <a:lnTo>
                    <a:pt x="14238" y="2460"/>
                  </a:lnTo>
                  <a:lnTo>
                    <a:pt x="14254" y="2451"/>
                  </a:lnTo>
                  <a:lnTo>
                    <a:pt x="14269" y="2444"/>
                  </a:lnTo>
                  <a:lnTo>
                    <a:pt x="14286" y="2437"/>
                  </a:lnTo>
                  <a:lnTo>
                    <a:pt x="14304" y="2433"/>
                  </a:lnTo>
                  <a:lnTo>
                    <a:pt x="14321" y="2430"/>
                  </a:lnTo>
                  <a:lnTo>
                    <a:pt x="14340" y="2429"/>
                  </a:lnTo>
                  <a:close/>
                  <a:moveTo>
                    <a:pt x="14879" y="2429"/>
                  </a:moveTo>
                  <a:lnTo>
                    <a:pt x="14897" y="2430"/>
                  </a:lnTo>
                  <a:lnTo>
                    <a:pt x="14916" y="2433"/>
                  </a:lnTo>
                  <a:lnTo>
                    <a:pt x="14933" y="2437"/>
                  </a:lnTo>
                  <a:lnTo>
                    <a:pt x="14950" y="2444"/>
                  </a:lnTo>
                  <a:lnTo>
                    <a:pt x="14966" y="2451"/>
                  </a:lnTo>
                  <a:lnTo>
                    <a:pt x="14981" y="2460"/>
                  </a:lnTo>
                  <a:lnTo>
                    <a:pt x="14995" y="2471"/>
                  </a:lnTo>
                  <a:lnTo>
                    <a:pt x="15008" y="2482"/>
                  </a:lnTo>
                  <a:lnTo>
                    <a:pt x="15019" y="2496"/>
                  </a:lnTo>
                  <a:lnTo>
                    <a:pt x="15031" y="2510"/>
                  </a:lnTo>
                  <a:lnTo>
                    <a:pt x="15039" y="2525"/>
                  </a:lnTo>
                  <a:lnTo>
                    <a:pt x="15047" y="2541"/>
                  </a:lnTo>
                  <a:lnTo>
                    <a:pt x="15054" y="2558"/>
                  </a:lnTo>
                  <a:lnTo>
                    <a:pt x="15058" y="2575"/>
                  </a:lnTo>
                  <a:lnTo>
                    <a:pt x="15061" y="2593"/>
                  </a:lnTo>
                  <a:lnTo>
                    <a:pt x="15062" y="2612"/>
                  </a:lnTo>
                  <a:lnTo>
                    <a:pt x="15061" y="2631"/>
                  </a:lnTo>
                  <a:lnTo>
                    <a:pt x="15058" y="2648"/>
                  </a:lnTo>
                  <a:lnTo>
                    <a:pt x="15054" y="2666"/>
                  </a:lnTo>
                  <a:lnTo>
                    <a:pt x="15047" y="2683"/>
                  </a:lnTo>
                  <a:lnTo>
                    <a:pt x="15039" y="2699"/>
                  </a:lnTo>
                  <a:lnTo>
                    <a:pt x="15031" y="2714"/>
                  </a:lnTo>
                  <a:lnTo>
                    <a:pt x="15019" y="2728"/>
                  </a:lnTo>
                  <a:lnTo>
                    <a:pt x="15008" y="2741"/>
                  </a:lnTo>
                  <a:lnTo>
                    <a:pt x="14995" y="2753"/>
                  </a:lnTo>
                  <a:lnTo>
                    <a:pt x="14981" y="2763"/>
                  </a:lnTo>
                  <a:lnTo>
                    <a:pt x="14966" y="2773"/>
                  </a:lnTo>
                  <a:lnTo>
                    <a:pt x="14950" y="2780"/>
                  </a:lnTo>
                  <a:lnTo>
                    <a:pt x="14933" y="2786"/>
                  </a:lnTo>
                  <a:lnTo>
                    <a:pt x="14916" y="2791"/>
                  </a:lnTo>
                  <a:lnTo>
                    <a:pt x="14897" y="2794"/>
                  </a:lnTo>
                  <a:lnTo>
                    <a:pt x="14879" y="2795"/>
                  </a:lnTo>
                  <a:lnTo>
                    <a:pt x="14861" y="2794"/>
                  </a:lnTo>
                  <a:lnTo>
                    <a:pt x="14842" y="2791"/>
                  </a:lnTo>
                  <a:lnTo>
                    <a:pt x="14825" y="2786"/>
                  </a:lnTo>
                  <a:lnTo>
                    <a:pt x="14809" y="2780"/>
                  </a:lnTo>
                  <a:lnTo>
                    <a:pt x="14792" y="2773"/>
                  </a:lnTo>
                  <a:lnTo>
                    <a:pt x="14777" y="2763"/>
                  </a:lnTo>
                  <a:lnTo>
                    <a:pt x="14763" y="2753"/>
                  </a:lnTo>
                  <a:lnTo>
                    <a:pt x="14750" y="2741"/>
                  </a:lnTo>
                  <a:lnTo>
                    <a:pt x="14739" y="2728"/>
                  </a:lnTo>
                  <a:lnTo>
                    <a:pt x="14728" y="2714"/>
                  </a:lnTo>
                  <a:lnTo>
                    <a:pt x="14719" y="2699"/>
                  </a:lnTo>
                  <a:lnTo>
                    <a:pt x="14710" y="2683"/>
                  </a:lnTo>
                  <a:lnTo>
                    <a:pt x="14705" y="2666"/>
                  </a:lnTo>
                  <a:lnTo>
                    <a:pt x="14700" y="2648"/>
                  </a:lnTo>
                  <a:lnTo>
                    <a:pt x="14698" y="2631"/>
                  </a:lnTo>
                  <a:lnTo>
                    <a:pt x="14697" y="2612"/>
                  </a:lnTo>
                  <a:lnTo>
                    <a:pt x="14698" y="2593"/>
                  </a:lnTo>
                  <a:lnTo>
                    <a:pt x="14700" y="2575"/>
                  </a:lnTo>
                  <a:lnTo>
                    <a:pt x="14705" y="2558"/>
                  </a:lnTo>
                  <a:lnTo>
                    <a:pt x="14710" y="2541"/>
                  </a:lnTo>
                  <a:lnTo>
                    <a:pt x="14719" y="2525"/>
                  </a:lnTo>
                  <a:lnTo>
                    <a:pt x="14728" y="2510"/>
                  </a:lnTo>
                  <a:lnTo>
                    <a:pt x="14739" y="2496"/>
                  </a:lnTo>
                  <a:lnTo>
                    <a:pt x="14750" y="2482"/>
                  </a:lnTo>
                  <a:lnTo>
                    <a:pt x="14763" y="2471"/>
                  </a:lnTo>
                  <a:lnTo>
                    <a:pt x="14777" y="2460"/>
                  </a:lnTo>
                  <a:lnTo>
                    <a:pt x="14792" y="2451"/>
                  </a:lnTo>
                  <a:lnTo>
                    <a:pt x="14809" y="2444"/>
                  </a:lnTo>
                  <a:lnTo>
                    <a:pt x="14825" y="2437"/>
                  </a:lnTo>
                  <a:lnTo>
                    <a:pt x="14842" y="2433"/>
                  </a:lnTo>
                  <a:lnTo>
                    <a:pt x="14861" y="2430"/>
                  </a:lnTo>
                  <a:lnTo>
                    <a:pt x="14879" y="2429"/>
                  </a:lnTo>
                  <a:close/>
                  <a:moveTo>
                    <a:pt x="15418" y="2429"/>
                  </a:moveTo>
                  <a:lnTo>
                    <a:pt x="15436" y="2430"/>
                  </a:lnTo>
                  <a:lnTo>
                    <a:pt x="15454" y="2433"/>
                  </a:lnTo>
                  <a:lnTo>
                    <a:pt x="15472" y="2437"/>
                  </a:lnTo>
                  <a:lnTo>
                    <a:pt x="15489" y="2444"/>
                  </a:lnTo>
                  <a:lnTo>
                    <a:pt x="15504" y="2451"/>
                  </a:lnTo>
                  <a:lnTo>
                    <a:pt x="15520" y="2460"/>
                  </a:lnTo>
                  <a:lnTo>
                    <a:pt x="15533" y="2471"/>
                  </a:lnTo>
                  <a:lnTo>
                    <a:pt x="15547" y="2482"/>
                  </a:lnTo>
                  <a:lnTo>
                    <a:pt x="15558" y="2496"/>
                  </a:lnTo>
                  <a:lnTo>
                    <a:pt x="15569" y="2510"/>
                  </a:lnTo>
                  <a:lnTo>
                    <a:pt x="15578" y="2525"/>
                  </a:lnTo>
                  <a:lnTo>
                    <a:pt x="15586" y="2541"/>
                  </a:lnTo>
                  <a:lnTo>
                    <a:pt x="15592" y="2558"/>
                  </a:lnTo>
                  <a:lnTo>
                    <a:pt x="15596" y="2575"/>
                  </a:lnTo>
                  <a:lnTo>
                    <a:pt x="15599" y="2593"/>
                  </a:lnTo>
                  <a:lnTo>
                    <a:pt x="15600" y="2612"/>
                  </a:lnTo>
                  <a:lnTo>
                    <a:pt x="15599" y="2631"/>
                  </a:lnTo>
                  <a:lnTo>
                    <a:pt x="15596" y="2648"/>
                  </a:lnTo>
                  <a:lnTo>
                    <a:pt x="15592" y="2666"/>
                  </a:lnTo>
                  <a:lnTo>
                    <a:pt x="15586" y="2683"/>
                  </a:lnTo>
                  <a:lnTo>
                    <a:pt x="15578" y="2699"/>
                  </a:lnTo>
                  <a:lnTo>
                    <a:pt x="15569" y="2714"/>
                  </a:lnTo>
                  <a:lnTo>
                    <a:pt x="15558" y="2728"/>
                  </a:lnTo>
                  <a:lnTo>
                    <a:pt x="15547" y="2741"/>
                  </a:lnTo>
                  <a:lnTo>
                    <a:pt x="15533" y="2753"/>
                  </a:lnTo>
                  <a:lnTo>
                    <a:pt x="15520" y="2763"/>
                  </a:lnTo>
                  <a:lnTo>
                    <a:pt x="15504" y="2773"/>
                  </a:lnTo>
                  <a:lnTo>
                    <a:pt x="15489" y="2780"/>
                  </a:lnTo>
                  <a:lnTo>
                    <a:pt x="15472" y="2786"/>
                  </a:lnTo>
                  <a:lnTo>
                    <a:pt x="15454" y="2791"/>
                  </a:lnTo>
                  <a:lnTo>
                    <a:pt x="15436" y="2794"/>
                  </a:lnTo>
                  <a:lnTo>
                    <a:pt x="15418" y="2795"/>
                  </a:lnTo>
                  <a:lnTo>
                    <a:pt x="15399" y="2794"/>
                  </a:lnTo>
                  <a:lnTo>
                    <a:pt x="15381" y="2791"/>
                  </a:lnTo>
                  <a:lnTo>
                    <a:pt x="15363" y="2786"/>
                  </a:lnTo>
                  <a:lnTo>
                    <a:pt x="15347" y="2780"/>
                  </a:lnTo>
                  <a:lnTo>
                    <a:pt x="15331" y="2773"/>
                  </a:lnTo>
                  <a:lnTo>
                    <a:pt x="15315" y="2763"/>
                  </a:lnTo>
                  <a:lnTo>
                    <a:pt x="15302" y="2753"/>
                  </a:lnTo>
                  <a:lnTo>
                    <a:pt x="15289" y="2741"/>
                  </a:lnTo>
                  <a:lnTo>
                    <a:pt x="15277" y="2728"/>
                  </a:lnTo>
                  <a:lnTo>
                    <a:pt x="15266" y="2714"/>
                  </a:lnTo>
                  <a:lnTo>
                    <a:pt x="15257" y="2699"/>
                  </a:lnTo>
                  <a:lnTo>
                    <a:pt x="15250" y="2683"/>
                  </a:lnTo>
                  <a:lnTo>
                    <a:pt x="15243" y="2666"/>
                  </a:lnTo>
                  <a:lnTo>
                    <a:pt x="15239" y="2648"/>
                  </a:lnTo>
                  <a:lnTo>
                    <a:pt x="15236" y="2631"/>
                  </a:lnTo>
                  <a:lnTo>
                    <a:pt x="15235" y="2612"/>
                  </a:lnTo>
                  <a:lnTo>
                    <a:pt x="15236" y="2593"/>
                  </a:lnTo>
                  <a:lnTo>
                    <a:pt x="15239" y="2575"/>
                  </a:lnTo>
                  <a:lnTo>
                    <a:pt x="15243" y="2558"/>
                  </a:lnTo>
                  <a:lnTo>
                    <a:pt x="15250" y="2541"/>
                  </a:lnTo>
                  <a:lnTo>
                    <a:pt x="15257" y="2525"/>
                  </a:lnTo>
                  <a:lnTo>
                    <a:pt x="15266" y="2510"/>
                  </a:lnTo>
                  <a:lnTo>
                    <a:pt x="15277" y="2496"/>
                  </a:lnTo>
                  <a:lnTo>
                    <a:pt x="15289" y="2482"/>
                  </a:lnTo>
                  <a:lnTo>
                    <a:pt x="15302" y="2471"/>
                  </a:lnTo>
                  <a:lnTo>
                    <a:pt x="15315" y="2460"/>
                  </a:lnTo>
                  <a:lnTo>
                    <a:pt x="15331" y="2451"/>
                  </a:lnTo>
                  <a:lnTo>
                    <a:pt x="15347" y="2444"/>
                  </a:lnTo>
                  <a:lnTo>
                    <a:pt x="15363" y="2437"/>
                  </a:lnTo>
                  <a:lnTo>
                    <a:pt x="15381" y="2433"/>
                  </a:lnTo>
                  <a:lnTo>
                    <a:pt x="15399" y="2430"/>
                  </a:lnTo>
                  <a:lnTo>
                    <a:pt x="15418" y="2429"/>
                  </a:lnTo>
                  <a:close/>
                  <a:moveTo>
                    <a:pt x="13682" y="943"/>
                  </a:moveTo>
                  <a:lnTo>
                    <a:pt x="15712" y="943"/>
                  </a:lnTo>
                  <a:lnTo>
                    <a:pt x="15712" y="1546"/>
                  </a:lnTo>
                  <a:lnTo>
                    <a:pt x="13682" y="1546"/>
                  </a:lnTo>
                  <a:lnTo>
                    <a:pt x="13682" y="943"/>
                  </a:lnTo>
                  <a:close/>
                  <a:moveTo>
                    <a:pt x="1545" y="1123"/>
                  </a:moveTo>
                  <a:lnTo>
                    <a:pt x="1545" y="943"/>
                  </a:lnTo>
                  <a:lnTo>
                    <a:pt x="1089" y="943"/>
                  </a:lnTo>
                  <a:lnTo>
                    <a:pt x="1089" y="1123"/>
                  </a:lnTo>
                  <a:lnTo>
                    <a:pt x="811" y="1123"/>
                  </a:lnTo>
                  <a:lnTo>
                    <a:pt x="811" y="1769"/>
                  </a:lnTo>
                  <a:lnTo>
                    <a:pt x="1822" y="1769"/>
                  </a:lnTo>
                  <a:lnTo>
                    <a:pt x="1822" y="1123"/>
                  </a:lnTo>
                  <a:lnTo>
                    <a:pt x="1545" y="1123"/>
                  </a:lnTo>
                  <a:close/>
                  <a:moveTo>
                    <a:pt x="3010" y="1123"/>
                  </a:moveTo>
                  <a:lnTo>
                    <a:pt x="3010" y="943"/>
                  </a:lnTo>
                  <a:lnTo>
                    <a:pt x="2555" y="943"/>
                  </a:lnTo>
                  <a:lnTo>
                    <a:pt x="2555" y="1123"/>
                  </a:lnTo>
                  <a:lnTo>
                    <a:pt x="2278" y="1123"/>
                  </a:lnTo>
                  <a:lnTo>
                    <a:pt x="2278" y="1769"/>
                  </a:lnTo>
                  <a:lnTo>
                    <a:pt x="3288" y="1769"/>
                  </a:lnTo>
                  <a:lnTo>
                    <a:pt x="3288" y="1123"/>
                  </a:lnTo>
                  <a:lnTo>
                    <a:pt x="3010" y="1123"/>
                  </a:lnTo>
                  <a:close/>
                  <a:moveTo>
                    <a:pt x="4477" y="1123"/>
                  </a:moveTo>
                  <a:lnTo>
                    <a:pt x="4477" y="943"/>
                  </a:lnTo>
                  <a:lnTo>
                    <a:pt x="4021" y="943"/>
                  </a:lnTo>
                  <a:lnTo>
                    <a:pt x="4021" y="1123"/>
                  </a:lnTo>
                  <a:lnTo>
                    <a:pt x="3743" y="1123"/>
                  </a:lnTo>
                  <a:lnTo>
                    <a:pt x="3743" y="1769"/>
                  </a:lnTo>
                  <a:lnTo>
                    <a:pt x="4754" y="1769"/>
                  </a:lnTo>
                  <a:lnTo>
                    <a:pt x="4754" y="1123"/>
                  </a:lnTo>
                  <a:lnTo>
                    <a:pt x="4477" y="1123"/>
                  </a:lnTo>
                  <a:close/>
                  <a:moveTo>
                    <a:pt x="5942" y="1123"/>
                  </a:moveTo>
                  <a:lnTo>
                    <a:pt x="5942" y="943"/>
                  </a:lnTo>
                  <a:lnTo>
                    <a:pt x="5486" y="943"/>
                  </a:lnTo>
                  <a:lnTo>
                    <a:pt x="5486" y="1123"/>
                  </a:lnTo>
                  <a:lnTo>
                    <a:pt x="5209" y="1123"/>
                  </a:lnTo>
                  <a:lnTo>
                    <a:pt x="5209" y="1769"/>
                  </a:lnTo>
                  <a:lnTo>
                    <a:pt x="6219" y="1769"/>
                  </a:lnTo>
                  <a:lnTo>
                    <a:pt x="6219" y="1123"/>
                  </a:lnTo>
                  <a:lnTo>
                    <a:pt x="5942" y="1123"/>
                  </a:lnTo>
                  <a:close/>
                  <a:moveTo>
                    <a:pt x="7407" y="1123"/>
                  </a:moveTo>
                  <a:lnTo>
                    <a:pt x="7407" y="943"/>
                  </a:lnTo>
                  <a:lnTo>
                    <a:pt x="6953" y="943"/>
                  </a:lnTo>
                  <a:lnTo>
                    <a:pt x="6953" y="1123"/>
                  </a:lnTo>
                  <a:lnTo>
                    <a:pt x="6675" y="1123"/>
                  </a:lnTo>
                  <a:lnTo>
                    <a:pt x="6675" y="1769"/>
                  </a:lnTo>
                  <a:lnTo>
                    <a:pt x="7685" y="1769"/>
                  </a:lnTo>
                  <a:lnTo>
                    <a:pt x="7685" y="1123"/>
                  </a:lnTo>
                  <a:lnTo>
                    <a:pt x="7407" y="1123"/>
                  </a:lnTo>
                  <a:close/>
                  <a:moveTo>
                    <a:pt x="8874" y="1123"/>
                  </a:moveTo>
                  <a:lnTo>
                    <a:pt x="8874" y="943"/>
                  </a:lnTo>
                  <a:lnTo>
                    <a:pt x="8418" y="943"/>
                  </a:lnTo>
                  <a:lnTo>
                    <a:pt x="8418" y="1123"/>
                  </a:lnTo>
                  <a:lnTo>
                    <a:pt x="8141" y="1123"/>
                  </a:lnTo>
                  <a:lnTo>
                    <a:pt x="8141" y="1769"/>
                  </a:lnTo>
                  <a:lnTo>
                    <a:pt x="9151" y="1769"/>
                  </a:lnTo>
                  <a:lnTo>
                    <a:pt x="9151" y="1123"/>
                  </a:lnTo>
                  <a:lnTo>
                    <a:pt x="8874" y="1123"/>
                  </a:lnTo>
                  <a:close/>
                  <a:moveTo>
                    <a:pt x="10339" y="1123"/>
                  </a:moveTo>
                  <a:lnTo>
                    <a:pt x="10339" y="943"/>
                  </a:lnTo>
                  <a:lnTo>
                    <a:pt x="9883" y="943"/>
                  </a:lnTo>
                  <a:lnTo>
                    <a:pt x="9883" y="1123"/>
                  </a:lnTo>
                  <a:lnTo>
                    <a:pt x="9606" y="1123"/>
                  </a:lnTo>
                  <a:lnTo>
                    <a:pt x="9606" y="1769"/>
                  </a:lnTo>
                  <a:lnTo>
                    <a:pt x="10617" y="1769"/>
                  </a:lnTo>
                  <a:lnTo>
                    <a:pt x="10617" y="1123"/>
                  </a:lnTo>
                  <a:lnTo>
                    <a:pt x="10339" y="1123"/>
                  </a:lnTo>
                  <a:close/>
                  <a:moveTo>
                    <a:pt x="1545" y="2845"/>
                  </a:moveTo>
                  <a:lnTo>
                    <a:pt x="1545" y="3025"/>
                  </a:lnTo>
                  <a:lnTo>
                    <a:pt x="1089" y="3025"/>
                  </a:lnTo>
                  <a:lnTo>
                    <a:pt x="1089" y="2845"/>
                  </a:lnTo>
                  <a:lnTo>
                    <a:pt x="811" y="2845"/>
                  </a:lnTo>
                  <a:lnTo>
                    <a:pt x="811" y="2199"/>
                  </a:lnTo>
                  <a:lnTo>
                    <a:pt x="1822" y="2199"/>
                  </a:lnTo>
                  <a:lnTo>
                    <a:pt x="1822" y="2845"/>
                  </a:lnTo>
                  <a:lnTo>
                    <a:pt x="1545" y="2845"/>
                  </a:lnTo>
                  <a:close/>
                  <a:moveTo>
                    <a:pt x="3010" y="2845"/>
                  </a:moveTo>
                  <a:lnTo>
                    <a:pt x="3010" y="3025"/>
                  </a:lnTo>
                  <a:lnTo>
                    <a:pt x="2555" y="3025"/>
                  </a:lnTo>
                  <a:lnTo>
                    <a:pt x="2555" y="2845"/>
                  </a:lnTo>
                  <a:lnTo>
                    <a:pt x="2278" y="2845"/>
                  </a:lnTo>
                  <a:lnTo>
                    <a:pt x="2278" y="2199"/>
                  </a:lnTo>
                  <a:lnTo>
                    <a:pt x="3288" y="2199"/>
                  </a:lnTo>
                  <a:lnTo>
                    <a:pt x="3288" y="2845"/>
                  </a:lnTo>
                  <a:lnTo>
                    <a:pt x="3010" y="2845"/>
                  </a:lnTo>
                  <a:close/>
                  <a:moveTo>
                    <a:pt x="4477" y="2845"/>
                  </a:moveTo>
                  <a:lnTo>
                    <a:pt x="4477" y="3025"/>
                  </a:lnTo>
                  <a:lnTo>
                    <a:pt x="4021" y="3025"/>
                  </a:lnTo>
                  <a:lnTo>
                    <a:pt x="4021" y="2845"/>
                  </a:lnTo>
                  <a:lnTo>
                    <a:pt x="3743" y="2845"/>
                  </a:lnTo>
                  <a:lnTo>
                    <a:pt x="3743" y="2199"/>
                  </a:lnTo>
                  <a:lnTo>
                    <a:pt x="4754" y="2199"/>
                  </a:lnTo>
                  <a:lnTo>
                    <a:pt x="4754" y="2845"/>
                  </a:lnTo>
                  <a:lnTo>
                    <a:pt x="4477" y="2845"/>
                  </a:lnTo>
                  <a:close/>
                  <a:moveTo>
                    <a:pt x="5942" y="2845"/>
                  </a:moveTo>
                  <a:lnTo>
                    <a:pt x="5942" y="3025"/>
                  </a:lnTo>
                  <a:lnTo>
                    <a:pt x="5486" y="3025"/>
                  </a:lnTo>
                  <a:lnTo>
                    <a:pt x="5486" y="2845"/>
                  </a:lnTo>
                  <a:lnTo>
                    <a:pt x="5209" y="2845"/>
                  </a:lnTo>
                  <a:lnTo>
                    <a:pt x="5209" y="2199"/>
                  </a:lnTo>
                  <a:lnTo>
                    <a:pt x="6219" y="2199"/>
                  </a:lnTo>
                  <a:lnTo>
                    <a:pt x="6219" y="2845"/>
                  </a:lnTo>
                  <a:lnTo>
                    <a:pt x="5942" y="2845"/>
                  </a:lnTo>
                  <a:close/>
                  <a:moveTo>
                    <a:pt x="7407" y="2845"/>
                  </a:moveTo>
                  <a:lnTo>
                    <a:pt x="7407" y="3025"/>
                  </a:lnTo>
                  <a:lnTo>
                    <a:pt x="6953" y="3025"/>
                  </a:lnTo>
                  <a:lnTo>
                    <a:pt x="6953" y="2845"/>
                  </a:lnTo>
                  <a:lnTo>
                    <a:pt x="6675" y="2845"/>
                  </a:lnTo>
                  <a:lnTo>
                    <a:pt x="6675" y="2199"/>
                  </a:lnTo>
                  <a:lnTo>
                    <a:pt x="7685" y="2199"/>
                  </a:lnTo>
                  <a:lnTo>
                    <a:pt x="7685" y="2845"/>
                  </a:lnTo>
                  <a:lnTo>
                    <a:pt x="7407" y="2845"/>
                  </a:lnTo>
                  <a:close/>
                  <a:moveTo>
                    <a:pt x="8874" y="2845"/>
                  </a:moveTo>
                  <a:lnTo>
                    <a:pt x="8874" y="3025"/>
                  </a:lnTo>
                  <a:lnTo>
                    <a:pt x="8418" y="3025"/>
                  </a:lnTo>
                  <a:lnTo>
                    <a:pt x="8418" y="2845"/>
                  </a:lnTo>
                  <a:lnTo>
                    <a:pt x="8141" y="2845"/>
                  </a:lnTo>
                  <a:lnTo>
                    <a:pt x="8141" y="2199"/>
                  </a:lnTo>
                  <a:lnTo>
                    <a:pt x="9151" y="2199"/>
                  </a:lnTo>
                  <a:lnTo>
                    <a:pt x="9151" y="2845"/>
                  </a:lnTo>
                  <a:lnTo>
                    <a:pt x="8874" y="2845"/>
                  </a:lnTo>
                  <a:close/>
                  <a:moveTo>
                    <a:pt x="10339" y="2845"/>
                  </a:moveTo>
                  <a:lnTo>
                    <a:pt x="10339" y="3025"/>
                  </a:lnTo>
                  <a:lnTo>
                    <a:pt x="9883" y="3025"/>
                  </a:lnTo>
                  <a:lnTo>
                    <a:pt x="9883" y="2845"/>
                  </a:lnTo>
                  <a:lnTo>
                    <a:pt x="9606" y="2845"/>
                  </a:lnTo>
                  <a:lnTo>
                    <a:pt x="9606" y="2199"/>
                  </a:lnTo>
                  <a:lnTo>
                    <a:pt x="10617" y="2199"/>
                  </a:lnTo>
                  <a:lnTo>
                    <a:pt x="10617" y="2845"/>
                  </a:lnTo>
                  <a:lnTo>
                    <a:pt x="10339" y="2845"/>
                  </a:lnTo>
                  <a:close/>
                  <a:moveTo>
                    <a:pt x="11851" y="1123"/>
                  </a:moveTo>
                  <a:lnTo>
                    <a:pt x="11851" y="943"/>
                  </a:lnTo>
                  <a:lnTo>
                    <a:pt x="11395" y="943"/>
                  </a:lnTo>
                  <a:lnTo>
                    <a:pt x="11395" y="1123"/>
                  </a:lnTo>
                  <a:lnTo>
                    <a:pt x="11117" y="1123"/>
                  </a:lnTo>
                  <a:lnTo>
                    <a:pt x="11117" y="1769"/>
                  </a:lnTo>
                  <a:lnTo>
                    <a:pt x="12128" y="1769"/>
                  </a:lnTo>
                  <a:lnTo>
                    <a:pt x="12128" y="1123"/>
                  </a:lnTo>
                  <a:lnTo>
                    <a:pt x="11851" y="1123"/>
                  </a:lnTo>
                  <a:close/>
                  <a:moveTo>
                    <a:pt x="11851" y="2845"/>
                  </a:moveTo>
                  <a:lnTo>
                    <a:pt x="11851" y="3025"/>
                  </a:lnTo>
                  <a:lnTo>
                    <a:pt x="11395" y="3025"/>
                  </a:lnTo>
                  <a:lnTo>
                    <a:pt x="11395" y="2845"/>
                  </a:lnTo>
                  <a:lnTo>
                    <a:pt x="11117" y="2845"/>
                  </a:lnTo>
                  <a:lnTo>
                    <a:pt x="11117" y="2199"/>
                  </a:lnTo>
                  <a:lnTo>
                    <a:pt x="12128" y="2199"/>
                  </a:lnTo>
                  <a:lnTo>
                    <a:pt x="12128" y="2845"/>
                  </a:lnTo>
                  <a:lnTo>
                    <a:pt x="11851" y="2845"/>
                  </a:lnTo>
                  <a:close/>
                </a:path>
              </a:pathLst>
            </a:custGeom>
            <a:grpFill/>
            <a:ln w="9525">
              <a:solidFill>
                <a:srgbClr val="00B0F0"/>
              </a:solidFill>
              <a:round/>
              <a:headEnd/>
              <a:tailEnd/>
            </a:ln>
          </p:spPr>
          <p:txBody>
            <a:bodyPr vert="horz" wrap="square" lIns="91416" tIns="45708" rIns="91416" bIns="45708" numCol="1" anchor="t" anchorCtr="0" compatLnSpc="1">
              <a:prstTxWarp prst="textNoShape">
                <a:avLst/>
              </a:prstTxWarp>
            </a:bodyPr>
            <a:lstStyle/>
            <a:p>
              <a:pPr defTabSz="914072" fontAlgn="ctr">
                <a:defRPr/>
              </a:pPr>
              <a:endParaRPr lang="en-US" altLang="zh-CN" sz="1200" kern="0" dirty="0">
                <a:solidFill>
                  <a:schemeClr val="bg1"/>
                </a:solidFill>
                <a:cs typeface="Times New Roman" pitchFamily="18" charset="0"/>
              </a:endParaRPr>
            </a:p>
          </p:txBody>
        </p:sp>
        <p:sp>
          <p:nvSpPr>
            <p:cNvPr id="140" name="1902386434"/>
            <p:cNvSpPr>
              <a:spLocks noEditPoints="1"/>
            </p:cNvSpPr>
            <p:nvPr/>
          </p:nvSpPr>
          <p:spPr bwMode="auto">
            <a:xfrm>
              <a:off x="5458125" y="4740284"/>
              <a:ext cx="696913" cy="124963"/>
            </a:xfrm>
            <a:custGeom>
              <a:avLst/>
              <a:gdLst/>
              <a:ahLst/>
              <a:cxnLst>
                <a:cxn ang="0">
                  <a:pos x="16278" y="39"/>
                </a:cxn>
                <a:cxn ang="0">
                  <a:pos x="16504" y="184"/>
                </a:cxn>
                <a:cxn ang="0">
                  <a:pos x="16649" y="411"/>
                </a:cxn>
                <a:cxn ang="0">
                  <a:pos x="16687" y="3376"/>
                </a:cxn>
                <a:cxn ang="0">
                  <a:pos x="16612" y="3641"/>
                </a:cxn>
                <a:cxn ang="0">
                  <a:pos x="16437" y="3844"/>
                </a:cxn>
                <a:cxn ang="0">
                  <a:pos x="16189" y="3955"/>
                </a:cxn>
                <a:cxn ang="0">
                  <a:pos x="499" y="3955"/>
                </a:cxn>
                <a:cxn ang="0">
                  <a:pos x="251" y="3844"/>
                </a:cxn>
                <a:cxn ang="0">
                  <a:pos x="75" y="3641"/>
                </a:cxn>
                <a:cxn ang="0">
                  <a:pos x="1" y="3376"/>
                </a:cxn>
                <a:cxn ang="0">
                  <a:pos x="38" y="411"/>
                </a:cxn>
                <a:cxn ang="0">
                  <a:pos x="184" y="184"/>
                </a:cxn>
                <a:cxn ang="0">
                  <a:pos x="410" y="39"/>
                </a:cxn>
                <a:cxn ang="0">
                  <a:pos x="13820" y="2430"/>
                </a:cxn>
                <a:cxn ang="0">
                  <a:pos x="13953" y="2510"/>
                </a:cxn>
                <a:cxn ang="0">
                  <a:pos x="13976" y="2666"/>
                </a:cxn>
                <a:cxn ang="0">
                  <a:pos x="13873" y="2780"/>
                </a:cxn>
                <a:cxn ang="0">
                  <a:pos x="13714" y="2773"/>
                </a:cxn>
                <a:cxn ang="0">
                  <a:pos x="13623" y="2648"/>
                </a:cxn>
                <a:cxn ang="0">
                  <a:pos x="13661" y="2496"/>
                </a:cxn>
                <a:cxn ang="0">
                  <a:pos x="13802" y="2429"/>
                </a:cxn>
                <a:cxn ang="0">
                  <a:pos x="14470" y="2482"/>
                </a:cxn>
                <a:cxn ang="0">
                  <a:pos x="14522" y="2631"/>
                </a:cxn>
                <a:cxn ang="0">
                  <a:pos x="14442" y="2763"/>
                </a:cxn>
                <a:cxn ang="0">
                  <a:pos x="14286" y="2786"/>
                </a:cxn>
                <a:cxn ang="0">
                  <a:pos x="14172" y="2683"/>
                </a:cxn>
                <a:cxn ang="0">
                  <a:pos x="14180" y="2525"/>
                </a:cxn>
                <a:cxn ang="0">
                  <a:pos x="14304" y="2433"/>
                </a:cxn>
                <a:cxn ang="0">
                  <a:pos x="14981" y="2460"/>
                </a:cxn>
                <a:cxn ang="0">
                  <a:pos x="15061" y="2593"/>
                </a:cxn>
                <a:cxn ang="0">
                  <a:pos x="15008" y="2741"/>
                </a:cxn>
                <a:cxn ang="0">
                  <a:pos x="14861" y="2794"/>
                </a:cxn>
                <a:cxn ang="0">
                  <a:pos x="14728" y="2714"/>
                </a:cxn>
                <a:cxn ang="0">
                  <a:pos x="14705" y="2558"/>
                </a:cxn>
                <a:cxn ang="0">
                  <a:pos x="14809" y="2444"/>
                </a:cxn>
                <a:cxn ang="0">
                  <a:pos x="15489" y="2444"/>
                </a:cxn>
                <a:cxn ang="0">
                  <a:pos x="15592" y="2558"/>
                </a:cxn>
                <a:cxn ang="0">
                  <a:pos x="15569" y="2714"/>
                </a:cxn>
                <a:cxn ang="0">
                  <a:pos x="15436" y="2794"/>
                </a:cxn>
                <a:cxn ang="0">
                  <a:pos x="15289" y="2741"/>
                </a:cxn>
                <a:cxn ang="0">
                  <a:pos x="15236" y="2593"/>
                </a:cxn>
                <a:cxn ang="0">
                  <a:pos x="15315" y="2460"/>
                </a:cxn>
                <a:cxn ang="0">
                  <a:pos x="15712" y="1546"/>
                </a:cxn>
                <a:cxn ang="0">
                  <a:pos x="1822" y="1769"/>
                </a:cxn>
                <a:cxn ang="0">
                  <a:pos x="3288" y="1769"/>
                </a:cxn>
                <a:cxn ang="0">
                  <a:pos x="4754" y="1769"/>
                </a:cxn>
                <a:cxn ang="0">
                  <a:pos x="6219" y="1769"/>
                </a:cxn>
                <a:cxn ang="0">
                  <a:pos x="7685" y="1769"/>
                </a:cxn>
                <a:cxn ang="0">
                  <a:pos x="9151" y="1769"/>
                </a:cxn>
                <a:cxn ang="0">
                  <a:pos x="10617" y="1769"/>
                </a:cxn>
                <a:cxn ang="0">
                  <a:pos x="1822" y="2199"/>
                </a:cxn>
                <a:cxn ang="0">
                  <a:pos x="3288" y="2199"/>
                </a:cxn>
                <a:cxn ang="0">
                  <a:pos x="4754" y="2199"/>
                </a:cxn>
                <a:cxn ang="0">
                  <a:pos x="6219" y="2199"/>
                </a:cxn>
                <a:cxn ang="0">
                  <a:pos x="7685" y="2199"/>
                </a:cxn>
                <a:cxn ang="0">
                  <a:pos x="9151" y="2199"/>
                </a:cxn>
                <a:cxn ang="0">
                  <a:pos x="10617" y="2199"/>
                </a:cxn>
                <a:cxn ang="0">
                  <a:pos x="12128" y="1769"/>
                </a:cxn>
                <a:cxn ang="0">
                  <a:pos x="12128" y="2199"/>
                </a:cxn>
              </a:cxnLst>
              <a:rect l="0" t="0" r="r" b="b"/>
              <a:pathLst>
                <a:path w="16688" h="3968">
                  <a:moveTo>
                    <a:pt x="624" y="0"/>
                  </a:moveTo>
                  <a:lnTo>
                    <a:pt x="16064" y="0"/>
                  </a:lnTo>
                  <a:lnTo>
                    <a:pt x="16097" y="1"/>
                  </a:lnTo>
                  <a:lnTo>
                    <a:pt x="16128" y="3"/>
                  </a:lnTo>
                  <a:lnTo>
                    <a:pt x="16159" y="7"/>
                  </a:lnTo>
                  <a:lnTo>
                    <a:pt x="16189" y="13"/>
                  </a:lnTo>
                  <a:lnTo>
                    <a:pt x="16220" y="20"/>
                  </a:lnTo>
                  <a:lnTo>
                    <a:pt x="16249" y="28"/>
                  </a:lnTo>
                  <a:lnTo>
                    <a:pt x="16278" y="39"/>
                  </a:lnTo>
                  <a:lnTo>
                    <a:pt x="16306" y="49"/>
                  </a:lnTo>
                  <a:lnTo>
                    <a:pt x="16334" y="62"/>
                  </a:lnTo>
                  <a:lnTo>
                    <a:pt x="16360" y="76"/>
                  </a:lnTo>
                  <a:lnTo>
                    <a:pt x="16387" y="91"/>
                  </a:lnTo>
                  <a:lnTo>
                    <a:pt x="16413" y="108"/>
                  </a:lnTo>
                  <a:lnTo>
                    <a:pt x="16437" y="124"/>
                  </a:lnTo>
                  <a:lnTo>
                    <a:pt x="16461" y="143"/>
                  </a:lnTo>
                  <a:lnTo>
                    <a:pt x="16484" y="163"/>
                  </a:lnTo>
                  <a:lnTo>
                    <a:pt x="16504" y="184"/>
                  </a:lnTo>
                  <a:lnTo>
                    <a:pt x="16525" y="205"/>
                  </a:lnTo>
                  <a:lnTo>
                    <a:pt x="16545" y="228"/>
                  </a:lnTo>
                  <a:lnTo>
                    <a:pt x="16564" y="252"/>
                  </a:lnTo>
                  <a:lnTo>
                    <a:pt x="16581" y="276"/>
                  </a:lnTo>
                  <a:lnTo>
                    <a:pt x="16597" y="302"/>
                  </a:lnTo>
                  <a:lnTo>
                    <a:pt x="16612" y="328"/>
                  </a:lnTo>
                  <a:lnTo>
                    <a:pt x="16626" y="354"/>
                  </a:lnTo>
                  <a:lnTo>
                    <a:pt x="16639" y="382"/>
                  </a:lnTo>
                  <a:lnTo>
                    <a:pt x="16649" y="411"/>
                  </a:lnTo>
                  <a:lnTo>
                    <a:pt x="16660" y="440"/>
                  </a:lnTo>
                  <a:lnTo>
                    <a:pt x="16668" y="469"/>
                  </a:lnTo>
                  <a:lnTo>
                    <a:pt x="16675" y="499"/>
                  </a:lnTo>
                  <a:lnTo>
                    <a:pt x="16681" y="530"/>
                  </a:lnTo>
                  <a:lnTo>
                    <a:pt x="16685" y="561"/>
                  </a:lnTo>
                  <a:lnTo>
                    <a:pt x="16687" y="592"/>
                  </a:lnTo>
                  <a:lnTo>
                    <a:pt x="16688" y="625"/>
                  </a:lnTo>
                  <a:lnTo>
                    <a:pt x="16688" y="3343"/>
                  </a:lnTo>
                  <a:lnTo>
                    <a:pt x="16687" y="3376"/>
                  </a:lnTo>
                  <a:lnTo>
                    <a:pt x="16685" y="3407"/>
                  </a:lnTo>
                  <a:lnTo>
                    <a:pt x="16681" y="3438"/>
                  </a:lnTo>
                  <a:lnTo>
                    <a:pt x="16675" y="3469"/>
                  </a:lnTo>
                  <a:lnTo>
                    <a:pt x="16668" y="3499"/>
                  </a:lnTo>
                  <a:lnTo>
                    <a:pt x="16660" y="3529"/>
                  </a:lnTo>
                  <a:lnTo>
                    <a:pt x="16649" y="3557"/>
                  </a:lnTo>
                  <a:lnTo>
                    <a:pt x="16639" y="3586"/>
                  </a:lnTo>
                  <a:lnTo>
                    <a:pt x="16626" y="3614"/>
                  </a:lnTo>
                  <a:lnTo>
                    <a:pt x="16612" y="3641"/>
                  </a:lnTo>
                  <a:lnTo>
                    <a:pt x="16597" y="3667"/>
                  </a:lnTo>
                  <a:lnTo>
                    <a:pt x="16581" y="3692"/>
                  </a:lnTo>
                  <a:lnTo>
                    <a:pt x="16564" y="3716"/>
                  </a:lnTo>
                  <a:lnTo>
                    <a:pt x="16545" y="3740"/>
                  </a:lnTo>
                  <a:lnTo>
                    <a:pt x="16525" y="3763"/>
                  </a:lnTo>
                  <a:lnTo>
                    <a:pt x="16504" y="3784"/>
                  </a:lnTo>
                  <a:lnTo>
                    <a:pt x="16484" y="3805"/>
                  </a:lnTo>
                  <a:lnTo>
                    <a:pt x="16461" y="3825"/>
                  </a:lnTo>
                  <a:lnTo>
                    <a:pt x="16437" y="3844"/>
                  </a:lnTo>
                  <a:lnTo>
                    <a:pt x="16413" y="3861"/>
                  </a:lnTo>
                  <a:lnTo>
                    <a:pt x="16387" y="3877"/>
                  </a:lnTo>
                  <a:lnTo>
                    <a:pt x="16360" y="3893"/>
                  </a:lnTo>
                  <a:lnTo>
                    <a:pt x="16334" y="3906"/>
                  </a:lnTo>
                  <a:lnTo>
                    <a:pt x="16306" y="3919"/>
                  </a:lnTo>
                  <a:lnTo>
                    <a:pt x="16278" y="3930"/>
                  </a:lnTo>
                  <a:lnTo>
                    <a:pt x="16249" y="3940"/>
                  </a:lnTo>
                  <a:lnTo>
                    <a:pt x="16220" y="3948"/>
                  </a:lnTo>
                  <a:lnTo>
                    <a:pt x="16189" y="3955"/>
                  </a:lnTo>
                  <a:lnTo>
                    <a:pt x="16159" y="3961"/>
                  </a:lnTo>
                  <a:lnTo>
                    <a:pt x="16128" y="3965"/>
                  </a:lnTo>
                  <a:lnTo>
                    <a:pt x="16097" y="3967"/>
                  </a:lnTo>
                  <a:lnTo>
                    <a:pt x="16064" y="3968"/>
                  </a:lnTo>
                  <a:lnTo>
                    <a:pt x="624" y="3968"/>
                  </a:lnTo>
                  <a:lnTo>
                    <a:pt x="591" y="3967"/>
                  </a:lnTo>
                  <a:lnTo>
                    <a:pt x="560" y="3965"/>
                  </a:lnTo>
                  <a:lnTo>
                    <a:pt x="529" y="3961"/>
                  </a:lnTo>
                  <a:lnTo>
                    <a:pt x="499" y="3955"/>
                  </a:lnTo>
                  <a:lnTo>
                    <a:pt x="468" y="3948"/>
                  </a:lnTo>
                  <a:lnTo>
                    <a:pt x="438" y="3940"/>
                  </a:lnTo>
                  <a:lnTo>
                    <a:pt x="410" y="3930"/>
                  </a:lnTo>
                  <a:lnTo>
                    <a:pt x="382" y="3919"/>
                  </a:lnTo>
                  <a:lnTo>
                    <a:pt x="354" y="3906"/>
                  </a:lnTo>
                  <a:lnTo>
                    <a:pt x="326" y="3893"/>
                  </a:lnTo>
                  <a:lnTo>
                    <a:pt x="300" y="3877"/>
                  </a:lnTo>
                  <a:lnTo>
                    <a:pt x="275" y="3861"/>
                  </a:lnTo>
                  <a:lnTo>
                    <a:pt x="251" y="3844"/>
                  </a:lnTo>
                  <a:lnTo>
                    <a:pt x="227" y="3825"/>
                  </a:lnTo>
                  <a:lnTo>
                    <a:pt x="204" y="3805"/>
                  </a:lnTo>
                  <a:lnTo>
                    <a:pt x="184" y="3784"/>
                  </a:lnTo>
                  <a:lnTo>
                    <a:pt x="163" y="3763"/>
                  </a:lnTo>
                  <a:lnTo>
                    <a:pt x="143" y="3740"/>
                  </a:lnTo>
                  <a:lnTo>
                    <a:pt x="124" y="3716"/>
                  </a:lnTo>
                  <a:lnTo>
                    <a:pt x="106" y="3692"/>
                  </a:lnTo>
                  <a:lnTo>
                    <a:pt x="91" y="3667"/>
                  </a:lnTo>
                  <a:lnTo>
                    <a:pt x="75" y="3641"/>
                  </a:lnTo>
                  <a:lnTo>
                    <a:pt x="62" y="3614"/>
                  </a:lnTo>
                  <a:lnTo>
                    <a:pt x="49" y="3586"/>
                  </a:lnTo>
                  <a:lnTo>
                    <a:pt x="38" y="3557"/>
                  </a:lnTo>
                  <a:lnTo>
                    <a:pt x="28" y="3529"/>
                  </a:lnTo>
                  <a:lnTo>
                    <a:pt x="20" y="3499"/>
                  </a:lnTo>
                  <a:lnTo>
                    <a:pt x="13" y="3469"/>
                  </a:lnTo>
                  <a:lnTo>
                    <a:pt x="7" y="3438"/>
                  </a:lnTo>
                  <a:lnTo>
                    <a:pt x="3" y="3407"/>
                  </a:lnTo>
                  <a:lnTo>
                    <a:pt x="1" y="3376"/>
                  </a:lnTo>
                  <a:lnTo>
                    <a:pt x="0" y="3343"/>
                  </a:lnTo>
                  <a:lnTo>
                    <a:pt x="0" y="625"/>
                  </a:lnTo>
                  <a:lnTo>
                    <a:pt x="1" y="592"/>
                  </a:lnTo>
                  <a:lnTo>
                    <a:pt x="3" y="561"/>
                  </a:lnTo>
                  <a:lnTo>
                    <a:pt x="7" y="530"/>
                  </a:lnTo>
                  <a:lnTo>
                    <a:pt x="13" y="499"/>
                  </a:lnTo>
                  <a:lnTo>
                    <a:pt x="20" y="469"/>
                  </a:lnTo>
                  <a:lnTo>
                    <a:pt x="28" y="440"/>
                  </a:lnTo>
                  <a:lnTo>
                    <a:pt x="38" y="411"/>
                  </a:lnTo>
                  <a:lnTo>
                    <a:pt x="49" y="382"/>
                  </a:lnTo>
                  <a:lnTo>
                    <a:pt x="62" y="354"/>
                  </a:lnTo>
                  <a:lnTo>
                    <a:pt x="75" y="328"/>
                  </a:lnTo>
                  <a:lnTo>
                    <a:pt x="91" y="302"/>
                  </a:lnTo>
                  <a:lnTo>
                    <a:pt x="106" y="276"/>
                  </a:lnTo>
                  <a:lnTo>
                    <a:pt x="124" y="252"/>
                  </a:lnTo>
                  <a:lnTo>
                    <a:pt x="143" y="228"/>
                  </a:lnTo>
                  <a:lnTo>
                    <a:pt x="163" y="205"/>
                  </a:lnTo>
                  <a:lnTo>
                    <a:pt x="184" y="184"/>
                  </a:lnTo>
                  <a:lnTo>
                    <a:pt x="204" y="163"/>
                  </a:lnTo>
                  <a:lnTo>
                    <a:pt x="227" y="143"/>
                  </a:lnTo>
                  <a:lnTo>
                    <a:pt x="251" y="124"/>
                  </a:lnTo>
                  <a:lnTo>
                    <a:pt x="275" y="108"/>
                  </a:lnTo>
                  <a:lnTo>
                    <a:pt x="300" y="91"/>
                  </a:lnTo>
                  <a:lnTo>
                    <a:pt x="326" y="76"/>
                  </a:lnTo>
                  <a:lnTo>
                    <a:pt x="354" y="62"/>
                  </a:lnTo>
                  <a:lnTo>
                    <a:pt x="382" y="49"/>
                  </a:lnTo>
                  <a:lnTo>
                    <a:pt x="410" y="39"/>
                  </a:lnTo>
                  <a:lnTo>
                    <a:pt x="438" y="28"/>
                  </a:lnTo>
                  <a:lnTo>
                    <a:pt x="468" y="20"/>
                  </a:lnTo>
                  <a:lnTo>
                    <a:pt x="499" y="13"/>
                  </a:lnTo>
                  <a:lnTo>
                    <a:pt x="529" y="7"/>
                  </a:lnTo>
                  <a:lnTo>
                    <a:pt x="560" y="3"/>
                  </a:lnTo>
                  <a:lnTo>
                    <a:pt x="591" y="1"/>
                  </a:lnTo>
                  <a:lnTo>
                    <a:pt x="624" y="0"/>
                  </a:lnTo>
                  <a:close/>
                  <a:moveTo>
                    <a:pt x="13802" y="2429"/>
                  </a:moveTo>
                  <a:lnTo>
                    <a:pt x="13820" y="2430"/>
                  </a:lnTo>
                  <a:lnTo>
                    <a:pt x="13839" y="2433"/>
                  </a:lnTo>
                  <a:lnTo>
                    <a:pt x="13856" y="2437"/>
                  </a:lnTo>
                  <a:lnTo>
                    <a:pt x="13873" y="2444"/>
                  </a:lnTo>
                  <a:lnTo>
                    <a:pt x="13889" y="2451"/>
                  </a:lnTo>
                  <a:lnTo>
                    <a:pt x="13903" y="2460"/>
                  </a:lnTo>
                  <a:lnTo>
                    <a:pt x="13918" y="2471"/>
                  </a:lnTo>
                  <a:lnTo>
                    <a:pt x="13930" y="2482"/>
                  </a:lnTo>
                  <a:lnTo>
                    <a:pt x="13942" y="2496"/>
                  </a:lnTo>
                  <a:lnTo>
                    <a:pt x="13953" y="2510"/>
                  </a:lnTo>
                  <a:lnTo>
                    <a:pt x="13962" y="2525"/>
                  </a:lnTo>
                  <a:lnTo>
                    <a:pt x="13970" y="2541"/>
                  </a:lnTo>
                  <a:lnTo>
                    <a:pt x="13976" y="2558"/>
                  </a:lnTo>
                  <a:lnTo>
                    <a:pt x="13980" y="2575"/>
                  </a:lnTo>
                  <a:lnTo>
                    <a:pt x="13984" y="2593"/>
                  </a:lnTo>
                  <a:lnTo>
                    <a:pt x="13985" y="2612"/>
                  </a:lnTo>
                  <a:lnTo>
                    <a:pt x="13984" y="2631"/>
                  </a:lnTo>
                  <a:lnTo>
                    <a:pt x="13980" y="2648"/>
                  </a:lnTo>
                  <a:lnTo>
                    <a:pt x="13976" y="2666"/>
                  </a:lnTo>
                  <a:lnTo>
                    <a:pt x="13970" y="2683"/>
                  </a:lnTo>
                  <a:lnTo>
                    <a:pt x="13962" y="2699"/>
                  </a:lnTo>
                  <a:lnTo>
                    <a:pt x="13953" y="2714"/>
                  </a:lnTo>
                  <a:lnTo>
                    <a:pt x="13942" y="2728"/>
                  </a:lnTo>
                  <a:lnTo>
                    <a:pt x="13930" y="2741"/>
                  </a:lnTo>
                  <a:lnTo>
                    <a:pt x="13918" y="2753"/>
                  </a:lnTo>
                  <a:lnTo>
                    <a:pt x="13903" y="2763"/>
                  </a:lnTo>
                  <a:lnTo>
                    <a:pt x="13889" y="2773"/>
                  </a:lnTo>
                  <a:lnTo>
                    <a:pt x="13873" y="2780"/>
                  </a:lnTo>
                  <a:lnTo>
                    <a:pt x="13856" y="2786"/>
                  </a:lnTo>
                  <a:lnTo>
                    <a:pt x="13839" y="2791"/>
                  </a:lnTo>
                  <a:lnTo>
                    <a:pt x="13820" y="2794"/>
                  </a:lnTo>
                  <a:lnTo>
                    <a:pt x="13802" y="2795"/>
                  </a:lnTo>
                  <a:lnTo>
                    <a:pt x="13783" y="2794"/>
                  </a:lnTo>
                  <a:lnTo>
                    <a:pt x="13764" y="2791"/>
                  </a:lnTo>
                  <a:lnTo>
                    <a:pt x="13748" y="2786"/>
                  </a:lnTo>
                  <a:lnTo>
                    <a:pt x="13731" y="2780"/>
                  </a:lnTo>
                  <a:lnTo>
                    <a:pt x="13714" y="2773"/>
                  </a:lnTo>
                  <a:lnTo>
                    <a:pt x="13700" y="2763"/>
                  </a:lnTo>
                  <a:lnTo>
                    <a:pt x="13685" y="2753"/>
                  </a:lnTo>
                  <a:lnTo>
                    <a:pt x="13673" y="2741"/>
                  </a:lnTo>
                  <a:lnTo>
                    <a:pt x="13661" y="2728"/>
                  </a:lnTo>
                  <a:lnTo>
                    <a:pt x="13651" y="2714"/>
                  </a:lnTo>
                  <a:lnTo>
                    <a:pt x="13641" y="2699"/>
                  </a:lnTo>
                  <a:lnTo>
                    <a:pt x="13634" y="2683"/>
                  </a:lnTo>
                  <a:lnTo>
                    <a:pt x="13628" y="2666"/>
                  </a:lnTo>
                  <a:lnTo>
                    <a:pt x="13623" y="2648"/>
                  </a:lnTo>
                  <a:lnTo>
                    <a:pt x="13621" y="2631"/>
                  </a:lnTo>
                  <a:lnTo>
                    <a:pt x="13619" y="2612"/>
                  </a:lnTo>
                  <a:lnTo>
                    <a:pt x="13621" y="2593"/>
                  </a:lnTo>
                  <a:lnTo>
                    <a:pt x="13623" y="2575"/>
                  </a:lnTo>
                  <a:lnTo>
                    <a:pt x="13628" y="2558"/>
                  </a:lnTo>
                  <a:lnTo>
                    <a:pt x="13634" y="2541"/>
                  </a:lnTo>
                  <a:lnTo>
                    <a:pt x="13641" y="2525"/>
                  </a:lnTo>
                  <a:lnTo>
                    <a:pt x="13651" y="2510"/>
                  </a:lnTo>
                  <a:lnTo>
                    <a:pt x="13661" y="2496"/>
                  </a:lnTo>
                  <a:lnTo>
                    <a:pt x="13673" y="2482"/>
                  </a:lnTo>
                  <a:lnTo>
                    <a:pt x="13685" y="2471"/>
                  </a:lnTo>
                  <a:lnTo>
                    <a:pt x="13700" y="2460"/>
                  </a:lnTo>
                  <a:lnTo>
                    <a:pt x="13714" y="2451"/>
                  </a:lnTo>
                  <a:lnTo>
                    <a:pt x="13731" y="2444"/>
                  </a:lnTo>
                  <a:lnTo>
                    <a:pt x="13748" y="2437"/>
                  </a:lnTo>
                  <a:lnTo>
                    <a:pt x="13764" y="2433"/>
                  </a:lnTo>
                  <a:lnTo>
                    <a:pt x="13783" y="2430"/>
                  </a:lnTo>
                  <a:lnTo>
                    <a:pt x="13802" y="2429"/>
                  </a:lnTo>
                  <a:close/>
                  <a:moveTo>
                    <a:pt x="14340" y="2429"/>
                  </a:moveTo>
                  <a:lnTo>
                    <a:pt x="14359" y="2430"/>
                  </a:lnTo>
                  <a:lnTo>
                    <a:pt x="14377" y="2433"/>
                  </a:lnTo>
                  <a:lnTo>
                    <a:pt x="14394" y="2437"/>
                  </a:lnTo>
                  <a:lnTo>
                    <a:pt x="14411" y="2444"/>
                  </a:lnTo>
                  <a:lnTo>
                    <a:pt x="14427" y="2451"/>
                  </a:lnTo>
                  <a:lnTo>
                    <a:pt x="14442" y="2460"/>
                  </a:lnTo>
                  <a:lnTo>
                    <a:pt x="14456" y="2471"/>
                  </a:lnTo>
                  <a:lnTo>
                    <a:pt x="14470" y="2482"/>
                  </a:lnTo>
                  <a:lnTo>
                    <a:pt x="14481" y="2496"/>
                  </a:lnTo>
                  <a:lnTo>
                    <a:pt x="14491" y="2510"/>
                  </a:lnTo>
                  <a:lnTo>
                    <a:pt x="14501" y="2525"/>
                  </a:lnTo>
                  <a:lnTo>
                    <a:pt x="14508" y="2541"/>
                  </a:lnTo>
                  <a:lnTo>
                    <a:pt x="14514" y="2558"/>
                  </a:lnTo>
                  <a:lnTo>
                    <a:pt x="14519" y="2575"/>
                  </a:lnTo>
                  <a:lnTo>
                    <a:pt x="14522" y="2593"/>
                  </a:lnTo>
                  <a:lnTo>
                    <a:pt x="14523" y="2612"/>
                  </a:lnTo>
                  <a:lnTo>
                    <a:pt x="14522" y="2631"/>
                  </a:lnTo>
                  <a:lnTo>
                    <a:pt x="14519" y="2648"/>
                  </a:lnTo>
                  <a:lnTo>
                    <a:pt x="14514" y="2666"/>
                  </a:lnTo>
                  <a:lnTo>
                    <a:pt x="14508" y="2683"/>
                  </a:lnTo>
                  <a:lnTo>
                    <a:pt x="14501" y="2699"/>
                  </a:lnTo>
                  <a:lnTo>
                    <a:pt x="14491" y="2714"/>
                  </a:lnTo>
                  <a:lnTo>
                    <a:pt x="14481" y="2728"/>
                  </a:lnTo>
                  <a:lnTo>
                    <a:pt x="14470" y="2741"/>
                  </a:lnTo>
                  <a:lnTo>
                    <a:pt x="14456" y="2753"/>
                  </a:lnTo>
                  <a:lnTo>
                    <a:pt x="14442" y="2763"/>
                  </a:lnTo>
                  <a:lnTo>
                    <a:pt x="14427" y="2773"/>
                  </a:lnTo>
                  <a:lnTo>
                    <a:pt x="14411" y="2780"/>
                  </a:lnTo>
                  <a:lnTo>
                    <a:pt x="14394" y="2786"/>
                  </a:lnTo>
                  <a:lnTo>
                    <a:pt x="14377" y="2791"/>
                  </a:lnTo>
                  <a:lnTo>
                    <a:pt x="14359" y="2794"/>
                  </a:lnTo>
                  <a:lnTo>
                    <a:pt x="14340" y="2795"/>
                  </a:lnTo>
                  <a:lnTo>
                    <a:pt x="14321" y="2794"/>
                  </a:lnTo>
                  <a:lnTo>
                    <a:pt x="14304" y="2791"/>
                  </a:lnTo>
                  <a:lnTo>
                    <a:pt x="14286" y="2786"/>
                  </a:lnTo>
                  <a:lnTo>
                    <a:pt x="14269" y="2780"/>
                  </a:lnTo>
                  <a:lnTo>
                    <a:pt x="14254" y="2773"/>
                  </a:lnTo>
                  <a:lnTo>
                    <a:pt x="14238" y="2763"/>
                  </a:lnTo>
                  <a:lnTo>
                    <a:pt x="14224" y="2753"/>
                  </a:lnTo>
                  <a:lnTo>
                    <a:pt x="14212" y="2741"/>
                  </a:lnTo>
                  <a:lnTo>
                    <a:pt x="14199" y="2728"/>
                  </a:lnTo>
                  <a:lnTo>
                    <a:pt x="14189" y="2714"/>
                  </a:lnTo>
                  <a:lnTo>
                    <a:pt x="14180" y="2699"/>
                  </a:lnTo>
                  <a:lnTo>
                    <a:pt x="14172" y="2683"/>
                  </a:lnTo>
                  <a:lnTo>
                    <a:pt x="14166" y="2666"/>
                  </a:lnTo>
                  <a:lnTo>
                    <a:pt x="14162" y="2648"/>
                  </a:lnTo>
                  <a:lnTo>
                    <a:pt x="14159" y="2631"/>
                  </a:lnTo>
                  <a:lnTo>
                    <a:pt x="14158" y="2612"/>
                  </a:lnTo>
                  <a:lnTo>
                    <a:pt x="14159" y="2593"/>
                  </a:lnTo>
                  <a:lnTo>
                    <a:pt x="14162" y="2575"/>
                  </a:lnTo>
                  <a:lnTo>
                    <a:pt x="14166" y="2558"/>
                  </a:lnTo>
                  <a:lnTo>
                    <a:pt x="14172" y="2541"/>
                  </a:lnTo>
                  <a:lnTo>
                    <a:pt x="14180" y="2525"/>
                  </a:lnTo>
                  <a:lnTo>
                    <a:pt x="14189" y="2510"/>
                  </a:lnTo>
                  <a:lnTo>
                    <a:pt x="14199" y="2496"/>
                  </a:lnTo>
                  <a:lnTo>
                    <a:pt x="14212" y="2482"/>
                  </a:lnTo>
                  <a:lnTo>
                    <a:pt x="14224" y="2471"/>
                  </a:lnTo>
                  <a:lnTo>
                    <a:pt x="14238" y="2460"/>
                  </a:lnTo>
                  <a:lnTo>
                    <a:pt x="14254" y="2451"/>
                  </a:lnTo>
                  <a:lnTo>
                    <a:pt x="14269" y="2444"/>
                  </a:lnTo>
                  <a:lnTo>
                    <a:pt x="14286" y="2437"/>
                  </a:lnTo>
                  <a:lnTo>
                    <a:pt x="14304" y="2433"/>
                  </a:lnTo>
                  <a:lnTo>
                    <a:pt x="14321" y="2430"/>
                  </a:lnTo>
                  <a:lnTo>
                    <a:pt x="14340" y="2429"/>
                  </a:lnTo>
                  <a:close/>
                  <a:moveTo>
                    <a:pt x="14879" y="2429"/>
                  </a:moveTo>
                  <a:lnTo>
                    <a:pt x="14897" y="2430"/>
                  </a:lnTo>
                  <a:lnTo>
                    <a:pt x="14916" y="2433"/>
                  </a:lnTo>
                  <a:lnTo>
                    <a:pt x="14933" y="2437"/>
                  </a:lnTo>
                  <a:lnTo>
                    <a:pt x="14950" y="2444"/>
                  </a:lnTo>
                  <a:lnTo>
                    <a:pt x="14966" y="2451"/>
                  </a:lnTo>
                  <a:lnTo>
                    <a:pt x="14981" y="2460"/>
                  </a:lnTo>
                  <a:lnTo>
                    <a:pt x="14995" y="2471"/>
                  </a:lnTo>
                  <a:lnTo>
                    <a:pt x="15008" y="2482"/>
                  </a:lnTo>
                  <a:lnTo>
                    <a:pt x="15019" y="2496"/>
                  </a:lnTo>
                  <a:lnTo>
                    <a:pt x="15031" y="2510"/>
                  </a:lnTo>
                  <a:lnTo>
                    <a:pt x="15039" y="2525"/>
                  </a:lnTo>
                  <a:lnTo>
                    <a:pt x="15047" y="2541"/>
                  </a:lnTo>
                  <a:lnTo>
                    <a:pt x="15054" y="2558"/>
                  </a:lnTo>
                  <a:lnTo>
                    <a:pt x="15058" y="2575"/>
                  </a:lnTo>
                  <a:lnTo>
                    <a:pt x="15061" y="2593"/>
                  </a:lnTo>
                  <a:lnTo>
                    <a:pt x="15062" y="2612"/>
                  </a:lnTo>
                  <a:lnTo>
                    <a:pt x="15061" y="2631"/>
                  </a:lnTo>
                  <a:lnTo>
                    <a:pt x="15058" y="2648"/>
                  </a:lnTo>
                  <a:lnTo>
                    <a:pt x="15054" y="2666"/>
                  </a:lnTo>
                  <a:lnTo>
                    <a:pt x="15047" y="2683"/>
                  </a:lnTo>
                  <a:lnTo>
                    <a:pt x="15039" y="2699"/>
                  </a:lnTo>
                  <a:lnTo>
                    <a:pt x="15031" y="2714"/>
                  </a:lnTo>
                  <a:lnTo>
                    <a:pt x="15019" y="2728"/>
                  </a:lnTo>
                  <a:lnTo>
                    <a:pt x="15008" y="2741"/>
                  </a:lnTo>
                  <a:lnTo>
                    <a:pt x="14995" y="2753"/>
                  </a:lnTo>
                  <a:lnTo>
                    <a:pt x="14981" y="2763"/>
                  </a:lnTo>
                  <a:lnTo>
                    <a:pt x="14966" y="2773"/>
                  </a:lnTo>
                  <a:lnTo>
                    <a:pt x="14950" y="2780"/>
                  </a:lnTo>
                  <a:lnTo>
                    <a:pt x="14933" y="2786"/>
                  </a:lnTo>
                  <a:lnTo>
                    <a:pt x="14916" y="2791"/>
                  </a:lnTo>
                  <a:lnTo>
                    <a:pt x="14897" y="2794"/>
                  </a:lnTo>
                  <a:lnTo>
                    <a:pt x="14879" y="2795"/>
                  </a:lnTo>
                  <a:lnTo>
                    <a:pt x="14861" y="2794"/>
                  </a:lnTo>
                  <a:lnTo>
                    <a:pt x="14842" y="2791"/>
                  </a:lnTo>
                  <a:lnTo>
                    <a:pt x="14825" y="2786"/>
                  </a:lnTo>
                  <a:lnTo>
                    <a:pt x="14809" y="2780"/>
                  </a:lnTo>
                  <a:lnTo>
                    <a:pt x="14792" y="2773"/>
                  </a:lnTo>
                  <a:lnTo>
                    <a:pt x="14777" y="2763"/>
                  </a:lnTo>
                  <a:lnTo>
                    <a:pt x="14763" y="2753"/>
                  </a:lnTo>
                  <a:lnTo>
                    <a:pt x="14750" y="2741"/>
                  </a:lnTo>
                  <a:lnTo>
                    <a:pt x="14739" y="2728"/>
                  </a:lnTo>
                  <a:lnTo>
                    <a:pt x="14728" y="2714"/>
                  </a:lnTo>
                  <a:lnTo>
                    <a:pt x="14719" y="2699"/>
                  </a:lnTo>
                  <a:lnTo>
                    <a:pt x="14710" y="2683"/>
                  </a:lnTo>
                  <a:lnTo>
                    <a:pt x="14705" y="2666"/>
                  </a:lnTo>
                  <a:lnTo>
                    <a:pt x="14700" y="2648"/>
                  </a:lnTo>
                  <a:lnTo>
                    <a:pt x="14698" y="2631"/>
                  </a:lnTo>
                  <a:lnTo>
                    <a:pt x="14697" y="2612"/>
                  </a:lnTo>
                  <a:lnTo>
                    <a:pt x="14698" y="2593"/>
                  </a:lnTo>
                  <a:lnTo>
                    <a:pt x="14700" y="2575"/>
                  </a:lnTo>
                  <a:lnTo>
                    <a:pt x="14705" y="2558"/>
                  </a:lnTo>
                  <a:lnTo>
                    <a:pt x="14710" y="2541"/>
                  </a:lnTo>
                  <a:lnTo>
                    <a:pt x="14719" y="2525"/>
                  </a:lnTo>
                  <a:lnTo>
                    <a:pt x="14728" y="2510"/>
                  </a:lnTo>
                  <a:lnTo>
                    <a:pt x="14739" y="2496"/>
                  </a:lnTo>
                  <a:lnTo>
                    <a:pt x="14750" y="2482"/>
                  </a:lnTo>
                  <a:lnTo>
                    <a:pt x="14763" y="2471"/>
                  </a:lnTo>
                  <a:lnTo>
                    <a:pt x="14777" y="2460"/>
                  </a:lnTo>
                  <a:lnTo>
                    <a:pt x="14792" y="2451"/>
                  </a:lnTo>
                  <a:lnTo>
                    <a:pt x="14809" y="2444"/>
                  </a:lnTo>
                  <a:lnTo>
                    <a:pt x="14825" y="2437"/>
                  </a:lnTo>
                  <a:lnTo>
                    <a:pt x="14842" y="2433"/>
                  </a:lnTo>
                  <a:lnTo>
                    <a:pt x="14861" y="2430"/>
                  </a:lnTo>
                  <a:lnTo>
                    <a:pt x="14879" y="2429"/>
                  </a:lnTo>
                  <a:close/>
                  <a:moveTo>
                    <a:pt x="15418" y="2429"/>
                  </a:moveTo>
                  <a:lnTo>
                    <a:pt x="15436" y="2430"/>
                  </a:lnTo>
                  <a:lnTo>
                    <a:pt x="15454" y="2433"/>
                  </a:lnTo>
                  <a:lnTo>
                    <a:pt x="15472" y="2437"/>
                  </a:lnTo>
                  <a:lnTo>
                    <a:pt x="15489" y="2444"/>
                  </a:lnTo>
                  <a:lnTo>
                    <a:pt x="15504" y="2451"/>
                  </a:lnTo>
                  <a:lnTo>
                    <a:pt x="15520" y="2460"/>
                  </a:lnTo>
                  <a:lnTo>
                    <a:pt x="15533" y="2471"/>
                  </a:lnTo>
                  <a:lnTo>
                    <a:pt x="15547" y="2482"/>
                  </a:lnTo>
                  <a:lnTo>
                    <a:pt x="15558" y="2496"/>
                  </a:lnTo>
                  <a:lnTo>
                    <a:pt x="15569" y="2510"/>
                  </a:lnTo>
                  <a:lnTo>
                    <a:pt x="15578" y="2525"/>
                  </a:lnTo>
                  <a:lnTo>
                    <a:pt x="15586" y="2541"/>
                  </a:lnTo>
                  <a:lnTo>
                    <a:pt x="15592" y="2558"/>
                  </a:lnTo>
                  <a:lnTo>
                    <a:pt x="15596" y="2575"/>
                  </a:lnTo>
                  <a:lnTo>
                    <a:pt x="15599" y="2593"/>
                  </a:lnTo>
                  <a:lnTo>
                    <a:pt x="15600" y="2612"/>
                  </a:lnTo>
                  <a:lnTo>
                    <a:pt x="15599" y="2631"/>
                  </a:lnTo>
                  <a:lnTo>
                    <a:pt x="15596" y="2648"/>
                  </a:lnTo>
                  <a:lnTo>
                    <a:pt x="15592" y="2666"/>
                  </a:lnTo>
                  <a:lnTo>
                    <a:pt x="15586" y="2683"/>
                  </a:lnTo>
                  <a:lnTo>
                    <a:pt x="15578" y="2699"/>
                  </a:lnTo>
                  <a:lnTo>
                    <a:pt x="15569" y="2714"/>
                  </a:lnTo>
                  <a:lnTo>
                    <a:pt x="15558" y="2728"/>
                  </a:lnTo>
                  <a:lnTo>
                    <a:pt x="15547" y="2741"/>
                  </a:lnTo>
                  <a:lnTo>
                    <a:pt x="15533" y="2753"/>
                  </a:lnTo>
                  <a:lnTo>
                    <a:pt x="15520" y="2763"/>
                  </a:lnTo>
                  <a:lnTo>
                    <a:pt x="15504" y="2773"/>
                  </a:lnTo>
                  <a:lnTo>
                    <a:pt x="15489" y="2780"/>
                  </a:lnTo>
                  <a:lnTo>
                    <a:pt x="15472" y="2786"/>
                  </a:lnTo>
                  <a:lnTo>
                    <a:pt x="15454" y="2791"/>
                  </a:lnTo>
                  <a:lnTo>
                    <a:pt x="15436" y="2794"/>
                  </a:lnTo>
                  <a:lnTo>
                    <a:pt x="15418" y="2795"/>
                  </a:lnTo>
                  <a:lnTo>
                    <a:pt x="15399" y="2794"/>
                  </a:lnTo>
                  <a:lnTo>
                    <a:pt x="15381" y="2791"/>
                  </a:lnTo>
                  <a:lnTo>
                    <a:pt x="15363" y="2786"/>
                  </a:lnTo>
                  <a:lnTo>
                    <a:pt x="15347" y="2780"/>
                  </a:lnTo>
                  <a:lnTo>
                    <a:pt x="15331" y="2773"/>
                  </a:lnTo>
                  <a:lnTo>
                    <a:pt x="15315" y="2763"/>
                  </a:lnTo>
                  <a:lnTo>
                    <a:pt x="15302" y="2753"/>
                  </a:lnTo>
                  <a:lnTo>
                    <a:pt x="15289" y="2741"/>
                  </a:lnTo>
                  <a:lnTo>
                    <a:pt x="15277" y="2728"/>
                  </a:lnTo>
                  <a:lnTo>
                    <a:pt x="15266" y="2714"/>
                  </a:lnTo>
                  <a:lnTo>
                    <a:pt x="15257" y="2699"/>
                  </a:lnTo>
                  <a:lnTo>
                    <a:pt x="15250" y="2683"/>
                  </a:lnTo>
                  <a:lnTo>
                    <a:pt x="15243" y="2666"/>
                  </a:lnTo>
                  <a:lnTo>
                    <a:pt x="15239" y="2648"/>
                  </a:lnTo>
                  <a:lnTo>
                    <a:pt x="15236" y="2631"/>
                  </a:lnTo>
                  <a:lnTo>
                    <a:pt x="15235" y="2612"/>
                  </a:lnTo>
                  <a:lnTo>
                    <a:pt x="15236" y="2593"/>
                  </a:lnTo>
                  <a:lnTo>
                    <a:pt x="15239" y="2575"/>
                  </a:lnTo>
                  <a:lnTo>
                    <a:pt x="15243" y="2558"/>
                  </a:lnTo>
                  <a:lnTo>
                    <a:pt x="15250" y="2541"/>
                  </a:lnTo>
                  <a:lnTo>
                    <a:pt x="15257" y="2525"/>
                  </a:lnTo>
                  <a:lnTo>
                    <a:pt x="15266" y="2510"/>
                  </a:lnTo>
                  <a:lnTo>
                    <a:pt x="15277" y="2496"/>
                  </a:lnTo>
                  <a:lnTo>
                    <a:pt x="15289" y="2482"/>
                  </a:lnTo>
                  <a:lnTo>
                    <a:pt x="15302" y="2471"/>
                  </a:lnTo>
                  <a:lnTo>
                    <a:pt x="15315" y="2460"/>
                  </a:lnTo>
                  <a:lnTo>
                    <a:pt x="15331" y="2451"/>
                  </a:lnTo>
                  <a:lnTo>
                    <a:pt x="15347" y="2444"/>
                  </a:lnTo>
                  <a:lnTo>
                    <a:pt x="15363" y="2437"/>
                  </a:lnTo>
                  <a:lnTo>
                    <a:pt x="15381" y="2433"/>
                  </a:lnTo>
                  <a:lnTo>
                    <a:pt x="15399" y="2430"/>
                  </a:lnTo>
                  <a:lnTo>
                    <a:pt x="15418" y="2429"/>
                  </a:lnTo>
                  <a:close/>
                  <a:moveTo>
                    <a:pt x="13682" y="943"/>
                  </a:moveTo>
                  <a:lnTo>
                    <a:pt x="15712" y="943"/>
                  </a:lnTo>
                  <a:lnTo>
                    <a:pt x="15712" y="1546"/>
                  </a:lnTo>
                  <a:lnTo>
                    <a:pt x="13682" y="1546"/>
                  </a:lnTo>
                  <a:lnTo>
                    <a:pt x="13682" y="943"/>
                  </a:lnTo>
                  <a:close/>
                  <a:moveTo>
                    <a:pt x="1545" y="1123"/>
                  </a:moveTo>
                  <a:lnTo>
                    <a:pt x="1545" y="943"/>
                  </a:lnTo>
                  <a:lnTo>
                    <a:pt x="1089" y="943"/>
                  </a:lnTo>
                  <a:lnTo>
                    <a:pt x="1089" y="1123"/>
                  </a:lnTo>
                  <a:lnTo>
                    <a:pt x="811" y="1123"/>
                  </a:lnTo>
                  <a:lnTo>
                    <a:pt x="811" y="1769"/>
                  </a:lnTo>
                  <a:lnTo>
                    <a:pt x="1822" y="1769"/>
                  </a:lnTo>
                  <a:lnTo>
                    <a:pt x="1822" y="1123"/>
                  </a:lnTo>
                  <a:lnTo>
                    <a:pt x="1545" y="1123"/>
                  </a:lnTo>
                  <a:close/>
                  <a:moveTo>
                    <a:pt x="3010" y="1123"/>
                  </a:moveTo>
                  <a:lnTo>
                    <a:pt x="3010" y="943"/>
                  </a:lnTo>
                  <a:lnTo>
                    <a:pt x="2555" y="943"/>
                  </a:lnTo>
                  <a:lnTo>
                    <a:pt x="2555" y="1123"/>
                  </a:lnTo>
                  <a:lnTo>
                    <a:pt x="2278" y="1123"/>
                  </a:lnTo>
                  <a:lnTo>
                    <a:pt x="2278" y="1769"/>
                  </a:lnTo>
                  <a:lnTo>
                    <a:pt x="3288" y="1769"/>
                  </a:lnTo>
                  <a:lnTo>
                    <a:pt x="3288" y="1123"/>
                  </a:lnTo>
                  <a:lnTo>
                    <a:pt x="3010" y="1123"/>
                  </a:lnTo>
                  <a:close/>
                  <a:moveTo>
                    <a:pt x="4477" y="1123"/>
                  </a:moveTo>
                  <a:lnTo>
                    <a:pt x="4477" y="943"/>
                  </a:lnTo>
                  <a:lnTo>
                    <a:pt x="4021" y="943"/>
                  </a:lnTo>
                  <a:lnTo>
                    <a:pt x="4021" y="1123"/>
                  </a:lnTo>
                  <a:lnTo>
                    <a:pt x="3743" y="1123"/>
                  </a:lnTo>
                  <a:lnTo>
                    <a:pt x="3743" y="1769"/>
                  </a:lnTo>
                  <a:lnTo>
                    <a:pt x="4754" y="1769"/>
                  </a:lnTo>
                  <a:lnTo>
                    <a:pt x="4754" y="1123"/>
                  </a:lnTo>
                  <a:lnTo>
                    <a:pt x="4477" y="1123"/>
                  </a:lnTo>
                  <a:close/>
                  <a:moveTo>
                    <a:pt x="5942" y="1123"/>
                  </a:moveTo>
                  <a:lnTo>
                    <a:pt x="5942" y="943"/>
                  </a:lnTo>
                  <a:lnTo>
                    <a:pt x="5486" y="943"/>
                  </a:lnTo>
                  <a:lnTo>
                    <a:pt x="5486" y="1123"/>
                  </a:lnTo>
                  <a:lnTo>
                    <a:pt x="5209" y="1123"/>
                  </a:lnTo>
                  <a:lnTo>
                    <a:pt x="5209" y="1769"/>
                  </a:lnTo>
                  <a:lnTo>
                    <a:pt x="6219" y="1769"/>
                  </a:lnTo>
                  <a:lnTo>
                    <a:pt x="6219" y="1123"/>
                  </a:lnTo>
                  <a:lnTo>
                    <a:pt x="5942" y="1123"/>
                  </a:lnTo>
                  <a:close/>
                  <a:moveTo>
                    <a:pt x="7407" y="1123"/>
                  </a:moveTo>
                  <a:lnTo>
                    <a:pt x="7407" y="943"/>
                  </a:lnTo>
                  <a:lnTo>
                    <a:pt x="6953" y="943"/>
                  </a:lnTo>
                  <a:lnTo>
                    <a:pt x="6953" y="1123"/>
                  </a:lnTo>
                  <a:lnTo>
                    <a:pt x="6675" y="1123"/>
                  </a:lnTo>
                  <a:lnTo>
                    <a:pt x="6675" y="1769"/>
                  </a:lnTo>
                  <a:lnTo>
                    <a:pt x="7685" y="1769"/>
                  </a:lnTo>
                  <a:lnTo>
                    <a:pt x="7685" y="1123"/>
                  </a:lnTo>
                  <a:lnTo>
                    <a:pt x="7407" y="1123"/>
                  </a:lnTo>
                  <a:close/>
                  <a:moveTo>
                    <a:pt x="8874" y="1123"/>
                  </a:moveTo>
                  <a:lnTo>
                    <a:pt x="8874" y="943"/>
                  </a:lnTo>
                  <a:lnTo>
                    <a:pt x="8418" y="943"/>
                  </a:lnTo>
                  <a:lnTo>
                    <a:pt x="8418" y="1123"/>
                  </a:lnTo>
                  <a:lnTo>
                    <a:pt x="8141" y="1123"/>
                  </a:lnTo>
                  <a:lnTo>
                    <a:pt x="8141" y="1769"/>
                  </a:lnTo>
                  <a:lnTo>
                    <a:pt x="9151" y="1769"/>
                  </a:lnTo>
                  <a:lnTo>
                    <a:pt x="9151" y="1123"/>
                  </a:lnTo>
                  <a:lnTo>
                    <a:pt x="8874" y="1123"/>
                  </a:lnTo>
                  <a:close/>
                  <a:moveTo>
                    <a:pt x="10339" y="1123"/>
                  </a:moveTo>
                  <a:lnTo>
                    <a:pt x="10339" y="943"/>
                  </a:lnTo>
                  <a:lnTo>
                    <a:pt x="9883" y="943"/>
                  </a:lnTo>
                  <a:lnTo>
                    <a:pt x="9883" y="1123"/>
                  </a:lnTo>
                  <a:lnTo>
                    <a:pt x="9606" y="1123"/>
                  </a:lnTo>
                  <a:lnTo>
                    <a:pt x="9606" y="1769"/>
                  </a:lnTo>
                  <a:lnTo>
                    <a:pt x="10617" y="1769"/>
                  </a:lnTo>
                  <a:lnTo>
                    <a:pt x="10617" y="1123"/>
                  </a:lnTo>
                  <a:lnTo>
                    <a:pt x="10339" y="1123"/>
                  </a:lnTo>
                  <a:close/>
                  <a:moveTo>
                    <a:pt x="1545" y="2845"/>
                  </a:moveTo>
                  <a:lnTo>
                    <a:pt x="1545" y="3025"/>
                  </a:lnTo>
                  <a:lnTo>
                    <a:pt x="1089" y="3025"/>
                  </a:lnTo>
                  <a:lnTo>
                    <a:pt x="1089" y="2845"/>
                  </a:lnTo>
                  <a:lnTo>
                    <a:pt x="811" y="2845"/>
                  </a:lnTo>
                  <a:lnTo>
                    <a:pt x="811" y="2199"/>
                  </a:lnTo>
                  <a:lnTo>
                    <a:pt x="1822" y="2199"/>
                  </a:lnTo>
                  <a:lnTo>
                    <a:pt x="1822" y="2845"/>
                  </a:lnTo>
                  <a:lnTo>
                    <a:pt x="1545" y="2845"/>
                  </a:lnTo>
                  <a:close/>
                  <a:moveTo>
                    <a:pt x="3010" y="2845"/>
                  </a:moveTo>
                  <a:lnTo>
                    <a:pt x="3010" y="3025"/>
                  </a:lnTo>
                  <a:lnTo>
                    <a:pt x="2555" y="3025"/>
                  </a:lnTo>
                  <a:lnTo>
                    <a:pt x="2555" y="2845"/>
                  </a:lnTo>
                  <a:lnTo>
                    <a:pt x="2278" y="2845"/>
                  </a:lnTo>
                  <a:lnTo>
                    <a:pt x="2278" y="2199"/>
                  </a:lnTo>
                  <a:lnTo>
                    <a:pt x="3288" y="2199"/>
                  </a:lnTo>
                  <a:lnTo>
                    <a:pt x="3288" y="2845"/>
                  </a:lnTo>
                  <a:lnTo>
                    <a:pt x="3010" y="2845"/>
                  </a:lnTo>
                  <a:close/>
                  <a:moveTo>
                    <a:pt x="4477" y="2845"/>
                  </a:moveTo>
                  <a:lnTo>
                    <a:pt x="4477" y="3025"/>
                  </a:lnTo>
                  <a:lnTo>
                    <a:pt x="4021" y="3025"/>
                  </a:lnTo>
                  <a:lnTo>
                    <a:pt x="4021" y="2845"/>
                  </a:lnTo>
                  <a:lnTo>
                    <a:pt x="3743" y="2845"/>
                  </a:lnTo>
                  <a:lnTo>
                    <a:pt x="3743" y="2199"/>
                  </a:lnTo>
                  <a:lnTo>
                    <a:pt x="4754" y="2199"/>
                  </a:lnTo>
                  <a:lnTo>
                    <a:pt x="4754" y="2845"/>
                  </a:lnTo>
                  <a:lnTo>
                    <a:pt x="4477" y="2845"/>
                  </a:lnTo>
                  <a:close/>
                  <a:moveTo>
                    <a:pt x="5942" y="2845"/>
                  </a:moveTo>
                  <a:lnTo>
                    <a:pt x="5942" y="3025"/>
                  </a:lnTo>
                  <a:lnTo>
                    <a:pt x="5486" y="3025"/>
                  </a:lnTo>
                  <a:lnTo>
                    <a:pt x="5486" y="2845"/>
                  </a:lnTo>
                  <a:lnTo>
                    <a:pt x="5209" y="2845"/>
                  </a:lnTo>
                  <a:lnTo>
                    <a:pt x="5209" y="2199"/>
                  </a:lnTo>
                  <a:lnTo>
                    <a:pt x="6219" y="2199"/>
                  </a:lnTo>
                  <a:lnTo>
                    <a:pt x="6219" y="2845"/>
                  </a:lnTo>
                  <a:lnTo>
                    <a:pt x="5942" y="2845"/>
                  </a:lnTo>
                  <a:close/>
                  <a:moveTo>
                    <a:pt x="7407" y="2845"/>
                  </a:moveTo>
                  <a:lnTo>
                    <a:pt x="7407" y="3025"/>
                  </a:lnTo>
                  <a:lnTo>
                    <a:pt x="6953" y="3025"/>
                  </a:lnTo>
                  <a:lnTo>
                    <a:pt x="6953" y="2845"/>
                  </a:lnTo>
                  <a:lnTo>
                    <a:pt x="6675" y="2845"/>
                  </a:lnTo>
                  <a:lnTo>
                    <a:pt x="6675" y="2199"/>
                  </a:lnTo>
                  <a:lnTo>
                    <a:pt x="7685" y="2199"/>
                  </a:lnTo>
                  <a:lnTo>
                    <a:pt x="7685" y="2845"/>
                  </a:lnTo>
                  <a:lnTo>
                    <a:pt x="7407" y="2845"/>
                  </a:lnTo>
                  <a:close/>
                  <a:moveTo>
                    <a:pt x="8874" y="2845"/>
                  </a:moveTo>
                  <a:lnTo>
                    <a:pt x="8874" y="3025"/>
                  </a:lnTo>
                  <a:lnTo>
                    <a:pt x="8418" y="3025"/>
                  </a:lnTo>
                  <a:lnTo>
                    <a:pt x="8418" y="2845"/>
                  </a:lnTo>
                  <a:lnTo>
                    <a:pt x="8141" y="2845"/>
                  </a:lnTo>
                  <a:lnTo>
                    <a:pt x="8141" y="2199"/>
                  </a:lnTo>
                  <a:lnTo>
                    <a:pt x="9151" y="2199"/>
                  </a:lnTo>
                  <a:lnTo>
                    <a:pt x="9151" y="2845"/>
                  </a:lnTo>
                  <a:lnTo>
                    <a:pt x="8874" y="2845"/>
                  </a:lnTo>
                  <a:close/>
                  <a:moveTo>
                    <a:pt x="10339" y="2845"/>
                  </a:moveTo>
                  <a:lnTo>
                    <a:pt x="10339" y="3025"/>
                  </a:lnTo>
                  <a:lnTo>
                    <a:pt x="9883" y="3025"/>
                  </a:lnTo>
                  <a:lnTo>
                    <a:pt x="9883" y="2845"/>
                  </a:lnTo>
                  <a:lnTo>
                    <a:pt x="9606" y="2845"/>
                  </a:lnTo>
                  <a:lnTo>
                    <a:pt x="9606" y="2199"/>
                  </a:lnTo>
                  <a:lnTo>
                    <a:pt x="10617" y="2199"/>
                  </a:lnTo>
                  <a:lnTo>
                    <a:pt x="10617" y="2845"/>
                  </a:lnTo>
                  <a:lnTo>
                    <a:pt x="10339" y="2845"/>
                  </a:lnTo>
                  <a:close/>
                  <a:moveTo>
                    <a:pt x="11851" y="1123"/>
                  </a:moveTo>
                  <a:lnTo>
                    <a:pt x="11851" y="943"/>
                  </a:lnTo>
                  <a:lnTo>
                    <a:pt x="11395" y="943"/>
                  </a:lnTo>
                  <a:lnTo>
                    <a:pt x="11395" y="1123"/>
                  </a:lnTo>
                  <a:lnTo>
                    <a:pt x="11117" y="1123"/>
                  </a:lnTo>
                  <a:lnTo>
                    <a:pt x="11117" y="1769"/>
                  </a:lnTo>
                  <a:lnTo>
                    <a:pt x="12128" y="1769"/>
                  </a:lnTo>
                  <a:lnTo>
                    <a:pt x="12128" y="1123"/>
                  </a:lnTo>
                  <a:lnTo>
                    <a:pt x="11851" y="1123"/>
                  </a:lnTo>
                  <a:close/>
                  <a:moveTo>
                    <a:pt x="11851" y="2845"/>
                  </a:moveTo>
                  <a:lnTo>
                    <a:pt x="11851" y="3025"/>
                  </a:lnTo>
                  <a:lnTo>
                    <a:pt x="11395" y="3025"/>
                  </a:lnTo>
                  <a:lnTo>
                    <a:pt x="11395" y="2845"/>
                  </a:lnTo>
                  <a:lnTo>
                    <a:pt x="11117" y="2845"/>
                  </a:lnTo>
                  <a:lnTo>
                    <a:pt x="11117" y="2199"/>
                  </a:lnTo>
                  <a:lnTo>
                    <a:pt x="12128" y="2199"/>
                  </a:lnTo>
                  <a:lnTo>
                    <a:pt x="12128" y="2845"/>
                  </a:lnTo>
                  <a:lnTo>
                    <a:pt x="11851" y="2845"/>
                  </a:lnTo>
                  <a:close/>
                </a:path>
              </a:pathLst>
            </a:custGeom>
            <a:grpFill/>
            <a:ln w="9525">
              <a:solidFill>
                <a:srgbClr val="00B0F0"/>
              </a:solidFill>
              <a:round/>
              <a:headEnd/>
              <a:tailEnd/>
            </a:ln>
          </p:spPr>
          <p:txBody>
            <a:bodyPr vert="horz" wrap="square" lIns="91416" tIns="45708" rIns="91416" bIns="45708" numCol="1" anchor="t" anchorCtr="0" compatLnSpc="1">
              <a:prstTxWarp prst="textNoShape">
                <a:avLst/>
              </a:prstTxWarp>
            </a:bodyPr>
            <a:lstStyle/>
            <a:p>
              <a:pPr defTabSz="914072" fontAlgn="ctr">
                <a:defRPr/>
              </a:pPr>
              <a:endParaRPr lang="en-US" altLang="zh-CN" sz="1200" kern="0" dirty="0">
                <a:solidFill>
                  <a:schemeClr val="bg1"/>
                </a:solidFill>
                <a:cs typeface="Times New Roman" pitchFamily="18" charset="0"/>
              </a:endParaRPr>
            </a:p>
          </p:txBody>
        </p:sp>
      </p:grpSp>
      <p:grpSp>
        <p:nvGrpSpPr>
          <p:cNvPr id="141" name="组合 140"/>
          <p:cNvGrpSpPr/>
          <p:nvPr/>
        </p:nvGrpSpPr>
        <p:grpSpPr>
          <a:xfrm>
            <a:off x="6073702" y="4579174"/>
            <a:ext cx="611171" cy="286617"/>
            <a:chOff x="5458125" y="4644587"/>
            <a:chExt cx="696913" cy="319831"/>
          </a:xfrm>
          <a:noFill/>
        </p:grpSpPr>
        <p:sp>
          <p:nvSpPr>
            <p:cNvPr id="142" name="1525300974"/>
            <p:cNvSpPr>
              <a:spLocks noEditPoints="1"/>
            </p:cNvSpPr>
            <p:nvPr/>
          </p:nvSpPr>
          <p:spPr bwMode="auto">
            <a:xfrm>
              <a:off x="5458125" y="4839455"/>
              <a:ext cx="696913" cy="124963"/>
            </a:xfrm>
            <a:custGeom>
              <a:avLst/>
              <a:gdLst/>
              <a:ahLst/>
              <a:cxnLst>
                <a:cxn ang="0">
                  <a:pos x="16278" y="39"/>
                </a:cxn>
                <a:cxn ang="0">
                  <a:pos x="16504" y="184"/>
                </a:cxn>
                <a:cxn ang="0">
                  <a:pos x="16649" y="411"/>
                </a:cxn>
                <a:cxn ang="0">
                  <a:pos x="16687" y="3376"/>
                </a:cxn>
                <a:cxn ang="0">
                  <a:pos x="16612" y="3641"/>
                </a:cxn>
                <a:cxn ang="0">
                  <a:pos x="16437" y="3844"/>
                </a:cxn>
                <a:cxn ang="0">
                  <a:pos x="16189" y="3955"/>
                </a:cxn>
                <a:cxn ang="0">
                  <a:pos x="499" y="3955"/>
                </a:cxn>
                <a:cxn ang="0">
                  <a:pos x="251" y="3844"/>
                </a:cxn>
                <a:cxn ang="0">
                  <a:pos x="75" y="3641"/>
                </a:cxn>
                <a:cxn ang="0">
                  <a:pos x="1" y="3376"/>
                </a:cxn>
                <a:cxn ang="0">
                  <a:pos x="38" y="411"/>
                </a:cxn>
                <a:cxn ang="0">
                  <a:pos x="184" y="184"/>
                </a:cxn>
                <a:cxn ang="0">
                  <a:pos x="410" y="39"/>
                </a:cxn>
                <a:cxn ang="0">
                  <a:pos x="13820" y="2430"/>
                </a:cxn>
                <a:cxn ang="0">
                  <a:pos x="13953" y="2510"/>
                </a:cxn>
                <a:cxn ang="0">
                  <a:pos x="13976" y="2666"/>
                </a:cxn>
                <a:cxn ang="0">
                  <a:pos x="13873" y="2780"/>
                </a:cxn>
                <a:cxn ang="0">
                  <a:pos x="13714" y="2773"/>
                </a:cxn>
                <a:cxn ang="0">
                  <a:pos x="13623" y="2648"/>
                </a:cxn>
                <a:cxn ang="0">
                  <a:pos x="13661" y="2496"/>
                </a:cxn>
                <a:cxn ang="0">
                  <a:pos x="13802" y="2429"/>
                </a:cxn>
                <a:cxn ang="0">
                  <a:pos x="14470" y="2482"/>
                </a:cxn>
                <a:cxn ang="0">
                  <a:pos x="14522" y="2631"/>
                </a:cxn>
                <a:cxn ang="0">
                  <a:pos x="14442" y="2763"/>
                </a:cxn>
                <a:cxn ang="0">
                  <a:pos x="14286" y="2786"/>
                </a:cxn>
                <a:cxn ang="0">
                  <a:pos x="14172" y="2683"/>
                </a:cxn>
                <a:cxn ang="0">
                  <a:pos x="14180" y="2525"/>
                </a:cxn>
                <a:cxn ang="0">
                  <a:pos x="14304" y="2433"/>
                </a:cxn>
                <a:cxn ang="0">
                  <a:pos x="14981" y="2460"/>
                </a:cxn>
                <a:cxn ang="0">
                  <a:pos x="15061" y="2593"/>
                </a:cxn>
                <a:cxn ang="0">
                  <a:pos x="15008" y="2741"/>
                </a:cxn>
                <a:cxn ang="0">
                  <a:pos x="14861" y="2794"/>
                </a:cxn>
                <a:cxn ang="0">
                  <a:pos x="14728" y="2714"/>
                </a:cxn>
                <a:cxn ang="0">
                  <a:pos x="14705" y="2558"/>
                </a:cxn>
                <a:cxn ang="0">
                  <a:pos x="14809" y="2444"/>
                </a:cxn>
                <a:cxn ang="0">
                  <a:pos x="15489" y="2444"/>
                </a:cxn>
                <a:cxn ang="0">
                  <a:pos x="15592" y="2558"/>
                </a:cxn>
                <a:cxn ang="0">
                  <a:pos x="15569" y="2714"/>
                </a:cxn>
                <a:cxn ang="0">
                  <a:pos x="15436" y="2794"/>
                </a:cxn>
                <a:cxn ang="0">
                  <a:pos x="15289" y="2741"/>
                </a:cxn>
                <a:cxn ang="0">
                  <a:pos x="15236" y="2593"/>
                </a:cxn>
                <a:cxn ang="0">
                  <a:pos x="15315" y="2460"/>
                </a:cxn>
                <a:cxn ang="0">
                  <a:pos x="15712" y="1546"/>
                </a:cxn>
                <a:cxn ang="0">
                  <a:pos x="1822" y="1769"/>
                </a:cxn>
                <a:cxn ang="0">
                  <a:pos x="3288" y="1769"/>
                </a:cxn>
                <a:cxn ang="0">
                  <a:pos x="4754" y="1769"/>
                </a:cxn>
                <a:cxn ang="0">
                  <a:pos x="6219" y="1769"/>
                </a:cxn>
                <a:cxn ang="0">
                  <a:pos x="7685" y="1769"/>
                </a:cxn>
                <a:cxn ang="0">
                  <a:pos x="9151" y="1769"/>
                </a:cxn>
                <a:cxn ang="0">
                  <a:pos x="10617" y="1769"/>
                </a:cxn>
                <a:cxn ang="0">
                  <a:pos x="1822" y="2199"/>
                </a:cxn>
                <a:cxn ang="0">
                  <a:pos x="3288" y="2199"/>
                </a:cxn>
                <a:cxn ang="0">
                  <a:pos x="4754" y="2199"/>
                </a:cxn>
                <a:cxn ang="0">
                  <a:pos x="6219" y="2199"/>
                </a:cxn>
                <a:cxn ang="0">
                  <a:pos x="7685" y="2199"/>
                </a:cxn>
                <a:cxn ang="0">
                  <a:pos x="9151" y="2199"/>
                </a:cxn>
                <a:cxn ang="0">
                  <a:pos x="10617" y="2199"/>
                </a:cxn>
                <a:cxn ang="0">
                  <a:pos x="12128" y="1769"/>
                </a:cxn>
                <a:cxn ang="0">
                  <a:pos x="12128" y="2199"/>
                </a:cxn>
              </a:cxnLst>
              <a:rect l="0" t="0" r="r" b="b"/>
              <a:pathLst>
                <a:path w="16688" h="3968">
                  <a:moveTo>
                    <a:pt x="624" y="0"/>
                  </a:moveTo>
                  <a:lnTo>
                    <a:pt x="16064" y="0"/>
                  </a:lnTo>
                  <a:lnTo>
                    <a:pt x="16097" y="1"/>
                  </a:lnTo>
                  <a:lnTo>
                    <a:pt x="16128" y="3"/>
                  </a:lnTo>
                  <a:lnTo>
                    <a:pt x="16159" y="7"/>
                  </a:lnTo>
                  <a:lnTo>
                    <a:pt x="16189" y="13"/>
                  </a:lnTo>
                  <a:lnTo>
                    <a:pt x="16220" y="20"/>
                  </a:lnTo>
                  <a:lnTo>
                    <a:pt x="16249" y="28"/>
                  </a:lnTo>
                  <a:lnTo>
                    <a:pt x="16278" y="39"/>
                  </a:lnTo>
                  <a:lnTo>
                    <a:pt x="16306" y="49"/>
                  </a:lnTo>
                  <a:lnTo>
                    <a:pt x="16334" y="62"/>
                  </a:lnTo>
                  <a:lnTo>
                    <a:pt x="16360" y="76"/>
                  </a:lnTo>
                  <a:lnTo>
                    <a:pt x="16387" y="91"/>
                  </a:lnTo>
                  <a:lnTo>
                    <a:pt x="16413" y="108"/>
                  </a:lnTo>
                  <a:lnTo>
                    <a:pt x="16437" y="124"/>
                  </a:lnTo>
                  <a:lnTo>
                    <a:pt x="16461" y="143"/>
                  </a:lnTo>
                  <a:lnTo>
                    <a:pt x="16484" y="163"/>
                  </a:lnTo>
                  <a:lnTo>
                    <a:pt x="16504" y="184"/>
                  </a:lnTo>
                  <a:lnTo>
                    <a:pt x="16525" y="205"/>
                  </a:lnTo>
                  <a:lnTo>
                    <a:pt x="16545" y="228"/>
                  </a:lnTo>
                  <a:lnTo>
                    <a:pt x="16564" y="252"/>
                  </a:lnTo>
                  <a:lnTo>
                    <a:pt x="16581" y="276"/>
                  </a:lnTo>
                  <a:lnTo>
                    <a:pt x="16597" y="302"/>
                  </a:lnTo>
                  <a:lnTo>
                    <a:pt x="16612" y="328"/>
                  </a:lnTo>
                  <a:lnTo>
                    <a:pt x="16626" y="354"/>
                  </a:lnTo>
                  <a:lnTo>
                    <a:pt x="16639" y="382"/>
                  </a:lnTo>
                  <a:lnTo>
                    <a:pt x="16649" y="411"/>
                  </a:lnTo>
                  <a:lnTo>
                    <a:pt x="16660" y="440"/>
                  </a:lnTo>
                  <a:lnTo>
                    <a:pt x="16668" y="469"/>
                  </a:lnTo>
                  <a:lnTo>
                    <a:pt x="16675" y="499"/>
                  </a:lnTo>
                  <a:lnTo>
                    <a:pt x="16681" y="530"/>
                  </a:lnTo>
                  <a:lnTo>
                    <a:pt x="16685" y="561"/>
                  </a:lnTo>
                  <a:lnTo>
                    <a:pt x="16687" y="592"/>
                  </a:lnTo>
                  <a:lnTo>
                    <a:pt x="16688" y="625"/>
                  </a:lnTo>
                  <a:lnTo>
                    <a:pt x="16688" y="3343"/>
                  </a:lnTo>
                  <a:lnTo>
                    <a:pt x="16687" y="3376"/>
                  </a:lnTo>
                  <a:lnTo>
                    <a:pt x="16685" y="3407"/>
                  </a:lnTo>
                  <a:lnTo>
                    <a:pt x="16681" y="3438"/>
                  </a:lnTo>
                  <a:lnTo>
                    <a:pt x="16675" y="3469"/>
                  </a:lnTo>
                  <a:lnTo>
                    <a:pt x="16668" y="3499"/>
                  </a:lnTo>
                  <a:lnTo>
                    <a:pt x="16660" y="3529"/>
                  </a:lnTo>
                  <a:lnTo>
                    <a:pt x="16649" y="3557"/>
                  </a:lnTo>
                  <a:lnTo>
                    <a:pt x="16639" y="3586"/>
                  </a:lnTo>
                  <a:lnTo>
                    <a:pt x="16626" y="3614"/>
                  </a:lnTo>
                  <a:lnTo>
                    <a:pt x="16612" y="3641"/>
                  </a:lnTo>
                  <a:lnTo>
                    <a:pt x="16597" y="3667"/>
                  </a:lnTo>
                  <a:lnTo>
                    <a:pt x="16581" y="3692"/>
                  </a:lnTo>
                  <a:lnTo>
                    <a:pt x="16564" y="3716"/>
                  </a:lnTo>
                  <a:lnTo>
                    <a:pt x="16545" y="3740"/>
                  </a:lnTo>
                  <a:lnTo>
                    <a:pt x="16525" y="3763"/>
                  </a:lnTo>
                  <a:lnTo>
                    <a:pt x="16504" y="3784"/>
                  </a:lnTo>
                  <a:lnTo>
                    <a:pt x="16484" y="3805"/>
                  </a:lnTo>
                  <a:lnTo>
                    <a:pt x="16461" y="3825"/>
                  </a:lnTo>
                  <a:lnTo>
                    <a:pt x="16437" y="3844"/>
                  </a:lnTo>
                  <a:lnTo>
                    <a:pt x="16413" y="3861"/>
                  </a:lnTo>
                  <a:lnTo>
                    <a:pt x="16387" y="3877"/>
                  </a:lnTo>
                  <a:lnTo>
                    <a:pt x="16360" y="3893"/>
                  </a:lnTo>
                  <a:lnTo>
                    <a:pt x="16334" y="3906"/>
                  </a:lnTo>
                  <a:lnTo>
                    <a:pt x="16306" y="3919"/>
                  </a:lnTo>
                  <a:lnTo>
                    <a:pt x="16278" y="3930"/>
                  </a:lnTo>
                  <a:lnTo>
                    <a:pt x="16249" y="3940"/>
                  </a:lnTo>
                  <a:lnTo>
                    <a:pt x="16220" y="3948"/>
                  </a:lnTo>
                  <a:lnTo>
                    <a:pt x="16189" y="3955"/>
                  </a:lnTo>
                  <a:lnTo>
                    <a:pt x="16159" y="3961"/>
                  </a:lnTo>
                  <a:lnTo>
                    <a:pt x="16128" y="3965"/>
                  </a:lnTo>
                  <a:lnTo>
                    <a:pt x="16097" y="3967"/>
                  </a:lnTo>
                  <a:lnTo>
                    <a:pt x="16064" y="3968"/>
                  </a:lnTo>
                  <a:lnTo>
                    <a:pt x="624" y="3968"/>
                  </a:lnTo>
                  <a:lnTo>
                    <a:pt x="591" y="3967"/>
                  </a:lnTo>
                  <a:lnTo>
                    <a:pt x="560" y="3965"/>
                  </a:lnTo>
                  <a:lnTo>
                    <a:pt x="529" y="3961"/>
                  </a:lnTo>
                  <a:lnTo>
                    <a:pt x="499" y="3955"/>
                  </a:lnTo>
                  <a:lnTo>
                    <a:pt x="468" y="3948"/>
                  </a:lnTo>
                  <a:lnTo>
                    <a:pt x="438" y="3940"/>
                  </a:lnTo>
                  <a:lnTo>
                    <a:pt x="410" y="3930"/>
                  </a:lnTo>
                  <a:lnTo>
                    <a:pt x="382" y="3919"/>
                  </a:lnTo>
                  <a:lnTo>
                    <a:pt x="354" y="3906"/>
                  </a:lnTo>
                  <a:lnTo>
                    <a:pt x="326" y="3893"/>
                  </a:lnTo>
                  <a:lnTo>
                    <a:pt x="300" y="3877"/>
                  </a:lnTo>
                  <a:lnTo>
                    <a:pt x="275" y="3861"/>
                  </a:lnTo>
                  <a:lnTo>
                    <a:pt x="251" y="3844"/>
                  </a:lnTo>
                  <a:lnTo>
                    <a:pt x="227" y="3825"/>
                  </a:lnTo>
                  <a:lnTo>
                    <a:pt x="204" y="3805"/>
                  </a:lnTo>
                  <a:lnTo>
                    <a:pt x="184" y="3784"/>
                  </a:lnTo>
                  <a:lnTo>
                    <a:pt x="163" y="3763"/>
                  </a:lnTo>
                  <a:lnTo>
                    <a:pt x="143" y="3740"/>
                  </a:lnTo>
                  <a:lnTo>
                    <a:pt x="124" y="3716"/>
                  </a:lnTo>
                  <a:lnTo>
                    <a:pt x="106" y="3692"/>
                  </a:lnTo>
                  <a:lnTo>
                    <a:pt x="91" y="3667"/>
                  </a:lnTo>
                  <a:lnTo>
                    <a:pt x="75" y="3641"/>
                  </a:lnTo>
                  <a:lnTo>
                    <a:pt x="62" y="3614"/>
                  </a:lnTo>
                  <a:lnTo>
                    <a:pt x="49" y="3586"/>
                  </a:lnTo>
                  <a:lnTo>
                    <a:pt x="38" y="3557"/>
                  </a:lnTo>
                  <a:lnTo>
                    <a:pt x="28" y="3529"/>
                  </a:lnTo>
                  <a:lnTo>
                    <a:pt x="20" y="3499"/>
                  </a:lnTo>
                  <a:lnTo>
                    <a:pt x="13" y="3469"/>
                  </a:lnTo>
                  <a:lnTo>
                    <a:pt x="7" y="3438"/>
                  </a:lnTo>
                  <a:lnTo>
                    <a:pt x="3" y="3407"/>
                  </a:lnTo>
                  <a:lnTo>
                    <a:pt x="1" y="3376"/>
                  </a:lnTo>
                  <a:lnTo>
                    <a:pt x="0" y="3343"/>
                  </a:lnTo>
                  <a:lnTo>
                    <a:pt x="0" y="625"/>
                  </a:lnTo>
                  <a:lnTo>
                    <a:pt x="1" y="592"/>
                  </a:lnTo>
                  <a:lnTo>
                    <a:pt x="3" y="561"/>
                  </a:lnTo>
                  <a:lnTo>
                    <a:pt x="7" y="530"/>
                  </a:lnTo>
                  <a:lnTo>
                    <a:pt x="13" y="499"/>
                  </a:lnTo>
                  <a:lnTo>
                    <a:pt x="20" y="469"/>
                  </a:lnTo>
                  <a:lnTo>
                    <a:pt x="28" y="440"/>
                  </a:lnTo>
                  <a:lnTo>
                    <a:pt x="38" y="411"/>
                  </a:lnTo>
                  <a:lnTo>
                    <a:pt x="49" y="382"/>
                  </a:lnTo>
                  <a:lnTo>
                    <a:pt x="62" y="354"/>
                  </a:lnTo>
                  <a:lnTo>
                    <a:pt x="75" y="328"/>
                  </a:lnTo>
                  <a:lnTo>
                    <a:pt x="91" y="302"/>
                  </a:lnTo>
                  <a:lnTo>
                    <a:pt x="106" y="276"/>
                  </a:lnTo>
                  <a:lnTo>
                    <a:pt x="124" y="252"/>
                  </a:lnTo>
                  <a:lnTo>
                    <a:pt x="143" y="228"/>
                  </a:lnTo>
                  <a:lnTo>
                    <a:pt x="163" y="205"/>
                  </a:lnTo>
                  <a:lnTo>
                    <a:pt x="184" y="184"/>
                  </a:lnTo>
                  <a:lnTo>
                    <a:pt x="204" y="163"/>
                  </a:lnTo>
                  <a:lnTo>
                    <a:pt x="227" y="143"/>
                  </a:lnTo>
                  <a:lnTo>
                    <a:pt x="251" y="124"/>
                  </a:lnTo>
                  <a:lnTo>
                    <a:pt x="275" y="108"/>
                  </a:lnTo>
                  <a:lnTo>
                    <a:pt x="300" y="91"/>
                  </a:lnTo>
                  <a:lnTo>
                    <a:pt x="326" y="76"/>
                  </a:lnTo>
                  <a:lnTo>
                    <a:pt x="354" y="62"/>
                  </a:lnTo>
                  <a:lnTo>
                    <a:pt x="382" y="49"/>
                  </a:lnTo>
                  <a:lnTo>
                    <a:pt x="410" y="39"/>
                  </a:lnTo>
                  <a:lnTo>
                    <a:pt x="438" y="28"/>
                  </a:lnTo>
                  <a:lnTo>
                    <a:pt x="468" y="20"/>
                  </a:lnTo>
                  <a:lnTo>
                    <a:pt x="499" y="13"/>
                  </a:lnTo>
                  <a:lnTo>
                    <a:pt x="529" y="7"/>
                  </a:lnTo>
                  <a:lnTo>
                    <a:pt x="560" y="3"/>
                  </a:lnTo>
                  <a:lnTo>
                    <a:pt x="591" y="1"/>
                  </a:lnTo>
                  <a:lnTo>
                    <a:pt x="624" y="0"/>
                  </a:lnTo>
                  <a:close/>
                  <a:moveTo>
                    <a:pt x="13802" y="2429"/>
                  </a:moveTo>
                  <a:lnTo>
                    <a:pt x="13820" y="2430"/>
                  </a:lnTo>
                  <a:lnTo>
                    <a:pt x="13839" y="2433"/>
                  </a:lnTo>
                  <a:lnTo>
                    <a:pt x="13856" y="2437"/>
                  </a:lnTo>
                  <a:lnTo>
                    <a:pt x="13873" y="2444"/>
                  </a:lnTo>
                  <a:lnTo>
                    <a:pt x="13889" y="2451"/>
                  </a:lnTo>
                  <a:lnTo>
                    <a:pt x="13903" y="2460"/>
                  </a:lnTo>
                  <a:lnTo>
                    <a:pt x="13918" y="2471"/>
                  </a:lnTo>
                  <a:lnTo>
                    <a:pt x="13930" y="2482"/>
                  </a:lnTo>
                  <a:lnTo>
                    <a:pt x="13942" y="2496"/>
                  </a:lnTo>
                  <a:lnTo>
                    <a:pt x="13953" y="2510"/>
                  </a:lnTo>
                  <a:lnTo>
                    <a:pt x="13962" y="2525"/>
                  </a:lnTo>
                  <a:lnTo>
                    <a:pt x="13970" y="2541"/>
                  </a:lnTo>
                  <a:lnTo>
                    <a:pt x="13976" y="2558"/>
                  </a:lnTo>
                  <a:lnTo>
                    <a:pt x="13980" y="2575"/>
                  </a:lnTo>
                  <a:lnTo>
                    <a:pt x="13984" y="2593"/>
                  </a:lnTo>
                  <a:lnTo>
                    <a:pt x="13985" y="2612"/>
                  </a:lnTo>
                  <a:lnTo>
                    <a:pt x="13984" y="2631"/>
                  </a:lnTo>
                  <a:lnTo>
                    <a:pt x="13980" y="2648"/>
                  </a:lnTo>
                  <a:lnTo>
                    <a:pt x="13976" y="2666"/>
                  </a:lnTo>
                  <a:lnTo>
                    <a:pt x="13970" y="2683"/>
                  </a:lnTo>
                  <a:lnTo>
                    <a:pt x="13962" y="2699"/>
                  </a:lnTo>
                  <a:lnTo>
                    <a:pt x="13953" y="2714"/>
                  </a:lnTo>
                  <a:lnTo>
                    <a:pt x="13942" y="2728"/>
                  </a:lnTo>
                  <a:lnTo>
                    <a:pt x="13930" y="2741"/>
                  </a:lnTo>
                  <a:lnTo>
                    <a:pt x="13918" y="2753"/>
                  </a:lnTo>
                  <a:lnTo>
                    <a:pt x="13903" y="2763"/>
                  </a:lnTo>
                  <a:lnTo>
                    <a:pt x="13889" y="2773"/>
                  </a:lnTo>
                  <a:lnTo>
                    <a:pt x="13873" y="2780"/>
                  </a:lnTo>
                  <a:lnTo>
                    <a:pt x="13856" y="2786"/>
                  </a:lnTo>
                  <a:lnTo>
                    <a:pt x="13839" y="2791"/>
                  </a:lnTo>
                  <a:lnTo>
                    <a:pt x="13820" y="2794"/>
                  </a:lnTo>
                  <a:lnTo>
                    <a:pt x="13802" y="2795"/>
                  </a:lnTo>
                  <a:lnTo>
                    <a:pt x="13783" y="2794"/>
                  </a:lnTo>
                  <a:lnTo>
                    <a:pt x="13764" y="2791"/>
                  </a:lnTo>
                  <a:lnTo>
                    <a:pt x="13748" y="2786"/>
                  </a:lnTo>
                  <a:lnTo>
                    <a:pt x="13731" y="2780"/>
                  </a:lnTo>
                  <a:lnTo>
                    <a:pt x="13714" y="2773"/>
                  </a:lnTo>
                  <a:lnTo>
                    <a:pt x="13700" y="2763"/>
                  </a:lnTo>
                  <a:lnTo>
                    <a:pt x="13685" y="2753"/>
                  </a:lnTo>
                  <a:lnTo>
                    <a:pt x="13673" y="2741"/>
                  </a:lnTo>
                  <a:lnTo>
                    <a:pt x="13661" y="2728"/>
                  </a:lnTo>
                  <a:lnTo>
                    <a:pt x="13651" y="2714"/>
                  </a:lnTo>
                  <a:lnTo>
                    <a:pt x="13641" y="2699"/>
                  </a:lnTo>
                  <a:lnTo>
                    <a:pt x="13634" y="2683"/>
                  </a:lnTo>
                  <a:lnTo>
                    <a:pt x="13628" y="2666"/>
                  </a:lnTo>
                  <a:lnTo>
                    <a:pt x="13623" y="2648"/>
                  </a:lnTo>
                  <a:lnTo>
                    <a:pt x="13621" y="2631"/>
                  </a:lnTo>
                  <a:lnTo>
                    <a:pt x="13619" y="2612"/>
                  </a:lnTo>
                  <a:lnTo>
                    <a:pt x="13621" y="2593"/>
                  </a:lnTo>
                  <a:lnTo>
                    <a:pt x="13623" y="2575"/>
                  </a:lnTo>
                  <a:lnTo>
                    <a:pt x="13628" y="2558"/>
                  </a:lnTo>
                  <a:lnTo>
                    <a:pt x="13634" y="2541"/>
                  </a:lnTo>
                  <a:lnTo>
                    <a:pt x="13641" y="2525"/>
                  </a:lnTo>
                  <a:lnTo>
                    <a:pt x="13651" y="2510"/>
                  </a:lnTo>
                  <a:lnTo>
                    <a:pt x="13661" y="2496"/>
                  </a:lnTo>
                  <a:lnTo>
                    <a:pt x="13673" y="2482"/>
                  </a:lnTo>
                  <a:lnTo>
                    <a:pt x="13685" y="2471"/>
                  </a:lnTo>
                  <a:lnTo>
                    <a:pt x="13700" y="2460"/>
                  </a:lnTo>
                  <a:lnTo>
                    <a:pt x="13714" y="2451"/>
                  </a:lnTo>
                  <a:lnTo>
                    <a:pt x="13731" y="2444"/>
                  </a:lnTo>
                  <a:lnTo>
                    <a:pt x="13748" y="2437"/>
                  </a:lnTo>
                  <a:lnTo>
                    <a:pt x="13764" y="2433"/>
                  </a:lnTo>
                  <a:lnTo>
                    <a:pt x="13783" y="2430"/>
                  </a:lnTo>
                  <a:lnTo>
                    <a:pt x="13802" y="2429"/>
                  </a:lnTo>
                  <a:close/>
                  <a:moveTo>
                    <a:pt x="14340" y="2429"/>
                  </a:moveTo>
                  <a:lnTo>
                    <a:pt x="14359" y="2430"/>
                  </a:lnTo>
                  <a:lnTo>
                    <a:pt x="14377" y="2433"/>
                  </a:lnTo>
                  <a:lnTo>
                    <a:pt x="14394" y="2437"/>
                  </a:lnTo>
                  <a:lnTo>
                    <a:pt x="14411" y="2444"/>
                  </a:lnTo>
                  <a:lnTo>
                    <a:pt x="14427" y="2451"/>
                  </a:lnTo>
                  <a:lnTo>
                    <a:pt x="14442" y="2460"/>
                  </a:lnTo>
                  <a:lnTo>
                    <a:pt x="14456" y="2471"/>
                  </a:lnTo>
                  <a:lnTo>
                    <a:pt x="14470" y="2482"/>
                  </a:lnTo>
                  <a:lnTo>
                    <a:pt x="14481" y="2496"/>
                  </a:lnTo>
                  <a:lnTo>
                    <a:pt x="14491" y="2510"/>
                  </a:lnTo>
                  <a:lnTo>
                    <a:pt x="14501" y="2525"/>
                  </a:lnTo>
                  <a:lnTo>
                    <a:pt x="14508" y="2541"/>
                  </a:lnTo>
                  <a:lnTo>
                    <a:pt x="14514" y="2558"/>
                  </a:lnTo>
                  <a:lnTo>
                    <a:pt x="14519" y="2575"/>
                  </a:lnTo>
                  <a:lnTo>
                    <a:pt x="14522" y="2593"/>
                  </a:lnTo>
                  <a:lnTo>
                    <a:pt x="14523" y="2612"/>
                  </a:lnTo>
                  <a:lnTo>
                    <a:pt x="14522" y="2631"/>
                  </a:lnTo>
                  <a:lnTo>
                    <a:pt x="14519" y="2648"/>
                  </a:lnTo>
                  <a:lnTo>
                    <a:pt x="14514" y="2666"/>
                  </a:lnTo>
                  <a:lnTo>
                    <a:pt x="14508" y="2683"/>
                  </a:lnTo>
                  <a:lnTo>
                    <a:pt x="14501" y="2699"/>
                  </a:lnTo>
                  <a:lnTo>
                    <a:pt x="14491" y="2714"/>
                  </a:lnTo>
                  <a:lnTo>
                    <a:pt x="14481" y="2728"/>
                  </a:lnTo>
                  <a:lnTo>
                    <a:pt x="14470" y="2741"/>
                  </a:lnTo>
                  <a:lnTo>
                    <a:pt x="14456" y="2753"/>
                  </a:lnTo>
                  <a:lnTo>
                    <a:pt x="14442" y="2763"/>
                  </a:lnTo>
                  <a:lnTo>
                    <a:pt x="14427" y="2773"/>
                  </a:lnTo>
                  <a:lnTo>
                    <a:pt x="14411" y="2780"/>
                  </a:lnTo>
                  <a:lnTo>
                    <a:pt x="14394" y="2786"/>
                  </a:lnTo>
                  <a:lnTo>
                    <a:pt x="14377" y="2791"/>
                  </a:lnTo>
                  <a:lnTo>
                    <a:pt x="14359" y="2794"/>
                  </a:lnTo>
                  <a:lnTo>
                    <a:pt x="14340" y="2795"/>
                  </a:lnTo>
                  <a:lnTo>
                    <a:pt x="14321" y="2794"/>
                  </a:lnTo>
                  <a:lnTo>
                    <a:pt x="14304" y="2791"/>
                  </a:lnTo>
                  <a:lnTo>
                    <a:pt x="14286" y="2786"/>
                  </a:lnTo>
                  <a:lnTo>
                    <a:pt x="14269" y="2780"/>
                  </a:lnTo>
                  <a:lnTo>
                    <a:pt x="14254" y="2773"/>
                  </a:lnTo>
                  <a:lnTo>
                    <a:pt x="14238" y="2763"/>
                  </a:lnTo>
                  <a:lnTo>
                    <a:pt x="14224" y="2753"/>
                  </a:lnTo>
                  <a:lnTo>
                    <a:pt x="14212" y="2741"/>
                  </a:lnTo>
                  <a:lnTo>
                    <a:pt x="14199" y="2728"/>
                  </a:lnTo>
                  <a:lnTo>
                    <a:pt x="14189" y="2714"/>
                  </a:lnTo>
                  <a:lnTo>
                    <a:pt x="14180" y="2699"/>
                  </a:lnTo>
                  <a:lnTo>
                    <a:pt x="14172" y="2683"/>
                  </a:lnTo>
                  <a:lnTo>
                    <a:pt x="14166" y="2666"/>
                  </a:lnTo>
                  <a:lnTo>
                    <a:pt x="14162" y="2648"/>
                  </a:lnTo>
                  <a:lnTo>
                    <a:pt x="14159" y="2631"/>
                  </a:lnTo>
                  <a:lnTo>
                    <a:pt x="14158" y="2612"/>
                  </a:lnTo>
                  <a:lnTo>
                    <a:pt x="14159" y="2593"/>
                  </a:lnTo>
                  <a:lnTo>
                    <a:pt x="14162" y="2575"/>
                  </a:lnTo>
                  <a:lnTo>
                    <a:pt x="14166" y="2558"/>
                  </a:lnTo>
                  <a:lnTo>
                    <a:pt x="14172" y="2541"/>
                  </a:lnTo>
                  <a:lnTo>
                    <a:pt x="14180" y="2525"/>
                  </a:lnTo>
                  <a:lnTo>
                    <a:pt x="14189" y="2510"/>
                  </a:lnTo>
                  <a:lnTo>
                    <a:pt x="14199" y="2496"/>
                  </a:lnTo>
                  <a:lnTo>
                    <a:pt x="14212" y="2482"/>
                  </a:lnTo>
                  <a:lnTo>
                    <a:pt x="14224" y="2471"/>
                  </a:lnTo>
                  <a:lnTo>
                    <a:pt x="14238" y="2460"/>
                  </a:lnTo>
                  <a:lnTo>
                    <a:pt x="14254" y="2451"/>
                  </a:lnTo>
                  <a:lnTo>
                    <a:pt x="14269" y="2444"/>
                  </a:lnTo>
                  <a:lnTo>
                    <a:pt x="14286" y="2437"/>
                  </a:lnTo>
                  <a:lnTo>
                    <a:pt x="14304" y="2433"/>
                  </a:lnTo>
                  <a:lnTo>
                    <a:pt x="14321" y="2430"/>
                  </a:lnTo>
                  <a:lnTo>
                    <a:pt x="14340" y="2429"/>
                  </a:lnTo>
                  <a:close/>
                  <a:moveTo>
                    <a:pt x="14879" y="2429"/>
                  </a:moveTo>
                  <a:lnTo>
                    <a:pt x="14897" y="2430"/>
                  </a:lnTo>
                  <a:lnTo>
                    <a:pt x="14916" y="2433"/>
                  </a:lnTo>
                  <a:lnTo>
                    <a:pt x="14933" y="2437"/>
                  </a:lnTo>
                  <a:lnTo>
                    <a:pt x="14950" y="2444"/>
                  </a:lnTo>
                  <a:lnTo>
                    <a:pt x="14966" y="2451"/>
                  </a:lnTo>
                  <a:lnTo>
                    <a:pt x="14981" y="2460"/>
                  </a:lnTo>
                  <a:lnTo>
                    <a:pt x="14995" y="2471"/>
                  </a:lnTo>
                  <a:lnTo>
                    <a:pt x="15008" y="2482"/>
                  </a:lnTo>
                  <a:lnTo>
                    <a:pt x="15019" y="2496"/>
                  </a:lnTo>
                  <a:lnTo>
                    <a:pt x="15031" y="2510"/>
                  </a:lnTo>
                  <a:lnTo>
                    <a:pt x="15039" y="2525"/>
                  </a:lnTo>
                  <a:lnTo>
                    <a:pt x="15047" y="2541"/>
                  </a:lnTo>
                  <a:lnTo>
                    <a:pt x="15054" y="2558"/>
                  </a:lnTo>
                  <a:lnTo>
                    <a:pt x="15058" y="2575"/>
                  </a:lnTo>
                  <a:lnTo>
                    <a:pt x="15061" y="2593"/>
                  </a:lnTo>
                  <a:lnTo>
                    <a:pt x="15062" y="2612"/>
                  </a:lnTo>
                  <a:lnTo>
                    <a:pt x="15061" y="2631"/>
                  </a:lnTo>
                  <a:lnTo>
                    <a:pt x="15058" y="2648"/>
                  </a:lnTo>
                  <a:lnTo>
                    <a:pt x="15054" y="2666"/>
                  </a:lnTo>
                  <a:lnTo>
                    <a:pt x="15047" y="2683"/>
                  </a:lnTo>
                  <a:lnTo>
                    <a:pt x="15039" y="2699"/>
                  </a:lnTo>
                  <a:lnTo>
                    <a:pt x="15031" y="2714"/>
                  </a:lnTo>
                  <a:lnTo>
                    <a:pt x="15019" y="2728"/>
                  </a:lnTo>
                  <a:lnTo>
                    <a:pt x="15008" y="2741"/>
                  </a:lnTo>
                  <a:lnTo>
                    <a:pt x="14995" y="2753"/>
                  </a:lnTo>
                  <a:lnTo>
                    <a:pt x="14981" y="2763"/>
                  </a:lnTo>
                  <a:lnTo>
                    <a:pt x="14966" y="2773"/>
                  </a:lnTo>
                  <a:lnTo>
                    <a:pt x="14950" y="2780"/>
                  </a:lnTo>
                  <a:lnTo>
                    <a:pt x="14933" y="2786"/>
                  </a:lnTo>
                  <a:lnTo>
                    <a:pt x="14916" y="2791"/>
                  </a:lnTo>
                  <a:lnTo>
                    <a:pt x="14897" y="2794"/>
                  </a:lnTo>
                  <a:lnTo>
                    <a:pt x="14879" y="2795"/>
                  </a:lnTo>
                  <a:lnTo>
                    <a:pt x="14861" y="2794"/>
                  </a:lnTo>
                  <a:lnTo>
                    <a:pt x="14842" y="2791"/>
                  </a:lnTo>
                  <a:lnTo>
                    <a:pt x="14825" y="2786"/>
                  </a:lnTo>
                  <a:lnTo>
                    <a:pt x="14809" y="2780"/>
                  </a:lnTo>
                  <a:lnTo>
                    <a:pt x="14792" y="2773"/>
                  </a:lnTo>
                  <a:lnTo>
                    <a:pt x="14777" y="2763"/>
                  </a:lnTo>
                  <a:lnTo>
                    <a:pt x="14763" y="2753"/>
                  </a:lnTo>
                  <a:lnTo>
                    <a:pt x="14750" y="2741"/>
                  </a:lnTo>
                  <a:lnTo>
                    <a:pt x="14739" y="2728"/>
                  </a:lnTo>
                  <a:lnTo>
                    <a:pt x="14728" y="2714"/>
                  </a:lnTo>
                  <a:lnTo>
                    <a:pt x="14719" y="2699"/>
                  </a:lnTo>
                  <a:lnTo>
                    <a:pt x="14710" y="2683"/>
                  </a:lnTo>
                  <a:lnTo>
                    <a:pt x="14705" y="2666"/>
                  </a:lnTo>
                  <a:lnTo>
                    <a:pt x="14700" y="2648"/>
                  </a:lnTo>
                  <a:lnTo>
                    <a:pt x="14698" y="2631"/>
                  </a:lnTo>
                  <a:lnTo>
                    <a:pt x="14697" y="2612"/>
                  </a:lnTo>
                  <a:lnTo>
                    <a:pt x="14698" y="2593"/>
                  </a:lnTo>
                  <a:lnTo>
                    <a:pt x="14700" y="2575"/>
                  </a:lnTo>
                  <a:lnTo>
                    <a:pt x="14705" y="2558"/>
                  </a:lnTo>
                  <a:lnTo>
                    <a:pt x="14710" y="2541"/>
                  </a:lnTo>
                  <a:lnTo>
                    <a:pt x="14719" y="2525"/>
                  </a:lnTo>
                  <a:lnTo>
                    <a:pt x="14728" y="2510"/>
                  </a:lnTo>
                  <a:lnTo>
                    <a:pt x="14739" y="2496"/>
                  </a:lnTo>
                  <a:lnTo>
                    <a:pt x="14750" y="2482"/>
                  </a:lnTo>
                  <a:lnTo>
                    <a:pt x="14763" y="2471"/>
                  </a:lnTo>
                  <a:lnTo>
                    <a:pt x="14777" y="2460"/>
                  </a:lnTo>
                  <a:lnTo>
                    <a:pt x="14792" y="2451"/>
                  </a:lnTo>
                  <a:lnTo>
                    <a:pt x="14809" y="2444"/>
                  </a:lnTo>
                  <a:lnTo>
                    <a:pt x="14825" y="2437"/>
                  </a:lnTo>
                  <a:lnTo>
                    <a:pt x="14842" y="2433"/>
                  </a:lnTo>
                  <a:lnTo>
                    <a:pt x="14861" y="2430"/>
                  </a:lnTo>
                  <a:lnTo>
                    <a:pt x="14879" y="2429"/>
                  </a:lnTo>
                  <a:close/>
                  <a:moveTo>
                    <a:pt x="15418" y="2429"/>
                  </a:moveTo>
                  <a:lnTo>
                    <a:pt x="15436" y="2430"/>
                  </a:lnTo>
                  <a:lnTo>
                    <a:pt x="15454" y="2433"/>
                  </a:lnTo>
                  <a:lnTo>
                    <a:pt x="15472" y="2437"/>
                  </a:lnTo>
                  <a:lnTo>
                    <a:pt x="15489" y="2444"/>
                  </a:lnTo>
                  <a:lnTo>
                    <a:pt x="15504" y="2451"/>
                  </a:lnTo>
                  <a:lnTo>
                    <a:pt x="15520" y="2460"/>
                  </a:lnTo>
                  <a:lnTo>
                    <a:pt x="15533" y="2471"/>
                  </a:lnTo>
                  <a:lnTo>
                    <a:pt x="15547" y="2482"/>
                  </a:lnTo>
                  <a:lnTo>
                    <a:pt x="15558" y="2496"/>
                  </a:lnTo>
                  <a:lnTo>
                    <a:pt x="15569" y="2510"/>
                  </a:lnTo>
                  <a:lnTo>
                    <a:pt x="15578" y="2525"/>
                  </a:lnTo>
                  <a:lnTo>
                    <a:pt x="15586" y="2541"/>
                  </a:lnTo>
                  <a:lnTo>
                    <a:pt x="15592" y="2558"/>
                  </a:lnTo>
                  <a:lnTo>
                    <a:pt x="15596" y="2575"/>
                  </a:lnTo>
                  <a:lnTo>
                    <a:pt x="15599" y="2593"/>
                  </a:lnTo>
                  <a:lnTo>
                    <a:pt x="15600" y="2612"/>
                  </a:lnTo>
                  <a:lnTo>
                    <a:pt x="15599" y="2631"/>
                  </a:lnTo>
                  <a:lnTo>
                    <a:pt x="15596" y="2648"/>
                  </a:lnTo>
                  <a:lnTo>
                    <a:pt x="15592" y="2666"/>
                  </a:lnTo>
                  <a:lnTo>
                    <a:pt x="15586" y="2683"/>
                  </a:lnTo>
                  <a:lnTo>
                    <a:pt x="15578" y="2699"/>
                  </a:lnTo>
                  <a:lnTo>
                    <a:pt x="15569" y="2714"/>
                  </a:lnTo>
                  <a:lnTo>
                    <a:pt x="15558" y="2728"/>
                  </a:lnTo>
                  <a:lnTo>
                    <a:pt x="15547" y="2741"/>
                  </a:lnTo>
                  <a:lnTo>
                    <a:pt x="15533" y="2753"/>
                  </a:lnTo>
                  <a:lnTo>
                    <a:pt x="15520" y="2763"/>
                  </a:lnTo>
                  <a:lnTo>
                    <a:pt x="15504" y="2773"/>
                  </a:lnTo>
                  <a:lnTo>
                    <a:pt x="15489" y="2780"/>
                  </a:lnTo>
                  <a:lnTo>
                    <a:pt x="15472" y="2786"/>
                  </a:lnTo>
                  <a:lnTo>
                    <a:pt x="15454" y="2791"/>
                  </a:lnTo>
                  <a:lnTo>
                    <a:pt x="15436" y="2794"/>
                  </a:lnTo>
                  <a:lnTo>
                    <a:pt x="15418" y="2795"/>
                  </a:lnTo>
                  <a:lnTo>
                    <a:pt x="15399" y="2794"/>
                  </a:lnTo>
                  <a:lnTo>
                    <a:pt x="15381" y="2791"/>
                  </a:lnTo>
                  <a:lnTo>
                    <a:pt x="15363" y="2786"/>
                  </a:lnTo>
                  <a:lnTo>
                    <a:pt x="15347" y="2780"/>
                  </a:lnTo>
                  <a:lnTo>
                    <a:pt x="15331" y="2773"/>
                  </a:lnTo>
                  <a:lnTo>
                    <a:pt x="15315" y="2763"/>
                  </a:lnTo>
                  <a:lnTo>
                    <a:pt x="15302" y="2753"/>
                  </a:lnTo>
                  <a:lnTo>
                    <a:pt x="15289" y="2741"/>
                  </a:lnTo>
                  <a:lnTo>
                    <a:pt x="15277" y="2728"/>
                  </a:lnTo>
                  <a:lnTo>
                    <a:pt x="15266" y="2714"/>
                  </a:lnTo>
                  <a:lnTo>
                    <a:pt x="15257" y="2699"/>
                  </a:lnTo>
                  <a:lnTo>
                    <a:pt x="15250" y="2683"/>
                  </a:lnTo>
                  <a:lnTo>
                    <a:pt x="15243" y="2666"/>
                  </a:lnTo>
                  <a:lnTo>
                    <a:pt x="15239" y="2648"/>
                  </a:lnTo>
                  <a:lnTo>
                    <a:pt x="15236" y="2631"/>
                  </a:lnTo>
                  <a:lnTo>
                    <a:pt x="15235" y="2612"/>
                  </a:lnTo>
                  <a:lnTo>
                    <a:pt x="15236" y="2593"/>
                  </a:lnTo>
                  <a:lnTo>
                    <a:pt x="15239" y="2575"/>
                  </a:lnTo>
                  <a:lnTo>
                    <a:pt x="15243" y="2558"/>
                  </a:lnTo>
                  <a:lnTo>
                    <a:pt x="15250" y="2541"/>
                  </a:lnTo>
                  <a:lnTo>
                    <a:pt x="15257" y="2525"/>
                  </a:lnTo>
                  <a:lnTo>
                    <a:pt x="15266" y="2510"/>
                  </a:lnTo>
                  <a:lnTo>
                    <a:pt x="15277" y="2496"/>
                  </a:lnTo>
                  <a:lnTo>
                    <a:pt x="15289" y="2482"/>
                  </a:lnTo>
                  <a:lnTo>
                    <a:pt x="15302" y="2471"/>
                  </a:lnTo>
                  <a:lnTo>
                    <a:pt x="15315" y="2460"/>
                  </a:lnTo>
                  <a:lnTo>
                    <a:pt x="15331" y="2451"/>
                  </a:lnTo>
                  <a:lnTo>
                    <a:pt x="15347" y="2444"/>
                  </a:lnTo>
                  <a:lnTo>
                    <a:pt x="15363" y="2437"/>
                  </a:lnTo>
                  <a:lnTo>
                    <a:pt x="15381" y="2433"/>
                  </a:lnTo>
                  <a:lnTo>
                    <a:pt x="15399" y="2430"/>
                  </a:lnTo>
                  <a:lnTo>
                    <a:pt x="15418" y="2429"/>
                  </a:lnTo>
                  <a:close/>
                  <a:moveTo>
                    <a:pt x="13682" y="943"/>
                  </a:moveTo>
                  <a:lnTo>
                    <a:pt x="15712" y="943"/>
                  </a:lnTo>
                  <a:lnTo>
                    <a:pt x="15712" y="1546"/>
                  </a:lnTo>
                  <a:lnTo>
                    <a:pt x="13682" y="1546"/>
                  </a:lnTo>
                  <a:lnTo>
                    <a:pt x="13682" y="943"/>
                  </a:lnTo>
                  <a:close/>
                  <a:moveTo>
                    <a:pt x="1545" y="1123"/>
                  </a:moveTo>
                  <a:lnTo>
                    <a:pt x="1545" y="943"/>
                  </a:lnTo>
                  <a:lnTo>
                    <a:pt x="1089" y="943"/>
                  </a:lnTo>
                  <a:lnTo>
                    <a:pt x="1089" y="1123"/>
                  </a:lnTo>
                  <a:lnTo>
                    <a:pt x="811" y="1123"/>
                  </a:lnTo>
                  <a:lnTo>
                    <a:pt x="811" y="1769"/>
                  </a:lnTo>
                  <a:lnTo>
                    <a:pt x="1822" y="1769"/>
                  </a:lnTo>
                  <a:lnTo>
                    <a:pt x="1822" y="1123"/>
                  </a:lnTo>
                  <a:lnTo>
                    <a:pt x="1545" y="1123"/>
                  </a:lnTo>
                  <a:close/>
                  <a:moveTo>
                    <a:pt x="3010" y="1123"/>
                  </a:moveTo>
                  <a:lnTo>
                    <a:pt x="3010" y="943"/>
                  </a:lnTo>
                  <a:lnTo>
                    <a:pt x="2555" y="943"/>
                  </a:lnTo>
                  <a:lnTo>
                    <a:pt x="2555" y="1123"/>
                  </a:lnTo>
                  <a:lnTo>
                    <a:pt x="2278" y="1123"/>
                  </a:lnTo>
                  <a:lnTo>
                    <a:pt x="2278" y="1769"/>
                  </a:lnTo>
                  <a:lnTo>
                    <a:pt x="3288" y="1769"/>
                  </a:lnTo>
                  <a:lnTo>
                    <a:pt x="3288" y="1123"/>
                  </a:lnTo>
                  <a:lnTo>
                    <a:pt x="3010" y="1123"/>
                  </a:lnTo>
                  <a:close/>
                  <a:moveTo>
                    <a:pt x="4477" y="1123"/>
                  </a:moveTo>
                  <a:lnTo>
                    <a:pt x="4477" y="943"/>
                  </a:lnTo>
                  <a:lnTo>
                    <a:pt x="4021" y="943"/>
                  </a:lnTo>
                  <a:lnTo>
                    <a:pt x="4021" y="1123"/>
                  </a:lnTo>
                  <a:lnTo>
                    <a:pt x="3743" y="1123"/>
                  </a:lnTo>
                  <a:lnTo>
                    <a:pt x="3743" y="1769"/>
                  </a:lnTo>
                  <a:lnTo>
                    <a:pt x="4754" y="1769"/>
                  </a:lnTo>
                  <a:lnTo>
                    <a:pt x="4754" y="1123"/>
                  </a:lnTo>
                  <a:lnTo>
                    <a:pt x="4477" y="1123"/>
                  </a:lnTo>
                  <a:close/>
                  <a:moveTo>
                    <a:pt x="5942" y="1123"/>
                  </a:moveTo>
                  <a:lnTo>
                    <a:pt x="5942" y="943"/>
                  </a:lnTo>
                  <a:lnTo>
                    <a:pt x="5486" y="943"/>
                  </a:lnTo>
                  <a:lnTo>
                    <a:pt x="5486" y="1123"/>
                  </a:lnTo>
                  <a:lnTo>
                    <a:pt x="5209" y="1123"/>
                  </a:lnTo>
                  <a:lnTo>
                    <a:pt x="5209" y="1769"/>
                  </a:lnTo>
                  <a:lnTo>
                    <a:pt x="6219" y="1769"/>
                  </a:lnTo>
                  <a:lnTo>
                    <a:pt x="6219" y="1123"/>
                  </a:lnTo>
                  <a:lnTo>
                    <a:pt x="5942" y="1123"/>
                  </a:lnTo>
                  <a:close/>
                  <a:moveTo>
                    <a:pt x="7407" y="1123"/>
                  </a:moveTo>
                  <a:lnTo>
                    <a:pt x="7407" y="943"/>
                  </a:lnTo>
                  <a:lnTo>
                    <a:pt x="6953" y="943"/>
                  </a:lnTo>
                  <a:lnTo>
                    <a:pt x="6953" y="1123"/>
                  </a:lnTo>
                  <a:lnTo>
                    <a:pt x="6675" y="1123"/>
                  </a:lnTo>
                  <a:lnTo>
                    <a:pt x="6675" y="1769"/>
                  </a:lnTo>
                  <a:lnTo>
                    <a:pt x="7685" y="1769"/>
                  </a:lnTo>
                  <a:lnTo>
                    <a:pt x="7685" y="1123"/>
                  </a:lnTo>
                  <a:lnTo>
                    <a:pt x="7407" y="1123"/>
                  </a:lnTo>
                  <a:close/>
                  <a:moveTo>
                    <a:pt x="8874" y="1123"/>
                  </a:moveTo>
                  <a:lnTo>
                    <a:pt x="8874" y="943"/>
                  </a:lnTo>
                  <a:lnTo>
                    <a:pt x="8418" y="943"/>
                  </a:lnTo>
                  <a:lnTo>
                    <a:pt x="8418" y="1123"/>
                  </a:lnTo>
                  <a:lnTo>
                    <a:pt x="8141" y="1123"/>
                  </a:lnTo>
                  <a:lnTo>
                    <a:pt x="8141" y="1769"/>
                  </a:lnTo>
                  <a:lnTo>
                    <a:pt x="9151" y="1769"/>
                  </a:lnTo>
                  <a:lnTo>
                    <a:pt x="9151" y="1123"/>
                  </a:lnTo>
                  <a:lnTo>
                    <a:pt x="8874" y="1123"/>
                  </a:lnTo>
                  <a:close/>
                  <a:moveTo>
                    <a:pt x="10339" y="1123"/>
                  </a:moveTo>
                  <a:lnTo>
                    <a:pt x="10339" y="943"/>
                  </a:lnTo>
                  <a:lnTo>
                    <a:pt x="9883" y="943"/>
                  </a:lnTo>
                  <a:lnTo>
                    <a:pt x="9883" y="1123"/>
                  </a:lnTo>
                  <a:lnTo>
                    <a:pt x="9606" y="1123"/>
                  </a:lnTo>
                  <a:lnTo>
                    <a:pt x="9606" y="1769"/>
                  </a:lnTo>
                  <a:lnTo>
                    <a:pt x="10617" y="1769"/>
                  </a:lnTo>
                  <a:lnTo>
                    <a:pt x="10617" y="1123"/>
                  </a:lnTo>
                  <a:lnTo>
                    <a:pt x="10339" y="1123"/>
                  </a:lnTo>
                  <a:close/>
                  <a:moveTo>
                    <a:pt x="1545" y="2845"/>
                  </a:moveTo>
                  <a:lnTo>
                    <a:pt x="1545" y="3025"/>
                  </a:lnTo>
                  <a:lnTo>
                    <a:pt x="1089" y="3025"/>
                  </a:lnTo>
                  <a:lnTo>
                    <a:pt x="1089" y="2845"/>
                  </a:lnTo>
                  <a:lnTo>
                    <a:pt x="811" y="2845"/>
                  </a:lnTo>
                  <a:lnTo>
                    <a:pt x="811" y="2199"/>
                  </a:lnTo>
                  <a:lnTo>
                    <a:pt x="1822" y="2199"/>
                  </a:lnTo>
                  <a:lnTo>
                    <a:pt x="1822" y="2845"/>
                  </a:lnTo>
                  <a:lnTo>
                    <a:pt x="1545" y="2845"/>
                  </a:lnTo>
                  <a:close/>
                  <a:moveTo>
                    <a:pt x="3010" y="2845"/>
                  </a:moveTo>
                  <a:lnTo>
                    <a:pt x="3010" y="3025"/>
                  </a:lnTo>
                  <a:lnTo>
                    <a:pt x="2555" y="3025"/>
                  </a:lnTo>
                  <a:lnTo>
                    <a:pt x="2555" y="2845"/>
                  </a:lnTo>
                  <a:lnTo>
                    <a:pt x="2278" y="2845"/>
                  </a:lnTo>
                  <a:lnTo>
                    <a:pt x="2278" y="2199"/>
                  </a:lnTo>
                  <a:lnTo>
                    <a:pt x="3288" y="2199"/>
                  </a:lnTo>
                  <a:lnTo>
                    <a:pt x="3288" y="2845"/>
                  </a:lnTo>
                  <a:lnTo>
                    <a:pt x="3010" y="2845"/>
                  </a:lnTo>
                  <a:close/>
                  <a:moveTo>
                    <a:pt x="4477" y="2845"/>
                  </a:moveTo>
                  <a:lnTo>
                    <a:pt x="4477" y="3025"/>
                  </a:lnTo>
                  <a:lnTo>
                    <a:pt x="4021" y="3025"/>
                  </a:lnTo>
                  <a:lnTo>
                    <a:pt x="4021" y="2845"/>
                  </a:lnTo>
                  <a:lnTo>
                    <a:pt x="3743" y="2845"/>
                  </a:lnTo>
                  <a:lnTo>
                    <a:pt x="3743" y="2199"/>
                  </a:lnTo>
                  <a:lnTo>
                    <a:pt x="4754" y="2199"/>
                  </a:lnTo>
                  <a:lnTo>
                    <a:pt x="4754" y="2845"/>
                  </a:lnTo>
                  <a:lnTo>
                    <a:pt x="4477" y="2845"/>
                  </a:lnTo>
                  <a:close/>
                  <a:moveTo>
                    <a:pt x="5942" y="2845"/>
                  </a:moveTo>
                  <a:lnTo>
                    <a:pt x="5942" y="3025"/>
                  </a:lnTo>
                  <a:lnTo>
                    <a:pt x="5486" y="3025"/>
                  </a:lnTo>
                  <a:lnTo>
                    <a:pt x="5486" y="2845"/>
                  </a:lnTo>
                  <a:lnTo>
                    <a:pt x="5209" y="2845"/>
                  </a:lnTo>
                  <a:lnTo>
                    <a:pt x="5209" y="2199"/>
                  </a:lnTo>
                  <a:lnTo>
                    <a:pt x="6219" y="2199"/>
                  </a:lnTo>
                  <a:lnTo>
                    <a:pt x="6219" y="2845"/>
                  </a:lnTo>
                  <a:lnTo>
                    <a:pt x="5942" y="2845"/>
                  </a:lnTo>
                  <a:close/>
                  <a:moveTo>
                    <a:pt x="7407" y="2845"/>
                  </a:moveTo>
                  <a:lnTo>
                    <a:pt x="7407" y="3025"/>
                  </a:lnTo>
                  <a:lnTo>
                    <a:pt x="6953" y="3025"/>
                  </a:lnTo>
                  <a:lnTo>
                    <a:pt x="6953" y="2845"/>
                  </a:lnTo>
                  <a:lnTo>
                    <a:pt x="6675" y="2845"/>
                  </a:lnTo>
                  <a:lnTo>
                    <a:pt x="6675" y="2199"/>
                  </a:lnTo>
                  <a:lnTo>
                    <a:pt x="7685" y="2199"/>
                  </a:lnTo>
                  <a:lnTo>
                    <a:pt x="7685" y="2845"/>
                  </a:lnTo>
                  <a:lnTo>
                    <a:pt x="7407" y="2845"/>
                  </a:lnTo>
                  <a:close/>
                  <a:moveTo>
                    <a:pt x="8874" y="2845"/>
                  </a:moveTo>
                  <a:lnTo>
                    <a:pt x="8874" y="3025"/>
                  </a:lnTo>
                  <a:lnTo>
                    <a:pt x="8418" y="3025"/>
                  </a:lnTo>
                  <a:lnTo>
                    <a:pt x="8418" y="2845"/>
                  </a:lnTo>
                  <a:lnTo>
                    <a:pt x="8141" y="2845"/>
                  </a:lnTo>
                  <a:lnTo>
                    <a:pt x="8141" y="2199"/>
                  </a:lnTo>
                  <a:lnTo>
                    <a:pt x="9151" y="2199"/>
                  </a:lnTo>
                  <a:lnTo>
                    <a:pt x="9151" y="2845"/>
                  </a:lnTo>
                  <a:lnTo>
                    <a:pt x="8874" y="2845"/>
                  </a:lnTo>
                  <a:close/>
                  <a:moveTo>
                    <a:pt x="10339" y="2845"/>
                  </a:moveTo>
                  <a:lnTo>
                    <a:pt x="10339" y="3025"/>
                  </a:lnTo>
                  <a:lnTo>
                    <a:pt x="9883" y="3025"/>
                  </a:lnTo>
                  <a:lnTo>
                    <a:pt x="9883" y="2845"/>
                  </a:lnTo>
                  <a:lnTo>
                    <a:pt x="9606" y="2845"/>
                  </a:lnTo>
                  <a:lnTo>
                    <a:pt x="9606" y="2199"/>
                  </a:lnTo>
                  <a:lnTo>
                    <a:pt x="10617" y="2199"/>
                  </a:lnTo>
                  <a:lnTo>
                    <a:pt x="10617" y="2845"/>
                  </a:lnTo>
                  <a:lnTo>
                    <a:pt x="10339" y="2845"/>
                  </a:lnTo>
                  <a:close/>
                  <a:moveTo>
                    <a:pt x="11851" y="1123"/>
                  </a:moveTo>
                  <a:lnTo>
                    <a:pt x="11851" y="943"/>
                  </a:lnTo>
                  <a:lnTo>
                    <a:pt x="11395" y="943"/>
                  </a:lnTo>
                  <a:lnTo>
                    <a:pt x="11395" y="1123"/>
                  </a:lnTo>
                  <a:lnTo>
                    <a:pt x="11117" y="1123"/>
                  </a:lnTo>
                  <a:lnTo>
                    <a:pt x="11117" y="1769"/>
                  </a:lnTo>
                  <a:lnTo>
                    <a:pt x="12128" y="1769"/>
                  </a:lnTo>
                  <a:lnTo>
                    <a:pt x="12128" y="1123"/>
                  </a:lnTo>
                  <a:lnTo>
                    <a:pt x="11851" y="1123"/>
                  </a:lnTo>
                  <a:close/>
                  <a:moveTo>
                    <a:pt x="11851" y="2845"/>
                  </a:moveTo>
                  <a:lnTo>
                    <a:pt x="11851" y="3025"/>
                  </a:lnTo>
                  <a:lnTo>
                    <a:pt x="11395" y="3025"/>
                  </a:lnTo>
                  <a:lnTo>
                    <a:pt x="11395" y="2845"/>
                  </a:lnTo>
                  <a:lnTo>
                    <a:pt x="11117" y="2845"/>
                  </a:lnTo>
                  <a:lnTo>
                    <a:pt x="11117" y="2199"/>
                  </a:lnTo>
                  <a:lnTo>
                    <a:pt x="12128" y="2199"/>
                  </a:lnTo>
                  <a:lnTo>
                    <a:pt x="12128" y="2845"/>
                  </a:lnTo>
                  <a:lnTo>
                    <a:pt x="11851" y="2845"/>
                  </a:lnTo>
                  <a:close/>
                </a:path>
              </a:pathLst>
            </a:custGeom>
            <a:grpFill/>
            <a:ln w="9525">
              <a:solidFill>
                <a:srgbClr val="00B0F0"/>
              </a:solidFill>
              <a:round/>
              <a:headEnd/>
              <a:tailEnd/>
            </a:ln>
          </p:spPr>
          <p:txBody>
            <a:bodyPr vert="horz" wrap="square" lIns="91416" tIns="45708" rIns="91416" bIns="45708" numCol="1" anchor="t" anchorCtr="0" compatLnSpc="1">
              <a:prstTxWarp prst="textNoShape">
                <a:avLst/>
              </a:prstTxWarp>
            </a:bodyPr>
            <a:lstStyle/>
            <a:p>
              <a:pPr defTabSz="914072" fontAlgn="ctr">
                <a:defRPr/>
              </a:pPr>
              <a:endParaRPr lang="en-US" altLang="zh-CN" sz="1200" kern="0" dirty="0">
                <a:solidFill>
                  <a:schemeClr val="bg1"/>
                </a:solidFill>
                <a:cs typeface="Times New Roman" pitchFamily="18" charset="0"/>
              </a:endParaRPr>
            </a:p>
          </p:txBody>
        </p:sp>
        <p:sp>
          <p:nvSpPr>
            <p:cNvPr id="143" name="41041075"/>
            <p:cNvSpPr>
              <a:spLocks noEditPoints="1"/>
            </p:cNvSpPr>
            <p:nvPr/>
          </p:nvSpPr>
          <p:spPr bwMode="auto">
            <a:xfrm>
              <a:off x="5458125" y="4644587"/>
              <a:ext cx="696913" cy="124963"/>
            </a:xfrm>
            <a:custGeom>
              <a:avLst/>
              <a:gdLst/>
              <a:ahLst/>
              <a:cxnLst>
                <a:cxn ang="0">
                  <a:pos x="16278" y="39"/>
                </a:cxn>
                <a:cxn ang="0">
                  <a:pos x="16504" y="184"/>
                </a:cxn>
                <a:cxn ang="0">
                  <a:pos x="16649" y="411"/>
                </a:cxn>
                <a:cxn ang="0">
                  <a:pos x="16687" y="3376"/>
                </a:cxn>
                <a:cxn ang="0">
                  <a:pos x="16612" y="3641"/>
                </a:cxn>
                <a:cxn ang="0">
                  <a:pos x="16437" y="3844"/>
                </a:cxn>
                <a:cxn ang="0">
                  <a:pos x="16189" y="3955"/>
                </a:cxn>
                <a:cxn ang="0">
                  <a:pos x="499" y="3955"/>
                </a:cxn>
                <a:cxn ang="0">
                  <a:pos x="251" y="3844"/>
                </a:cxn>
                <a:cxn ang="0">
                  <a:pos x="75" y="3641"/>
                </a:cxn>
                <a:cxn ang="0">
                  <a:pos x="1" y="3376"/>
                </a:cxn>
                <a:cxn ang="0">
                  <a:pos x="38" y="411"/>
                </a:cxn>
                <a:cxn ang="0">
                  <a:pos x="184" y="184"/>
                </a:cxn>
                <a:cxn ang="0">
                  <a:pos x="410" y="39"/>
                </a:cxn>
                <a:cxn ang="0">
                  <a:pos x="13820" y="2430"/>
                </a:cxn>
                <a:cxn ang="0">
                  <a:pos x="13953" y="2510"/>
                </a:cxn>
                <a:cxn ang="0">
                  <a:pos x="13976" y="2666"/>
                </a:cxn>
                <a:cxn ang="0">
                  <a:pos x="13873" y="2780"/>
                </a:cxn>
                <a:cxn ang="0">
                  <a:pos x="13714" y="2773"/>
                </a:cxn>
                <a:cxn ang="0">
                  <a:pos x="13623" y="2648"/>
                </a:cxn>
                <a:cxn ang="0">
                  <a:pos x="13661" y="2496"/>
                </a:cxn>
                <a:cxn ang="0">
                  <a:pos x="13802" y="2429"/>
                </a:cxn>
                <a:cxn ang="0">
                  <a:pos x="14470" y="2482"/>
                </a:cxn>
                <a:cxn ang="0">
                  <a:pos x="14522" y="2631"/>
                </a:cxn>
                <a:cxn ang="0">
                  <a:pos x="14442" y="2763"/>
                </a:cxn>
                <a:cxn ang="0">
                  <a:pos x="14286" y="2786"/>
                </a:cxn>
                <a:cxn ang="0">
                  <a:pos x="14172" y="2683"/>
                </a:cxn>
                <a:cxn ang="0">
                  <a:pos x="14180" y="2525"/>
                </a:cxn>
                <a:cxn ang="0">
                  <a:pos x="14304" y="2433"/>
                </a:cxn>
                <a:cxn ang="0">
                  <a:pos x="14981" y="2460"/>
                </a:cxn>
                <a:cxn ang="0">
                  <a:pos x="15061" y="2593"/>
                </a:cxn>
                <a:cxn ang="0">
                  <a:pos x="15008" y="2741"/>
                </a:cxn>
                <a:cxn ang="0">
                  <a:pos x="14861" y="2794"/>
                </a:cxn>
                <a:cxn ang="0">
                  <a:pos x="14728" y="2714"/>
                </a:cxn>
                <a:cxn ang="0">
                  <a:pos x="14705" y="2558"/>
                </a:cxn>
                <a:cxn ang="0">
                  <a:pos x="14809" y="2444"/>
                </a:cxn>
                <a:cxn ang="0">
                  <a:pos x="15489" y="2444"/>
                </a:cxn>
                <a:cxn ang="0">
                  <a:pos x="15592" y="2558"/>
                </a:cxn>
                <a:cxn ang="0">
                  <a:pos x="15569" y="2714"/>
                </a:cxn>
                <a:cxn ang="0">
                  <a:pos x="15436" y="2794"/>
                </a:cxn>
                <a:cxn ang="0">
                  <a:pos x="15289" y="2741"/>
                </a:cxn>
                <a:cxn ang="0">
                  <a:pos x="15236" y="2593"/>
                </a:cxn>
                <a:cxn ang="0">
                  <a:pos x="15315" y="2460"/>
                </a:cxn>
                <a:cxn ang="0">
                  <a:pos x="15712" y="1546"/>
                </a:cxn>
                <a:cxn ang="0">
                  <a:pos x="1822" y="1769"/>
                </a:cxn>
                <a:cxn ang="0">
                  <a:pos x="3288" y="1769"/>
                </a:cxn>
                <a:cxn ang="0">
                  <a:pos x="4754" y="1769"/>
                </a:cxn>
                <a:cxn ang="0">
                  <a:pos x="6219" y="1769"/>
                </a:cxn>
                <a:cxn ang="0">
                  <a:pos x="7685" y="1769"/>
                </a:cxn>
                <a:cxn ang="0">
                  <a:pos x="9151" y="1769"/>
                </a:cxn>
                <a:cxn ang="0">
                  <a:pos x="10617" y="1769"/>
                </a:cxn>
                <a:cxn ang="0">
                  <a:pos x="1822" y="2199"/>
                </a:cxn>
                <a:cxn ang="0">
                  <a:pos x="3288" y="2199"/>
                </a:cxn>
                <a:cxn ang="0">
                  <a:pos x="4754" y="2199"/>
                </a:cxn>
                <a:cxn ang="0">
                  <a:pos x="6219" y="2199"/>
                </a:cxn>
                <a:cxn ang="0">
                  <a:pos x="7685" y="2199"/>
                </a:cxn>
                <a:cxn ang="0">
                  <a:pos x="9151" y="2199"/>
                </a:cxn>
                <a:cxn ang="0">
                  <a:pos x="10617" y="2199"/>
                </a:cxn>
                <a:cxn ang="0">
                  <a:pos x="12128" y="1769"/>
                </a:cxn>
                <a:cxn ang="0">
                  <a:pos x="12128" y="2199"/>
                </a:cxn>
              </a:cxnLst>
              <a:rect l="0" t="0" r="r" b="b"/>
              <a:pathLst>
                <a:path w="16688" h="3968">
                  <a:moveTo>
                    <a:pt x="624" y="0"/>
                  </a:moveTo>
                  <a:lnTo>
                    <a:pt x="16064" y="0"/>
                  </a:lnTo>
                  <a:lnTo>
                    <a:pt x="16097" y="1"/>
                  </a:lnTo>
                  <a:lnTo>
                    <a:pt x="16128" y="3"/>
                  </a:lnTo>
                  <a:lnTo>
                    <a:pt x="16159" y="7"/>
                  </a:lnTo>
                  <a:lnTo>
                    <a:pt x="16189" y="13"/>
                  </a:lnTo>
                  <a:lnTo>
                    <a:pt x="16220" y="20"/>
                  </a:lnTo>
                  <a:lnTo>
                    <a:pt x="16249" y="28"/>
                  </a:lnTo>
                  <a:lnTo>
                    <a:pt x="16278" y="39"/>
                  </a:lnTo>
                  <a:lnTo>
                    <a:pt x="16306" y="49"/>
                  </a:lnTo>
                  <a:lnTo>
                    <a:pt x="16334" y="62"/>
                  </a:lnTo>
                  <a:lnTo>
                    <a:pt x="16360" y="76"/>
                  </a:lnTo>
                  <a:lnTo>
                    <a:pt x="16387" y="91"/>
                  </a:lnTo>
                  <a:lnTo>
                    <a:pt x="16413" y="108"/>
                  </a:lnTo>
                  <a:lnTo>
                    <a:pt x="16437" y="124"/>
                  </a:lnTo>
                  <a:lnTo>
                    <a:pt x="16461" y="143"/>
                  </a:lnTo>
                  <a:lnTo>
                    <a:pt x="16484" y="163"/>
                  </a:lnTo>
                  <a:lnTo>
                    <a:pt x="16504" y="184"/>
                  </a:lnTo>
                  <a:lnTo>
                    <a:pt x="16525" y="205"/>
                  </a:lnTo>
                  <a:lnTo>
                    <a:pt x="16545" y="228"/>
                  </a:lnTo>
                  <a:lnTo>
                    <a:pt x="16564" y="252"/>
                  </a:lnTo>
                  <a:lnTo>
                    <a:pt x="16581" y="276"/>
                  </a:lnTo>
                  <a:lnTo>
                    <a:pt x="16597" y="302"/>
                  </a:lnTo>
                  <a:lnTo>
                    <a:pt x="16612" y="328"/>
                  </a:lnTo>
                  <a:lnTo>
                    <a:pt x="16626" y="354"/>
                  </a:lnTo>
                  <a:lnTo>
                    <a:pt x="16639" y="382"/>
                  </a:lnTo>
                  <a:lnTo>
                    <a:pt x="16649" y="411"/>
                  </a:lnTo>
                  <a:lnTo>
                    <a:pt x="16660" y="440"/>
                  </a:lnTo>
                  <a:lnTo>
                    <a:pt x="16668" y="469"/>
                  </a:lnTo>
                  <a:lnTo>
                    <a:pt x="16675" y="499"/>
                  </a:lnTo>
                  <a:lnTo>
                    <a:pt x="16681" y="530"/>
                  </a:lnTo>
                  <a:lnTo>
                    <a:pt x="16685" y="561"/>
                  </a:lnTo>
                  <a:lnTo>
                    <a:pt x="16687" y="592"/>
                  </a:lnTo>
                  <a:lnTo>
                    <a:pt x="16688" y="625"/>
                  </a:lnTo>
                  <a:lnTo>
                    <a:pt x="16688" y="3343"/>
                  </a:lnTo>
                  <a:lnTo>
                    <a:pt x="16687" y="3376"/>
                  </a:lnTo>
                  <a:lnTo>
                    <a:pt x="16685" y="3407"/>
                  </a:lnTo>
                  <a:lnTo>
                    <a:pt x="16681" y="3438"/>
                  </a:lnTo>
                  <a:lnTo>
                    <a:pt x="16675" y="3469"/>
                  </a:lnTo>
                  <a:lnTo>
                    <a:pt x="16668" y="3499"/>
                  </a:lnTo>
                  <a:lnTo>
                    <a:pt x="16660" y="3529"/>
                  </a:lnTo>
                  <a:lnTo>
                    <a:pt x="16649" y="3557"/>
                  </a:lnTo>
                  <a:lnTo>
                    <a:pt x="16639" y="3586"/>
                  </a:lnTo>
                  <a:lnTo>
                    <a:pt x="16626" y="3614"/>
                  </a:lnTo>
                  <a:lnTo>
                    <a:pt x="16612" y="3641"/>
                  </a:lnTo>
                  <a:lnTo>
                    <a:pt x="16597" y="3667"/>
                  </a:lnTo>
                  <a:lnTo>
                    <a:pt x="16581" y="3692"/>
                  </a:lnTo>
                  <a:lnTo>
                    <a:pt x="16564" y="3716"/>
                  </a:lnTo>
                  <a:lnTo>
                    <a:pt x="16545" y="3740"/>
                  </a:lnTo>
                  <a:lnTo>
                    <a:pt x="16525" y="3763"/>
                  </a:lnTo>
                  <a:lnTo>
                    <a:pt x="16504" y="3784"/>
                  </a:lnTo>
                  <a:lnTo>
                    <a:pt x="16484" y="3805"/>
                  </a:lnTo>
                  <a:lnTo>
                    <a:pt x="16461" y="3825"/>
                  </a:lnTo>
                  <a:lnTo>
                    <a:pt x="16437" y="3844"/>
                  </a:lnTo>
                  <a:lnTo>
                    <a:pt x="16413" y="3861"/>
                  </a:lnTo>
                  <a:lnTo>
                    <a:pt x="16387" y="3877"/>
                  </a:lnTo>
                  <a:lnTo>
                    <a:pt x="16360" y="3893"/>
                  </a:lnTo>
                  <a:lnTo>
                    <a:pt x="16334" y="3906"/>
                  </a:lnTo>
                  <a:lnTo>
                    <a:pt x="16306" y="3919"/>
                  </a:lnTo>
                  <a:lnTo>
                    <a:pt x="16278" y="3930"/>
                  </a:lnTo>
                  <a:lnTo>
                    <a:pt x="16249" y="3940"/>
                  </a:lnTo>
                  <a:lnTo>
                    <a:pt x="16220" y="3948"/>
                  </a:lnTo>
                  <a:lnTo>
                    <a:pt x="16189" y="3955"/>
                  </a:lnTo>
                  <a:lnTo>
                    <a:pt x="16159" y="3961"/>
                  </a:lnTo>
                  <a:lnTo>
                    <a:pt x="16128" y="3965"/>
                  </a:lnTo>
                  <a:lnTo>
                    <a:pt x="16097" y="3967"/>
                  </a:lnTo>
                  <a:lnTo>
                    <a:pt x="16064" y="3968"/>
                  </a:lnTo>
                  <a:lnTo>
                    <a:pt x="624" y="3968"/>
                  </a:lnTo>
                  <a:lnTo>
                    <a:pt x="591" y="3967"/>
                  </a:lnTo>
                  <a:lnTo>
                    <a:pt x="560" y="3965"/>
                  </a:lnTo>
                  <a:lnTo>
                    <a:pt x="529" y="3961"/>
                  </a:lnTo>
                  <a:lnTo>
                    <a:pt x="499" y="3955"/>
                  </a:lnTo>
                  <a:lnTo>
                    <a:pt x="468" y="3948"/>
                  </a:lnTo>
                  <a:lnTo>
                    <a:pt x="438" y="3940"/>
                  </a:lnTo>
                  <a:lnTo>
                    <a:pt x="410" y="3930"/>
                  </a:lnTo>
                  <a:lnTo>
                    <a:pt x="382" y="3919"/>
                  </a:lnTo>
                  <a:lnTo>
                    <a:pt x="354" y="3906"/>
                  </a:lnTo>
                  <a:lnTo>
                    <a:pt x="326" y="3893"/>
                  </a:lnTo>
                  <a:lnTo>
                    <a:pt x="300" y="3877"/>
                  </a:lnTo>
                  <a:lnTo>
                    <a:pt x="275" y="3861"/>
                  </a:lnTo>
                  <a:lnTo>
                    <a:pt x="251" y="3844"/>
                  </a:lnTo>
                  <a:lnTo>
                    <a:pt x="227" y="3825"/>
                  </a:lnTo>
                  <a:lnTo>
                    <a:pt x="204" y="3805"/>
                  </a:lnTo>
                  <a:lnTo>
                    <a:pt x="184" y="3784"/>
                  </a:lnTo>
                  <a:lnTo>
                    <a:pt x="163" y="3763"/>
                  </a:lnTo>
                  <a:lnTo>
                    <a:pt x="143" y="3740"/>
                  </a:lnTo>
                  <a:lnTo>
                    <a:pt x="124" y="3716"/>
                  </a:lnTo>
                  <a:lnTo>
                    <a:pt x="106" y="3692"/>
                  </a:lnTo>
                  <a:lnTo>
                    <a:pt x="91" y="3667"/>
                  </a:lnTo>
                  <a:lnTo>
                    <a:pt x="75" y="3641"/>
                  </a:lnTo>
                  <a:lnTo>
                    <a:pt x="62" y="3614"/>
                  </a:lnTo>
                  <a:lnTo>
                    <a:pt x="49" y="3586"/>
                  </a:lnTo>
                  <a:lnTo>
                    <a:pt x="38" y="3557"/>
                  </a:lnTo>
                  <a:lnTo>
                    <a:pt x="28" y="3529"/>
                  </a:lnTo>
                  <a:lnTo>
                    <a:pt x="20" y="3499"/>
                  </a:lnTo>
                  <a:lnTo>
                    <a:pt x="13" y="3469"/>
                  </a:lnTo>
                  <a:lnTo>
                    <a:pt x="7" y="3438"/>
                  </a:lnTo>
                  <a:lnTo>
                    <a:pt x="3" y="3407"/>
                  </a:lnTo>
                  <a:lnTo>
                    <a:pt x="1" y="3376"/>
                  </a:lnTo>
                  <a:lnTo>
                    <a:pt x="0" y="3343"/>
                  </a:lnTo>
                  <a:lnTo>
                    <a:pt x="0" y="625"/>
                  </a:lnTo>
                  <a:lnTo>
                    <a:pt x="1" y="592"/>
                  </a:lnTo>
                  <a:lnTo>
                    <a:pt x="3" y="561"/>
                  </a:lnTo>
                  <a:lnTo>
                    <a:pt x="7" y="530"/>
                  </a:lnTo>
                  <a:lnTo>
                    <a:pt x="13" y="499"/>
                  </a:lnTo>
                  <a:lnTo>
                    <a:pt x="20" y="469"/>
                  </a:lnTo>
                  <a:lnTo>
                    <a:pt x="28" y="440"/>
                  </a:lnTo>
                  <a:lnTo>
                    <a:pt x="38" y="411"/>
                  </a:lnTo>
                  <a:lnTo>
                    <a:pt x="49" y="382"/>
                  </a:lnTo>
                  <a:lnTo>
                    <a:pt x="62" y="354"/>
                  </a:lnTo>
                  <a:lnTo>
                    <a:pt x="75" y="328"/>
                  </a:lnTo>
                  <a:lnTo>
                    <a:pt x="91" y="302"/>
                  </a:lnTo>
                  <a:lnTo>
                    <a:pt x="106" y="276"/>
                  </a:lnTo>
                  <a:lnTo>
                    <a:pt x="124" y="252"/>
                  </a:lnTo>
                  <a:lnTo>
                    <a:pt x="143" y="228"/>
                  </a:lnTo>
                  <a:lnTo>
                    <a:pt x="163" y="205"/>
                  </a:lnTo>
                  <a:lnTo>
                    <a:pt x="184" y="184"/>
                  </a:lnTo>
                  <a:lnTo>
                    <a:pt x="204" y="163"/>
                  </a:lnTo>
                  <a:lnTo>
                    <a:pt x="227" y="143"/>
                  </a:lnTo>
                  <a:lnTo>
                    <a:pt x="251" y="124"/>
                  </a:lnTo>
                  <a:lnTo>
                    <a:pt x="275" y="108"/>
                  </a:lnTo>
                  <a:lnTo>
                    <a:pt x="300" y="91"/>
                  </a:lnTo>
                  <a:lnTo>
                    <a:pt x="326" y="76"/>
                  </a:lnTo>
                  <a:lnTo>
                    <a:pt x="354" y="62"/>
                  </a:lnTo>
                  <a:lnTo>
                    <a:pt x="382" y="49"/>
                  </a:lnTo>
                  <a:lnTo>
                    <a:pt x="410" y="39"/>
                  </a:lnTo>
                  <a:lnTo>
                    <a:pt x="438" y="28"/>
                  </a:lnTo>
                  <a:lnTo>
                    <a:pt x="468" y="20"/>
                  </a:lnTo>
                  <a:lnTo>
                    <a:pt x="499" y="13"/>
                  </a:lnTo>
                  <a:lnTo>
                    <a:pt x="529" y="7"/>
                  </a:lnTo>
                  <a:lnTo>
                    <a:pt x="560" y="3"/>
                  </a:lnTo>
                  <a:lnTo>
                    <a:pt x="591" y="1"/>
                  </a:lnTo>
                  <a:lnTo>
                    <a:pt x="624" y="0"/>
                  </a:lnTo>
                  <a:close/>
                  <a:moveTo>
                    <a:pt x="13802" y="2429"/>
                  </a:moveTo>
                  <a:lnTo>
                    <a:pt x="13820" y="2430"/>
                  </a:lnTo>
                  <a:lnTo>
                    <a:pt x="13839" y="2433"/>
                  </a:lnTo>
                  <a:lnTo>
                    <a:pt x="13856" y="2437"/>
                  </a:lnTo>
                  <a:lnTo>
                    <a:pt x="13873" y="2444"/>
                  </a:lnTo>
                  <a:lnTo>
                    <a:pt x="13889" y="2451"/>
                  </a:lnTo>
                  <a:lnTo>
                    <a:pt x="13903" y="2460"/>
                  </a:lnTo>
                  <a:lnTo>
                    <a:pt x="13918" y="2471"/>
                  </a:lnTo>
                  <a:lnTo>
                    <a:pt x="13930" y="2482"/>
                  </a:lnTo>
                  <a:lnTo>
                    <a:pt x="13942" y="2496"/>
                  </a:lnTo>
                  <a:lnTo>
                    <a:pt x="13953" y="2510"/>
                  </a:lnTo>
                  <a:lnTo>
                    <a:pt x="13962" y="2525"/>
                  </a:lnTo>
                  <a:lnTo>
                    <a:pt x="13970" y="2541"/>
                  </a:lnTo>
                  <a:lnTo>
                    <a:pt x="13976" y="2558"/>
                  </a:lnTo>
                  <a:lnTo>
                    <a:pt x="13980" y="2575"/>
                  </a:lnTo>
                  <a:lnTo>
                    <a:pt x="13984" y="2593"/>
                  </a:lnTo>
                  <a:lnTo>
                    <a:pt x="13985" y="2612"/>
                  </a:lnTo>
                  <a:lnTo>
                    <a:pt x="13984" y="2631"/>
                  </a:lnTo>
                  <a:lnTo>
                    <a:pt x="13980" y="2648"/>
                  </a:lnTo>
                  <a:lnTo>
                    <a:pt x="13976" y="2666"/>
                  </a:lnTo>
                  <a:lnTo>
                    <a:pt x="13970" y="2683"/>
                  </a:lnTo>
                  <a:lnTo>
                    <a:pt x="13962" y="2699"/>
                  </a:lnTo>
                  <a:lnTo>
                    <a:pt x="13953" y="2714"/>
                  </a:lnTo>
                  <a:lnTo>
                    <a:pt x="13942" y="2728"/>
                  </a:lnTo>
                  <a:lnTo>
                    <a:pt x="13930" y="2741"/>
                  </a:lnTo>
                  <a:lnTo>
                    <a:pt x="13918" y="2753"/>
                  </a:lnTo>
                  <a:lnTo>
                    <a:pt x="13903" y="2763"/>
                  </a:lnTo>
                  <a:lnTo>
                    <a:pt x="13889" y="2773"/>
                  </a:lnTo>
                  <a:lnTo>
                    <a:pt x="13873" y="2780"/>
                  </a:lnTo>
                  <a:lnTo>
                    <a:pt x="13856" y="2786"/>
                  </a:lnTo>
                  <a:lnTo>
                    <a:pt x="13839" y="2791"/>
                  </a:lnTo>
                  <a:lnTo>
                    <a:pt x="13820" y="2794"/>
                  </a:lnTo>
                  <a:lnTo>
                    <a:pt x="13802" y="2795"/>
                  </a:lnTo>
                  <a:lnTo>
                    <a:pt x="13783" y="2794"/>
                  </a:lnTo>
                  <a:lnTo>
                    <a:pt x="13764" y="2791"/>
                  </a:lnTo>
                  <a:lnTo>
                    <a:pt x="13748" y="2786"/>
                  </a:lnTo>
                  <a:lnTo>
                    <a:pt x="13731" y="2780"/>
                  </a:lnTo>
                  <a:lnTo>
                    <a:pt x="13714" y="2773"/>
                  </a:lnTo>
                  <a:lnTo>
                    <a:pt x="13700" y="2763"/>
                  </a:lnTo>
                  <a:lnTo>
                    <a:pt x="13685" y="2753"/>
                  </a:lnTo>
                  <a:lnTo>
                    <a:pt x="13673" y="2741"/>
                  </a:lnTo>
                  <a:lnTo>
                    <a:pt x="13661" y="2728"/>
                  </a:lnTo>
                  <a:lnTo>
                    <a:pt x="13651" y="2714"/>
                  </a:lnTo>
                  <a:lnTo>
                    <a:pt x="13641" y="2699"/>
                  </a:lnTo>
                  <a:lnTo>
                    <a:pt x="13634" y="2683"/>
                  </a:lnTo>
                  <a:lnTo>
                    <a:pt x="13628" y="2666"/>
                  </a:lnTo>
                  <a:lnTo>
                    <a:pt x="13623" y="2648"/>
                  </a:lnTo>
                  <a:lnTo>
                    <a:pt x="13621" y="2631"/>
                  </a:lnTo>
                  <a:lnTo>
                    <a:pt x="13619" y="2612"/>
                  </a:lnTo>
                  <a:lnTo>
                    <a:pt x="13621" y="2593"/>
                  </a:lnTo>
                  <a:lnTo>
                    <a:pt x="13623" y="2575"/>
                  </a:lnTo>
                  <a:lnTo>
                    <a:pt x="13628" y="2558"/>
                  </a:lnTo>
                  <a:lnTo>
                    <a:pt x="13634" y="2541"/>
                  </a:lnTo>
                  <a:lnTo>
                    <a:pt x="13641" y="2525"/>
                  </a:lnTo>
                  <a:lnTo>
                    <a:pt x="13651" y="2510"/>
                  </a:lnTo>
                  <a:lnTo>
                    <a:pt x="13661" y="2496"/>
                  </a:lnTo>
                  <a:lnTo>
                    <a:pt x="13673" y="2482"/>
                  </a:lnTo>
                  <a:lnTo>
                    <a:pt x="13685" y="2471"/>
                  </a:lnTo>
                  <a:lnTo>
                    <a:pt x="13700" y="2460"/>
                  </a:lnTo>
                  <a:lnTo>
                    <a:pt x="13714" y="2451"/>
                  </a:lnTo>
                  <a:lnTo>
                    <a:pt x="13731" y="2444"/>
                  </a:lnTo>
                  <a:lnTo>
                    <a:pt x="13748" y="2437"/>
                  </a:lnTo>
                  <a:lnTo>
                    <a:pt x="13764" y="2433"/>
                  </a:lnTo>
                  <a:lnTo>
                    <a:pt x="13783" y="2430"/>
                  </a:lnTo>
                  <a:lnTo>
                    <a:pt x="13802" y="2429"/>
                  </a:lnTo>
                  <a:close/>
                  <a:moveTo>
                    <a:pt x="14340" y="2429"/>
                  </a:moveTo>
                  <a:lnTo>
                    <a:pt x="14359" y="2430"/>
                  </a:lnTo>
                  <a:lnTo>
                    <a:pt x="14377" y="2433"/>
                  </a:lnTo>
                  <a:lnTo>
                    <a:pt x="14394" y="2437"/>
                  </a:lnTo>
                  <a:lnTo>
                    <a:pt x="14411" y="2444"/>
                  </a:lnTo>
                  <a:lnTo>
                    <a:pt x="14427" y="2451"/>
                  </a:lnTo>
                  <a:lnTo>
                    <a:pt x="14442" y="2460"/>
                  </a:lnTo>
                  <a:lnTo>
                    <a:pt x="14456" y="2471"/>
                  </a:lnTo>
                  <a:lnTo>
                    <a:pt x="14470" y="2482"/>
                  </a:lnTo>
                  <a:lnTo>
                    <a:pt x="14481" y="2496"/>
                  </a:lnTo>
                  <a:lnTo>
                    <a:pt x="14491" y="2510"/>
                  </a:lnTo>
                  <a:lnTo>
                    <a:pt x="14501" y="2525"/>
                  </a:lnTo>
                  <a:lnTo>
                    <a:pt x="14508" y="2541"/>
                  </a:lnTo>
                  <a:lnTo>
                    <a:pt x="14514" y="2558"/>
                  </a:lnTo>
                  <a:lnTo>
                    <a:pt x="14519" y="2575"/>
                  </a:lnTo>
                  <a:lnTo>
                    <a:pt x="14522" y="2593"/>
                  </a:lnTo>
                  <a:lnTo>
                    <a:pt x="14523" y="2612"/>
                  </a:lnTo>
                  <a:lnTo>
                    <a:pt x="14522" y="2631"/>
                  </a:lnTo>
                  <a:lnTo>
                    <a:pt x="14519" y="2648"/>
                  </a:lnTo>
                  <a:lnTo>
                    <a:pt x="14514" y="2666"/>
                  </a:lnTo>
                  <a:lnTo>
                    <a:pt x="14508" y="2683"/>
                  </a:lnTo>
                  <a:lnTo>
                    <a:pt x="14501" y="2699"/>
                  </a:lnTo>
                  <a:lnTo>
                    <a:pt x="14491" y="2714"/>
                  </a:lnTo>
                  <a:lnTo>
                    <a:pt x="14481" y="2728"/>
                  </a:lnTo>
                  <a:lnTo>
                    <a:pt x="14470" y="2741"/>
                  </a:lnTo>
                  <a:lnTo>
                    <a:pt x="14456" y="2753"/>
                  </a:lnTo>
                  <a:lnTo>
                    <a:pt x="14442" y="2763"/>
                  </a:lnTo>
                  <a:lnTo>
                    <a:pt x="14427" y="2773"/>
                  </a:lnTo>
                  <a:lnTo>
                    <a:pt x="14411" y="2780"/>
                  </a:lnTo>
                  <a:lnTo>
                    <a:pt x="14394" y="2786"/>
                  </a:lnTo>
                  <a:lnTo>
                    <a:pt x="14377" y="2791"/>
                  </a:lnTo>
                  <a:lnTo>
                    <a:pt x="14359" y="2794"/>
                  </a:lnTo>
                  <a:lnTo>
                    <a:pt x="14340" y="2795"/>
                  </a:lnTo>
                  <a:lnTo>
                    <a:pt x="14321" y="2794"/>
                  </a:lnTo>
                  <a:lnTo>
                    <a:pt x="14304" y="2791"/>
                  </a:lnTo>
                  <a:lnTo>
                    <a:pt x="14286" y="2786"/>
                  </a:lnTo>
                  <a:lnTo>
                    <a:pt x="14269" y="2780"/>
                  </a:lnTo>
                  <a:lnTo>
                    <a:pt x="14254" y="2773"/>
                  </a:lnTo>
                  <a:lnTo>
                    <a:pt x="14238" y="2763"/>
                  </a:lnTo>
                  <a:lnTo>
                    <a:pt x="14224" y="2753"/>
                  </a:lnTo>
                  <a:lnTo>
                    <a:pt x="14212" y="2741"/>
                  </a:lnTo>
                  <a:lnTo>
                    <a:pt x="14199" y="2728"/>
                  </a:lnTo>
                  <a:lnTo>
                    <a:pt x="14189" y="2714"/>
                  </a:lnTo>
                  <a:lnTo>
                    <a:pt x="14180" y="2699"/>
                  </a:lnTo>
                  <a:lnTo>
                    <a:pt x="14172" y="2683"/>
                  </a:lnTo>
                  <a:lnTo>
                    <a:pt x="14166" y="2666"/>
                  </a:lnTo>
                  <a:lnTo>
                    <a:pt x="14162" y="2648"/>
                  </a:lnTo>
                  <a:lnTo>
                    <a:pt x="14159" y="2631"/>
                  </a:lnTo>
                  <a:lnTo>
                    <a:pt x="14158" y="2612"/>
                  </a:lnTo>
                  <a:lnTo>
                    <a:pt x="14159" y="2593"/>
                  </a:lnTo>
                  <a:lnTo>
                    <a:pt x="14162" y="2575"/>
                  </a:lnTo>
                  <a:lnTo>
                    <a:pt x="14166" y="2558"/>
                  </a:lnTo>
                  <a:lnTo>
                    <a:pt x="14172" y="2541"/>
                  </a:lnTo>
                  <a:lnTo>
                    <a:pt x="14180" y="2525"/>
                  </a:lnTo>
                  <a:lnTo>
                    <a:pt x="14189" y="2510"/>
                  </a:lnTo>
                  <a:lnTo>
                    <a:pt x="14199" y="2496"/>
                  </a:lnTo>
                  <a:lnTo>
                    <a:pt x="14212" y="2482"/>
                  </a:lnTo>
                  <a:lnTo>
                    <a:pt x="14224" y="2471"/>
                  </a:lnTo>
                  <a:lnTo>
                    <a:pt x="14238" y="2460"/>
                  </a:lnTo>
                  <a:lnTo>
                    <a:pt x="14254" y="2451"/>
                  </a:lnTo>
                  <a:lnTo>
                    <a:pt x="14269" y="2444"/>
                  </a:lnTo>
                  <a:lnTo>
                    <a:pt x="14286" y="2437"/>
                  </a:lnTo>
                  <a:lnTo>
                    <a:pt x="14304" y="2433"/>
                  </a:lnTo>
                  <a:lnTo>
                    <a:pt x="14321" y="2430"/>
                  </a:lnTo>
                  <a:lnTo>
                    <a:pt x="14340" y="2429"/>
                  </a:lnTo>
                  <a:close/>
                  <a:moveTo>
                    <a:pt x="14879" y="2429"/>
                  </a:moveTo>
                  <a:lnTo>
                    <a:pt x="14897" y="2430"/>
                  </a:lnTo>
                  <a:lnTo>
                    <a:pt x="14916" y="2433"/>
                  </a:lnTo>
                  <a:lnTo>
                    <a:pt x="14933" y="2437"/>
                  </a:lnTo>
                  <a:lnTo>
                    <a:pt x="14950" y="2444"/>
                  </a:lnTo>
                  <a:lnTo>
                    <a:pt x="14966" y="2451"/>
                  </a:lnTo>
                  <a:lnTo>
                    <a:pt x="14981" y="2460"/>
                  </a:lnTo>
                  <a:lnTo>
                    <a:pt x="14995" y="2471"/>
                  </a:lnTo>
                  <a:lnTo>
                    <a:pt x="15008" y="2482"/>
                  </a:lnTo>
                  <a:lnTo>
                    <a:pt x="15019" y="2496"/>
                  </a:lnTo>
                  <a:lnTo>
                    <a:pt x="15031" y="2510"/>
                  </a:lnTo>
                  <a:lnTo>
                    <a:pt x="15039" y="2525"/>
                  </a:lnTo>
                  <a:lnTo>
                    <a:pt x="15047" y="2541"/>
                  </a:lnTo>
                  <a:lnTo>
                    <a:pt x="15054" y="2558"/>
                  </a:lnTo>
                  <a:lnTo>
                    <a:pt x="15058" y="2575"/>
                  </a:lnTo>
                  <a:lnTo>
                    <a:pt x="15061" y="2593"/>
                  </a:lnTo>
                  <a:lnTo>
                    <a:pt x="15062" y="2612"/>
                  </a:lnTo>
                  <a:lnTo>
                    <a:pt x="15061" y="2631"/>
                  </a:lnTo>
                  <a:lnTo>
                    <a:pt x="15058" y="2648"/>
                  </a:lnTo>
                  <a:lnTo>
                    <a:pt x="15054" y="2666"/>
                  </a:lnTo>
                  <a:lnTo>
                    <a:pt x="15047" y="2683"/>
                  </a:lnTo>
                  <a:lnTo>
                    <a:pt x="15039" y="2699"/>
                  </a:lnTo>
                  <a:lnTo>
                    <a:pt x="15031" y="2714"/>
                  </a:lnTo>
                  <a:lnTo>
                    <a:pt x="15019" y="2728"/>
                  </a:lnTo>
                  <a:lnTo>
                    <a:pt x="15008" y="2741"/>
                  </a:lnTo>
                  <a:lnTo>
                    <a:pt x="14995" y="2753"/>
                  </a:lnTo>
                  <a:lnTo>
                    <a:pt x="14981" y="2763"/>
                  </a:lnTo>
                  <a:lnTo>
                    <a:pt x="14966" y="2773"/>
                  </a:lnTo>
                  <a:lnTo>
                    <a:pt x="14950" y="2780"/>
                  </a:lnTo>
                  <a:lnTo>
                    <a:pt x="14933" y="2786"/>
                  </a:lnTo>
                  <a:lnTo>
                    <a:pt x="14916" y="2791"/>
                  </a:lnTo>
                  <a:lnTo>
                    <a:pt x="14897" y="2794"/>
                  </a:lnTo>
                  <a:lnTo>
                    <a:pt x="14879" y="2795"/>
                  </a:lnTo>
                  <a:lnTo>
                    <a:pt x="14861" y="2794"/>
                  </a:lnTo>
                  <a:lnTo>
                    <a:pt x="14842" y="2791"/>
                  </a:lnTo>
                  <a:lnTo>
                    <a:pt x="14825" y="2786"/>
                  </a:lnTo>
                  <a:lnTo>
                    <a:pt x="14809" y="2780"/>
                  </a:lnTo>
                  <a:lnTo>
                    <a:pt x="14792" y="2773"/>
                  </a:lnTo>
                  <a:lnTo>
                    <a:pt x="14777" y="2763"/>
                  </a:lnTo>
                  <a:lnTo>
                    <a:pt x="14763" y="2753"/>
                  </a:lnTo>
                  <a:lnTo>
                    <a:pt x="14750" y="2741"/>
                  </a:lnTo>
                  <a:lnTo>
                    <a:pt x="14739" y="2728"/>
                  </a:lnTo>
                  <a:lnTo>
                    <a:pt x="14728" y="2714"/>
                  </a:lnTo>
                  <a:lnTo>
                    <a:pt x="14719" y="2699"/>
                  </a:lnTo>
                  <a:lnTo>
                    <a:pt x="14710" y="2683"/>
                  </a:lnTo>
                  <a:lnTo>
                    <a:pt x="14705" y="2666"/>
                  </a:lnTo>
                  <a:lnTo>
                    <a:pt x="14700" y="2648"/>
                  </a:lnTo>
                  <a:lnTo>
                    <a:pt x="14698" y="2631"/>
                  </a:lnTo>
                  <a:lnTo>
                    <a:pt x="14697" y="2612"/>
                  </a:lnTo>
                  <a:lnTo>
                    <a:pt x="14698" y="2593"/>
                  </a:lnTo>
                  <a:lnTo>
                    <a:pt x="14700" y="2575"/>
                  </a:lnTo>
                  <a:lnTo>
                    <a:pt x="14705" y="2558"/>
                  </a:lnTo>
                  <a:lnTo>
                    <a:pt x="14710" y="2541"/>
                  </a:lnTo>
                  <a:lnTo>
                    <a:pt x="14719" y="2525"/>
                  </a:lnTo>
                  <a:lnTo>
                    <a:pt x="14728" y="2510"/>
                  </a:lnTo>
                  <a:lnTo>
                    <a:pt x="14739" y="2496"/>
                  </a:lnTo>
                  <a:lnTo>
                    <a:pt x="14750" y="2482"/>
                  </a:lnTo>
                  <a:lnTo>
                    <a:pt x="14763" y="2471"/>
                  </a:lnTo>
                  <a:lnTo>
                    <a:pt x="14777" y="2460"/>
                  </a:lnTo>
                  <a:lnTo>
                    <a:pt x="14792" y="2451"/>
                  </a:lnTo>
                  <a:lnTo>
                    <a:pt x="14809" y="2444"/>
                  </a:lnTo>
                  <a:lnTo>
                    <a:pt x="14825" y="2437"/>
                  </a:lnTo>
                  <a:lnTo>
                    <a:pt x="14842" y="2433"/>
                  </a:lnTo>
                  <a:lnTo>
                    <a:pt x="14861" y="2430"/>
                  </a:lnTo>
                  <a:lnTo>
                    <a:pt x="14879" y="2429"/>
                  </a:lnTo>
                  <a:close/>
                  <a:moveTo>
                    <a:pt x="15418" y="2429"/>
                  </a:moveTo>
                  <a:lnTo>
                    <a:pt x="15436" y="2430"/>
                  </a:lnTo>
                  <a:lnTo>
                    <a:pt x="15454" y="2433"/>
                  </a:lnTo>
                  <a:lnTo>
                    <a:pt x="15472" y="2437"/>
                  </a:lnTo>
                  <a:lnTo>
                    <a:pt x="15489" y="2444"/>
                  </a:lnTo>
                  <a:lnTo>
                    <a:pt x="15504" y="2451"/>
                  </a:lnTo>
                  <a:lnTo>
                    <a:pt x="15520" y="2460"/>
                  </a:lnTo>
                  <a:lnTo>
                    <a:pt x="15533" y="2471"/>
                  </a:lnTo>
                  <a:lnTo>
                    <a:pt x="15547" y="2482"/>
                  </a:lnTo>
                  <a:lnTo>
                    <a:pt x="15558" y="2496"/>
                  </a:lnTo>
                  <a:lnTo>
                    <a:pt x="15569" y="2510"/>
                  </a:lnTo>
                  <a:lnTo>
                    <a:pt x="15578" y="2525"/>
                  </a:lnTo>
                  <a:lnTo>
                    <a:pt x="15586" y="2541"/>
                  </a:lnTo>
                  <a:lnTo>
                    <a:pt x="15592" y="2558"/>
                  </a:lnTo>
                  <a:lnTo>
                    <a:pt x="15596" y="2575"/>
                  </a:lnTo>
                  <a:lnTo>
                    <a:pt x="15599" y="2593"/>
                  </a:lnTo>
                  <a:lnTo>
                    <a:pt x="15600" y="2612"/>
                  </a:lnTo>
                  <a:lnTo>
                    <a:pt x="15599" y="2631"/>
                  </a:lnTo>
                  <a:lnTo>
                    <a:pt x="15596" y="2648"/>
                  </a:lnTo>
                  <a:lnTo>
                    <a:pt x="15592" y="2666"/>
                  </a:lnTo>
                  <a:lnTo>
                    <a:pt x="15586" y="2683"/>
                  </a:lnTo>
                  <a:lnTo>
                    <a:pt x="15578" y="2699"/>
                  </a:lnTo>
                  <a:lnTo>
                    <a:pt x="15569" y="2714"/>
                  </a:lnTo>
                  <a:lnTo>
                    <a:pt x="15558" y="2728"/>
                  </a:lnTo>
                  <a:lnTo>
                    <a:pt x="15547" y="2741"/>
                  </a:lnTo>
                  <a:lnTo>
                    <a:pt x="15533" y="2753"/>
                  </a:lnTo>
                  <a:lnTo>
                    <a:pt x="15520" y="2763"/>
                  </a:lnTo>
                  <a:lnTo>
                    <a:pt x="15504" y="2773"/>
                  </a:lnTo>
                  <a:lnTo>
                    <a:pt x="15489" y="2780"/>
                  </a:lnTo>
                  <a:lnTo>
                    <a:pt x="15472" y="2786"/>
                  </a:lnTo>
                  <a:lnTo>
                    <a:pt x="15454" y="2791"/>
                  </a:lnTo>
                  <a:lnTo>
                    <a:pt x="15436" y="2794"/>
                  </a:lnTo>
                  <a:lnTo>
                    <a:pt x="15418" y="2795"/>
                  </a:lnTo>
                  <a:lnTo>
                    <a:pt x="15399" y="2794"/>
                  </a:lnTo>
                  <a:lnTo>
                    <a:pt x="15381" y="2791"/>
                  </a:lnTo>
                  <a:lnTo>
                    <a:pt x="15363" y="2786"/>
                  </a:lnTo>
                  <a:lnTo>
                    <a:pt x="15347" y="2780"/>
                  </a:lnTo>
                  <a:lnTo>
                    <a:pt x="15331" y="2773"/>
                  </a:lnTo>
                  <a:lnTo>
                    <a:pt x="15315" y="2763"/>
                  </a:lnTo>
                  <a:lnTo>
                    <a:pt x="15302" y="2753"/>
                  </a:lnTo>
                  <a:lnTo>
                    <a:pt x="15289" y="2741"/>
                  </a:lnTo>
                  <a:lnTo>
                    <a:pt x="15277" y="2728"/>
                  </a:lnTo>
                  <a:lnTo>
                    <a:pt x="15266" y="2714"/>
                  </a:lnTo>
                  <a:lnTo>
                    <a:pt x="15257" y="2699"/>
                  </a:lnTo>
                  <a:lnTo>
                    <a:pt x="15250" y="2683"/>
                  </a:lnTo>
                  <a:lnTo>
                    <a:pt x="15243" y="2666"/>
                  </a:lnTo>
                  <a:lnTo>
                    <a:pt x="15239" y="2648"/>
                  </a:lnTo>
                  <a:lnTo>
                    <a:pt x="15236" y="2631"/>
                  </a:lnTo>
                  <a:lnTo>
                    <a:pt x="15235" y="2612"/>
                  </a:lnTo>
                  <a:lnTo>
                    <a:pt x="15236" y="2593"/>
                  </a:lnTo>
                  <a:lnTo>
                    <a:pt x="15239" y="2575"/>
                  </a:lnTo>
                  <a:lnTo>
                    <a:pt x="15243" y="2558"/>
                  </a:lnTo>
                  <a:lnTo>
                    <a:pt x="15250" y="2541"/>
                  </a:lnTo>
                  <a:lnTo>
                    <a:pt x="15257" y="2525"/>
                  </a:lnTo>
                  <a:lnTo>
                    <a:pt x="15266" y="2510"/>
                  </a:lnTo>
                  <a:lnTo>
                    <a:pt x="15277" y="2496"/>
                  </a:lnTo>
                  <a:lnTo>
                    <a:pt x="15289" y="2482"/>
                  </a:lnTo>
                  <a:lnTo>
                    <a:pt x="15302" y="2471"/>
                  </a:lnTo>
                  <a:lnTo>
                    <a:pt x="15315" y="2460"/>
                  </a:lnTo>
                  <a:lnTo>
                    <a:pt x="15331" y="2451"/>
                  </a:lnTo>
                  <a:lnTo>
                    <a:pt x="15347" y="2444"/>
                  </a:lnTo>
                  <a:lnTo>
                    <a:pt x="15363" y="2437"/>
                  </a:lnTo>
                  <a:lnTo>
                    <a:pt x="15381" y="2433"/>
                  </a:lnTo>
                  <a:lnTo>
                    <a:pt x="15399" y="2430"/>
                  </a:lnTo>
                  <a:lnTo>
                    <a:pt x="15418" y="2429"/>
                  </a:lnTo>
                  <a:close/>
                  <a:moveTo>
                    <a:pt x="13682" y="943"/>
                  </a:moveTo>
                  <a:lnTo>
                    <a:pt x="15712" y="943"/>
                  </a:lnTo>
                  <a:lnTo>
                    <a:pt x="15712" y="1546"/>
                  </a:lnTo>
                  <a:lnTo>
                    <a:pt x="13682" y="1546"/>
                  </a:lnTo>
                  <a:lnTo>
                    <a:pt x="13682" y="943"/>
                  </a:lnTo>
                  <a:close/>
                  <a:moveTo>
                    <a:pt x="1545" y="1123"/>
                  </a:moveTo>
                  <a:lnTo>
                    <a:pt x="1545" y="943"/>
                  </a:lnTo>
                  <a:lnTo>
                    <a:pt x="1089" y="943"/>
                  </a:lnTo>
                  <a:lnTo>
                    <a:pt x="1089" y="1123"/>
                  </a:lnTo>
                  <a:lnTo>
                    <a:pt x="811" y="1123"/>
                  </a:lnTo>
                  <a:lnTo>
                    <a:pt x="811" y="1769"/>
                  </a:lnTo>
                  <a:lnTo>
                    <a:pt x="1822" y="1769"/>
                  </a:lnTo>
                  <a:lnTo>
                    <a:pt x="1822" y="1123"/>
                  </a:lnTo>
                  <a:lnTo>
                    <a:pt x="1545" y="1123"/>
                  </a:lnTo>
                  <a:close/>
                  <a:moveTo>
                    <a:pt x="3010" y="1123"/>
                  </a:moveTo>
                  <a:lnTo>
                    <a:pt x="3010" y="943"/>
                  </a:lnTo>
                  <a:lnTo>
                    <a:pt x="2555" y="943"/>
                  </a:lnTo>
                  <a:lnTo>
                    <a:pt x="2555" y="1123"/>
                  </a:lnTo>
                  <a:lnTo>
                    <a:pt x="2278" y="1123"/>
                  </a:lnTo>
                  <a:lnTo>
                    <a:pt x="2278" y="1769"/>
                  </a:lnTo>
                  <a:lnTo>
                    <a:pt x="3288" y="1769"/>
                  </a:lnTo>
                  <a:lnTo>
                    <a:pt x="3288" y="1123"/>
                  </a:lnTo>
                  <a:lnTo>
                    <a:pt x="3010" y="1123"/>
                  </a:lnTo>
                  <a:close/>
                  <a:moveTo>
                    <a:pt x="4477" y="1123"/>
                  </a:moveTo>
                  <a:lnTo>
                    <a:pt x="4477" y="943"/>
                  </a:lnTo>
                  <a:lnTo>
                    <a:pt x="4021" y="943"/>
                  </a:lnTo>
                  <a:lnTo>
                    <a:pt x="4021" y="1123"/>
                  </a:lnTo>
                  <a:lnTo>
                    <a:pt x="3743" y="1123"/>
                  </a:lnTo>
                  <a:lnTo>
                    <a:pt x="3743" y="1769"/>
                  </a:lnTo>
                  <a:lnTo>
                    <a:pt x="4754" y="1769"/>
                  </a:lnTo>
                  <a:lnTo>
                    <a:pt x="4754" y="1123"/>
                  </a:lnTo>
                  <a:lnTo>
                    <a:pt x="4477" y="1123"/>
                  </a:lnTo>
                  <a:close/>
                  <a:moveTo>
                    <a:pt x="5942" y="1123"/>
                  </a:moveTo>
                  <a:lnTo>
                    <a:pt x="5942" y="943"/>
                  </a:lnTo>
                  <a:lnTo>
                    <a:pt x="5486" y="943"/>
                  </a:lnTo>
                  <a:lnTo>
                    <a:pt x="5486" y="1123"/>
                  </a:lnTo>
                  <a:lnTo>
                    <a:pt x="5209" y="1123"/>
                  </a:lnTo>
                  <a:lnTo>
                    <a:pt x="5209" y="1769"/>
                  </a:lnTo>
                  <a:lnTo>
                    <a:pt x="6219" y="1769"/>
                  </a:lnTo>
                  <a:lnTo>
                    <a:pt x="6219" y="1123"/>
                  </a:lnTo>
                  <a:lnTo>
                    <a:pt x="5942" y="1123"/>
                  </a:lnTo>
                  <a:close/>
                  <a:moveTo>
                    <a:pt x="7407" y="1123"/>
                  </a:moveTo>
                  <a:lnTo>
                    <a:pt x="7407" y="943"/>
                  </a:lnTo>
                  <a:lnTo>
                    <a:pt x="6953" y="943"/>
                  </a:lnTo>
                  <a:lnTo>
                    <a:pt x="6953" y="1123"/>
                  </a:lnTo>
                  <a:lnTo>
                    <a:pt x="6675" y="1123"/>
                  </a:lnTo>
                  <a:lnTo>
                    <a:pt x="6675" y="1769"/>
                  </a:lnTo>
                  <a:lnTo>
                    <a:pt x="7685" y="1769"/>
                  </a:lnTo>
                  <a:lnTo>
                    <a:pt x="7685" y="1123"/>
                  </a:lnTo>
                  <a:lnTo>
                    <a:pt x="7407" y="1123"/>
                  </a:lnTo>
                  <a:close/>
                  <a:moveTo>
                    <a:pt x="8874" y="1123"/>
                  </a:moveTo>
                  <a:lnTo>
                    <a:pt x="8874" y="943"/>
                  </a:lnTo>
                  <a:lnTo>
                    <a:pt x="8418" y="943"/>
                  </a:lnTo>
                  <a:lnTo>
                    <a:pt x="8418" y="1123"/>
                  </a:lnTo>
                  <a:lnTo>
                    <a:pt x="8141" y="1123"/>
                  </a:lnTo>
                  <a:lnTo>
                    <a:pt x="8141" y="1769"/>
                  </a:lnTo>
                  <a:lnTo>
                    <a:pt x="9151" y="1769"/>
                  </a:lnTo>
                  <a:lnTo>
                    <a:pt x="9151" y="1123"/>
                  </a:lnTo>
                  <a:lnTo>
                    <a:pt x="8874" y="1123"/>
                  </a:lnTo>
                  <a:close/>
                  <a:moveTo>
                    <a:pt x="10339" y="1123"/>
                  </a:moveTo>
                  <a:lnTo>
                    <a:pt x="10339" y="943"/>
                  </a:lnTo>
                  <a:lnTo>
                    <a:pt x="9883" y="943"/>
                  </a:lnTo>
                  <a:lnTo>
                    <a:pt x="9883" y="1123"/>
                  </a:lnTo>
                  <a:lnTo>
                    <a:pt x="9606" y="1123"/>
                  </a:lnTo>
                  <a:lnTo>
                    <a:pt x="9606" y="1769"/>
                  </a:lnTo>
                  <a:lnTo>
                    <a:pt x="10617" y="1769"/>
                  </a:lnTo>
                  <a:lnTo>
                    <a:pt x="10617" y="1123"/>
                  </a:lnTo>
                  <a:lnTo>
                    <a:pt x="10339" y="1123"/>
                  </a:lnTo>
                  <a:close/>
                  <a:moveTo>
                    <a:pt x="1545" y="2845"/>
                  </a:moveTo>
                  <a:lnTo>
                    <a:pt x="1545" y="3025"/>
                  </a:lnTo>
                  <a:lnTo>
                    <a:pt x="1089" y="3025"/>
                  </a:lnTo>
                  <a:lnTo>
                    <a:pt x="1089" y="2845"/>
                  </a:lnTo>
                  <a:lnTo>
                    <a:pt x="811" y="2845"/>
                  </a:lnTo>
                  <a:lnTo>
                    <a:pt x="811" y="2199"/>
                  </a:lnTo>
                  <a:lnTo>
                    <a:pt x="1822" y="2199"/>
                  </a:lnTo>
                  <a:lnTo>
                    <a:pt x="1822" y="2845"/>
                  </a:lnTo>
                  <a:lnTo>
                    <a:pt x="1545" y="2845"/>
                  </a:lnTo>
                  <a:close/>
                  <a:moveTo>
                    <a:pt x="3010" y="2845"/>
                  </a:moveTo>
                  <a:lnTo>
                    <a:pt x="3010" y="3025"/>
                  </a:lnTo>
                  <a:lnTo>
                    <a:pt x="2555" y="3025"/>
                  </a:lnTo>
                  <a:lnTo>
                    <a:pt x="2555" y="2845"/>
                  </a:lnTo>
                  <a:lnTo>
                    <a:pt x="2278" y="2845"/>
                  </a:lnTo>
                  <a:lnTo>
                    <a:pt x="2278" y="2199"/>
                  </a:lnTo>
                  <a:lnTo>
                    <a:pt x="3288" y="2199"/>
                  </a:lnTo>
                  <a:lnTo>
                    <a:pt x="3288" y="2845"/>
                  </a:lnTo>
                  <a:lnTo>
                    <a:pt x="3010" y="2845"/>
                  </a:lnTo>
                  <a:close/>
                  <a:moveTo>
                    <a:pt x="4477" y="2845"/>
                  </a:moveTo>
                  <a:lnTo>
                    <a:pt x="4477" y="3025"/>
                  </a:lnTo>
                  <a:lnTo>
                    <a:pt x="4021" y="3025"/>
                  </a:lnTo>
                  <a:lnTo>
                    <a:pt x="4021" y="2845"/>
                  </a:lnTo>
                  <a:lnTo>
                    <a:pt x="3743" y="2845"/>
                  </a:lnTo>
                  <a:lnTo>
                    <a:pt x="3743" y="2199"/>
                  </a:lnTo>
                  <a:lnTo>
                    <a:pt x="4754" y="2199"/>
                  </a:lnTo>
                  <a:lnTo>
                    <a:pt x="4754" y="2845"/>
                  </a:lnTo>
                  <a:lnTo>
                    <a:pt x="4477" y="2845"/>
                  </a:lnTo>
                  <a:close/>
                  <a:moveTo>
                    <a:pt x="5942" y="2845"/>
                  </a:moveTo>
                  <a:lnTo>
                    <a:pt x="5942" y="3025"/>
                  </a:lnTo>
                  <a:lnTo>
                    <a:pt x="5486" y="3025"/>
                  </a:lnTo>
                  <a:lnTo>
                    <a:pt x="5486" y="2845"/>
                  </a:lnTo>
                  <a:lnTo>
                    <a:pt x="5209" y="2845"/>
                  </a:lnTo>
                  <a:lnTo>
                    <a:pt x="5209" y="2199"/>
                  </a:lnTo>
                  <a:lnTo>
                    <a:pt x="6219" y="2199"/>
                  </a:lnTo>
                  <a:lnTo>
                    <a:pt x="6219" y="2845"/>
                  </a:lnTo>
                  <a:lnTo>
                    <a:pt x="5942" y="2845"/>
                  </a:lnTo>
                  <a:close/>
                  <a:moveTo>
                    <a:pt x="7407" y="2845"/>
                  </a:moveTo>
                  <a:lnTo>
                    <a:pt x="7407" y="3025"/>
                  </a:lnTo>
                  <a:lnTo>
                    <a:pt x="6953" y="3025"/>
                  </a:lnTo>
                  <a:lnTo>
                    <a:pt x="6953" y="2845"/>
                  </a:lnTo>
                  <a:lnTo>
                    <a:pt x="6675" y="2845"/>
                  </a:lnTo>
                  <a:lnTo>
                    <a:pt x="6675" y="2199"/>
                  </a:lnTo>
                  <a:lnTo>
                    <a:pt x="7685" y="2199"/>
                  </a:lnTo>
                  <a:lnTo>
                    <a:pt x="7685" y="2845"/>
                  </a:lnTo>
                  <a:lnTo>
                    <a:pt x="7407" y="2845"/>
                  </a:lnTo>
                  <a:close/>
                  <a:moveTo>
                    <a:pt x="8874" y="2845"/>
                  </a:moveTo>
                  <a:lnTo>
                    <a:pt x="8874" y="3025"/>
                  </a:lnTo>
                  <a:lnTo>
                    <a:pt x="8418" y="3025"/>
                  </a:lnTo>
                  <a:lnTo>
                    <a:pt x="8418" y="2845"/>
                  </a:lnTo>
                  <a:lnTo>
                    <a:pt x="8141" y="2845"/>
                  </a:lnTo>
                  <a:lnTo>
                    <a:pt x="8141" y="2199"/>
                  </a:lnTo>
                  <a:lnTo>
                    <a:pt x="9151" y="2199"/>
                  </a:lnTo>
                  <a:lnTo>
                    <a:pt x="9151" y="2845"/>
                  </a:lnTo>
                  <a:lnTo>
                    <a:pt x="8874" y="2845"/>
                  </a:lnTo>
                  <a:close/>
                  <a:moveTo>
                    <a:pt x="10339" y="2845"/>
                  </a:moveTo>
                  <a:lnTo>
                    <a:pt x="10339" y="3025"/>
                  </a:lnTo>
                  <a:lnTo>
                    <a:pt x="9883" y="3025"/>
                  </a:lnTo>
                  <a:lnTo>
                    <a:pt x="9883" y="2845"/>
                  </a:lnTo>
                  <a:lnTo>
                    <a:pt x="9606" y="2845"/>
                  </a:lnTo>
                  <a:lnTo>
                    <a:pt x="9606" y="2199"/>
                  </a:lnTo>
                  <a:lnTo>
                    <a:pt x="10617" y="2199"/>
                  </a:lnTo>
                  <a:lnTo>
                    <a:pt x="10617" y="2845"/>
                  </a:lnTo>
                  <a:lnTo>
                    <a:pt x="10339" y="2845"/>
                  </a:lnTo>
                  <a:close/>
                  <a:moveTo>
                    <a:pt x="11851" y="1123"/>
                  </a:moveTo>
                  <a:lnTo>
                    <a:pt x="11851" y="943"/>
                  </a:lnTo>
                  <a:lnTo>
                    <a:pt x="11395" y="943"/>
                  </a:lnTo>
                  <a:lnTo>
                    <a:pt x="11395" y="1123"/>
                  </a:lnTo>
                  <a:lnTo>
                    <a:pt x="11117" y="1123"/>
                  </a:lnTo>
                  <a:lnTo>
                    <a:pt x="11117" y="1769"/>
                  </a:lnTo>
                  <a:lnTo>
                    <a:pt x="12128" y="1769"/>
                  </a:lnTo>
                  <a:lnTo>
                    <a:pt x="12128" y="1123"/>
                  </a:lnTo>
                  <a:lnTo>
                    <a:pt x="11851" y="1123"/>
                  </a:lnTo>
                  <a:close/>
                  <a:moveTo>
                    <a:pt x="11851" y="2845"/>
                  </a:moveTo>
                  <a:lnTo>
                    <a:pt x="11851" y="3025"/>
                  </a:lnTo>
                  <a:lnTo>
                    <a:pt x="11395" y="3025"/>
                  </a:lnTo>
                  <a:lnTo>
                    <a:pt x="11395" y="2845"/>
                  </a:lnTo>
                  <a:lnTo>
                    <a:pt x="11117" y="2845"/>
                  </a:lnTo>
                  <a:lnTo>
                    <a:pt x="11117" y="2199"/>
                  </a:lnTo>
                  <a:lnTo>
                    <a:pt x="12128" y="2199"/>
                  </a:lnTo>
                  <a:lnTo>
                    <a:pt x="12128" y="2845"/>
                  </a:lnTo>
                  <a:lnTo>
                    <a:pt x="11851" y="2845"/>
                  </a:lnTo>
                  <a:close/>
                </a:path>
              </a:pathLst>
            </a:custGeom>
            <a:grpFill/>
            <a:ln w="9525">
              <a:solidFill>
                <a:srgbClr val="00B0F0"/>
              </a:solidFill>
              <a:round/>
              <a:headEnd/>
              <a:tailEnd/>
            </a:ln>
          </p:spPr>
          <p:txBody>
            <a:bodyPr vert="horz" wrap="square" lIns="91416" tIns="45708" rIns="91416" bIns="45708" numCol="1" anchor="t" anchorCtr="0" compatLnSpc="1">
              <a:prstTxWarp prst="textNoShape">
                <a:avLst/>
              </a:prstTxWarp>
            </a:bodyPr>
            <a:lstStyle/>
            <a:p>
              <a:pPr defTabSz="914072" fontAlgn="ctr">
                <a:defRPr/>
              </a:pPr>
              <a:endParaRPr lang="en-US" altLang="zh-CN" sz="1200" kern="0" dirty="0">
                <a:solidFill>
                  <a:schemeClr val="bg1"/>
                </a:solidFill>
                <a:cs typeface="Times New Roman" pitchFamily="18" charset="0"/>
              </a:endParaRPr>
            </a:p>
          </p:txBody>
        </p:sp>
        <p:sp>
          <p:nvSpPr>
            <p:cNvPr id="144" name="1902386434"/>
            <p:cNvSpPr>
              <a:spLocks noEditPoints="1"/>
            </p:cNvSpPr>
            <p:nvPr/>
          </p:nvSpPr>
          <p:spPr bwMode="auto">
            <a:xfrm>
              <a:off x="5458125" y="4740284"/>
              <a:ext cx="696913" cy="124963"/>
            </a:xfrm>
            <a:custGeom>
              <a:avLst/>
              <a:gdLst/>
              <a:ahLst/>
              <a:cxnLst>
                <a:cxn ang="0">
                  <a:pos x="16278" y="39"/>
                </a:cxn>
                <a:cxn ang="0">
                  <a:pos x="16504" y="184"/>
                </a:cxn>
                <a:cxn ang="0">
                  <a:pos x="16649" y="411"/>
                </a:cxn>
                <a:cxn ang="0">
                  <a:pos x="16687" y="3376"/>
                </a:cxn>
                <a:cxn ang="0">
                  <a:pos x="16612" y="3641"/>
                </a:cxn>
                <a:cxn ang="0">
                  <a:pos x="16437" y="3844"/>
                </a:cxn>
                <a:cxn ang="0">
                  <a:pos x="16189" y="3955"/>
                </a:cxn>
                <a:cxn ang="0">
                  <a:pos x="499" y="3955"/>
                </a:cxn>
                <a:cxn ang="0">
                  <a:pos x="251" y="3844"/>
                </a:cxn>
                <a:cxn ang="0">
                  <a:pos x="75" y="3641"/>
                </a:cxn>
                <a:cxn ang="0">
                  <a:pos x="1" y="3376"/>
                </a:cxn>
                <a:cxn ang="0">
                  <a:pos x="38" y="411"/>
                </a:cxn>
                <a:cxn ang="0">
                  <a:pos x="184" y="184"/>
                </a:cxn>
                <a:cxn ang="0">
                  <a:pos x="410" y="39"/>
                </a:cxn>
                <a:cxn ang="0">
                  <a:pos x="13820" y="2430"/>
                </a:cxn>
                <a:cxn ang="0">
                  <a:pos x="13953" y="2510"/>
                </a:cxn>
                <a:cxn ang="0">
                  <a:pos x="13976" y="2666"/>
                </a:cxn>
                <a:cxn ang="0">
                  <a:pos x="13873" y="2780"/>
                </a:cxn>
                <a:cxn ang="0">
                  <a:pos x="13714" y="2773"/>
                </a:cxn>
                <a:cxn ang="0">
                  <a:pos x="13623" y="2648"/>
                </a:cxn>
                <a:cxn ang="0">
                  <a:pos x="13661" y="2496"/>
                </a:cxn>
                <a:cxn ang="0">
                  <a:pos x="13802" y="2429"/>
                </a:cxn>
                <a:cxn ang="0">
                  <a:pos x="14470" y="2482"/>
                </a:cxn>
                <a:cxn ang="0">
                  <a:pos x="14522" y="2631"/>
                </a:cxn>
                <a:cxn ang="0">
                  <a:pos x="14442" y="2763"/>
                </a:cxn>
                <a:cxn ang="0">
                  <a:pos x="14286" y="2786"/>
                </a:cxn>
                <a:cxn ang="0">
                  <a:pos x="14172" y="2683"/>
                </a:cxn>
                <a:cxn ang="0">
                  <a:pos x="14180" y="2525"/>
                </a:cxn>
                <a:cxn ang="0">
                  <a:pos x="14304" y="2433"/>
                </a:cxn>
                <a:cxn ang="0">
                  <a:pos x="14981" y="2460"/>
                </a:cxn>
                <a:cxn ang="0">
                  <a:pos x="15061" y="2593"/>
                </a:cxn>
                <a:cxn ang="0">
                  <a:pos x="15008" y="2741"/>
                </a:cxn>
                <a:cxn ang="0">
                  <a:pos x="14861" y="2794"/>
                </a:cxn>
                <a:cxn ang="0">
                  <a:pos x="14728" y="2714"/>
                </a:cxn>
                <a:cxn ang="0">
                  <a:pos x="14705" y="2558"/>
                </a:cxn>
                <a:cxn ang="0">
                  <a:pos x="14809" y="2444"/>
                </a:cxn>
                <a:cxn ang="0">
                  <a:pos x="15489" y="2444"/>
                </a:cxn>
                <a:cxn ang="0">
                  <a:pos x="15592" y="2558"/>
                </a:cxn>
                <a:cxn ang="0">
                  <a:pos x="15569" y="2714"/>
                </a:cxn>
                <a:cxn ang="0">
                  <a:pos x="15436" y="2794"/>
                </a:cxn>
                <a:cxn ang="0">
                  <a:pos x="15289" y="2741"/>
                </a:cxn>
                <a:cxn ang="0">
                  <a:pos x="15236" y="2593"/>
                </a:cxn>
                <a:cxn ang="0">
                  <a:pos x="15315" y="2460"/>
                </a:cxn>
                <a:cxn ang="0">
                  <a:pos x="15712" y="1546"/>
                </a:cxn>
                <a:cxn ang="0">
                  <a:pos x="1822" y="1769"/>
                </a:cxn>
                <a:cxn ang="0">
                  <a:pos x="3288" y="1769"/>
                </a:cxn>
                <a:cxn ang="0">
                  <a:pos x="4754" y="1769"/>
                </a:cxn>
                <a:cxn ang="0">
                  <a:pos x="6219" y="1769"/>
                </a:cxn>
                <a:cxn ang="0">
                  <a:pos x="7685" y="1769"/>
                </a:cxn>
                <a:cxn ang="0">
                  <a:pos x="9151" y="1769"/>
                </a:cxn>
                <a:cxn ang="0">
                  <a:pos x="10617" y="1769"/>
                </a:cxn>
                <a:cxn ang="0">
                  <a:pos x="1822" y="2199"/>
                </a:cxn>
                <a:cxn ang="0">
                  <a:pos x="3288" y="2199"/>
                </a:cxn>
                <a:cxn ang="0">
                  <a:pos x="4754" y="2199"/>
                </a:cxn>
                <a:cxn ang="0">
                  <a:pos x="6219" y="2199"/>
                </a:cxn>
                <a:cxn ang="0">
                  <a:pos x="7685" y="2199"/>
                </a:cxn>
                <a:cxn ang="0">
                  <a:pos x="9151" y="2199"/>
                </a:cxn>
                <a:cxn ang="0">
                  <a:pos x="10617" y="2199"/>
                </a:cxn>
                <a:cxn ang="0">
                  <a:pos x="12128" y="1769"/>
                </a:cxn>
                <a:cxn ang="0">
                  <a:pos x="12128" y="2199"/>
                </a:cxn>
              </a:cxnLst>
              <a:rect l="0" t="0" r="r" b="b"/>
              <a:pathLst>
                <a:path w="16688" h="3968">
                  <a:moveTo>
                    <a:pt x="624" y="0"/>
                  </a:moveTo>
                  <a:lnTo>
                    <a:pt x="16064" y="0"/>
                  </a:lnTo>
                  <a:lnTo>
                    <a:pt x="16097" y="1"/>
                  </a:lnTo>
                  <a:lnTo>
                    <a:pt x="16128" y="3"/>
                  </a:lnTo>
                  <a:lnTo>
                    <a:pt x="16159" y="7"/>
                  </a:lnTo>
                  <a:lnTo>
                    <a:pt x="16189" y="13"/>
                  </a:lnTo>
                  <a:lnTo>
                    <a:pt x="16220" y="20"/>
                  </a:lnTo>
                  <a:lnTo>
                    <a:pt x="16249" y="28"/>
                  </a:lnTo>
                  <a:lnTo>
                    <a:pt x="16278" y="39"/>
                  </a:lnTo>
                  <a:lnTo>
                    <a:pt x="16306" y="49"/>
                  </a:lnTo>
                  <a:lnTo>
                    <a:pt x="16334" y="62"/>
                  </a:lnTo>
                  <a:lnTo>
                    <a:pt x="16360" y="76"/>
                  </a:lnTo>
                  <a:lnTo>
                    <a:pt x="16387" y="91"/>
                  </a:lnTo>
                  <a:lnTo>
                    <a:pt x="16413" y="108"/>
                  </a:lnTo>
                  <a:lnTo>
                    <a:pt x="16437" y="124"/>
                  </a:lnTo>
                  <a:lnTo>
                    <a:pt x="16461" y="143"/>
                  </a:lnTo>
                  <a:lnTo>
                    <a:pt x="16484" y="163"/>
                  </a:lnTo>
                  <a:lnTo>
                    <a:pt x="16504" y="184"/>
                  </a:lnTo>
                  <a:lnTo>
                    <a:pt x="16525" y="205"/>
                  </a:lnTo>
                  <a:lnTo>
                    <a:pt x="16545" y="228"/>
                  </a:lnTo>
                  <a:lnTo>
                    <a:pt x="16564" y="252"/>
                  </a:lnTo>
                  <a:lnTo>
                    <a:pt x="16581" y="276"/>
                  </a:lnTo>
                  <a:lnTo>
                    <a:pt x="16597" y="302"/>
                  </a:lnTo>
                  <a:lnTo>
                    <a:pt x="16612" y="328"/>
                  </a:lnTo>
                  <a:lnTo>
                    <a:pt x="16626" y="354"/>
                  </a:lnTo>
                  <a:lnTo>
                    <a:pt x="16639" y="382"/>
                  </a:lnTo>
                  <a:lnTo>
                    <a:pt x="16649" y="411"/>
                  </a:lnTo>
                  <a:lnTo>
                    <a:pt x="16660" y="440"/>
                  </a:lnTo>
                  <a:lnTo>
                    <a:pt x="16668" y="469"/>
                  </a:lnTo>
                  <a:lnTo>
                    <a:pt x="16675" y="499"/>
                  </a:lnTo>
                  <a:lnTo>
                    <a:pt x="16681" y="530"/>
                  </a:lnTo>
                  <a:lnTo>
                    <a:pt x="16685" y="561"/>
                  </a:lnTo>
                  <a:lnTo>
                    <a:pt x="16687" y="592"/>
                  </a:lnTo>
                  <a:lnTo>
                    <a:pt x="16688" y="625"/>
                  </a:lnTo>
                  <a:lnTo>
                    <a:pt x="16688" y="3343"/>
                  </a:lnTo>
                  <a:lnTo>
                    <a:pt x="16687" y="3376"/>
                  </a:lnTo>
                  <a:lnTo>
                    <a:pt x="16685" y="3407"/>
                  </a:lnTo>
                  <a:lnTo>
                    <a:pt x="16681" y="3438"/>
                  </a:lnTo>
                  <a:lnTo>
                    <a:pt x="16675" y="3469"/>
                  </a:lnTo>
                  <a:lnTo>
                    <a:pt x="16668" y="3499"/>
                  </a:lnTo>
                  <a:lnTo>
                    <a:pt x="16660" y="3529"/>
                  </a:lnTo>
                  <a:lnTo>
                    <a:pt x="16649" y="3557"/>
                  </a:lnTo>
                  <a:lnTo>
                    <a:pt x="16639" y="3586"/>
                  </a:lnTo>
                  <a:lnTo>
                    <a:pt x="16626" y="3614"/>
                  </a:lnTo>
                  <a:lnTo>
                    <a:pt x="16612" y="3641"/>
                  </a:lnTo>
                  <a:lnTo>
                    <a:pt x="16597" y="3667"/>
                  </a:lnTo>
                  <a:lnTo>
                    <a:pt x="16581" y="3692"/>
                  </a:lnTo>
                  <a:lnTo>
                    <a:pt x="16564" y="3716"/>
                  </a:lnTo>
                  <a:lnTo>
                    <a:pt x="16545" y="3740"/>
                  </a:lnTo>
                  <a:lnTo>
                    <a:pt x="16525" y="3763"/>
                  </a:lnTo>
                  <a:lnTo>
                    <a:pt x="16504" y="3784"/>
                  </a:lnTo>
                  <a:lnTo>
                    <a:pt x="16484" y="3805"/>
                  </a:lnTo>
                  <a:lnTo>
                    <a:pt x="16461" y="3825"/>
                  </a:lnTo>
                  <a:lnTo>
                    <a:pt x="16437" y="3844"/>
                  </a:lnTo>
                  <a:lnTo>
                    <a:pt x="16413" y="3861"/>
                  </a:lnTo>
                  <a:lnTo>
                    <a:pt x="16387" y="3877"/>
                  </a:lnTo>
                  <a:lnTo>
                    <a:pt x="16360" y="3893"/>
                  </a:lnTo>
                  <a:lnTo>
                    <a:pt x="16334" y="3906"/>
                  </a:lnTo>
                  <a:lnTo>
                    <a:pt x="16306" y="3919"/>
                  </a:lnTo>
                  <a:lnTo>
                    <a:pt x="16278" y="3930"/>
                  </a:lnTo>
                  <a:lnTo>
                    <a:pt x="16249" y="3940"/>
                  </a:lnTo>
                  <a:lnTo>
                    <a:pt x="16220" y="3948"/>
                  </a:lnTo>
                  <a:lnTo>
                    <a:pt x="16189" y="3955"/>
                  </a:lnTo>
                  <a:lnTo>
                    <a:pt x="16159" y="3961"/>
                  </a:lnTo>
                  <a:lnTo>
                    <a:pt x="16128" y="3965"/>
                  </a:lnTo>
                  <a:lnTo>
                    <a:pt x="16097" y="3967"/>
                  </a:lnTo>
                  <a:lnTo>
                    <a:pt x="16064" y="3968"/>
                  </a:lnTo>
                  <a:lnTo>
                    <a:pt x="624" y="3968"/>
                  </a:lnTo>
                  <a:lnTo>
                    <a:pt x="591" y="3967"/>
                  </a:lnTo>
                  <a:lnTo>
                    <a:pt x="560" y="3965"/>
                  </a:lnTo>
                  <a:lnTo>
                    <a:pt x="529" y="3961"/>
                  </a:lnTo>
                  <a:lnTo>
                    <a:pt x="499" y="3955"/>
                  </a:lnTo>
                  <a:lnTo>
                    <a:pt x="468" y="3948"/>
                  </a:lnTo>
                  <a:lnTo>
                    <a:pt x="438" y="3940"/>
                  </a:lnTo>
                  <a:lnTo>
                    <a:pt x="410" y="3930"/>
                  </a:lnTo>
                  <a:lnTo>
                    <a:pt x="382" y="3919"/>
                  </a:lnTo>
                  <a:lnTo>
                    <a:pt x="354" y="3906"/>
                  </a:lnTo>
                  <a:lnTo>
                    <a:pt x="326" y="3893"/>
                  </a:lnTo>
                  <a:lnTo>
                    <a:pt x="300" y="3877"/>
                  </a:lnTo>
                  <a:lnTo>
                    <a:pt x="275" y="3861"/>
                  </a:lnTo>
                  <a:lnTo>
                    <a:pt x="251" y="3844"/>
                  </a:lnTo>
                  <a:lnTo>
                    <a:pt x="227" y="3825"/>
                  </a:lnTo>
                  <a:lnTo>
                    <a:pt x="204" y="3805"/>
                  </a:lnTo>
                  <a:lnTo>
                    <a:pt x="184" y="3784"/>
                  </a:lnTo>
                  <a:lnTo>
                    <a:pt x="163" y="3763"/>
                  </a:lnTo>
                  <a:lnTo>
                    <a:pt x="143" y="3740"/>
                  </a:lnTo>
                  <a:lnTo>
                    <a:pt x="124" y="3716"/>
                  </a:lnTo>
                  <a:lnTo>
                    <a:pt x="106" y="3692"/>
                  </a:lnTo>
                  <a:lnTo>
                    <a:pt x="91" y="3667"/>
                  </a:lnTo>
                  <a:lnTo>
                    <a:pt x="75" y="3641"/>
                  </a:lnTo>
                  <a:lnTo>
                    <a:pt x="62" y="3614"/>
                  </a:lnTo>
                  <a:lnTo>
                    <a:pt x="49" y="3586"/>
                  </a:lnTo>
                  <a:lnTo>
                    <a:pt x="38" y="3557"/>
                  </a:lnTo>
                  <a:lnTo>
                    <a:pt x="28" y="3529"/>
                  </a:lnTo>
                  <a:lnTo>
                    <a:pt x="20" y="3499"/>
                  </a:lnTo>
                  <a:lnTo>
                    <a:pt x="13" y="3469"/>
                  </a:lnTo>
                  <a:lnTo>
                    <a:pt x="7" y="3438"/>
                  </a:lnTo>
                  <a:lnTo>
                    <a:pt x="3" y="3407"/>
                  </a:lnTo>
                  <a:lnTo>
                    <a:pt x="1" y="3376"/>
                  </a:lnTo>
                  <a:lnTo>
                    <a:pt x="0" y="3343"/>
                  </a:lnTo>
                  <a:lnTo>
                    <a:pt x="0" y="625"/>
                  </a:lnTo>
                  <a:lnTo>
                    <a:pt x="1" y="592"/>
                  </a:lnTo>
                  <a:lnTo>
                    <a:pt x="3" y="561"/>
                  </a:lnTo>
                  <a:lnTo>
                    <a:pt x="7" y="530"/>
                  </a:lnTo>
                  <a:lnTo>
                    <a:pt x="13" y="499"/>
                  </a:lnTo>
                  <a:lnTo>
                    <a:pt x="20" y="469"/>
                  </a:lnTo>
                  <a:lnTo>
                    <a:pt x="28" y="440"/>
                  </a:lnTo>
                  <a:lnTo>
                    <a:pt x="38" y="411"/>
                  </a:lnTo>
                  <a:lnTo>
                    <a:pt x="49" y="382"/>
                  </a:lnTo>
                  <a:lnTo>
                    <a:pt x="62" y="354"/>
                  </a:lnTo>
                  <a:lnTo>
                    <a:pt x="75" y="328"/>
                  </a:lnTo>
                  <a:lnTo>
                    <a:pt x="91" y="302"/>
                  </a:lnTo>
                  <a:lnTo>
                    <a:pt x="106" y="276"/>
                  </a:lnTo>
                  <a:lnTo>
                    <a:pt x="124" y="252"/>
                  </a:lnTo>
                  <a:lnTo>
                    <a:pt x="143" y="228"/>
                  </a:lnTo>
                  <a:lnTo>
                    <a:pt x="163" y="205"/>
                  </a:lnTo>
                  <a:lnTo>
                    <a:pt x="184" y="184"/>
                  </a:lnTo>
                  <a:lnTo>
                    <a:pt x="204" y="163"/>
                  </a:lnTo>
                  <a:lnTo>
                    <a:pt x="227" y="143"/>
                  </a:lnTo>
                  <a:lnTo>
                    <a:pt x="251" y="124"/>
                  </a:lnTo>
                  <a:lnTo>
                    <a:pt x="275" y="108"/>
                  </a:lnTo>
                  <a:lnTo>
                    <a:pt x="300" y="91"/>
                  </a:lnTo>
                  <a:lnTo>
                    <a:pt x="326" y="76"/>
                  </a:lnTo>
                  <a:lnTo>
                    <a:pt x="354" y="62"/>
                  </a:lnTo>
                  <a:lnTo>
                    <a:pt x="382" y="49"/>
                  </a:lnTo>
                  <a:lnTo>
                    <a:pt x="410" y="39"/>
                  </a:lnTo>
                  <a:lnTo>
                    <a:pt x="438" y="28"/>
                  </a:lnTo>
                  <a:lnTo>
                    <a:pt x="468" y="20"/>
                  </a:lnTo>
                  <a:lnTo>
                    <a:pt x="499" y="13"/>
                  </a:lnTo>
                  <a:lnTo>
                    <a:pt x="529" y="7"/>
                  </a:lnTo>
                  <a:lnTo>
                    <a:pt x="560" y="3"/>
                  </a:lnTo>
                  <a:lnTo>
                    <a:pt x="591" y="1"/>
                  </a:lnTo>
                  <a:lnTo>
                    <a:pt x="624" y="0"/>
                  </a:lnTo>
                  <a:close/>
                  <a:moveTo>
                    <a:pt x="13802" y="2429"/>
                  </a:moveTo>
                  <a:lnTo>
                    <a:pt x="13820" y="2430"/>
                  </a:lnTo>
                  <a:lnTo>
                    <a:pt x="13839" y="2433"/>
                  </a:lnTo>
                  <a:lnTo>
                    <a:pt x="13856" y="2437"/>
                  </a:lnTo>
                  <a:lnTo>
                    <a:pt x="13873" y="2444"/>
                  </a:lnTo>
                  <a:lnTo>
                    <a:pt x="13889" y="2451"/>
                  </a:lnTo>
                  <a:lnTo>
                    <a:pt x="13903" y="2460"/>
                  </a:lnTo>
                  <a:lnTo>
                    <a:pt x="13918" y="2471"/>
                  </a:lnTo>
                  <a:lnTo>
                    <a:pt x="13930" y="2482"/>
                  </a:lnTo>
                  <a:lnTo>
                    <a:pt x="13942" y="2496"/>
                  </a:lnTo>
                  <a:lnTo>
                    <a:pt x="13953" y="2510"/>
                  </a:lnTo>
                  <a:lnTo>
                    <a:pt x="13962" y="2525"/>
                  </a:lnTo>
                  <a:lnTo>
                    <a:pt x="13970" y="2541"/>
                  </a:lnTo>
                  <a:lnTo>
                    <a:pt x="13976" y="2558"/>
                  </a:lnTo>
                  <a:lnTo>
                    <a:pt x="13980" y="2575"/>
                  </a:lnTo>
                  <a:lnTo>
                    <a:pt x="13984" y="2593"/>
                  </a:lnTo>
                  <a:lnTo>
                    <a:pt x="13985" y="2612"/>
                  </a:lnTo>
                  <a:lnTo>
                    <a:pt x="13984" y="2631"/>
                  </a:lnTo>
                  <a:lnTo>
                    <a:pt x="13980" y="2648"/>
                  </a:lnTo>
                  <a:lnTo>
                    <a:pt x="13976" y="2666"/>
                  </a:lnTo>
                  <a:lnTo>
                    <a:pt x="13970" y="2683"/>
                  </a:lnTo>
                  <a:lnTo>
                    <a:pt x="13962" y="2699"/>
                  </a:lnTo>
                  <a:lnTo>
                    <a:pt x="13953" y="2714"/>
                  </a:lnTo>
                  <a:lnTo>
                    <a:pt x="13942" y="2728"/>
                  </a:lnTo>
                  <a:lnTo>
                    <a:pt x="13930" y="2741"/>
                  </a:lnTo>
                  <a:lnTo>
                    <a:pt x="13918" y="2753"/>
                  </a:lnTo>
                  <a:lnTo>
                    <a:pt x="13903" y="2763"/>
                  </a:lnTo>
                  <a:lnTo>
                    <a:pt x="13889" y="2773"/>
                  </a:lnTo>
                  <a:lnTo>
                    <a:pt x="13873" y="2780"/>
                  </a:lnTo>
                  <a:lnTo>
                    <a:pt x="13856" y="2786"/>
                  </a:lnTo>
                  <a:lnTo>
                    <a:pt x="13839" y="2791"/>
                  </a:lnTo>
                  <a:lnTo>
                    <a:pt x="13820" y="2794"/>
                  </a:lnTo>
                  <a:lnTo>
                    <a:pt x="13802" y="2795"/>
                  </a:lnTo>
                  <a:lnTo>
                    <a:pt x="13783" y="2794"/>
                  </a:lnTo>
                  <a:lnTo>
                    <a:pt x="13764" y="2791"/>
                  </a:lnTo>
                  <a:lnTo>
                    <a:pt x="13748" y="2786"/>
                  </a:lnTo>
                  <a:lnTo>
                    <a:pt x="13731" y="2780"/>
                  </a:lnTo>
                  <a:lnTo>
                    <a:pt x="13714" y="2773"/>
                  </a:lnTo>
                  <a:lnTo>
                    <a:pt x="13700" y="2763"/>
                  </a:lnTo>
                  <a:lnTo>
                    <a:pt x="13685" y="2753"/>
                  </a:lnTo>
                  <a:lnTo>
                    <a:pt x="13673" y="2741"/>
                  </a:lnTo>
                  <a:lnTo>
                    <a:pt x="13661" y="2728"/>
                  </a:lnTo>
                  <a:lnTo>
                    <a:pt x="13651" y="2714"/>
                  </a:lnTo>
                  <a:lnTo>
                    <a:pt x="13641" y="2699"/>
                  </a:lnTo>
                  <a:lnTo>
                    <a:pt x="13634" y="2683"/>
                  </a:lnTo>
                  <a:lnTo>
                    <a:pt x="13628" y="2666"/>
                  </a:lnTo>
                  <a:lnTo>
                    <a:pt x="13623" y="2648"/>
                  </a:lnTo>
                  <a:lnTo>
                    <a:pt x="13621" y="2631"/>
                  </a:lnTo>
                  <a:lnTo>
                    <a:pt x="13619" y="2612"/>
                  </a:lnTo>
                  <a:lnTo>
                    <a:pt x="13621" y="2593"/>
                  </a:lnTo>
                  <a:lnTo>
                    <a:pt x="13623" y="2575"/>
                  </a:lnTo>
                  <a:lnTo>
                    <a:pt x="13628" y="2558"/>
                  </a:lnTo>
                  <a:lnTo>
                    <a:pt x="13634" y="2541"/>
                  </a:lnTo>
                  <a:lnTo>
                    <a:pt x="13641" y="2525"/>
                  </a:lnTo>
                  <a:lnTo>
                    <a:pt x="13651" y="2510"/>
                  </a:lnTo>
                  <a:lnTo>
                    <a:pt x="13661" y="2496"/>
                  </a:lnTo>
                  <a:lnTo>
                    <a:pt x="13673" y="2482"/>
                  </a:lnTo>
                  <a:lnTo>
                    <a:pt x="13685" y="2471"/>
                  </a:lnTo>
                  <a:lnTo>
                    <a:pt x="13700" y="2460"/>
                  </a:lnTo>
                  <a:lnTo>
                    <a:pt x="13714" y="2451"/>
                  </a:lnTo>
                  <a:lnTo>
                    <a:pt x="13731" y="2444"/>
                  </a:lnTo>
                  <a:lnTo>
                    <a:pt x="13748" y="2437"/>
                  </a:lnTo>
                  <a:lnTo>
                    <a:pt x="13764" y="2433"/>
                  </a:lnTo>
                  <a:lnTo>
                    <a:pt x="13783" y="2430"/>
                  </a:lnTo>
                  <a:lnTo>
                    <a:pt x="13802" y="2429"/>
                  </a:lnTo>
                  <a:close/>
                  <a:moveTo>
                    <a:pt x="14340" y="2429"/>
                  </a:moveTo>
                  <a:lnTo>
                    <a:pt x="14359" y="2430"/>
                  </a:lnTo>
                  <a:lnTo>
                    <a:pt x="14377" y="2433"/>
                  </a:lnTo>
                  <a:lnTo>
                    <a:pt x="14394" y="2437"/>
                  </a:lnTo>
                  <a:lnTo>
                    <a:pt x="14411" y="2444"/>
                  </a:lnTo>
                  <a:lnTo>
                    <a:pt x="14427" y="2451"/>
                  </a:lnTo>
                  <a:lnTo>
                    <a:pt x="14442" y="2460"/>
                  </a:lnTo>
                  <a:lnTo>
                    <a:pt x="14456" y="2471"/>
                  </a:lnTo>
                  <a:lnTo>
                    <a:pt x="14470" y="2482"/>
                  </a:lnTo>
                  <a:lnTo>
                    <a:pt x="14481" y="2496"/>
                  </a:lnTo>
                  <a:lnTo>
                    <a:pt x="14491" y="2510"/>
                  </a:lnTo>
                  <a:lnTo>
                    <a:pt x="14501" y="2525"/>
                  </a:lnTo>
                  <a:lnTo>
                    <a:pt x="14508" y="2541"/>
                  </a:lnTo>
                  <a:lnTo>
                    <a:pt x="14514" y="2558"/>
                  </a:lnTo>
                  <a:lnTo>
                    <a:pt x="14519" y="2575"/>
                  </a:lnTo>
                  <a:lnTo>
                    <a:pt x="14522" y="2593"/>
                  </a:lnTo>
                  <a:lnTo>
                    <a:pt x="14523" y="2612"/>
                  </a:lnTo>
                  <a:lnTo>
                    <a:pt x="14522" y="2631"/>
                  </a:lnTo>
                  <a:lnTo>
                    <a:pt x="14519" y="2648"/>
                  </a:lnTo>
                  <a:lnTo>
                    <a:pt x="14514" y="2666"/>
                  </a:lnTo>
                  <a:lnTo>
                    <a:pt x="14508" y="2683"/>
                  </a:lnTo>
                  <a:lnTo>
                    <a:pt x="14501" y="2699"/>
                  </a:lnTo>
                  <a:lnTo>
                    <a:pt x="14491" y="2714"/>
                  </a:lnTo>
                  <a:lnTo>
                    <a:pt x="14481" y="2728"/>
                  </a:lnTo>
                  <a:lnTo>
                    <a:pt x="14470" y="2741"/>
                  </a:lnTo>
                  <a:lnTo>
                    <a:pt x="14456" y="2753"/>
                  </a:lnTo>
                  <a:lnTo>
                    <a:pt x="14442" y="2763"/>
                  </a:lnTo>
                  <a:lnTo>
                    <a:pt x="14427" y="2773"/>
                  </a:lnTo>
                  <a:lnTo>
                    <a:pt x="14411" y="2780"/>
                  </a:lnTo>
                  <a:lnTo>
                    <a:pt x="14394" y="2786"/>
                  </a:lnTo>
                  <a:lnTo>
                    <a:pt x="14377" y="2791"/>
                  </a:lnTo>
                  <a:lnTo>
                    <a:pt x="14359" y="2794"/>
                  </a:lnTo>
                  <a:lnTo>
                    <a:pt x="14340" y="2795"/>
                  </a:lnTo>
                  <a:lnTo>
                    <a:pt x="14321" y="2794"/>
                  </a:lnTo>
                  <a:lnTo>
                    <a:pt x="14304" y="2791"/>
                  </a:lnTo>
                  <a:lnTo>
                    <a:pt x="14286" y="2786"/>
                  </a:lnTo>
                  <a:lnTo>
                    <a:pt x="14269" y="2780"/>
                  </a:lnTo>
                  <a:lnTo>
                    <a:pt x="14254" y="2773"/>
                  </a:lnTo>
                  <a:lnTo>
                    <a:pt x="14238" y="2763"/>
                  </a:lnTo>
                  <a:lnTo>
                    <a:pt x="14224" y="2753"/>
                  </a:lnTo>
                  <a:lnTo>
                    <a:pt x="14212" y="2741"/>
                  </a:lnTo>
                  <a:lnTo>
                    <a:pt x="14199" y="2728"/>
                  </a:lnTo>
                  <a:lnTo>
                    <a:pt x="14189" y="2714"/>
                  </a:lnTo>
                  <a:lnTo>
                    <a:pt x="14180" y="2699"/>
                  </a:lnTo>
                  <a:lnTo>
                    <a:pt x="14172" y="2683"/>
                  </a:lnTo>
                  <a:lnTo>
                    <a:pt x="14166" y="2666"/>
                  </a:lnTo>
                  <a:lnTo>
                    <a:pt x="14162" y="2648"/>
                  </a:lnTo>
                  <a:lnTo>
                    <a:pt x="14159" y="2631"/>
                  </a:lnTo>
                  <a:lnTo>
                    <a:pt x="14158" y="2612"/>
                  </a:lnTo>
                  <a:lnTo>
                    <a:pt x="14159" y="2593"/>
                  </a:lnTo>
                  <a:lnTo>
                    <a:pt x="14162" y="2575"/>
                  </a:lnTo>
                  <a:lnTo>
                    <a:pt x="14166" y="2558"/>
                  </a:lnTo>
                  <a:lnTo>
                    <a:pt x="14172" y="2541"/>
                  </a:lnTo>
                  <a:lnTo>
                    <a:pt x="14180" y="2525"/>
                  </a:lnTo>
                  <a:lnTo>
                    <a:pt x="14189" y="2510"/>
                  </a:lnTo>
                  <a:lnTo>
                    <a:pt x="14199" y="2496"/>
                  </a:lnTo>
                  <a:lnTo>
                    <a:pt x="14212" y="2482"/>
                  </a:lnTo>
                  <a:lnTo>
                    <a:pt x="14224" y="2471"/>
                  </a:lnTo>
                  <a:lnTo>
                    <a:pt x="14238" y="2460"/>
                  </a:lnTo>
                  <a:lnTo>
                    <a:pt x="14254" y="2451"/>
                  </a:lnTo>
                  <a:lnTo>
                    <a:pt x="14269" y="2444"/>
                  </a:lnTo>
                  <a:lnTo>
                    <a:pt x="14286" y="2437"/>
                  </a:lnTo>
                  <a:lnTo>
                    <a:pt x="14304" y="2433"/>
                  </a:lnTo>
                  <a:lnTo>
                    <a:pt x="14321" y="2430"/>
                  </a:lnTo>
                  <a:lnTo>
                    <a:pt x="14340" y="2429"/>
                  </a:lnTo>
                  <a:close/>
                  <a:moveTo>
                    <a:pt x="14879" y="2429"/>
                  </a:moveTo>
                  <a:lnTo>
                    <a:pt x="14897" y="2430"/>
                  </a:lnTo>
                  <a:lnTo>
                    <a:pt x="14916" y="2433"/>
                  </a:lnTo>
                  <a:lnTo>
                    <a:pt x="14933" y="2437"/>
                  </a:lnTo>
                  <a:lnTo>
                    <a:pt x="14950" y="2444"/>
                  </a:lnTo>
                  <a:lnTo>
                    <a:pt x="14966" y="2451"/>
                  </a:lnTo>
                  <a:lnTo>
                    <a:pt x="14981" y="2460"/>
                  </a:lnTo>
                  <a:lnTo>
                    <a:pt x="14995" y="2471"/>
                  </a:lnTo>
                  <a:lnTo>
                    <a:pt x="15008" y="2482"/>
                  </a:lnTo>
                  <a:lnTo>
                    <a:pt x="15019" y="2496"/>
                  </a:lnTo>
                  <a:lnTo>
                    <a:pt x="15031" y="2510"/>
                  </a:lnTo>
                  <a:lnTo>
                    <a:pt x="15039" y="2525"/>
                  </a:lnTo>
                  <a:lnTo>
                    <a:pt x="15047" y="2541"/>
                  </a:lnTo>
                  <a:lnTo>
                    <a:pt x="15054" y="2558"/>
                  </a:lnTo>
                  <a:lnTo>
                    <a:pt x="15058" y="2575"/>
                  </a:lnTo>
                  <a:lnTo>
                    <a:pt x="15061" y="2593"/>
                  </a:lnTo>
                  <a:lnTo>
                    <a:pt x="15062" y="2612"/>
                  </a:lnTo>
                  <a:lnTo>
                    <a:pt x="15061" y="2631"/>
                  </a:lnTo>
                  <a:lnTo>
                    <a:pt x="15058" y="2648"/>
                  </a:lnTo>
                  <a:lnTo>
                    <a:pt x="15054" y="2666"/>
                  </a:lnTo>
                  <a:lnTo>
                    <a:pt x="15047" y="2683"/>
                  </a:lnTo>
                  <a:lnTo>
                    <a:pt x="15039" y="2699"/>
                  </a:lnTo>
                  <a:lnTo>
                    <a:pt x="15031" y="2714"/>
                  </a:lnTo>
                  <a:lnTo>
                    <a:pt x="15019" y="2728"/>
                  </a:lnTo>
                  <a:lnTo>
                    <a:pt x="15008" y="2741"/>
                  </a:lnTo>
                  <a:lnTo>
                    <a:pt x="14995" y="2753"/>
                  </a:lnTo>
                  <a:lnTo>
                    <a:pt x="14981" y="2763"/>
                  </a:lnTo>
                  <a:lnTo>
                    <a:pt x="14966" y="2773"/>
                  </a:lnTo>
                  <a:lnTo>
                    <a:pt x="14950" y="2780"/>
                  </a:lnTo>
                  <a:lnTo>
                    <a:pt x="14933" y="2786"/>
                  </a:lnTo>
                  <a:lnTo>
                    <a:pt x="14916" y="2791"/>
                  </a:lnTo>
                  <a:lnTo>
                    <a:pt x="14897" y="2794"/>
                  </a:lnTo>
                  <a:lnTo>
                    <a:pt x="14879" y="2795"/>
                  </a:lnTo>
                  <a:lnTo>
                    <a:pt x="14861" y="2794"/>
                  </a:lnTo>
                  <a:lnTo>
                    <a:pt x="14842" y="2791"/>
                  </a:lnTo>
                  <a:lnTo>
                    <a:pt x="14825" y="2786"/>
                  </a:lnTo>
                  <a:lnTo>
                    <a:pt x="14809" y="2780"/>
                  </a:lnTo>
                  <a:lnTo>
                    <a:pt x="14792" y="2773"/>
                  </a:lnTo>
                  <a:lnTo>
                    <a:pt x="14777" y="2763"/>
                  </a:lnTo>
                  <a:lnTo>
                    <a:pt x="14763" y="2753"/>
                  </a:lnTo>
                  <a:lnTo>
                    <a:pt x="14750" y="2741"/>
                  </a:lnTo>
                  <a:lnTo>
                    <a:pt x="14739" y="2728"/>
                  </a:lnTo>
                  <a:lnTo>
                    <a:pt x="14728" y="2714"/>
                  </a:lnTo>
                  <a:lnTo>
                    <a:pt x="14719" y="2699"/>
                  </a:lnTo>
                  <a:lnTo>
                    <a:pt x="14710" y="2683"/>
                  </a:lnTo>
                  <a:lnTo>
                    <a:pt x="14705" y="2666"/>
                  </a:lnTo>
                  <a:lnTo>
                    <a:pt x="14700" y="2648"/>
                  </a:lnTo>
                  <a:lnTo>
                    <a:pt x="14698" y="2631"/>
                  </a:lnTo>
                  <a:lnTo>
                    <a:pt x="14697" y="2612"/>
                  </a:lnTo>
                  <a:lnTo>
                    <a:pt x="14698" y="2593"/>
                  </a:lnTo>
                  <a:lnTo>
                    <a:pt x="14700" y="2575"/>
                  </a:lnTo>
                  <a:lnTo>
                    <a:pt x="14705" y="2558"/>
                  </a:lnTo>
                  <a:lnTo>
                    <a:pt x="14710" y="2541"/>
                  </a:lnTo>
                  <a:lnTo>
                    <a:pt x="14719" y="2525"/>
                  </a:lnTo>
                  <a:lnTo>
                    <a:pt x="14728" y="2510"/>
                  </a:lnTo>
                  <a:lnTo>
                    <a:pt x="14739" y="2496"/>
                  </a:lnTo>
                  <a:lnTo>
                    <a:pt x="14750" y="2482"/>
                  </a:lnTo>
                  <a:lnTo>
                    <a:pt x="14763" y="2471"/>
                  </a:lnTo>
                  <a:lnTo>
                    <a:pt x="14777" y="2460"/>
                  </a:lnTo>
                  <a:lnTo>
                    <a:pt x="14792" y="2451"/>
                  </a:lnTo>
                  <a:lnTo>
                    <a:pt x="14809" y="2444"/>
                  </a:lnTo>
                  <a:lnTo>
                    <a:pt x="14825" y="2437"/>
                  </a:lnTo>
                  <a:lnTo>
                    <a:pt x="14842" y="2433"/>
                  </a:lnTo>
                  <a:lnTo>
                    <a:pt x="14861" y="2430"/>
                  </a:lnTo>
                  <a:lnTo>
                    <a:pt x="14879" y="2429"/>
                  </a:lnTo>
                  <a:close/>
                  <a:moveTo>
                    <a:pt x="15418" y="2429"/>
                  </a:moveTo>
                  <a:lnTo>
                    <a:pt x="15436" y="2430"/>
                  </a:lnTo>
                  <a:lnTo>
                    <a:pt x="15454" y="2433"/>
                  </a:lnTo>
                  <a:lnTo>
                    <a:pt x="15472" y="2437"/>
                  </a:lnTo>
                  <a:lnTo>
                    <a:pt x="15489" y="2444"/>
                  </a:lnTo>
                  <a:lnTo>
                    <a:pt x="15504" y="2451"/>
                  </a:lnTo>
                  <a:lnTo>
                    <a:pt x="15520" y="2460"/>
                  </a:lnTo>
                  <a:lnTo>
                    <a:pt x="15533" y="2471"/>
                  </a:lnTo>
                  <a:lnTo>
                    <a:pt x="15547" y="2482"/>
                  </a:lnTo>
                  <a:lnTo>
                    <a:pt x="15558" y="2496"/>
                  </a:lnTo>
                  <a:lnTo>
                    <a:pt x="15569" y="2510"/>
                  </a:lnTo>
                  <a:lnTo>
                    <a:pt x="15578" y="2525"/>
                  </a:lnTo>
                  <a:lnTo>
                    <a:pt x="15586" y="2541"/>
                  </a:lnTo>
                  <a:lnTo>
                    <a:pt x="15592" y="2558"/>
                  </a:lnTo>
                  <a:lnTo>
                    <a:pt x="15596" y="2575"/>
                  </a:lnTo>
                  <a:lnTo>
                    <a:pt x="15599" y="2593"/>
                  </a:lnTo>
                  <a:lnTo>
                    <a:pt x="15600" y="2612"/>
                  </a:lnTo>
                  <a:lnTo>
                    <a:pt x="15599" y="2631"/>
                  </a:lnTo>
                  <a:lnTo>
                    <a:pt x="15596" y="2648"/>
                  </a:lnTo>
                  <a:lnTo>
                    <a:pt x="15592" y="2666"/>
                  </a:lnTo>
                  <a:lnTo>
                    <a:pt x="15586" y="2683"/>
                  </a:lnTo>
                  <a:lnTo>
                    <a:pt x="15578" y="2699"/>
                  </a:lnTo>
                  <a:lnTo>
                    <a:pt x="15569" y="2714"/>
                  </a:lnTo>
                  <a:lnTo>
                    <a:pt x="15558" y="2728"/>
                  </a:lnTo>
                  <a:lnTo>
                    <a:pt x="15547" y="2741"/>
                  </a:lnTo>
                  <a:lnTo>
                    <a:pt x="15533" y="2753"/>
                  </a:lnTo>
                  <a:lnTo>
                    <a:pt x="15520" y="2763"/>
                  </a:lnTo>
                  <a:lnTo>
                    <a:pt x="15504" y="2773"/>
                  </a:lnTo>
                  <a:lnTo>
                    <a:pt x="15489" y="2780"/>
                  </a:lnTo>
                  <a:lnTo>
                    <a:pt x="15472" y="2786"/>
                  </a:lnTo>
                  <a:lnTo>
                    <a:pt x="15454" y="2791"/>
                  </a:lnTo>
                  <a:lnTo>
                    <a:pt x="15436" y="2794"/>
                  </a:lnTo>
                  <a:lnTo>
                    <a:pt x="15418" y="2795"/>
                  </a:lnTo>
                  <a:lnTo>
                    <a:pt x="15399" y="2794"/>
                  </a:lnTo>
                  <a:lnTo>
                    <a:pt x="15381" y="2791"/>
                  </a:lnTo>
                  <a:lnTo>
                    <a:pt x="15363" y="2786"/>
                  </a:lnTo>
                  <a:lnTo>
                    <a:pt x="15347" y="2780"/>
                  </a:lnTo>
                  <a:lnTo>
                    <a:pt x="15331" y="2773"/>
                  </a:lnTo>
                  <a:lnTo>
                    <a:pt x="15315" y="2763"/>
                  </a:lnTo>
                  <a:lnTo>
                    <a:pt x="15302" y="2753"/>
                  </a:lnTo>
                  <a:lnTo>
                    <a:pt x="15289" y="2741"/>
                  </a:lnTo>
                  <a:lnTo>
                    <a:pt x="15277" y="2728"/>
                  </a:lnTo>
                  <a:lnTo>
                    <a:pt x="15266" y="2714"/>
                  </a:lnTo>
                  <a:lnTo>
                    <a:pt x="15257" y="2699"/>
                  </a:lnTo>
                  <a:lnTo>
                    <a:pt x="15250" y="2683"/>
                  </a:lnTo>
                  <a:lnTo>
                    <a:pt x="15243" y="2666"/>
                  </a:lnTo>
                  <a:lnTo>
                    <a:pt x="15239" y="2648"/>
                  </a:lnTo>
                  <a:lnTo>
                    <a:pt x="15236" y="2631"/>
                  </a:lnTo>
                  <a:lnTo>
                    <a:pt x="15235" y="2612"/>
                  </a:lnTo>
                  <a:lnTo>
                    <a:pt x="15236" y="2593"/>
                  </a:lnTo>
                  <a:lnTo>
                    <a:pt x="15239" y="2575"/>
                  </a:lnTo>
                  <a:lnTo>
                    <a:pt x="15243" y="2558"/>
                  </a:lnTo>
                  <a:lnTo>
                    <a:pt x="15250" y="2541"/>
                  </a:lnTo>
                  <a:lnTo>
                    <a:pt x="15257" y="2525"/>
                  </a:lnTo>
                  <a:lnTo>
                    <a:pt x="15266" y="2510"/>
                  </a:lnTo>
                  <a:lnTo>
                    <a:pt x="15277" y="2496"/>
                  </a:lnTo>
                  <a:lnTo>
                    <a:pt x="15289" y="2482"/>
                  </a:lnTo>
                  <a:lnTo>
                    <a:pt x="15302" y="2471"/>
                  </a:lnTo>
                  <a:lnTo>
                    <a:pt x="15315" y="2460"/>
                  </a:lnTo>
                  <a:lnTo>
                    <a:pt x="15331" y="2451"/>
                  </a:lnTo>
                  <a:lnTo>
                    <a:pt x="15347" y="2444"/>
                  </a:lnTo>
                  <a:lnTo>
                    <a:pt x="15363" y="2437"/>
                  </a:lnTo>
                  <a:lnTo>
                    <a:pt x="15381" y="2433"/>
                  </a:lnTo>
                  <a:lnTo>
                    <a:pt x="15399" y="2430"/>
                  </a:lnTo>
                  <a:lnTo>
                    <a:pt x="15418" y="2429"/>
                  </a:lnTo>
                  <a:close/>
                  <a:moveTo>
                    <a:pt x="13682" y="943"/>
                  </a:moveTo>
                  <a:lnTo>
                    <a:pt x="15712" y="943"/>
                  </a:lnTo>
                  <a:lnTo>
                    <a:pt x="15712" y="1546"/>
                  </a:lnTo>
                  <a:lnTo>
                    <a:pt x="13682" y="1546"/>
                  </a:lnTo>
                  <a:lnTo>
                    <a:pt x="13682" y="943"/>
                  </a:lnTo>
                  <a:close/>
                  <a:moveTo>
                    <a:pt x="1545" y="1123"/>
                  </a:moveTo>
                  <a:lnTo>
                    <a:pt x="1545" y="943"/>
                  </a:lnTo>
                  <a:lnTo>
                    <a:pt x="1089" y="943"/>
                  </a:lnTo>
                  <a:lnTo>
                    <a:pt x="1089" y="1123"/>
                  </a:lnTo>
                  <a:lnTo>
                    <a:pt x="811" y="1123"/>
                  </a:lnTo>
                  <a:lnTo>
                    <a:pt x="811" y="1769"/>
                  </a:lnTo>
                  <a:lnTo>
                    <a:pt x="1822" y="1769"/>
                  </a:lnTo>
                  <a:lnTo>
                    <a:pt x="1822" y="1123"/>
                  </a:lnTo>
                  <a:lnTo>
                    <a:pt x="1545" y="1123"/>
                  </a:lnTo>
                  <a:close/>
                  <a:moveTo>
                    <a:pt x="3010" y="1123"/>
                  </a:moveTo>
                  <a:lnTo>
                    <a:pt x="3010" y="943"/>
                  </a:lnTo>
                  <a:lnTo>
                    <a:pt x="2555" y="943"/>
                  </a:lnTo>
                  <a:lnTo>
                    <a:pt x="2555" y="1123"/>
                  </a:lnTo>
                  <a:lnTo>
                    <a:pt x="2278" y="1123"/>
                  </a:lnTo>
                  <a:lnTo>
                    <a:pt x="2278" y="1769"/>
                  </a:lnTo>
                  <a:lnTo>
                    <a:pt x="3288" y="1769"/>
                  </a:lnTo>
                  <a:lnTo>
                    <a:pt x="3288" y="1123"/>
                  </a:lnTo>
                  <a:lnTo>
                    <a:pt x="3010" y="1123"/>
                  </a:lnTo>
                  <a:close/>
                  <a:moveTo>
                    <a:pt x="4477" y="1123"/>
                  </a:moveTo>
                  <a:lnTo>
                    <a:pt x="4477" y="943"/>
                  </a:lnTo>
                  <a:lnTo>
                    <a:pt x="4021" y="943"/>
                  </a:lnTo>
                  <a:lnTo>
                    <a:pt x="4021" y="1123"/>
                  </a:lnTo>
                  <a:lnTo>
                    <a:pt x="3743" y="1123"/>
                  </a:lnTo>
                  <a:lnTo>
                    <a:pt x="3743" y="1769"/>
                  </a:lnTo>
                  <a:lnTo>
                    <a:pt x="4754" y="1769"/>
                  </a:lnTo>
                  <a:lnTo>
                    <a:pt x="4754" y="1123"/>
                  </a:lnTo>
                  <a:lnTo>
                    <a:pt x="4477" y="1123"/>
                  </a:lnTo>
                  <a:close/>
                  <a:moveTo>
                    <a:pt x="5942" y="1123"/>
                  </a:moveTo>
                  <a:lnTo>
                    <a:pt x="5942" y="943"/>
                  </a:lnTo>
                  <a:lnTo>
                    <a:pt x="5486" y="943"/>
                  </a:lnTo>
                  <a:lnTo>
                    <a:pt x="5486" y="1123"/>
                  </a:lnTo>
                  <a:lnTo>
                    <a:pt x="5209" y="1123"/>
                  </a:lnTo>
                  <a:lnTo>
                    <a:pt x="5209" y="1769"/>
                  </a:lnTo>
                  <a:lnTo>
                    <a:pt x="6219" y="1769"/>
                  </a:lnTo>
                  <a:lnTo>
                    <a:pt x="6219" y="1123"/>
                  </a:lnTo>
                  <a:lnTo>
                    <a:pt x="5942" y="1123"/>
                  </a:lnTo>
                  <a:close/>
                  <a:moveTo>
                    <a:pt x="7407" y="1123"/>
                  </a:moveTo>
                  <a:lnTo>
                    <a:pt x="7407" y="943"/>
                  </a:lnTo>
                  <a:lnTo>
                    <a:pt x="6953" y="943"/>
                  </a:lnTo>
                  <a:lnTo>
                    <a:pt x="6953" y="1123"/>
                  </a:lnTo>
                  <a:lnTo>
                    <a:pt x="6675" y="1123"/>
                  </a:lnTo>
                  <a:lnTo>
                    <a:pt x="6675" y="1769"/>
                  </a:lnTo>
                  <a:lnTo>
                    <a:pt x="7685" y="1769"/>
                  </a:lnTo>
                  <a:lnTo>
                    <a:pt x="7685" y="1123"/>
                  </a:lnTo>
                  <a:lnTo>
                    <a:pt x="7407" y="1123"/>
                  </a:lnTo>
                  <a:close/>
                  <a:moveTo>
                    <a:pt x="8874" y="1123"/>
                  </a:moveTo>
                  <a:lnTo>
                    <a:pt x="8874" y="943"/>
                  </a:lnTo>
                  <a:lnTo>
                    <a:pt x="8418" y="943"/>
                  </a:lnTo>
                  <a:lnTo>
                    <a:pt x="8418" y="1123"/>
                  </a:lnTo>
                  <a:lnTo>
                    <a:pt x="8141" y="1123"/>
                  </a:lnTo>
                  <a:lnTo>
                    <a:pt x="8141" y="1769"/>
                  </a:lnTo>
                  <a:lnTo>
                    <a:pt x="9151" y="1769"/>
                  </a:lnTo>
                  <a:lnTo>
                    <a:pt x="9151" y="1123"/>
                  </a:lnTo>
                  <a:lnTo>
                    <a:pt x="8874" y="1123"/>
                  </a:lnTo>
                  <a:close/>
                  <a:moveTo>
                    <a:pt x="10339" y="1123"/>
                  </a:moveTo>
                  <a:lnTo>
                    <a:pt x="10339" y="943"/>
                  </a:lnTo>
                  <a:lnTo>
                    <a:pt x="9883" y="943"/>
                  </a:lnTo>
                  <a:lnTo>
                    <a:pt x="9883" y="1123"/>
                  </a:lnTo>
                  <a:lnTo>
                    <a:pt x="9606" y="1123"/>
                  </a:lnTo>
                  <a:lnTo>
                    <a:pt x="9606" y="1769"/>
                  </a:lnTo>
                  <a:lnTo>
                    <a:pt x="10617" y="1769"/>
                  </a:lnTo>
                  <a:lnTo>
                    <a:pt x="10617" y="1123"/>
                  </a:lnTo>
                  <a:lnTo>
                    <a:pt x="10339" y="1123"/>
                  </a:lnTo>
                  <a:close/>
                  <a:moveTo>
                    <a:pt x="1545" y="2845"/>
                  </a:moveTo>
                  <a:lnTo>
                    <a:pt x="1545" y="3025"/>
                  </a:lnTo>
                  <a:lnTo>
                    <a:pt x="1089" y="3025"/>
                  </a:lnTo>
                  <a:lnTo>
                    <a:pt x="1089" y="2845"/>
                  </a:lnTo>
                  <a:lnTo>
                    <a:pt x="811" y="2845"/>
                  </a:lnTo>
                  <a:lnTo>
                    <a:pt x="811" y="2199"/>
                  </a:lnTo>
                  <a:lnTo>
                    <a:pt x="1822" y="2199"/>
                  </a:lnTo>
                  <a:lnTo>
                    <a:pt x="1822" y="2845"/>
                  </a:lnTo>
                  <a:lnTo>
                    <a:pt x="1545" y="2845"/>
                  </a:lnTo>
                  <a:close/>
                  <a:moveTo>
                    <a:pt x="3010" y="2845"/>
                  </a:moveTo>
                  <a:lnTo>
                    <a:pt x="3010" y="3025"/>
                  </a:lnTo>
                  <a:lnTo>
                    <a:pt x="2555" y="3025"/>
                  </a:lnTo>
                  <a:lnTo>
                    <a:pt x="2555" y="2845"/>
                  </a:lnTo>
                  <a:lnTo>
                    <a:pt x="2278" y="2845"/>
                  </a:lnTo>
                  <a:lnTo>
                    <a:pt x="2278" y="2199"/>
                  </a:lnTo>
                  <a:lnTo>
                    <a:pt x="3288" y="2199"/>
                  </a:lnTo>
                  <a:lnTo>
                    <a:pt x="3288" y="2845"/>
                  </a:lnTo>
                  <a:lnTo>
                    <a:pt x="3010" y="2845"/>
                  </a:lnTo>
                  <a:close/>
                  <a:moveTo>
                    <a:pt x="4477" y="2845"/>
                  </a:moveTo>
                  <a:lnTo>
                    <a:pt x="4477" y="3025"/>
                  </a:lnTo>
                  <a:lnTo>
                    <a:pt x="4021" y="3025"/>
                  </a:lnTo>
                  <a:lnTo>
                    <a:pt x="4021" y="2845"/>
                  </a:lnTo>
                  <a:lnTo>
                    <a:pt x="3743" y="2845"/>
                  </a:lnTo>
                  <a:lnTo>
                    <a:pt x="3743" y="2199"/>
                  </a:lnTo>
                  <a:lnTo>
                    <a:pt x="4754" y="2199"/>
                  </a:lnTo>
                  <a:lnTo>
                    <a:pt x="4754" y="2845"/>
                  </a:lnTo>
                  <a:lnTo>
                    <a:pt x="4477" y="2845"/>
                  </a:lnTo>
                  <a:close/>
                  <a:moveTo>
                    <a:pt x="5942" y="2845"/>
                  </a:moveTo>
                  <a:lnTo>
                    <a:pt x="5942" y="3025"/>
                  </a:lnTo>
                  <a:lnTo>
                    <a:pt x="5486" y="3025"/>
                  </a:lnTo>
                  <a:lnTo>
                    <a:pt x="5486" y="2845"/>
                  </a:lnTo>
                  <a:lnTo>
                    <a:pt x="5209" y="2845"/>
                  </a:lnTo>
                  <a:lnTo>
                    <a:pt x="5209" y="2199"/>
                  </a:lnTo>
                  <a:lnTo>
                    <a:pt x="6219" y="2199"/>
                  </a:lnTo>
                  <a:lnTo>
                    <a:pt x="6219" y="2845"/>
                  </a:lnTo>
                  <a:lnTo>
                    <a:pt x="5942" y="2845"/>
                  </a:lnTo>
                  <a:close/>
                  <a:moveTo>
                    <a:pt x="7407" y="2845"/>
                  </a:moveTo>
                  <a:lnTo>
                    <a:pt x="7407" y="3025"/>
                  </a:lnTo>
                  <a:lnTo>
                    <a:pt x="6953" y="3025"/>
                  </a:lnTo>
                  <a:lnTo>
                    <a:pt x="6953" y="2845"/>
                  </a:lnTo>
                  <a:lnTo>
                    <a:pt x="6675" y="2845"/>
                  </a:lnTo>
                  <a:lnTo>
                    <a:pt x="6675" y="2199"/>
                  </a:lnTo>
                  <a:lnTo>
                    <a:pt x="7685" y="2199"/>
                  </a:lnTo>
                  <a:lnTo>
                    <a:pt x="7685" y="2845"/>
                  </a:lnTo>
                  <a:lnTo>
                    <a:pt x="7407" y="2845"/>
                  </a:lnTo>
                  <a:close/>
                  <a:moveTo>
                    <a:pt x="8874" y="2845"/>
                  </a:moveTo>
                  <a:lnTo>
                    <a:pt x="8874" y="3025"/>
                  </a:lnTo>
                  <a:lnTo>
                    <a:pt x="8418" y="3025"/>
                  </a:lnTo>
                  <a:lnTo>
                    <a:pt x="8418" y="2845"/>
                  </a:lnTo>
                  <a:lnTo>
                    <a:pt x="8141" y="2845"/>
                  </a:lnTo>
                  <a:lnTo>
                    <a:pt x="8141" y="2199"/>
                  </a:lnTo>
                  <a:lnTo>
                    <a:pt x="9151" y="2199"/>
                  </a:lnTo>
                  <a:lnTo>
                    <a:pt x="9151" y="2845"/>
                  </a:lnTo>
                  <a:lnTo>
                    <a:pt x="8874" y="2845"/>
                  </a:lnTo>
                  <a:close/>
                  <a:moveTo>
                    <a:pt x="10339" y="2845"/>
                  </a:moveTo>
                  <a:lnTo>
                    <a:pt x="10339" y="3025"/>
                  </a:lnTo>
                  <a:lnTo>
                    <a:pt x="9883" y="3025"/>
                  </a:lnTo>
                  <a:lnTo>
                    <a:pt x="9883" y="2845"/>
                  </a:lnTo>
                  <a:lnTo>
                    <a:pt x="9606" y="2845"/>
                  </a:lnTo>
                  <a:lnTo>
                    <a:pt x="9606" y="2199"/>
                  </a:lnTo>
                  <a:lnTo>
                    <a:pt x="10617" y="2199"/>
                  </a:lnTo>
                  <a:lnTo>
                    <a:pt x="10617" y="2845"/>
                  </a:lnTo>
                  <a:lnTo>
                    <a:pt x="10339" y="2845"/>
                  </a:lnTo>
                  <a:close/>
                  <a:moveTo>
                    <a:pt x="11851" y="1123"/>
                  </a:moveTo>
                  <a:lnTo>
                    <a:pt x="11851" y="943"/>
                  </a:lnTo>
                  <a:lnTo>
                    <a:pt x="11395" y="943"/>
                  </a:lnTo>
                  <a:lnTo>
                    <a:pt x="11395" y="1123"/>
                  </a:lnTo>
                  <a:lnTo>
                    <a:pt x="11117" y="1123"/>
                  </a:lnTo>
                  <a:lnTo>
                    <a:pt x="11117" y="1769"/>
                  </a:lnTo>
                  <a:lnTo>
                    <a:pt x="12128" y="1769"/>
                  </a:lnTo>
                  <a:lnTo>
                    <a:pt x="12128" y="1123"/>
                  </a:lnTo>
                  <a:lnTo>
                    <a:pt x="11851" y="1123"/>
                  </a:lnTo>
                  <a:close/>
                  <a:moveTo>
                    <a:pt x="11851" y="2845"/>
                  </a:moveTo>
                  <a:lnTo>
                    <a:pt x="11851" y="3025"/>
                  </a:lnTo>
                  <a:lnTo>
                    <a:pt x="11395" y="3025"/>
                  </a:lnTo>
                  <a:lnTo>
                    <a:pt x="11395" y="2845"/>
                  </a:lnTo>
                  <a:lnTo>
                    <a:pt x="11117" y="2845"/>
                  </a:lnTo>
                  <a:lnTo>
                    <a:pt x="11117" y="2199"/>
                  </a:lnTo>
                  <a:lnTo>
                    <a:pt x="12128" y="2199"/>
                  </a:lnTo>
                  <a:lnTo>
                    <a:pt x="12128" y="2845"/>
                  </a:lnTo>
                  <a:lnTo>
                    <a:pt x="11851" y="2845"/>
                  </a:lnTo>
                  <a:close/>
                </a:path>
              </a:pathLst>
            </a:custGeom>
            <a:grpFill/>
            <a:ln w="9525">
              <a:solidFill>
                <a:srgbClr val="00B0F0"/>
              </a:solidFill>
              <a:round/>
              <a:headEnd/>
              <a:tailEnd/>
            </a:ln>
          </p:spPr>
          <p:txBody>
            <a:bodyPr vert="horz" wrap="square" lIns="91416" tIns="45708" rIns="91416" bIns="45708" numCol="1" anchor="t" anchorCtr="0" compatLnSpc="1">
              <a:prstTxWarp prst="textNoShape">
                <a:avLst/>
              </a:prstTxWarp>
            </a:bodyPr>
            <a:lstStyle/>
            <a:p>
              <a:pPr defTabSz="914072" fontAlgn="ctr">
                <a:defRPr/>
              </a:pPr>
              <a:endParaRPr lang="en-US" altLang="zh-CN" sz="1200" kern="0" dirty="0">
                <a:solidFill>
                  <a:schemeClr val="bg1"/>
                </a:solidFill>
                <a:cs typeface="Times New Roman" pitchFamily="18" charset="0"/>
              </a:endParaRPr>
            </a:p>
          </p:txBody>
        </p:sp>
      </p:grpSp>
      <p:grpSp>
        <p:nvGrpSpPr>
          <p:cNvPr id="145" name="组合 144"/>
          <p:cNvGrpSpPr/>
          <p:nvPr/>
        </p:nvGrpSpPr>
        <p:grpSpPr>
          <a:xfrm>
            <a:off x="6734230" y="4468864"/>
            <a:ext cx="611171" cy="286617"/>
            <a:chOff x="5458125" y="4644587"/>
            <a:chExt cx="696913" cy="319831"/>
          </a:xfrm>
          <a:noFill/>
        </p:grpSpPr>
        <p:sp>
          <p:nvSpPr>
            <p:cNvPr id="146" name="1525300974"/>
            <p:cNvSpPr>
              <a:spLocks noEditPoints="1"/>
            </p:cNvSpPr>
            <p:nvPr/>
          </p:nvSpPr>
          <p:spPr bwMode="auto">
            <a:xfrm>
              <a:off x="5458125" y="4839455"/>
              <a:ext cx="696913" cy="124963"/>
            </a:xfrm>
            <a:custGeom>
              <a:avLst/>
              <a:gdLst/>
              <a:ahLst/>
              <a:cxnLst>
                <a:cxn ang="0">
                  <a:pos x="16278" y="39"/>
                </a:cxn>
                <a:cxn ang="0">
                  <a:pos x="16504" y="184"/>
                </a:cxn>
                <a:cxn ang="0">
                  <a:pos x="16649" y="411"/>
                </a:cxn>
                <a:cxn ang="0">
                  <a:pos x="16687" y="3376"/>
                </a:cxn>
                <a:cxn ang="0">
                  <a:pos x="16612" y="3641"/>
                </a:cxn>
                <a:cxn ang="0">
                  <a:pos x="16437" y="3844"/>
                </a:cxn>
                <a:cxn ang="0">
                  <a:pos x="16189" y="3955"/>
                </a:cxn>
                <a:cxn ang="0">
                  <a:pos x="499" y="3955"/>
                </a:cxn>
                <a:cxn ang="0">
                  <a:pos x="251" y="3844"/>
                </a:cxn>
                <a:cxn ang="0">
                  <a:pos x="75" y="3641"/>
                </a:cxn>
                <a:cxn ang="0">
                  <a:pos x="1" y="3376"/>
                </a:cxn>
                <a:cxn ang="0">
                  <a:pos x="38" y="411"/>
                </a:cxn>
                <a:cxn ang="0">
                  <a:pos x="184" y="184"/>
                </a:cxn>
                <a:cxn ang="0">
                  <a:pos x="410" y="39"/>
                </a:cxn>
                <a:cxn ang="0">
                  <a:pos x="13820" y="2430"/>
                </a:cxn>
                <a:cxn ang="0">
                  <a:pos x="13953" y="2510"/>
                </a:cxn>
                <a:cxn ang="0">
                  <a:pos x="13976" y="2666"/>
                </a:cxn>
                <a:cxn ang="0">
                  <a:pos x="13873" y="2780"/>
                </a:cxn>
                <a:cxn ang="0">
                  <a:pos x="13714" y="2773"/>
                </a:cxn>
                <a:cxn ang="0">
                  <a:pos x="13623" y="2648"/>
                </a:cxn>
                <a:cxn ang="0">
                  <a:pos x="13661" y="2496"/>
                </a:cxn>
                <a:cxn ang="0">
                  <a:pos x="13802" y="2429"/>
                </a:cxn>
                <a:cxn ang="0">
                  <a:pos x="14470" y="2482"/>
                </a:cxn>
                <a:cxn ang="0">
                  <a:pos x="14522" y="2631"/>
                </a:cxn>
                <a:cxn ang="0">
                  <a:pos x="14442" y="2763"/>
                </a:cxn>
                <a:cxn ang="0">
                  <a:pos x="14286" y="2786"/>
                </a:cxn>
                <a:cxn ang="0">
                  <a:pos x="14172" y="2683"/>
                </a:cxn>
                <a:cxn ang="0">
                  <a:pos x="14180" y="2525"/>
                </a:cxn>
                <a:cxn ang="0">
                  <a:pos x="14304" y="2433"/>
                </a:cxn>
                <a:cxn ang="0">
                  <a:pos x="14981" y="2460"/>
                </a:cxn>
                <a:cxn ang="0">
                  <a:pos x="15061" y="2593"/>
                </a:cxn>
                <a:cxn ang="0">
                  <a:pos x="15008" y="2741"/>
                </a:cxn>
                <a:cxn ang="0">
                  <a:pos x="14861" y="2794"/>
                </a:cxn>
                <a:cxn ang="0">
                  <a:pos x="14728" y="2714"/>
                </a:cxn>
                <a:cxn ang="0">
                  <a:pos x="14705" y="2558"/>
                </a:cxn>
                <a:cxn ang="0">
                  <a:pos x="14809" y="2444"/>
                </a:cxn>
                <a:cxn ang="0">
                  <a:pos x="15489" y="2444"/>
                </a:cxn>
                <a:cxn ang="0">
                  <a:pos x="15592" y="2558"/>
                </a:cxn>
                <a:cxn ang="0">
                  <a:pos x="15569" y="2714"/>
                </a:cxn>
                <a:cxn ang="0">
                  <a:pos x="15436" y="2794"/>
                </a:cxn>
                <a:cxn ang="0">
                  <a:pos x="15289" y="2741"/>
                </a:cxn>
                <a:cxn ang="0">
                  <a:pos x="15236" y="2593"/>
                </a:cxn>
                <a:cxn ang="0">
                  <a:pos x="15315" y="2460"/>
                </a:cxn>
                <a:cxn ang="0">
                  <a:pos x="15712" y="1546"/>
                </a:cxn>
                <a:cxn ang="0">
                  <a:pos x="1822" y="1769"/>
                </a:cxn>
                <a:cxn ang="0">
                  <a:pos x="3288" y="1769"/>
                </a:cxn>
                <a:cxn ang="0">
                  <a:pos x="4754" y="1769"/>
                </a:cxn>
                <a:cxn ang="0">
                  <a:pos x="6219" y="1769"/>
                </a:cxn>
                <a:cxn ang="0">
                  <a:pos x="7685" y="1769"/>
                </a:cxn>
                <a:cxn ang="0">
                  <a:pos x="9151" y="1769"/>
                </a:cxn>
                <a:cxn ang="0">
                  <a:pos x="10617" y="1769"/>
                </a:cxn>
                <a:cxn ang="0">
                  <a:pos x="1822" y="2199"/>
                </a:cxn>
                <a:cxn ang="0">
                  <a:pos x="3288" y="2199"/>
                </a:cxn>
                <a:cxn ang="0">
                  <a:pos x="4754" y="2199"/>
                </a:cxn>
                <a:cxn ang="0">
                  <a:pos x="6219" y="2199"/>
                </a:cxn>
                <a:cxn ang="0">
                  <a:pos x="7685" y="2199"/>
                </a:cxn>
                <a:cxn ang="0">
                  <a:pos x="9151" y="2199"/>
                </a:cxn>
                <a:cxn ang="0">
                  <a:pos x="10617" y="2199"/>
                </a:cxn>
                <a:cxn ang="0">
                  <a:pos x="12128" y="1769"/>
                </a:cxn>
                <a:cxn ang="0">
                  <a:pos x="12128" y="2199"/>
                </a:cxn>
              </a:cxnLst>
              <a:rect l="0" t="0" r="r" b="b"/>
              <a:pathLst>
                <a:path w="16688" h="3968">
                  <a:moveTo>
                    <a:pt x="624" y="0"/>
                  </a:moveTo>
                  <a:lnTo>
                    <a:pt x="16064" y="0"/>
                  </a:lnTo>
                  <a:lnTo>
                    <a:pt x="16097" y="1"/>
                  </a:lnTo>
                  <a:lnTo>
                    <a:pt x="16128" y="3"/>
                  </a:lnTo>
                  <a:lnTo>
                    <a:pt x="16159" y="7"/>
                  </a:lnTo>
                  <a:lnTo>
                    <a:pt x="16189" y="13"/>
                  </a:lnTo>
                  <a:lnTo>
                    <a:pt x="16220" y="20"/>
                  </a:lnTo>
                  <a:lnTo>
                    <a:pt x="16249" y="28"/>
                  </a:lnTo>
                  <a:lnTo>
                    <a:pt x="16278" y="39"/>
                  </a:lnTo>
                  <a:lnTo>
                    <a:pt x="16306" y="49"/>
                  </a:lnTo>
                  <a:lnTo>
                    <a:pt x="16334" y="62"/>
                  </a:lnTo>
                  <a:lnTo>
                    <a:pt x="16360" y="76"/>
                  </a:lnTo>
                  <a:lnTo>
                    <a:pt x="16387" y="91"/>
                  </a:lnTo>
                  <a:lnTo>
                    <a:pt x="16413" y="108"/>
                  </a:lnTo>
                  <a:lnTo>
                    <a:pt x="16437" y="124"/>
                  </a:lnTo>
                  <a:lnTo>
                    <a:pt x="16461" y="143"/>
                  </a:lnTo>
                  <a:lnTo>
                    <a:pt x="16484" y="163"/>
                  </a:lnTo>
                  <a:lnTo>
                    <a:pt x="16504" y="184"/>
                  </a:lnTo>
                  <a:lnTo>
                    <a:pt x="16525" y="205"/>
                  </a:lnTo>
                  <a:lnTo>
                    <a:pt x="16545" y="228"/>
                  </a:lnTo>
                  <a:lnTo>
                    <a:pt x="16564" y="252"/>
                  </a:lnTo>
                  <a:lnTo>
                    <a:pt x="16581" y="276"/>
                  </a:lnTo>
                  <a:lnTo>
                    <a:pt x="16597" y="302"/>
                  </a:lnTo>
                  <a:lnTo>
                    <a:pt x="16612" y="328"/>
                  </a:lnTo>
                  <a:lnTo>
                    <a:pt x="16626" y="354"/>
                  </a:lnTo>
                  <a:lnTo>
                    <a:pt x="16639" y="382"/>
                  </a:lnTo>
                  <a:lnTo>
                    <a:pt x="16649" y="411"/>
                  </a:lnTo>
                  <a:lnTo>
                    <a:pt x="16660" y="440"/>
                  </a:lnTo>
                  <a:lnTo>
                    <a:pt x="16668" y="469"/>
                  </a:lnTo>
                  <a:lnTo>
                    <a:pt x="16675" y="499"/>
                  </a:lnTo>
                  <a:lnTo>
                    <a:pt x="16681" y="530"/>
                  </a:lnTo>
                  <a:lnTo>
                    <a:pt x="16685" y="561"/>
                  </a:lnTo>
                  <a:lnTo>
                    <a:pt x="16687" y="592"/>
                  </a:lnTo>
                  <a:lnTo>
                    <a:pt x="16688" y="625"/>
                  </a:lnTo>
                  <a:lnTo>
                    <a:pt x="16688" y="3343"/>
                  </a:lnTo>
                  <a:lnTo>
                    <a:pt x="16687" y="3376"/>
                  </a:lnTo>
                  <a:lnTo>
                    <a:pt x="16685" y="3407"/>
                  </a:lnTo>
                  <a:lnTo>
                    <a:pt x="16681" y="3438"/>
                  </a:lnTo>
                  <a:lnTo>
                    <a:pt x="16675" y="3469"/>
                  </a:lnTo>
                  <a:lnTo>
                    <a:pt x="16668" y="3499"/>
                  </a:lnTo>
                  <a:lnTo>
                    <a:pt x="16660" y="3529"/>
                  </a:lnTo>
                  <a:lnTo>
                    <a:pt x="16649" y="3557"/>
                  </a:lnTo>
                  <a:lnTo>
                    <a:pt x="16639" y="3586"/>
                  </a:lnTo>
                  <a:lnTo>
                    <a:pt x="16626" y="3614"/>
                  </a:lnTo>
                  <a:lnTo>
                    <a:pt x="16612" y="3641"/>
                  </a:lnTo>
                  <a:lnTo>
                    <a:pt x="16597" y="3667"/>
                  </a:lnTo>
                  <a:lnTo>
                    <a:pt x="16581" y="3692"/>
                  </a:lnTo>
                  <a:lnTo>
                    <a:pt x="16564" y="3716"/>
                  </a:lnTo>
                  <a:lnTo>
                    <a:pt x="16545" y="3740"/>
                  </a:lnTo>
                  <a:lnTo>
                    <a:pt x="16525" y="3763"/>
                  </a:lnTo>
                  <a:lnTo>
                    <a:pt x="16504" y="3784"/>
                  </a:lnTo>
                  <a:lnTo>
                    <a:pt x="16484" y="3805"/>
                  </a:lnTo>
                  <a:lnTo>
                    <a:pt x="16461" y="3825"/>
                  </a:lnTo>
                  <a:lnTo>
                    <a:pt x="16437" y="3844"/>
                  </a:lnTo>
                  <a:lnTo>
                    <a:pt x="16413" y="3861"/>
                  </a:lnTo>
                  <a:lnTo>
                    <a:pt x="16387" y="3877"/>
                  </a:lnTo>
                  <a:lnTo>
                    <a:pt x="16360" y="3893"/>
                  </a:lnTo>
                  <a:lnTo>
                    <a:pt x="16334" y="3906"/>
                  </a:lnTo>
                  <a:lnTo>
                    <a:pt x="16306" y="3919"/>
                  </a:lnTo>
                  <a:lnTo>
                    <a:pt x="16278" y="3930"/>
                  </a:lnTo>
                  <a:lnTo>
                    <a:pt x="16249" y="3940"/>
                  </a:lnTo>
                  <a:lnTo>
                    <a:pt x="16220" y="3948"/>
                  </a:lnTo>
                  <a:lnTo>
                    <a:pt x="16189" y="3955"/>
                  </a:lnTo>
                  <a:lnTo>
                    <a:pt x="16159" y="3961"/>
                  </a:lnTo>
                  <a:lnTo>
                    <a:pt x="16128" y="3965"/>
                  </a:lnTo>
                  <a:lnTo>
                    <a:pt x="16097" y="3967"/>
                  </a:lnTo>
                  <a:lnTo>
                    <a:pt x="16064" y="3968"/>
                  </a:lnTo>
                  <a:lnTo>
                    <a:pt x="624" y="3968"/>
                  </a:lnTo>
                  <a:lnTo>
                    <a:pt x="591" y="3967"/>
                  </a:lnTo>
                  <a:lnTo>
                    <a:pt x="560" y="3965"/>
                  </a:lnTo>
                  <a:lnTo>
                    <a:pt x="529" y="3961"/>
                  </a:lnTo>
                  <a:lnTo>
                    <a:pt x="499" y="3955"/>
                  </a:lnTo>
                  <a:lnTo>
                    <a:pt x="468" y="3948"/>
                  </a:lnTo>
                  <a:lnTo>
                    <a:pt x="438" y="3940"/>
                  </a:lnTo>
                  <a:lnTo>
                    <a:pt x="410" y="3930"/>
                  </a:lnTo>
                  <a:lnTo>
                    <a:pt x="382" y="3919"/>
                  </a:lnTo>
                  <a:lnTo>
                    <a:pt x="354" y="3906"/>
                  </a:lnTo>
                  <a:lnTo>
                    <a:pt x="326" y="3893"/>
                  </a:lnTo>
                  <a:lnTo>
                    <a:pt x="300" y="3877"/>
                  </a:lnTo>
                  <a:lnTo>
                    <a:pt x="275" y="3861"/>
                  </a:lnTo>
                  <a:lnTo>
                    <a:pt x="251" y="3844"/>
                  </a:lnTo>
                  <a:lnTo>
                    <a:pt x="227" y="3825"/>
                  </a:lnTo>
                  <a:lnTo>
                    <a:pt x="204" y="3805"/>
                  </a:lnTo>
                  <a:lnTo>
                    <a:pt x="184" y="3784"/>
                  </a:lnTo>
                  <a:lnTo>
                    <a:pt x="163" y="3763"/>
                  </a:lnTo>
                  <a:lnTo>
                    <a:pt x="143" y="3740"/>
                  </a:lnTo>
                  <a:lnTo>
                    <a:pt x="124" y="3716"/>
                  </a:lnTo>
                  <a:lnTo>
                    <a:pt x="106" y="3692"/>
                  </a:lnTo>
                  <a:lnTo>
                    <a:pt x="91" y="3667"/>
                  </a:lnTo>
                  <a:lnTo>
                    <a:pt x="75" y="3641"/>
                  </a:lnTo>
                  <a:lnTo>
                    <a:pt x="62" y="3614"/>
                  </a:lnTo>
                  <a:lnTo>
                    <a:pt x="49" y="3586"/>
                  </a:lnTo>
                  <a:lnTo>
                    <a:pt x="38" y="3557"/>
                  </a:lnTo>
                  <a:lnTo>
                    <a:pt x="28" y="3529"/>
                  </a:lnTo>
                  <a:lnTo>
                    <a:pt x="20" y="3499"/>
                  </a:lnTo>
                  <a:lnTo>
                    <a:pt x="13" y="3469"/>
                  </a:lnTo>
                  <a:lnTo>
                    <a:pt x="7" y="3438"/>
                  </a:lnTo>
                  <a:lnTo>
                    <a:pt x="3" y="3407"/>
                  </a:lnTo>
                  <a:lnTo>
                    <a:pt x="1" y="3376"/>
                  </a:lnTo>
                  <a:lnTo>
                    <a:pt x="0" y="3343"/>
                  </a:lnTo>
                  <a:lnTo>
                    <a:pt x="0" y="625"/>
                  </a:lnTo>
                  <a:lnTo>
                    <a:pt x="1" y="592"/>
                  </a:lnTo>
                  <a:lnTo>
                    <a:pt x="3" y="561"/>
                  </a:lnTo>
                  <a:lnTo>
                    <a:pt x="7" y="530"/>
                  </a:lnTo>
                  <a:lnTo>
                    <a:pt x="13" y="499"/>
                  </a:lnTo>
                  <a:lnTo>
                    <a:pt x="20" y="469"/>
                  </a:lnTo>
                  <a:lnTo>
                    <a:pt x="28" y="440"/>
                  </a:lnTo>
                  <a:lnTo>
                    <a:pt x="38" y="411"/>
                  </a:lnTo>
                  <a:lnTo>
                    <a:pt x="49" y="382"/>
                  </a:lnTo>
                  <a:lnTo>
                    <a:pt x="62" y="354"/>
                  </a:lnTo>
                  <a:lnTo>
                    <a:pt x="75" y="328"/>
                  </a:lnTo>
                  <a:lnTo>
                    <a:pt x="91" y="302"/>
                  </a:lnTo>
                  <a:lnTo>
                    <a:pt x="106" y="276"/>
                  </a:lnTo>
                  <a:lnTo>
                    <a:pt x="124" y="252"/>
                  </a:lnTo>
                  <a:lnTo>
                    <a:pt x="143" y="228"/>
                  </a:lnTo>
                  <a:lnTo>
                    <a:pt x="163" y="205"/>
                  </a:lnTo>
                  <a:lnTo>
                    <a:pt x="184" y="184"/>
                  </a:lnTo>
                  <a:lnTo>
                    <a:pt x="204" y="163"/>
                  </a:lnTo>
                  <a:lnTo>
                    <a:pt x="227" y="143"/>
                  </a:lnTo>
                  <a:lnTo>
                    <a:pt x="251" y="124"/>
                  </a:lnTo>
                  <a:lnTo>
                    <a:pt x="275" y="108"/>
                  </a:lnTo>
                  <a:lnTo>
                    <a:pt x="300" y="91"/>
                  </a:lnTo>
                  <a:lnTo>
                    <a:pt x="326" y="76"/>
                  </a:lnTo>
                  <a:lnTo>
                    <a:pt x="354" y="62"/>
                  </a:lnTo>
                  <a:lnTo>
                    <a:pt x="382" y="49"/>
                  </a:lnTo>
                  <a:lnTo>
                    <a:pt x="410" y="39"/>
                  </a:lnTo>
                  <a:lnTo>
                    <a:pt x="438" y="28"/>
                  </a:lnTo>
                  <a:lnTo>
                    <a:pt x="468" y="20"/>
                  </a:lnTo>
                  <a:lnTo>
                    <a:pt x="499" y="13"/>
                  </a:lnTo>
                  <a:lnTo>
                    <a:pt x="529" y="7"/>
                  </a:lnTo>
                  <a:lnTo>
                    <a:pt x="560" y="3"/>
                  </a:lnTo>
                  <a:lnTo>
                    <a:pt x="591" y="1"/>
                  </a:lnTo>
                  <a:lnTo>
                    <a:pt x="624" y="0"/>
                  </a:lnTo>
                  <a:close/>
                  <a:moveTo>
                    <a:pt x="13802" y="2429"/>
                  </a:moveTo>
                  <a:lnTo>
                    <a:pt x="13820" y="2430"/>
                  </a:lnTo>
                  <a:lnTo>
                    <a:pt x="13839" y="2433"/>
                  </a:lnTo>
                  <a:lnTo>
                    <a:pt x="13856" y="2437"/>
                  </a:lnTo>
                  <a:lnTo>
                    <a:pt x="13873" y="2444"/>
                  </a:lnTo>
                  <a:lnTo>
                    <a:pt x="13889" y="2451"/>
                  </a:lnTo>
                  <a:lnTo>
                    <a:pt x="13903" y="2460"/>
                  </a:lnTo>
                  <a:lnTo>
                    <a:pt x="13918" y="2471"/>
                  </a:lnTo>
                  <a:lnTo>
                    <a:pt x="13930" y="2482"/>
                  </a:lnTo>
                  <a:lnTo>
                    <a:pt x="13942" y="2496"/>
                  </a:lnTo>
                  <a:lnTo>
                    <a:pt x="13953" y="2510"/>
                  </a:lnTo>
                  <a:lnTo>
                    <a:pt x="13962" y="2525"/>
                  </a:lnTo>
                  <a:lnTo>
                    <a:pt x="13970" y="2541"/>
                  </a:lnTo>
                  <a:lnTo>
                    <a:pt x="13976" y="2558"/>
                  </a:lnTo>
                  <a:lnTo>
                    <a:pt x="13980" y="2575"/>
                  </a:lnTo>
                  <a:lnTo>
                    <a:pt x="13984" y="2593"/>
                  </a:lnTo>
                  <a:lnTo>
                    <a:pt x="13985" y="2612"/>
                  </a:lnTo>
                  <a:lnTo>
                    <a:pt x="13984" y="2631"/>
                  </a:lnTo>
                  <a:lnTo>
                    <a:pt x="13980" y="2648"/>
                  </a:lnTo>
                  <a:lnTo>
                    <a:pt x="13976" y="2666"/>
                  </a:lnTo>
                  <a:lnTo>
                    <a:pt x="13970" y="2683"/>
                  </a:lnTo>
                  <a:lnTo>
                    <a:pt x="13962" y="2699"/>
                  </a:lnTo>
                  <a:lnTo>
                    <a:pt x="13953" y="2714"/>
                  </a:lnTo>
                  <a:lnTo>
                    <a:pt x="13942" y="2728"/>
                  </a:lnTo>
                  <a:lnTo>
                    <a:pt x="13930" y="2741"/>
                  </a:lnTo>
                  <a:lnTo>
                    <a:pt x="13918" y="2753"/>
                  </a:lnTo>
                  <a:lnTo>
                    <a:pt x="13903" y="2763"/>
                  </a:lnTo>
                  <a:lnTo>
                    <a:pt x="13889" y="2773"/>
                  </a:lnTo>
                  <a:lnTo>
                    <a:pt x="13873" y="2780"/>
                  </a:lnTo>
                  <a:lnTo>
                    <a:pt x="13856" y="2786"/>
                  </a:lnTo>
                  <a:lnTo>
                    <a:pt x="13839" y="2791"/>
                  </a:lnTo>
                  <a:lnTo>
                    <a:pt x="13820" y="2794"/>
                  </a:lnTo>
                  <a:lnTo>
                    <a:pt x="13802" y="2795"/>
                  </a:lnTo>
                  <a:lnTo>
                    <a:pt x="13783" y="2794"/>
                  </a:lnTo>
                  <a:lnTo>
                    <a:pt x="13764" y="2791"/>
                  </a:lnTo>
                  <a:lnTo>
                    <a:pt x="13748" y="2786"/>
                  </a:lnTo>
                  <a:lnTo>
                    <a:pt x="13731" y="2780"/>
                  </a:lnTo>
                  <a:lnTo>
                    <a:pt x="13714" y="2773"/>
                  </a:lnTo>
                  <a:lnTo>
                    <a:pt x="13700" y="2763"/>
                  </a:lnTo>
                  <a:lnTo>
                    <a:pt x="13685" y="2753"/>
                  </a:lnTo>
                  <a:lnTo>
                    <a:pt x="13673" y="2741"/>
                  </a:lnTo>
                  <a:lnTo>
                    <a:pt x="13661" y="2728"/>
                  </a:lnTo>
                  <a:lnTo>
                    <a:pt x="13651" y="2714"/>
                  </a:lnTo>
                  <a:lnTo>
                    <a:pt x="13641" y="2699"/>
                  </a:lnTo>
                  <a:lnTo>
                    <a:pt x="13634" y="2683"/>
                  </a:lnTo>
                  <a:lnTo>
                    <a:pt x="13628" y="2666"/>
                  </a:lnTo>
                  <a:lnTo>
                    <a:pt x="13623" y="2648"/>
                  </a:lnTo>
                  <a:lnTo>
                    <a:pt x="13621" y="2631"/>
                  </a:lnTo>
                  <a:lnTo>
                    <a:pt x="13619" y="2612"/>
                  </a:lnTo>
                  <a:lnTo>
                    <a:pt x="13621" y="2593"/>
                  </a:lnTo>
                  <a:lnTo>
                    <a:pt x="13623" y="2575"/>
                  </a:lnTo>
                  <a:lnTo>
                    <a:pt x="13628" y="2558"/>
                  </a:lnTo>
                  <a:lnTo>
                    <a:pt x="13634" y="2541"/>
                  </a:lnTo>
                  <a:lnTo>
                    <a:pt x="13641" y="2525"/>
                  </a:lnTo>
                  <a:lnTo>
                    <a:pt x="13651" y="2510"/>
                  </a:lnTo>
                  <a:lnTo>
                    <a:pt x="13661" y="2496"/>
                  </a:lnTo>
                  <a:lnTo>
                    <a:pt x="13673" y="2482"/>
                  </a:lnTo>
                  <a:lnTo>
                    <a:pt x="13685" y="2471"/>
                  </a:lnTo>
                  <a:lnTo>
                    <a:pt x="13700" y="2460"/>
                  </a:lnTo>
                  <a:lnTo>
                    <a:pt x="13714" y="2451"/>
                  </a:lnTo>
                  <a:lnTo>
                    <a:pt x="13731" y="2444"/>
                  </a:lnTo>
                  <a:lnTo>
                    <a:pt x="13748" y="2437"/>
                  </a:lnTo>
                  <a:lnTo>
                    <a:pt x="13764" y="2433"/>
                  </a:lnTo>
                  <a:lnTo>
                    <a:pt x="13783" y="2430"/>
                  </a:lnTo>
                  <a:lnTo>
                    <a:pt x="13802" y="2429"/>
                  </a:lnTo>
                  <a:close/>
                  <a:moveTo>
                    <a:pt x="14340" y="2429"/>
                  </a:moveTo>
                  <a:lnTo>
                    <a:pt x="14359" y="2430"/>
                  </a:lnTo>
                  <a:lnTo>
                    <a:pt x="14377" y="2433"/>
                  </a:lnTo>
                  <a:lnTo>
                    <a:pt x="14394" y="2437"/>
                  </a:lnTo>
                  <a:lnTo>
                    <a:pt x="14411" y="2444"/>
                  </a:lnTo>
                  <a:lnTo>
                    <a:pt x="14427" y="2451"/>
                  </a:lnTo>
                  <a:lnTo>
                    <a:pt x="14442" y="2460"/>
                  </a:lnTo>
                  <a:lnTo>
                    <a:pt x="14456" y="2471"/>
                  </a:lnTo>
                  <a:lnTo>
                    <a:pt x="14470" y="2482"/>
                  </a:lnTo>
                  <a:lnTo>
                    <a:pt x="14481" y="2496"/>
                  </a:lnTo>
                  <a:lnTo>
                    <a:pt x="14491" y="2510"/>
                  </a:lnTo>
                  <a:lnTo>
                    <a:pt x="14501" y="2525"/>
                  </a:lnTo>
                  <a:lnTo>
                    <a:pt x="14508" y="2541"/>
                  </a:lnTo>
                  <a:lnTo>
                    <a:pt x="14514" y="2558"/>
                  </a:lnTo>
                  <a:lnTo>
                    <a:pt x="14519" y="2575"/>
                  </a:lnTo>
                  <a:lnTo>
                    <a:pt x="14522" y="2593"/>
                  </a:lnTo>
                  <a:lnTo>
                    <a:pt x="14523" y="2612"/>
                  </a:lnTo>
                  <a:lnTo>
                    <a:pt x="14522" y="2631"/>
                  </a:lnTo>
                  <a:lnTo>
                    <a:pt x="14519" y="2648"/>
                  </a:lnTo>
                  <a:lnTo>
                    <a:pt x="14514" y="2666"/>
                  </a:lnTo>
                  <a:lnTo>
                    <a:pt x="14508" y="2683"/>
                  </a:lnTo>
                  <a:lnTo>
                    <a:pt x="14501" y="2699"/>
                  </a:lnTo>
                  <a:lnTo>
                    <a:pt x="14491" y="2714"/>
                  </a:lnTo>
                  <a:lnTo>
                    <a:pt x="14481" y="2728"/>
                  </a:lnTo>
                  <a:lnTo>
                    <a:pt x="14470" y="2741"/>
                  </a:lnTo>
                  <a:lnTo>
                    <a:pt x="14456" y="2753"/>
                  </a:lnTo>
                  <a:lnTo>
                    <a:pt x="14442" y="2763"/>
                  </a:lnTo>
                  <a:lnTo>
                    <a:pt x="14427" y="2773"/>
                  </a:lnTo>
                  <a:lnTo>
                    <a:pt x="14411" y="2780"/>
                  </a:lnTo>
                  <a:lnTo>
                    <a:pt x="14394" y="2786"/>
                  </a:lnTo>
                  <a:lnTo>
                    <a:pt x="14377" y="2791"/>
                  </a:lnTo>
                  <a:lnTo>
                    <a:pt x="14359" y="2794"/>
                  </a:lnTo>
                  <a:lnTo>
                    <a:pt x="14340" y="2795"/>
                  </a:lnTo>
                  <a:lnTo>
                    <a:pt x="14321" y="2794"/>
                  </a:lnTo>
                  <a:lnTo>
                    <a:pt x="14304" y="2791"/>
                  </a:lnTo>
                  <a:lnTo>
                    <a:pt x="14286" y="2786"/>
                  </a:lnTo>
                  <a:lnTo>
                    <a:pt x="14269" y="2780"/>
                  </a:lnTo>
                  <a:lnTo>
                    <a:pt x="14254" y="2773"/>
                  </a:lnTo>
                  <a:lnTo>
                    <a:pt x="14238" y="2763"/>
                  </a:lnTo>
                  <a:lnTo>
                    <a:pt x="14224" y="2753"/>
                  </a:lnTo>
                  <a:lnTo>
                    <a:pt x="14212" y="2741"/>
                  </a:lnTo>
                  <a:lnTo>
                    <a:pt x="14199" y="2728"/>
                  </a:lnTo>
                  <a:lnTo>
                    <a:pt x="14189" y="2714"/>
                  </a:lnTo>
                  <a:lnTo>
                    <a:pt x="14180" y="2699"/>
                  </a:lnTo>
                  <a:lnTo>
                    <a:pt x="14172" y="2683"/>
                  </a:lnTo>
                  <a:lnTo>
                    <a:pt x="14166" y="2666"/>
                  </a:lnTo>
                  <a:lnTo>
                    <a:pt x="14162" y="2648"/>
                  </a:lnTo>
                  <a:lnTo>
                    <a:pt x="14159" y="2631"/>
                  </a:lnTo>
                  <a:lnTo>
                    <a:pt x="14158" y="2612"/>
                  </a:lnTo>
                  <a:lnTo>
                    <a:pt x="14159" y="2593"/>
                  </a:lnTo>
                  <a:lnTo>
                    <a:pt x="14162" y="2575"/>
                  </a:lnTo>
                  <a:lnTo>
                    <a:pt x="14166" y="2558"/>
                  </a:lnTo>
                  <a:lnTo>
                    <a:pt x="14172" y="2541"/>
                  </a:lnTo>
                  <a:lnTo>
                    <a:pt x="14180" y="2525"/>
                  </a:lnTo>
                  <a:lnTo>
                    <a:pt x="14189" y="2510"/>
                  </a:lnTo>
                  <a:lnTo>
                    <a:pt x="14199" y="2496"/>
                  </a:lnTo>
                  <a:lnTo>
                    <a:pt x="14212" y="2482"/>
                  </a:lnTo>
                  <a:lnTo>
                    <a:pt x="14224" y="2471"/>
                  </a:lnTo>
                  <a:lnTo>
                    <a:pt x="14238" y="2460"/>
                  </a:lnTo>
                  <a:lnTo>
                    <a:pt x="14254" y="2451"/>
                  </a:lnTo>
                  <a:lnTo>
                    <a:pt x="14269" y="2444"/>
                  </a:lnTo>
                  <a:lnTo>
                    <a:pt x="14286" y="2437"/>
                  </a:lnTo>
                  <a:lnTo>
                    <a:pt x="14304" y="2433"/>
                  </a:lnTo>
                  <a:lnTo>
                    <a:pt x="14321" y="2430"/>
                  </a:lnTo>
                  <a:lnTo>
                    <a:pt x="14340" y="2429"/>
                  </a:lnTo>
                  <a:close/>
                  <a:moveTo>
                    <a:pt x="14879" y="2429"/>
                  </a:moveTo>
                  <a:lnTo>
                    <a:pt x="14897" y="2430"/>
                  </a:lnTo>
                  <a:lnTo>
                    <a:pt x="14916" y="2433"/>
                  </a:lnTo>
                  <a:lnTo>
                    <a:pt x="14933" y="2437"/>
                  </a:lnTo>
                  <a:lnTo>
                    <a:pt x="14950" y="2444"/>
                  </a:lnTo>
                  <a:lnTo>
                    <a:pt x="14966" y="2451"/>
                  </a:lnTo>
                  <a:lnTo>
                    <a:pt x="14981" y="2460"/>
                  </a:lnTo>
                  <a:lnTo>
                    <a:pt x="14995" y="2471"/>
                  </a:lnTo>
                  <a:lnTo>
                    <a:pt x="15008" y="2482"/>
                  </a:lnTo>
                  <a:lnTo>
                    <a:pt x="15019" y="2496"/>
                  </a:lnTo>
                  <a:lnTo>
                    <a:pt x="15031" y="2510"/>
                  </a:lnTo>
                  <a:lnTo>
                    <a:pt x="15039" y="2525"/>
                  </a:lnTo>
                  <a:lnTo>
                    <a:pt x="15047" y="2541"/>
                  </a:lnTo>
                  <a:lnTo>
                    <a:pt x="15054" y="2558"/>
                  </a:lnTo>
                  <a:lnTo>
                    <a:pt x="15058" y="2575"/>
                  </a:lnTo>
                  <a:lnTo>
                    <a:pt x="15061" y="2593"/>
                  </a:lnTo>
                  <a:lnTo>
                    <a:pt x="15062" y="2612"/>
                  </a:lnTo>
                  <a:lnTo>
                    <a:pt x="15061" y="2631"/>
                  </a:lnTo>
                  <a:lnTo>
                    <a:pt x="15058" y="2648"/>
                  </a:lnTo>
                  <a:lnTo>
                    <a:pt x="15054" y="2666"/>
                  </a:lnTo>
                  <a:lnTo>
                    <a:pt x="15047" y="2683"/>
                  </a:lnTo>
                  <a:lnTo>
                    <a:pt x="15039" y="2699"/>
                  </a:lnTo>
                  <a:lnTo>
                    <a:pt x="15031" y="2714"/>
                  </a:lnTo>
                  <a:lnTo>
                    <a:pt x="15019" y="2728"/>
                  </a:lnTo>
                  <a:lnTo>
                    <a:pt x="15008" y="2741"/>
                  </a:lnTo>
                  <a:lnTo>
                    <a:pt x="14995" y="2753"/>
                  </a:lnTo>
                  <a:lnTo>
                    <a:pt x="14981" y="2763"/>
                  </a:lnTo>
                  <a:lnTo>
                    <a:pt x="14966" y="2773"/>
                  </a:lnTo>
                  <a:lnTo>
                    <a:pt x="14950" y="2780"/>
                  </a:lnTo>
                  <a:lnTo>
                    <a:pt x="14933" y="2786"/>
                  </a:lnTo>
                  <a:lnTo>
                    <a:pt x="14916" y="2791"/>
                  </a:lnTo>
                  <a:lnTo>
                    <a:pt x="14897" y="2794"/>
                  </a:lnTo>
                  <a:lnTo>
                    <a:pt x="14879" y="2795"/>
                  </a:lnTo>
                  <a:lnTo>
                    <a:pt x="14861" y="2794"/>
                  </a:lnTo>
                  <a:lnTo>
                    <a:pt x="14842" y="2791"/>
                  </a:lnTo>
                  <a:lnTo>
                    <a:pt x="14825" y="2786"/>
                  </a:lnTo>
                  <a:lnTo>
                    <a:pt x="14809" y="2780"/>
                  </a:lnTo>
                  <a:lnTo>
                    <a:pt x="14792" y="2773"/>
                  </a:lnTo>
                  <a:lnTo>
                    <a:pt x="14777" y="2763"/>
                  </a:lnTo>
                  <a:lnTo>
                    <a:pt x="14763" y="2753"/>
                  </a:lnTo>
                  <a:lnTo>
                    <a:pt x="14750" y="2741"/>
                  </a:lnTo>
                  <a:lnTo>
                    <a:pt x="14739" y="2728"/>
                  </a:lnTo>
                  <a:lnTo>
                    <a:pt x="14728" y="2714"/>
                  </a:lnTo>
                  <a:lnTo>
                    <a:pt x="14719" y="2699"/>
                  </a:lnTo>
                  <a:lnTo>
                    <a:pt x="14710" y="2683"/>
                  </a:lnTo>
                  <a:lnTo>
                    <a:pt x="14705" y="2666"/>
                  </a:lnTo>
                  <a:lnTo>
                    <a:pt x="14700" y="2648"/>
                  </a:lnTo>
                  <a:lnTo>
                    <a:pt x="14698" y="2631"/>
                  </a:lnTo>
                  <a:lnTo>
                    <a:pt x="14697" y="2612"/>
                  </a:lnTo>
                  <a:lnTo>
                    <a:pt x="14698" y="2593"/>
                  </a:lnTo>
                  <a:lnTo>
                    <a:pt x="14700" y="2575"/>
                  </a:lnTo>
                  <a:lnTo>
                    <a:pt x="14705" y="2558"/>
                  </a:lnTo>
                  <a:lnTo>
                    <a:pt x="14710" y="2541"/>
                  </a:lnTo>
                  <a:lnTo>
                    <a:pt x="14719" y="2525"/>
                  </a:lnTo>
                  <a:lnTo>
                    <a:pt x="14728" y="2510"/>
                  </a:lnTo>
                  <a:lnTo>
                    <a:pt x="14739" y="2496"/>
                  </a:lnTo>
                  <a:lnTo>
                    <a:pt x="14750" y="2482"/>
                  </a:lnTo>
                  <a:lnTo>
                    <a:pt x="14763" y="2471"/>
                  </a:lnTo>
                  <a:lnTo>
                    <a:pt x="14777" y="2460"/>
                  </a:lnTo>
                  <a:lnTo>
                    <a:pt x="14792" y="2451"/>
                  </a:lnTo>
                  <a:lnTo>
                    <a:pt x="14809" y="2444"/>
                  </a:lnTo>
                  <a:lnTo>
                    <a:pt x="14825" y="2437"/>
                  </a:lnTo>
                  <a:lnTo>
                    <a:pt x="14842" y="2433"/>
                  </a:lnTo>
                  <a:lnTo>
                    <a:pt x="14861" y="2430"/>
                  </a:lnTo>
                  <a:lnTo>
                    <a:pt x="14879" y="2429"/>
                  </a:lnTo>
                  <a:close/>
                  <a:moveTo>
                    <a:pt x="15418" y="2429"/>
                  </a:moveTo>
                  <a:lnTo>
                    <a:pt x="15436" y="2430"/>
                  </a:lnTo>
                  <a:lnTo>
                    <a:pt x="15454" y="2433"/>
                  </a:lnTo>
                  <a:lnTo>
                    <a:pt x="15472" y="2437"/>
                  </a:lnTo>
                  <a:lnTo>
                    <a:pt x="15489" y="2444"/>
                  </a:lnTo>
                  <a:lnTo>
                    <a:pt x="15504" y="2451"/>
                  </a:lnTo>
                  <a:lnTo>
                    <a:pt x="15520" y="2460"/>
                  </a:lnTo>
                  <a:lnTo>
                    <a:pt x="15533" y="2471"/>
                  </a:lnTo>
                  <a:lnTo>
                    <a:pt x="15547" y="2482"/>
                  </a:lnTo>
                  <a:lnTo>
                    <a:pt x="15558" y="2496"/>
                  </a:lnTo>
                  <a:lnTo>
                    <a:pt x="15569" y="2510"/>
                  </a:lnTo>
                  <a:lnTo>
                    <a:pt x="15578" y="2525"/>
                  </a:lnTo>
                  <a:lnTo>
                    <a:pt x="15586" y="2541"/>
                  </a:lnTo>
                  <a:lnTo>
                    <a:pt x="15592" y="2558"/>
                  </a:lnTo>
                  <a:lnTo>
                    <a:pt x="15596" y="2575"/>
                  </a:lnTo>
                  <a:lnTo>
                    <a:pt x="15599" y="2593"/>
                  </a:lnTo>
                  <a:lnTo>
                    <a:pt x="15600" y="2612"/>
                  </a:lnTo>
                  <a:lnTo>
                    <a:pt x="15599" y="2631"/>
                  </a:lnTo>
                  <a:lnTo>
                    <a:pt x="15596" y="2648"/>
                  </a:lnTo>
                  <a:lnTo>
                    <a:pt x="15592" y="2666"/>
                  </a:lnTo>
                  <a:lnTo>
                    <a:pt x="15586" y="2683"/>
                  </a:lnTo>
                  <a:lnTo>
                    <a:pt x="15578" y="2699"/>
                  </a:lnTo>
                  <a:lnTo>
                    <a:pt x="15569" y="2714"/>
                  </a:lnTo>
                  <a:lnTo>
                    <a:pt x="15558" y="2728"/>
                  </a:lnTo>
                  <a:lnTo>
                    <a:pt x="15547" y="2741"/>
                  </a:lnTo>
                  <a:lnTo>
                    <a:pt x="15533" y="2753"/>
                  </a:lnTo>
                  <a:lnTo>
                    <a:pt x="15520" y="2763"/>
                  </a:lnTo>
                  <a:lnTo>
                    <a:pt x="15504" y="2773"/>
                  </a:lnTo>
                  <a:lnTo>
                    <a:pt x="15489" y="2780"/>
                  </a:lnTo>
                  <a:lnTo>
                    <a:pt x="15472" y="2786"/>
                  </a:lnTo>
                  <a:lnTo>
                    <a:pt x="15454" y="2791"/>
                  </a:lnTo>
                  <a:lnTo>
                    <a:pt x="15436" y="2794"/>
                  </a:lnTo>
                  <a:lnTo>
                    <a:pt x="15418" y="2795"/>
                  </a:lnTo>
                  <a:lnTo>
                    <a:pt x="15399" y="2794"/>
                  </a:lnTo>
                  <a:lnTo>
                    <a:pt x="15381" y="2791"/>
                  </a:lnTo>
                  <a:lnTo>
                    <a:pt x="15363" y="2786"/>
                  </a:lnTo>
                  <a:lnTo>
                    <a:pt x="15347" y="2780"/>
                  </a:lnTo>
                  <a:lnTo>
                    <a:pt x="15331" y="2773"/>
                  </a:lnTo>
                  <a:lnTo>
                    <a:pt x="15315" y="2763"/>
                  </a:lnTo>
                  <a:lnTo>
                    <a:pt x="15302" y="2753"/>
                  </a:lnTo>
                  <a:lnTo>
                    <a:pt x="15289" y="2741"/>
                  </a:lnTo>
                  <a:lnTo>
                    <a:pt x="15277" y="2728"/>
                  </a:lnTo>
                  <a:lnTo>
                    <a:pt x="15266" y="2714"/>
                  </a:lnTo>
                  <a:lnTo>
                    <a:pt x="15257" y="2699"/>
                  </a:lnTo>
                  <a:lnTo>
                    <a:pt x="15250" y="2683"/>
                  </a:lnTo>
                  <a:lnTo>
                    <a:pt x="15243" y="2666"/>
                  </a:lnTo>
                  <a:lnTo>
                    <a:pt x="15239" y="2648"/>
                  </a:lnTo>
                  <a:lnTo>
                    <a:pt x="15236" y="2631"/>
                  </a:lnTo>
                  <a:lnTo>
                    <a:pt x="15235" y="2612"/>
                  </a:lnTo>
                  <a:lnTo>
                    <a:pt x="15236" y="2593"/>
                  </a:lnTo>
                  <a:lnTo>
                    <a:pt x="15239" y="2575"/>
                  </a:lnTo>
                  <a:lnTo>
                    <a:pt x="15243" y="2558"/>
                  </a:lnTo>
                  <a:lnTo>
                    <a:pt x="15250" y="2541"/>
                  </a:lnTo>
                  <a:lnTo>
                    <a:pt x="15257" y="2525"/>
                  </a:lnTo>
                  <a:lnTo>
                    <a:pt x="15266" y="2510"/>
                  </a:lnTo>
                  <a:lnTo>
                    <a:pt x="15277" y="2496"/>
                  </a:lnTo>
                  <a:lnTo>
                    <a:pt x="15289" y="2482"/>
                  </a:lnTo>
                  <a:lnTo>
                    <a:pt x="15302" y="2471"/>
                  </a:lnTo>
                  <a:lnTo>
                    <a:pt x="15315" y="2460"/>
                  </a:lnTo>
                  <a:lnTo>
                    <a:pt x="15331" y="2451"/>
                  </a:lnTo>
                  <a:lnTo>
                    <a:pt x="15347" y="2444"/>
                  </a:lnTo>
                  <a:lnTo>
                    <a:pt x="15363" y="2437"/>
                  </a:lnTo>
                  <a:lnTo>
                    <a:pt x="15381" y="2433"/>
                  </a:lnTo>
                  <a:lnTo>
                    <a:pt x="15399" y="2430"/>
                  </a:lnTo>
                  <a:lnTo>
                    <a:pt x="15418" y="2429"/>
                  </a:lnTo>
                  <a:close/>
                  <a:moveTo>
                    <a:pt x="13682" y="943"/>
                  </a:moveTo>
                  <a:lnTo>
                    <a:pt x="15712" y="943"/>
                  </a:lnTo>
                  <a:lnTo>
                    <a:pt x="15712" y="1546"/>
                  </a:lnTo>
                  <a:lnTo>
                    <a:pt x="13682" y="1546"/>
                  </a:lnTo>
                  <a:lnTo>
                    <a:pt x="13682" y="943"/>
                  </a:lnTo>
                  <a:close/>
                  <a:moveTo>
                    <a:pt x="1545" y="1123"/>
                  </a:moveTo>
                  <a:lnTo>
                    <a:pt x="1545" y="943"/>
                  </a:lnTo>
                  <a:lnTo>
                    <a:pt x="1089" y="943"/>
                  </a:lnTo>
                  <a:lnTo>
                    <a:pt x="1089" y="1123"/>
                  </a:lnTo>
                  <a:lnTo>
                    <a:pt x="811" y="1123"/>
                  </a:lnTo>
                  <a:lnTo>
                    <a:pt x="811" y="1769"/>
                  </a:lnTo>
                  <a:lnTo>
                    <a:pt x="1822" y="1769"/>
                  </a:lnTo>
                  <a:lnTo>
                    <a:pt x="1822" y="1123"/>
                  </a:lnTo>
                  <a:lnTo>
                    <a:pt x="1545" y="1123"/>
                  </a:lnTo>
                  <a:close/>
                  <a:moveTo>
                    <a:pt x="3010" y="1123"/>
                  </a:moveTo>
                  <a:lnTo>
                    <a:pt x="3010" y="943"/>
                  </a:lnTo>
                  <a:lnTo>
                    <a:pt x="2555" y="943"/>
                  </a:lnTo>
                  <a:lnTo>
                    <a:pt x="2555" y="1123"/>
                  </a:lnTo>
                  <a:lnTo>
                    <a:pt x="2278" y="1123"/>
                  </a:lnTo>
                  <a:lnTo>
                    <a:pt x="2278" y="1769"/>
                  </a:lnTo>
                  <a:lnTo>
                    <a:pt x="3288" y="1769"/>
                  </a:lnTo>
                  <a:lnTo>
                    <a:pt x="3288" y="1123"/>
                  </a:lnTo>
                  <a:lnTo>
                    <a:pt x="3010" y="1123"/>
                  </a:lnTo>
                  <a:close/>
                  <a:moveTo>
                    <a:pt x="4477" y="1123"/>
                  </a:moveTo>
                  <a:lnTo>
                    <a:pt x="4477" y="943"/>
                  </a:lnTo>
                  <a:lnTo>
                    <a:pt x="4021" y="943"/>
                  </a:lnTo>
                  <a:lnTo>
                    <a:pt x="4021" y="1123"/>
                  </a:lnTo>
                  <a:lnTo>
                    <a:pt x="3743" y="1123"/>
                  </a:lnTo>
                  <a:lnTo>
                    <a:pt x="3743" y="1769"/>
                  </a:lnTo>
                  <a:lnTo>
                    <a:pt x="4754" y="1769"/>
                  </a:lnTo>
                  <a:lnTo>
                    <a:pt x="4754" y="1123"/>
                  </a:lnTo>
                  <a:lnTo>
                    <a:pt x="4477" y="1123"/>
                  </a:lnTo>
                  <a:close/>
                  <a:moveTo>
                    <a:pt x="5942" y="1123"/>
                  </a:moveTo>
                  <a:lnTo>
                    <a:pt x="5942" y="943"/>
                  </a:lnTo>
                  <a:lnTo>
                    <a:pt x="5486" y="943"/>
                  </a:lnTo>
                  <a:lnTo>
                    <a:pt x="5486" y="1123"/>
                  </a:lnTo>
                  <a:lnTo>
                    <a:pt x="5209" y="1123"/>
                  </a:lnTo>
                  <a:lnTo>
                    <a:pt x="5209" y="1769"/>
                  </a:lnTo>
                  <a:lnTo>
                    <a:pt x="6219" y="1769"/>
                  </a:lnTo>
                  <a:lnTo>
                    <a:pt x="6219" y="1123"/>
                  </a:lnTo>
                  <a:lnTo>
                    <a:pt x="5942" y="1123"/>
                  </a:lnTo>
                  <a:close/>
                  <a:moveTo>
                    <a:pt x="7407" y="1123"/>
                  </a:moveTo>
                  <a:lnTo>
                    <a:pt x="7407" y="943"/>
                  </a:lnTo>
                  <a:lnTo>
                    <a:pt x="6953" y="943"/>
                  </a:lnTo>
                  <a:lnTo>
                    <a:pt x="6953" y="1123"/>
                  </a:lnTo>
                  <a:lnTo>
                    <a:pt x="6675" y="1123"/>
                  </a:lnTo>
                  <a:lnTo>
                    <a:pt x="6675" y="1769"/>
                  </a:lnTo>
                  <a:lnTo>
                    <a:pt x="7685" y="1769"/>
                  </a:lnTo>
                  <a:lnTo>
                    <a:pt x="7685" y="1123"/>
                  </a:lnTo>
                  <a:lnTo>
                    <a:pt x="7407" y="1123"/>
                  </a:lnTo>
                  <a:close/>
                  <a:moveTo>
                    <a:pt x="8874" y="1123"/>
                  </a:moveTo>
                  <a:lnTo>
                    <a:pt x="8874" y="943"/>
                  </a:lnTo>
                  <a:lnTo>
                    <a:pt x="8418" y="943"/>
                  </a:lnTo>
                  <a:lnTo>
                    <a:pt x="8418" y="1123"/>
                  </a:lnTo>
                  <a:lnTo>
                    <a:pt x="8141" y="1123"/>
                  </a:lnTo>
                  <a:lnTo>
                    <a:pt x="8141" y="1769"/>
                  </a:lnTo>
                  <a:lnTo>
                    <a:pt x="9151" y="1769"/>
                  </a:lnTo>
                  <a:lnTo>
                    <a:pt x="9151" y="1123"/>
                  </a:lnTo>
                  <a:lnTo>
                    <a:pt x="8874" y="1123"/>
                  </a:lnTo>
                  <a:close/>
                  <a:moveTo>
                    <a:pt x="10339" y="1123"/>
                  </a:moveTo>
                  <a:lnTo>
                    <a:pt x="10339" y="943"/>
                  </a:lnTo>
                  <a:lnTo>
                    <a:pt x="9883" y="943"/>
                  </a:lnTo>
                  <a:lnTo>
                    <a:pt x="9883" y="1123"/>
                  </a:lnTo>
                  <a:lnTo>
                    <a:pt x="9606" y="1123"/>
                  </a:lnTo>
                  <a:lnTo>
                    <a:pt x="9606" y="1769"/>
                  </a:lnTo>
                  <a:lnTo>
                    <a:pt x="10617" y="1769"/>
                  </a:lnTo>
                  <a:lnTo>
                    <a:pt x="10617" y="1123"/>
                  </a:lnTo>
                  <a:lnTo>
                    <a:pt x="10339" y="1123"/>
                  </a:lnTo>
                  <a:close/>
                  <a:moveTo>
                    <a:pt x="1545" y="2845"/>
                  </a:moveTo>
                  <a:lnTo>
                    <a:pt x="1545" y="3025"/>
                  </a:lnTo>
                  <a:lnTo>
                    <a:pt x="1089" y="3025"/>
                  </a:lnTo>
                  <a:lnTo>
                    <a:pt x="1089" y="2845"/>
                  </a:lnTo>
                  <a:lnTo>
                    <a:pt x="811" y="2845"/>
                  </a:lnTo>
                  <a:lnTo>
                    <a:pt x="811" y="2199"/>
                  </a:lnTo>
                  <a:lnTo>
                    <a:pt x="1822" y="2199"/>
                  </a:lnTo>
                  <a:lnTo>
                    <a:pt x="1822" y="2845"/>
                  </a:lnTo>
                  <a:lnTo>
                    <a:pt x="1545" y="2845"/>
                  </a:lnTo>
                  <a:close/>
                  <a:moveTo>
                    <a:pt x="3010" y="2845"/>
                  </a:moveTo>
                  <a:lnTo>
                    <a:pt x="3010" y="3025"/>
                  </a:lnTo>
                  <a:lnTo>
                    <a:pt x="2555" y="3025"/>
                  </a:lnTo>
                  <a:lnTo>
                    <a:pt x="2555" y="2845"/>
                  </a:lnTo>
                  <a:lnTo>
                    <a:pt x="2278" y="2845"/>
                  </a:lnTo>
                  <a:lnTo>
                    <a:pt x="2278" y="2199"/>
                  </a:lnTo>
                  <a:lnTo>
                    <a:pt x="3288" y="2199"/>
                  </a:lnTo>
                  <a:lnTo>
                    <a:pt x="3288" y="2845"/>
                  </a:lnTo>
                  <a:lnTo>
                    <a:pt x="3010" y="2845"/>
                  </a:lnTo>
                  <a:close/>
                  <a:moveTo>
                    <a:pt x="4477" y="2845"/>
                  </a:moveTo>
                  <a:lnTo>
                    <a:pt x="4477" y="3025"/>
                  </a:lnTo>
                  <a:lnTo>
                    <a:pt x="4021" y="3025"/>
                  </a:lnTo>
                  <a:lnTo>
                    <a:pt x="4021" y="2845"/>
                  </a:lnTo>
                  <a:lnTo>
                    <a:pt x="3743" y="2845"/>
                  </a:lnTo>
                  <a:lnTo>
                    <a:pt x="3743" y="2199"/>
                  </a:lnTo>
                  <a:lnTo>
                    <a:pt x="4754" y="2199"/>
                  </a:lnTo>
                  <a:lnTo>
                    <a:pt x="4754" y="2845"/>
                  </a:lnTo>
                  <a:lnTo>
                    <a:pt x="4477" y="2845"/>
                  </a:lnTo>
                  <a:close/>
                  <a:moveTo>
                    <a:pt x="5942" y="2845"/>
                  </a:moveTo>
                  <a:lnTo>
                    <a:pt x="5942" y="3025"/>
                  </a:lnTo>
                  <a:lnTo>
                    <a:pt x="5486" y="3025"/>
                  </a:lnTo>
                  <a:lnTo>
                    <a:pt x="5486" y="2845"/>
                  </a:lnTo>
                  <a:lnTo>
                    <a:pt x="5209" y="2845"/>
                  </a:lnTo>
                  <a:lnTo>
                    <a:pt x="5209" y="2199"/>
                  </a:lnTo>
                  <a:lnTo>
                    <a:pt x="6219" y="2199"/>
                  </a:lnTo>
                  <a:lnTo>
                    <a:pt x="6219" y="2845"/>
                  </a:lnTo>
                  <a:lnTo>
                    <a:pt x="5942" y="2845"/>
                  </a:lnTo>
                  <a:close/>
                  <a:moveTo>
                    <a:pt x="7407" y="2845"/>
                  </a:moveTo>
                  <a:lnTo>
                    <a:pt x="7407" y="3025"/>
                  </a:lnTo>
                  <a:lnTo>
                    <a:pt x="6953" y="3025"/>
                  </a:lnTo>
                  <a:lnTo>
                    <a:pt x="6953" y="2845"/>
                  </a:lnTo>
                  <a:lnTo>
                    <a:pt x="6675" y="2845"/>
                  </a:lnTo>
                  <a:lnTo>
                    <a:pt x="6675" y="2199"/>
                  </a:lnTo>
                  <a:lnTo>
                    <a:pt x="7685" y="2199"/>
                  </a:lnTo>
                  <a:lnTo>
                    <a:pt x="7685" y="2845"/>
                  </a:lnTo>
                  <a:lnTo>
                    <a:pt x="7407" y="2845"/>
                  </a:lnTo>
                  <a:close/>
                  <a:moveTo>
                    <a:pt x="8874" y="2845"/>
                  </a:moveTo>
                  <a:lnTo>
                    <a:pt x="8874" y="3025"/>
                  </a:lnTo>
                  <a:lnTo>
                    <a:pt x="8418" y="3025"/>
                  </a:lnTo>
                  <a:lnTo>
                    <a:pt x="8418" y="2845"/>
                  </a:lnTo>
                  <a:lnTo>
                    <a:pt x="8141" y="2845"/>
                  </a:lnTo>
                  <a:lnTo>
                    <a:pt x="8141" y="2199"/>
                  </a:lnTo>
                  <a:lnTo>
                    <a:pt x="9151" y="2199"/>
                  </a:lnTo>
                  <a:lnTo>
                    <a:pt x="9151" y="2845"/>
                  </a:lnTo>
                  <a:lnTo>
                    <a:pt x="8874" y="2845"/>
                  </a:lnTo>
                  <a:close/>
                  <a:moveTo>
                    <a:pt x="10339" y="2845"/>
                  </a:moveTo>
                  <a:lnTo>
                    <a:pt x="10339" y="3025"/>
                  </a:lnTo>
                  <a:lnTo>
                    <a:pt x="9883" y="3025"/>
                  </a:lnTo>
                  <a:lnTo>
                    <a:pt x="9883" y="2845"/>
                  </a:lnTo>
                  <a:lnTo>
                    <a:pt x="9606" y="2845"/>
                  </a:lnTo>
                  <a:lnTo>
                    <a:pt x="9606" y="2199"/>
                  </a:lnTo>
                  <a:lnTo>
                    <a:pt x="10617" y="2199"/>
                  </a:lnTo>
                  <a:lnTo>
                    <a:pt x="10617" y="2845"/>
                  </a:lnTo>
                  <a:lnTo>
                    <a:pt x="10339" y="2845"/>
                  </a:lnTo>
                  <a:close/>
                  <a:moveTo>
                    <a:pt x="11851" y="1123"/>
                  </a:moveTo>
                  <a:lnTo>
                    <a:pt x="11851" y="943"/>
                  </a:lnTo>
                  <a:lnTo>
                    <a:pt x="11395" y="943"/>
                  </a:lnTo>
                  <a:lnTo>
                    <a:pt x="11395" y="1123"/>
                  </a:lnTo>
                  <a:lnTo>
                    <a:pt x="11117" y="1123"/>
                  </a:lnTo>
                  <a:lnTo>
                    <a:pt x="11117" y="1769"/>
                  </a:lnTo>
                  <a:lnTo>
                    <a:pt x="12128" y="1769"/>
                  </a:lnTo>
                  <a:lnTo>
                    <a:pt x="12128" y="1123"/>
                  </a:lnTo>
                  <a:lnTo>
                    <a:pt x="11851" y="1123"/>
                  </a:lnTo>
                  <a:close/>
                  <a:moveTo>
                    <a:pt x="11851" y="2845"/>
                  </a:moveTo>
                  <a:lnTo>
                    <a:pt x="11851" y="3025"/>
                  </a:lnTo>
                  <a:lnTo>
                    <a:pt x="11395" y="3025"/>
                  </a:lnTo>
                  <a:lnTo>
                    <a:pt x="11395" y="2845"/>
                  </a:lnTo>
                  <a:lnTo>
                    <a:pt x="11117" y="2845"/>
                  </a:lnTo>
                  <a:lnTo>
                    <a:pt x="11117" y="2199"/>
                  </a:lnTo>
                  <a:lnTo>
                    <a:pt x="12128" y="2199"/>
                  </a:lnTo>
                  <a:lnTo>
                    <a:pt x="12128" y="2845"/>
                  </a:lnTo>
                  <a:lnTo>
                    <a:pt x="11851" y="2845"/>
                  </a:lnTo>
                  <a:close/>
                </a:path>
              </a:pathLst>
            </a:custGeom>
            <a:grpFill/>
            <a:ln w="9525">
              <a:solidFill>
                <a:srgbClr val="00B0F0"/>
              </a:solidFill>
              <a:round/>
              <a:headEnd/>
              <a:tailEnd/>
            </a:ln>
          </p:spPr>
          <p:txBody>
            <a:bodyPr vert="horz" wrap="square" lIns="91416" tIns="45708" rIns="91416" bIns="45708" numCol="1" anchor="t" anchorCtr="0" compatLnSpc="1">
              <a:prstTxWarp prst="textNoShape">
                <a:avLst/>
              </a:prstTxWarp>
            </a:bodyPr>
            <a:lstStyle/>
            <a:p>
              <a:pPr defTabSz="914072" fontAlgn="ctr">
                <a:defRPr/>
              </a:pPr>
              <a:endParaRPr lang="en-US" altLang="zh-CN" sz="1200" kern="0" dirty="0">
                <a:solidFill>
                  <a:schemeClr val="bg1"/>
                </a:solidFill>
                <a:cs typeface="Times New Roman" pitchFamily="18" charset="0"/>
              </a:endParaRPr>
            </a:p>
          </p:txBody>
        </p:sp>
        <p:sp>
          <p:nvSpPr>
            <p:cNvPr id="147" name="41041075"/>
            <p:cNvSpPr>
              <a:spLocks noEditPoints="1"/>
            </p:cNvSpPr>
            <p:nvPr/>
          </p:nvSpPr>
          <p:spPr bwMode="auto">
            <a:xfrm>
              <a:off x="5458125" y="4644587"/>
              <a:ext cx="696913" cy="124963"/>
            </a:xfrm>
            <a:custGeom>
              <a:avLst/>
              <a:gdLst/>
              <a:ahLst/>
              <a:cxnLst>
                <a:cxn ang="0">
                  <a:pos x="16278" y="39"/>
                </a:cxn>
                <a:cxn ang="0">
                  <a:pos x="16504" y="184"/>
                </a:cxn>
                <a:cxn ang="0">
                  <a:pos x="16649" y="411"/>
                </a:cxn>
                <a:cxn ang="0">
                  <a:pos x="16687" y="3376"/>
                </a:cxn>
                <a:cxn ang="0">
                  <a:pos x="16612" y="3641"/>
                </a:cxn>
                <a:cxn ang="0">
                  <a:pos x="16437" y="3844"/>
                </a:cxn>
                <a:cxn ang="0">
                  <a:pos x="16189" y="3955"/>
                </a:cxn>
                <a:cxn ang="0">
                  <a:pos x="499" y="3955"/>
                </a:cxn>
                <a:cxn ang="0">
                  <a:pos x="251" y="3844"/>
                </a:cxn>
                <a:cxn ang="0">
                  <a:pos x="75" y="3641"/>
                </a:cxn>
                <a:cxn ang="0">
                  <a:pos x="1" y="3376"/>
                </a:cxn>
                <a:cxn ang="0">
                  <a:pos x="38" y="411"/>
                </a:cxn>
                <a:cxn ang="0">
                  <a:pos x="184" y="184"/>
                </a:cxn>
                <a:cxn ang="0">
                  <a:pos x="410" y="39"/>
                </a:cxn>
                <a:cxn ang="0">
                  <a:pos x="13820" y="2430"/>
                </a:cxn>
                <a:cxn ang="0">
                  <a:pos x="13953" y="2510"/>
                </a:cxn>
                <a:cxn ang="0">
                  <a:pos x="13976" y="2666"/>
                </a:cxn>
                <a:cxn ang="0">
                  <a:pos x="13873" y="2780"/>
                </a:cxn>
                <a:cxn ang="0">
                  <a:pos x="13714" y="2773"/>
                </a:cxn>
                <a:cxn ang="0">
                  <a:pos x="13623" y="2648"/>
                </a:cxn>
                <a:cxn ang="0">
                  <a:pos x="13661" y="2496"/>
                </a:cxn>
                <a:cxn ang="0">
                  <a:pos x="13802" y="2429"/>
                </a:cxn>
                <a:cxn ang="0">
                  <a:pos x="14470" y="2482"/>
                </a:cxn>
                <a:cxn ang="0">
                  <a:pos x="14522" y="2631"/>
                </a:cxn>
                <a:cxn ang="0">
                  <a:pos x="14442" y="2763"/>
                </a:cxn>
                <a:cxn ang="0">
                  <a:pos x="14286" y="2786"/>
                </a:cxn>
                <a:cxn ang="0">
                  <a:pos x="14172" y="2683"/>
                </a:cxn>
                <a:cxn ang="0">
                  <a:pos x="14180" y="2525"/>
                </a:cxn>
                <a:cxn ang="0">
                  <a:pos x="14304" y="2433"/>
                </a:cxn>
                <a:cxn ang="0">
                  <a:pos x="14981" y="2460"/>
                </a:cxn>
                <a:cxn ang="0">
                  <a:pos x="15061" y="2593"/>
                </a:cxn>
                <a:cxn ang="0">
                  <a:pos x="15008" y="2741"/>
                </a:cxn>
                <a:cxn ang="0">
                  <a:pos x="14861" y="2794"/>
                </a:cxn>
                <a:cxn ang="0">
                  <a:pos x="14728" y="2714"/>
                </a:cxn>
                <a:cxn ang="0">
                  <a:pos x="14705" y="2558"/>
                </a:cxn>
                <a:cxn ang="0">
                  <a:pos x="14809" y="2444"/>
                </a:cxn>
                <a:cxn ang="0">
                  <a:pos x="15489" y="2444"/>
                </a:cxn>
                <a:cxn ang="0">
                  <a:pos x="15592" y="2558"/>
                </a:cxn>
                <a:cxn ang="0">
                  <a:pos x="15569" y="2714"/>
                </a:cxn>
                <a:cxn ang="0">
                  <a:pos x="15436" y="2794"/>
                </a:cxn>
                <a:cxn ang="0">
                  <a:pos x="15289" y="2741"/>
                </a:cxn>
                <a:cxn ang="0">
                  <a:pos x="15236" y="2593"/>
                </a:cxn>
                <a:cxn ang="0">
                  <a:pos x="15315" y="2460"/>
                </a:cxn>
                <a:cxn ang="0">
                  <a:pos x="15712" y="1546"/>
                </a:cxn>
                <a:cxn ang="0">
                  <a:pos x="1822" y="1769"/>
                </a:cxn>
                <a:cxn ang="0">
                  <a:pos x="3288" y="1769"/>
                </a:cxn>
                <a:cxn ang="0">
                  <a:pos x="4754" y="1769"/>
                </a:cxn>
                <a:cxn ang="0">
                  <a:pos x="6219" y="1769"/>
                </a:cxn>
                <a:cxn ang="0">
                  <a:pos x="7685" y="1769"/>
                </a:cxn>
                <a:cxn ang="0">
                  <a:pos x="9151" y="1769"/>
                </a:cxn>
                <a:cxn ang="0">
                  <a:pos x="10617" y="1769"/>
                </a:cxn>
                <a:cxn ang="0">
                  <a:pos x="1822" y="2199"/>
                </a:cxn>
                <a:cxn ang="0">
                  <a:pos x="3288" y="2199"/>
                </a:cxn>
                <a:cxn ang="0">
                  <a:pos x="4754" y="2199"/>
                </a:cxn>
                <a:cxn ang="0">
                  <a:pos x="6219" y="2199"/>
                </a:cxn>
                <a:cxn ang="0">
                  <a:pos x="7685" y="2199"/>
                </a:cxn>
                <a:cxn ang="0">
                  <a:pos x="9151" y="2199"/>
                </a:cxn>
                <a:cxn ang="0">
                  <a:pos x="10617" y="2199"/>
                </a:cxn>
                <a:cxn ang="0">
                  <a:pos x="12128" y="1769"/>
                </a:cxn>
                <a:cxn ang="0">
                  <a:pos x="12128" y="2199"/>
                </a:cxn>
              </a:cxnLst>
              <a:rect l="0" t="0" r="r" b="b"/>
              <a:pathLst>
                <a:path w="16688" h="3968">
                  <a:moveTo>
                    <a:pt x="624" y="0"/>
                  </a:moveTo>
                  <a:lnTo>
                    <a:pt x="16064" y="0"/>
                  </a:lnTo>
                  <a:lnTo>
                    <a:pt x="16097" y="1"/>
                  </a:lnTo>
                  <a:lnTo>
                    <a:pt x="16128" y="3"/>
                  </a:lnTo>
                  <a:lnTo>
                    <a:pt x="16159" y="7"/>
                  </a:lnTo>
                  <a:lnTo>
                    <a:pt x="16189" y="13"/>
                  </a:lnTo>
                  <a:lnTo>
                    <a:pt x="16220" y="20"/>
                  </a:lnTo>
                  <a:lnTo>
                    <a:pt x="16249" y="28"/>
                  </a:lnTo>
                  <a:lnTo>
                    <a:pt x="16278" y="39"/>
                  </a:lnTo>
                  <a:lnTo>
                    <a:pt x="16306" y="49"/>
                  </a:lnTo>
                  <a:lnTo>
                    <a:pt x="16334" y="62"/>
                  </a:lnTo>
                  <a:lnTo>
                    <a:pt x="16360" y="76"/>
                  </a:lnTo>
                  <a:lnTo>
                    <a:pt x="16387" y="91"/>
                  </a:lnTo>
                  <a:lnTo>
                    <a:pt x="16413" y="108"/>
                  </a:lnTo>
                  <a:lnTo>
                    <a:pt x="16437" y="124"/>
                  </a:lnTo>
                  <a:lnTo>
                    <a:pt x="16461" y="143"/>
                  </a:lnTo>
                  <a:lnTo>
                    <a:pt x="16484" y="163"/>
                  </a:lnTo>
                  <a:lnTo>
                    <a:pt x="16504" y="184"/>
                  </a:lnTo>
                  <a:lnTo>
                    <a:pt x="16525" y="205"/>
                  </a:lnTo>
                  <a:lnTo>
                    <a:pt x="16545" y="228"/>
                  </a:lnTo>
                  <a:lnTo>
                    <a:pt x="16564" y="252"/>
                  </a:lnTo>
                  <a:lnTo>
                    <a:pt x="16581" y="276"/>
                  </a:lnTo>
                  <a:lnTo>
                    <a:pt x="16597" y="302"/>
                  </a:lnTo>
                  <a:lnTo>
                    <a:pt x="16612" y="328"/>
                  </a:lnTo>
                  <a:lnTo>
                    <a:pt x="16626" y="354"/>
                  </a:lnTo>
                  <a:lnTo>
                    <a:pt x="16639" y="382"/>
                  </a:lnTo>
                  <a:lnTo>
                    <a:pt x="16649" y="411"/>
                  </a:lnTo>
                  <a:lnTo>
                    <a:pt x="16660" y="440"/>
                  </a:lnTo>
                  <a:lnTo>
                    <a:pt x="16668" y="469"/>
                  </a:lnTo>
                  <a:lnTo>
                    <a:pt x="16675" y="499"/>
                  </a:lnTo>
                  <a:lnTo>
                    <a:pt x="16681" y="530"/>
                  </a:lnTo>
                  <a:lnTo>
                    <a:pt x="16685" y="561"/>
                  </a:lnTo>
                  <a:lnTo>
                    <a:pt x="16687" y="592"/>
                  </a:lnTo>
                  <a:lnTo>
                    <a:pt x="16688" y="625"/>
                  </a:lnTo>
                  <a:lnTo>
                    <a:pt x="16688" y="3343"/>
                  </a:lnTo>
                  <a:lnTo>
                    <a:pt x="16687" y="3376"/>
                  </a:lnTo>
                  <a:lnTo>
                    <a:pt x="16685" y="3407"/>
                  </a:lnTo>
                  <a:lnTo>
                    <a:pt x="16681" y="3438"/>
                  </a:lnTo>
                  <a:lnTo>
                    <a:pt x="16675" y="3469"/>
                  </a:lnTo>
                  <a:lnTo>
                    <a:pt x="16668" y="3499"/>
                  </a:lnTo>
                  <a:lnTo>
                    <a:pt x="16660" y="3529"/>
                  </a:lnTo>
                  <a:lnTo>
                    <a:pt x="16649" y="3557"/>
                  </a:lnTo>
                  <a:lnTo>
                    <a:pt x="16639" y="3586"/>
                  </a:lnTo>
                  <a:lnTo>
                    <a:pt x="16626" y="3614"/>
                  </a:lnTo>
                  <a:lnTo>
                    <a:pt x="16612" y="3641"/>
                  </a:lnTo>
                  <a:lnTo>
                    <a:pt x="16597" y="3667"/>
                  </a:lnTo>
                  <a:lnTo>
                    <a:pt x="16581" y="3692"/>
                  </a:lnTo>
                  <a:lnTo>
                    <a:pt x="16564" y="3716"/>
                  </a:lnTo>
                  <a:lnTo>
                    <a:pt x="16545" y="3740"/>
                  </a:lnTo>
                  <a:lnTo>
                    <a:pt x="16525" y="3763"/>
                  </a:lnTo>
                  <a:lnTo>
                    <a:pt x="16504" y="3784"/>
                  </a:lnTo>
                  <a:lnTo>
                    <a:pt x="16484" y="3805"/>
                  </a:lnTo>
                  <a:lnTo>
                    <a:pt x="16461" y="3825"/>
                  </a:lnTo>
                  <a:lnTo>
                    <a:pt x="16437" y="3844"/>
                  </a:lnTo>
                  <a:lnTo>
                    <a:pt x="16413" y="3861"/>
                  </a:lnTo>
                  <a:lnTo>
                    <a:pt x="16387" y="3877"/>
                  </a:lnTo>
                  <a:lnTo>
                    <a:pt x="16360" y="3893"/>
                  </a:lnTo>
                  <a:lnTo>
                    <a:pt x="16334" y="3906"/>
                  </a:lnTo>
                  <a:lnTo>
                    <a:pt x="16306" y="3919"/>
                  </a:lnTo>
                  <a:lnTo>
                    <a:pt x="16278" y="3930"/>
                  </a:lnTo>
                  <a:lnTo>
                    <a:pt x="16249" y="3940"/>
                  </a:lnTo>
                  <a:lnTo>
                    <a:pt x="16220" y="3948"/>
                  </a:lnTo>
                  <a:lnTo>
                    <a:pt x="16189" y="3955"/>
                  </a:lnTo>
                  <a:lnTo>
                    <a:pt x="16159" y="3961"/>
                  </a:lnTo>
                  <a:lnTo>
                    <a:pt x="16128" y="3965"/>
                  </a:lnTo>
                  <a:lnTo>
                    <a:pt x="16097" y="3967"/>
                  </a:lnTo>
                  <a:lnTo>
                    <a:pt x="16064" y="3968"/>
                  </a:lnTo>
                  <a:lnTo>
                    <a:pt x="624" y="3968"/>
                  </a:lnTo>
                  <a:lnTo>
                    <a:pt x="591" y="3967"/>
                  </a:lnTo>
                  <a:lnTo>
                    <a:pt x="560" y="3965"/>
                  </a:lnTo>
                  <a:lnTo>
                    <a:pt x="529" y="3961"/>
                  </a:lnTo>
                  <a:lnTo>
                    <a:pt x="499" y="3955"/>
                  </a:lnTo>
                  <a:lnTo>
                    <a:pt x="468" y="3948"/>
                  </a:lnTo>
                  <a:lnTo>
                    <a:pt x="438" y="3940"/>
                  </a:lnTo>
                  <a:lnTo>
                    <a:pt x="410" y="3930"/>
                  </a:lnTo>
                  <a:lnTo>
                    <a:pt x="382" y="3919"/>
                  </a:lnTo>
                  <a:lnTo>
                    <a:pt x="354" y="3906"/>
                  </a:lnTo>
                  <a:lnTo>
                    <a:pt x="326" y="3893"/>
                  </a:lnTo>
                  <a:lnTo>
                    <a:pt x="300" y="3877"/>
                  </a:lnTo>
                  <a:lnTo>
                    <a:pt x="275" y="3861"/>
                  </a:lnTo>
                  <a:lnTo>
                    <a:pt x="251" y="3844"/>
                  </a:lnTo>
                  <a:lnTo>
                    <a:pt x="227" y="3825"/>
                  </a:lnTo>
                  <a:lnTo>
                    <a:pt x="204" y="3805"/>
                  </a:lnTo>
                  <a:lnTo>
                    <a:pt x="184" y="3784"/>
                  </a:lnTo>
                  <a:lnTo>
                    <a:pt x="163" y="3763"/>
                  </a:lnTo>
                  <a:lnTo>
                    <a:pt x="143" y="3740"/>
                  </a:lnTo>
                  <a:lnTo>
                    <a:pt x="124" y="3716"/>
                  </a:lnTo>
                  <a:lnTo>
                    <a:pt x="106" y="3692"/>
                  </a:lnTo>
                  <a:lnTo>
                    <a:pt x="91" y="3667"/>
                  </a:lnTo>
                  <a:lnTo>
                    <a:pt x="75" y="3641"/>
                  </a:lnTo>
                  <a:lnTo>
                    <a:pt x="62" y="3614"/>
                  </a:lnTo>
                  <a:lnTo>
                    <a:pt x="49" y="3586"/>
                  </a:lnTo>
                  <a:lnTo>
                    <a:pt x="38" y="3557"/>
                  </a:lnTo>
                  <a:lnTo>
                    <a:pt x="28" y="3529"/>
                  </a:lnTo>
                  <a:lnTo>
                    <a:pt x="20" y="3499"/>
                  </a:lnTo>
                  <a:lnTo>
                    <a:pt x="13" y="3469"/>
                  </a:lnTo>
                  <a:lnTo>
                    <a:pt x="7" y="3438"/>
                  </a:lnTo>
                  <a:lnTo>
                    <a:pt x="3" y="3407"/>
                  </a:lnTo>
                  <a:lnTo>
                    <a:pt x="1" y="3376"/>
                  </a:lnTo>
                  <a:lnTo>
                    <a:pt x="0" y="3343"/>
                  </a:lnTo>
                  <a:lnTo>
                    <a:pt x="0" y="625"/>
                  </a:lnTo>
                  <a:lnTo>
                    <a:pt x="1" y="592"/>
                  </a:lnTo>
                  <a:lnTo>
                    <a:pt x="3" y="561"/>
                  </a:lnTo>
                  <a:lnTo>
                    <a:pt x="7" y="530"/>
                  </a:lnTo>
                  <a:lnTo>
                    <a:pt x="13" y="499"/>
                  </a:lnTo>
                  <a:lnTo>
                    <a:pt x="20" y="469"/>
                  </a:lnTo>
                  <a:lnTo>
                    <a:pt x="28" y="440"/>
                  </a:lnTo>
                  <a:lnTo>
                    <a:pt x="38" y="411"/>
                  </a:lnTo>
                  <a:lnTo>
                    <a:pt x="49" y="382"/>
                  </a:lnTo>
                  <a:lnTo>
                    <a:pt x="62" y="354"/>
                  </a:lnTo>
                  <a:lnTo>
                    <a:pt x="75" y="328"/>
                  </a:lnTo>
                  <a:lnTo>
                    <a:pt x="91" y="302"/>
                  </a:lnTo>
                  <a:lnTo>
                    <a:pt x="106" y="276"/>
                  </a:lnTo>
                  <a:lnTo>
                    <a:pt x="124" y="252"/>
                  </a:lnTo>
                  <a:lnTo>
                    <a:pt x="143" y="228"/>
                  </a:lnTo>
                  <a:lnTo>
                    <a:pt x="163" y="205"/>
                  </a:lnTo>
                  <a:lnTo>
                    <a:pt x="184" y="184"/>
                  </a:lnTo>
                  <a:lnTo>
                    <a:pt x="204" y="163"/>
                  </a:lnTo>
                  <a:lnTo>
                    <a:pt x="227" y="143"/>
                  </a:lnTo>
                  <a:lnTo>
                    <a:pt x="251" y="124"/>
                  </a:lnTo>
                  <a:lnTo>
                    <a:pt x="275" y="108"/>
                  </a:lnTo>
                  <a:lnTo>
                    <a:pt x="300" y="91"/>
                  </a:lnTo>
                  <a:lnTo>
                    <a:pt x="326" y="76"/>
                  </a:lnTo>
                  <a:lnTo>
                    <a:pt x="354" y="62"/>
                  </a:lnTo>
                  <a:lnTo>
                    <a:pt x="382" y="49"/>
                  </a:lnTo>
                  <a:lnTo>
                    <a:pt x="410" y="39"/>
                  </a:lnTo>
                  <a:lnTo>
                    <a:pt x="438" y="28"/>
                  </a:lnTo>
                  <a:lnTo>
                    <a:pt x="468" y="20"/>
                  </a:lnTo>
                  <a:lnTo>
                    <a:pt x="499" y="13"/>
                  </a:lnTo>
                  <a:lnTo>
                    <a:pt x="529" y="7"/>
                  </a:lnTo>
                  <a:lnTo>
                    <a:pt x="560" y="3"/>
                  </a:lnTo>
                  <a:lnTo>
                    <a:pt x="591" y="1"/>
                  </a:lnTo>
                  <a:lnTo>
                    <a:pt x="624" y="0"/>
                  </a:lnTo>
                  <a:close/>
                  <a:moveTo>
                    <a:pt x="13802" y="2429"/>
                  </a:moveTo>
                  <a:lnTo>
                    <a:pt x="13820" y="2430"/>
                  </a:lnTo>
                  <a:lnTo>
                    <a:pt x="13839" y="2433"/>
                  </a:lnTo>
                  <a:lnTo>
                    <a:pt x="13856" y="2437"/>
                  </a:lnTo>
                  <a:lnTo>
                    <a:pt x="13873" y="2444"/>
                  </a:lnTo>
                  <a:lnTo>
                    <a:pt x="13889" y="2451"/>
                  </a:lnTo>
                  <a:lnTo>
                    <a:pt x="13903" y="2460"/>
                  </a:lnTo>
                  <a:lnTo>
                    <a:pt x="13918" y="2471"/>
                  </a:lnTo>
                  <a:lnTo>
                    <a:pt x="13930" y="2482"/>
                  </a:lnTo>
                  <a:lnTo>
                    <a:pt x="13942" y="2496"/>
                  </a:lnTo>
                  <a:lnTo>
                    <a:pt x="13953" y="2510"/>
                  </a:lnTo>
                  <a:lnTo>
                    <a:pt x="13962" y="2525"/>
                  </a:lnTo>
                  <a:lnTo>
                    <a:pt x="13970" y="2541"/>
                  </a:lnTo>
                  <a:lnTo>
                    <a:pt x="13976" y="2558"/>
                  </a:lnTo>
                  <a:lnTo>
                    <a:pt x="13980" y="2575"/>
                  </a:lnTo>
                  <a:lnTo>
                    <a:pt x="13984" y="2593"/>
                  </a:lnTo>
                  <a:lnTo>
                    <a:pt x="13985" y="2612"/>
                  </a:lnTo>
                  <a:lnTo>
                    <a:pt x="13984" y="2631"/>
                  </a:lnTo>
                  <a:lnTo>
                    <a:pt x="13980" y="2648"/>
                  </a:lnTo>
                  <a:lnTo>
                    <a:pt x="13976" y="2666"/>
                  </a:lnTo>
                  <a:lnTo>
                    <a:pt x="13970" y="2683"/>
                  </a:lnTo>
                  <a:lnTo>
                    <a:pt x="13962" y="2699"/>
                  </a:lnTo>
                  <a:lnTo>
                    <a:pt x="13953" y="2714"/>
                  </a:lnTo>
                  <a:lnTo>
                    <a:pt x="13942" y="2728"/>
                  </a:lnTo>
                  <a:lnTo>
                    <a:pt x="13930" y="2741"/>
                  </a:lnTo>
                  <a:lnTo>
                    <a:pt x="13918" y="2753"/>
                  </a:lnTo>
                  <a:lnTo>
                    <a:pt x="13903" y="2763"/>
                  </a:lnTo>
                  <a:lnTo>
                    <a:pt x="13889" y="2773"/>
                  </a:lnTo>
                  <a:lnTo>
                    <a:pt x="13873" y="2780"/>
                  </a:lnTo>
                  <a:lnTo>
                    <a:pt x="13856" y="2786"/>
                  </a:lnTo>
                  <a:lnTo>
                    <a:pt x="13839" y="2791"/>
                  </a:lnTo>
                  <a:lnTo>
                    <a:pt x="13820" y="2794"/>
                  </a:lnTo>
                  <a:lnTo>
                    <a:pt x="13802" y="2795"/>
                  </a:lnTo>
                  <a:lnTo>
                    <a:pt x="13783" y="2794"/>
                  </a:lnTo>
                  <a:lnTo>
                    <a:pt x="13764" y="2791"/>
                  </a:lnTo>
                  <a:lnTo>
                    <a:pt x="13748" y="2786"/>
                  </a:lnTo>
                  <a:lnTo>
                    <a:pt x="13731" y="2780"/>
                  </a:lnTo>
                  <a:lnTo>
                    <a:pt x="13714" y="2773"/>
                  </a:lnTo>
                  <a:lnTo>
                    <a:pt x="13700" y="2763"/>
                  </a:lnTo>
                  <a:lnTo>
                    <a:pt x="13685" y="2753"/>
                  </a:lnTo>
                  <a:lnTo>
                    <a:pt x="13673" y="2741"/>
                  </a:lnTo>
                  <a:lnTo>
                    <a:pt x="13661" y="2728"/>
                  </a:lnTo>
                  <a:lnTo>
                    <a:pt x="13651" y="2714"/>
                  </a:lnTo>
                  <a:lnTo>
                    <a:pt x="13641" y="2699"/>
                  </a:lnTo>
                  <a:lnTo>
                    <a:pt x="13634" y="2683"/>
                  </a:lnTo>
                  <a:lnTo>
                    <a:pt x="13628" y="2666"/>
                  </a:lnTo>
                  <a:lnTo>
                    <a:pt x="13623" y="2648"/>
                  </a:lnTo>
                  <a:lnTo>
                    <a:pt x="13621" y="2631"/>
                  </a:lnTo>
                  <a:lnTo>
                    <a:pt x="13619" y="2612"/>
                  </a:lnTo>
                  <a:lnTo>
                    <a:pt x="13621" y="2593"/>
                  </a:lnTo>
                  <a:lnTo>
                    <a:pt x="13623" y="2575"/>
                  </a:lnTo>
                  <a:lnTo>
                    <a:pt x="13628" y="2558"/>
                  </a:lnTo>
                  <a:lnTo>
                    <a:pt x="13634" y="2541"/>
                  </a:lnTo>
                  <a:lnTo>
                    <a:pt x="13641" y="2525"/>
                  </a:lnTo>
                  <a:lnTo>
                    <a:pt x="13651" y="2510"/>
                  </a:lnTo>
                  <a:lnTo>
                    <a:pt x="13661" y="2496"/>
                  </a:lnTo>
                  <a:lnTo>
                    <a:pt x="13673" y="2482"/>
                  </a:lnTo>
                  <a:lnTo>
                    <a:pt x="13685" y="2471"/>
                  </a:lnTo>
                  <a:lnTo>
                    <a:pt x="13700" y="2460"/>
                  </a:lnTo>
                  <a:lnTo>
                    <a:pt x="13714" y="2451"/>
                  </a:lnTo>
                  <a:lnTo>
                    <a:pt x="13731" y="2444"/>
                  </a:lnTo>
                  <a:lnTo>
                    <a:pt x="13748" y="2437"/>
                  </a:lnTo>
                  <a:lnTo>
                    <a:pt x="13764" y="2433"/>
                  </a:lnTo>
                  <a:lnTo>
                    <a:pt x="13783" y="2430"/>
                  </a:lnTo>
                  <a:lnTo>
                    <a:pt x="13802" y="2429"/>
                  </a:lnTo>
                  <a:close/>
                  <a:moveTo>
                    <a:pt x="14340" y="2429"/>
                  </a:moveTo>
                  <a:lnTo>
                    <a:pt x="14359" y="2430"/>
                  </a:lnTo>
                  <a:lnTo>
                    <a:pt x="14377" y="2433"/>
                  </a:lnTo>
                  <a:lnTo>
                    <a:pt x="14394" y="2437"/>
                  </a:lnTo>
                  <a:lnTo>
                    <a:pt x="14411" y="2444"/>
                  </a:lnTo>
                  <a:lnTo>
                    <a:pt x="14427" y="2451"/>
                  </a:lnTo>
                  <a:lnTo>
                    <a:pt x="14442" y="2460"/>
                  </a:lnTo>
                  <a:lnTo>
                    <a:pt x="14456" y="2471"/>
                  </a:lnTo>
                  <a:lnTo>
                    <a:pt x="14470" y="2482"/>
                  </a:lnTo>
                  <a:lnTo>
                    <a:pt x="14481" y="2496"/>
                  </a:lnTo>
                  <a:lnTo>
                    <a:pt x="14491" y="2510"/>
                  </a:lnTo>
                  <a:lnTo>
                    <a:pt x="14501" y="2525"/>
                  </a:lnTo>
                  <a:lnTo>
                    <a:pt x="14508" y="2541"/>
                  </a:lnTo>
                  <a:lnTo>
                    <a:pt x="14514" y="2558"/>
                  </a:lnTo>
                  <a:lnTo>
                    <a:pt x="14519" y="2575"/>
                  </a:lnTo>
                  <a:lnTo>
                    <a:pt x="14522" y="2593"/>
                  </a:lnTo>
                  <a:lnTo>
                    <a:pt x="14523" y="2612"/>
                  </a:lnTo>
                  <a:lnTo>
                    <a:pt x="14522" y="2631"/>
                  </a:lnTo>
                  <a:lnTo>
                    <a:pt x="14519" y="2648"/>
                  </a:lnTo>
                  <a:lnTo>
                    <a:pt x="14514" y="2666"/>
                  </a:lnTo>
                  <a:lnTo>
                    <a:pt x="14508" y="2683"/>
                  </a:lnTo>
                  <a:lnTo>
                    <a:pt x="14501" y="2699"/>
                  </a:lnTo>
                  <a:lnTo>
                    <a:pt x="14491" y="2714"/>
                  </a:lnTo>
                  <a:lnTo>
                    <a:pt x="14481" y="2728"/>
                  </a:lnTo>
                  <a:lnTo>
                    <a:pt x="14470" y="2741"/>
                  </a:lnTo>
                  <a:lnTo>
                    <a:pt x="14456" y="2753"/>
                  </a:lnTo>
                  <a:lnTo>
                    <a:pt x="14442" y="2763"/>
                  </a:lnTo>
                  <a:lnTo>
                    <a:pt x="14427" y="2773"/>
                  </a:lnTo>
                  <a:lnTo>
                    <a:pt x="14411" y="2780"/>
                  </a:lnTo>
                  <a:lnTo>
                    <a:pt x="14394" y="2786"/>
                  </a:lnTo>
                  <a:lnTo>
                    <a:pt x="14377" y="2791"/>
                  </a:lnTo>
                  <a:lnTo>
                    <a:pt x="14359" y="2794"/>
                  </a:lnTo>
                  <a:lnTo>
                    <a:pt x="14340" y="2795"/>
                  </a:lnTo>
                  <a:lnTo>
                    <a:pt x="14321" y="2794"/>
                  </a:lnTo>
                  <a:lnTo>
                    <a:pt x="14304" y="2791"/>
                  </a:lnTo>
                  <a:lnTo>
                    <a:pt x="14286" y="2786"/>
                  </a:lnTo>
                  <a:lnTo>
                    <a:pt x="14269" y="2780"/>
                  </a:lnTo>
                  <a:lnTo>
                    <a:pt x="14254" y="2773"/>
                  </a:lnTo>
                  <a:lnTo>
                    <a:pt x="14238" y="2763"/>
                  </a:lnTo>
                  <a:lnTo>
                    <a:pt x="14224" y="2753"/>
                  </a:lnTo>
                  <a:lnTo>
                    <a:pt x="14212" y="2741"/>
                  </a:lnTo>
                  <a:lnTo>
                    <a:pt x="14199" y="2728"/>
                  </a:lnTo>
                  <a:lnTo>
                    <a:pt x="14189" y="2714"/>
                  </a:lnTo>
                  <a:lnTo>
                    <a:pt x="14180" y="2699"/>
                  </a:lnTo>
                  <a:lnTo>
                    <a:pt x="14172" y="2683"/>
                  </a:lnTo>
                  <a:lnTo>
                    <a:pt x="14166" y="2666"/>
                  </a:lnTo>
                  <a:lnTo>
                    <a:pt x="14162" y="2648"/>
                  </a:lnTo>
                  <a:lnTo>
                    <a:pt x="14159" y="2631"/>
                  </a:lnTo>
                  <a:lnTo>
                    <a:pt x="14158" y="2612"/>
                  </a:lnTo>
                  <a:lnTo>
                    <a:pt x="14159" y="2593"/>
                  </a:lnTo>
                  <a:lnTo>
                    <a:pt x="14162" y="2575"/>
                  </a:lnTo>
                  <a:lnTo>
                    <a:pt x="14166" y="2558"/>
                  </a:lnTo>
                  <a:lnTo>
                    <a:pt x="14172" y="2541"/>
                  </a:lnTo>
                  <a:lnTo>
                    <a:pt x="14180" y="2525"/>
                  </a:lnTo>
                  <a:lnTo>
                    <a:pt x="14189" y="2510"/>
                  </a:lnTo>
                  <a:lnTo>
                    <a:pt x="14199" y="2496"/>
                  </a:lnTo>
                  <a:lnTo>
                    <a:pt x="14212" y="2482"/>
                  </a:lnTo>
                  <a:lnTo>
                    <a:pt x="14224" y="2471"/>
                  </a:lnTo>
                  <a:lnTo>
                    <a:pt x="14238" y="2460"/>
                  </a:lnTo>
                  <a:lnTo>
                    <a:pt x="14254" y="2451"/>
                  </a:lnTo>
                  <a:lnTo>
                    <a:pt x="14269" y="2444"/>
                  </a:lnTo>
                  <a:lnTo>
                    <a:pt x="14286" y="2437"/>
                  </a:lnTo>
                  <a:lnTo>
                    <a:pt x="14304" y="2433"/>
                  </a:lnTo>
                  <a:lnTo>
                    <a:pt x="14321" y="2430"/>
                  </a:lnTo>
                  <a:lnTo>
                    <a:pt x="14340" y="2429"/>
                  </a:lnTo>
                  <a:close/>
                  <a:moveTo>
                    <a:pt x="14879" y="2429"/>
                  </a:moveTo>
                  <a:lnTo>
                    <a:pt x="14897" y="2430"/>
                  </a:lnTo>
                  <a:lnTo>
                    <a:pt x="14916" y="2433"/>
                  </a:lnTo>
                  <a:lnTo>
                    <a:pt x="14933" y="2437"/>
                  </a:lnTo>
                  <a:lnTo>
                    <a:pt x="14950" y="2444"/>
                  </a:lnTo>
                  <a:lnTo>
                    <a:pt x="14966" y="2451"/>
                  </a:lnTo>
                  <a:lnTo>
                    <a:pt x="14981" y="2460"/>
                  </a:lnTo>
                  <a:lnTo>
                    <a:pt x="14995" y="2471"/>
                  </a:lnTo>
                  <a:lnTo>
                    <a:pt x="15008" y="2482"/>
                  </a:lnTo>
                  <a:lnTo>
                    <a:pt x="15019" y="2496"/>
                  </a:lnTo>
                  <a:lnTo>
                    <a:pt x="15031" y="2510"/>
                  </a:lnTo>
                  <a:lnTo>
                    <a:pt x="15039" y="2525"/>
                  </a:lnTo>
                  <a:lnTo>
                    <a:pt x="15047" y="2541"/>
                  </a:lnTo>
                  <a:lnTo>
                    <a:pt x="15054" y="2558"/>
                  </a:lnTo>
                  <a:lnTo>
                    <a:pt x="15058" y="2575"/>
                  </a:lnTo>
                  <a:lnTo>
                    <a:pt x="15061" y="2593"/>
                  </a:lnTo>
                  <a:lnTo>
                    <a:pt x="15062" y="2612"/>
                  </a:lnTo>
                  <a:lnTo>
                    <a:pt x="15061" y="2631"/>
                  </a:lnTo>
                  <a:lnTo>
                    <a:pt x="15058" y="2648"/>
                  </a:lnTo>
                  <a:lnTo>
                    <a:pt x="15054" y="2666"/>
                  </a:lnTo>
                  <a:lnTo>
                    <a:pt x="15047" y="2683"/>
                  </a:lnTo>
                  <a:lnTo>
                    <a:pt x="15039" y="2699"/>
                  </a:lnTo>
                  <a:lnTo>
                    <a:pt x="15031" y="2714"/>
                  </a:lnTo>
                  <a:lnTo>
                    <a:pt x="15019" y="2728"/>
                  </a:lnTo>
                  <a:lnTo>
                    <a:pt x="15008" y="2741"/>
                  </a:lnTo>
                  <a:lnTo>
                    <a:pt x="14995" y="2753"/>
                  </a:lnTo>
                  <a:lnTo>
                    <a:pt x="14981" y="2763"/>
                  </a:lnTo>
                  <a:lnTo>
                    <a:pt x="14966" y="2773"/>
                  </a:lnTo>
                  <a:lnTo>
                    <a:pt x="14950" y="2780"/>
                  </a:lnTo>
                  <a:lnTo>
                    <a:pt x="14933" y="2786"/>
                  </a:lnTo>
                  <a:lnTo>
                    <a:pt x="14916" y="2791"/>
                  </a:lnTo>
                  <a:lnTo>
                    <a:pt x="14897" y="2794"/>
                  </a:lnTo>
                  <a:lnTo>
                    <a:pt x="14879" y="2795"/>
                  </a:lnTo>
                  <a:lnTo>
                    <a:pt x="14861" y="2794"/>
                  </a:lnTo>
                  <a:lnTo>
                    <a:pt x="14842" y="2791"/>
                  </a:lnTo>
                  <a:lnTo>
                    <a:pt x="14825" y="2786"/>
                  </a:lnTo>
                  <a:lnTo>
                    <a:pt x="14809" y="2780"/>
                  </a:lnTo>
                  <a:lnTo>
                    <a:pt x="14792" y="2773"/>
                  </a:lnTo>
                  <a:lnTo>
                    <a:pt x="14777" y="2763"/>
                  </a:lnTo>
                  <a:lnTo>
                    <a:pt x="14763" y="2753"/>
                  </a:lnTo>
                  <a:lnTo>
                    <a:pt x="14750" y="2741"/>
                  </a:lnTo>
                  <a:lnTo>
                    <a:pt x="14739" y="2728"/>
                  </a:lnTo>
                  <a:lnTo>
                    <a:pt x="14728" y="2714"/>
                  </a:lnTo>
                  <a:lnTo>
                    <a:pt x="14719" y="2699"/>
                  </a:lnTo>
                  <a:lnTo>
                    <a:pt x="14710" y="2683"/>
                  </a:lnTo>
                  <a:lnTo>
                    <a:pt x="14705" y="2666"/>
                  </a:lnTo>
                  <a:lnTo>
                    <a:pt x="14700" y="2648"/>
                  </a:lnTo>
                  <a:lnTo>
                    <a:pt x="14698" y="2631"/>
                  </a:lnTo>
                  <a:lnTo>
                    <a:pt x="14697" y="2612"/>
                  </a:lnTo>
                  <a:lnTo>
                    <a:pt x="14698" y="2593"/>
                  </a:lnTo>
                  <a:lnTo>
                    <a:pt x="14700" y="2575"/>
                  </a:lnTo>
                  <a:lnTo>
                    <a:pt x="14705" y="2558"/>
                  </a:lnTo>
                  <a:lnTo>
                    <a:pt x="14710" y="2541"/>
                  </a:lnTo>
                  <a:lnTo>
                    <a:pt x="14719" y="2525"/>
                  </a:lnTo>
                  <a:lnTo>
                    <a:pt x="14728" y="2510"/>
                  </a:lnTo>
                  <a:lnTo>
                    <a:pt x="14739" y="2496"/>
                  </a:lnTo>
                  <a:lnTo>
                    <a:pt x="14750" y="2482"/>
                  </a:lnTo>
                  <a:lnTo>
                    <a:pt x="14763" y="2471"/>
                  </a:lnTo>
                  <a:lnTo>
                    <a:pt x="14777" y="2460"/>
                  </a:lnTo>
                  <a:lnTo>
                    <a:pt x="14792" y="2451"/>
                  </a:lnTo>
                  <a:lnTo>
                    <a:pt x="14809" y="2444"/>
                  </a:lnTo>
                  <a:lnTo>
                    <a:pt x="14825" y="2437"/>
                  </a:lnTo>
                  <a:lnTo>
                    <a:pt x="14842" y="2433"/>
                  </a:lnTo>
                  <a:lnTo>
                    <a:pt x="14861" y="2430"/>
                  </a:lnTo>
                  <a:lnTo>
                    <a:pt x="14879" y="2429"/>
                  </a:lnTo>
                  <a:close/>
                  <a:moveTo>
                    <a:pt x="15418" y="2429"/>
                  </a:moveTo>
                  <a:lnTo>
                    <a:pt x="15436" y="2430"/>
                  </a:lnTo>
                  <a:lnTo>
                    <a:pt x="15454" y="2433"/>
                  </a:lnTo>
                  <a:lnTo>
                    <a:pt x="15472" y="2437"/>
                  </a:lnTo>
                  <a:lnTo>
                    <a:pt x="15489" y="2444"/>
                  </a:lnTo>
                  <a:lnTo>
                    <a:pt x="15504" y="2451"/>
                  </a:lnTo>
                  <a:lnTo>
                    <a:pt x="15520" y="2460"/>
                  </a:lnTo>
                  <a:lnTo>
                    <a:pt x="15533" y="2471"/>
                  </a:lnTo>
                  <a:lnTo>
                    <a:pt x="15547" y="2482"/>
                  </a:lnTo>
                  <a:lnTo>
                    <a:pt x="15558" y="2496"/>
                  </a:lnTo>
                  <a:lnTo>
                    <a:pt x="15569" y="2510"/>
                  </a:lnTo>
                  <a:lnTo>
                    <a:pt x="15578" y="2525"/>
                  </a:lnTo>
                  <a:lnTo>
                    <a:pt x="15586" y="2541"/>
                  </a:lnTo>
                  <a:lnTo>
                    <a:pt x="15592" y="2558"/>
                  </a:lnTo>
                  <a:lnTo>
                    <a:pt x="15596" y="2575"/>
                  </a:lnTo>
                  <a:lnTo>
                    <a:pt x="15599" y="2593"/>
                  </a:lnTo>
                  <a:lnTo>
                    <a:pt x="15600" y="2612"/>
                  </a:lnTo>
                  <a:lnTo>
                    <a:pt x="15599" y="2631"/>
                  </a:lnTo>
                  <a:lnTo>
                    <a:pt x="15596" y="2648"/>
                  </a:lnTo>
                  <a:lnTo>
                    <a:pt x="15592" y="2666"/>
                  </a:lnTo>
                  <a:lnTo>
                    <a:pt x="15586" y="2683"/>
                  </a:lnTo>
                  <a:lnTo>
                    <a:pt x="15578" y="2699"/>
                  </a:lnTo>
                  <a:lnTo>
                    <a:pt x="15569" y="2714"/>
                  </a:lnTo>
                  <a:lnTo>
                    <a:pt x="15558" y="2728"/>
                  </a:lnTo>
                  <a:lnTo>
                    <a:pt x="15547" y="2741"/>
                  </a:lnTo>
                  <a:lnTo>
                    <a:pt x="15533" y="2753"/>
                  </a:lnTo>
                  <a:lnTo>
                    <a:pt x="15520" y="2763"/>
                  </a:lnTo>
                  <a:lnTo>
                    <a:pt x="15504" y="2773"/>
                  </a:lnTo>
                  <a:lnTo>
                    <a:pt x="15489" y="2780"/>
                  </a:lnTo>
                  <a:lnTo>
                    <a:pt x="15472" y="2786"/>
                  </a:lnTo>
                  <a:lnTo>
                    <a:pt x="15454" y="2791"/>
                  </a:lnTo>
                  <a:lnTo>
                    <a:pt x="15436" y="2794"/>
                  </a:lnTo>
                  <a:lnTo>
                    <a:pt x="15418" y="2795"/>
                  </a:lnTo>
                  <a:lnTo>
                    <a:pt x="15399" y="2794"/>
                  </a:lnTo>
                  <a:lnTo>
                    <a:pt x="15381" y="2791"/>
                  </a:lnTo>
                  <a:lnTo>
                    <a:pt x="15363" y="2786"/>
                  </a:lnTo>
                  <a:lnTo>
                    <a:pt x="15347" y="2780"/>
                  </a:lnTo>
                  <a:lnTo>
                    <a:pt x="15331" y="2773"/>
                  </a:lnTo>
                  <a:lnTo>
                    <a:pt x="15315" y="2763"/>
                  </a:lnTo>
                  <a:lnTo>
                    <a:pt x="15302" y="2753"/>
                  </a:lnTo>
                  <a:lnTo>
                    <a:pt x="15289" y="2741"/>
                  </a:lnTo>
                  <a:lnTo>
                    <a:pt x="15277" y="2728"/>
                  </a:lnTo>
                  <a:lnTo>
                    <a:pt x="15266" y="2714"/>
                  </a:lnTo>
                  <a:lnTo>
                    <a:pt x="15257" y="2699"/>
                  </a:lnTo>
                  <a:lnTo>
                    <a:pt x="15250" y="2683"/>
                  </a:lnTo>
                  <a:lnTo>
                    <a:pt x="15243" y="2666"/>
                  </a:lnTo>
                  <a:lnTo>
                    <a:pt x="15239" y="2648"/>
                  </a:lnTo>
                  <a:lnTo>
                    <a:pt x="15236" y="2631"/>
                  </a:lnTo>
                  <a:lnTo>
                    <a:pt x="15235" y="2612"/>
                  </a:lnTo>
                  <a:lnTo>
                    <a:pt x="15236" y="2593"/>
                  </a:lnTo>
                  <a:lnTo>
                    <a:pt x="15239" y="2575"/>
                  </a:lnTo>
                  <a:lnTo>
                    <a:pt x="15243" y="2558"/>
                  </a:lnTo>
                  <a:lnTo>
                    <a:pt x="15250" y="2541"/>
                  </a:lnTo>
                  <a:lnTo>
                    <a:pt x="15257" y="2525"/>
                  </a:lnTo>
                  <a:lnTo>
                    <a:pt x="15266" y="2510"/>
                  </a:lnTo>
                  <a:lnTo>
                    <a:pt x="15277" y="2496"/>
                  </a:lnTo>
                  <a:lnTo>
                    <a:pt x="15289" y="2482"/>
                  </a:lnTo>
                  <a:lnTo>
                    <a:pt x="15302" y="2471"/>
                  </a:lnTo>
                  <a:lnTo>
                    <a:pt x="15315" y="2460"/>
                  </a:lnTo>
                  <a:lnTo>
                    <a:pt x="15331" y="2451"/>
                  </a:lnTo>
                  <a:lnTo>
                    <a:pt x="15347" y="2444"/>
                  </a:lnTo>
                  <a:lnTo>
                    <a:pt x="15363" y="2437"/>
                  </a:lnTo>
                  <a:lnTo>
                    <a:pt x="15381" y="2433"/>
                  </a:lnTo>
                  <a:lnTo>
                    <a:pt x="15399" y="2430"/>
                  </a:lnTo>
                  <a:lnTo>
                    <a:pt x="15418" y="2429"/>
                  </a:lnTo>
                  <a:close/>
                  <a:moveTo>
                    <a:pt x="13682" y="943"/>
                  </a:moveTo>
                  <a:lnTo>
                    <a:pt x="15712" y="943"/>
                  </a:lnTo>
                  <a:lnTo>
                    <a:pt x="15712" y="1546"/>
                  </a:lnTo>
                  <a:lnTo>
                    <a:pt x="13682" y="1546"/>
                  </a:lnTo>
                  <a:lnTo>
                    <a:pt x="13682" y="943"/>
                  </a:lnTo>
                  <a:close/>
                  <a:moveTo>
                    <a:pt x="1545" y="1123"/>
                  </a:moveTo>
                  <a:lnTo>
                    <a:pt x="1545" y="943"/>
                  </a:lnTo>
                  <a:lnTo>
                    <a:pt x="1089" y="943"/>
                  </a:lnTo>
                  <a:lnTo>
                    <a:pt x="1089" y="1123"/>
                  </a:lnTo>
                  <a:lnTo>
                    <a:pt x="811" y="1123"/>
                  </a:lnTo>
                  <a:lnTo>
                    <a:pt x="811" y="1769"/>
                  </a:lnTo>
                  <a:lnTo>
                    <a:pt x="1822" y="1769"/>
                  </a:lnTo>
                  <a:lnTo>
                    <a:pt x="1822" y="1123"/>
                  </a:lnTo>
                  <a:lnTo>
                    <a:pt x="1545" y="1123"/>
                  </a:lnTo>
                  <a:close/>
                  <a:moveTo>
                    <a:pt x="3010" y="1123"/>
                  </a:moveTo>
                  <a:lnTo>
                    <a:pt x="3010" y="943"/>
                  </a:lnTo>
                  <a:lnTo>
                    <a:pt x="2555" y="943"/>
                  </a:lnTo>
                  <a:lnTo>
                    <a:pt x="2555" y="1123"/>
                  </a:lnTo>
                  <a:lnTo>
                    <a:pt x="2278" y="1123"/>
                  </a:lnTo>
                  <a:lnTo>
                    <a:pt x="2278" y="1769"/>
                  </a:lnTo>
                  <a:lnTo>
                    <a:pt x="3288" y="1769"/>
                  </a:lnTo>
                  <a:lnTo>
                    <a:pt x="3288" y="1123"/>
                  </a:lnTo>
                  <a:lnTo>
                    <a:pt x="3010" y="1123"/>
                  </a:lnTo>
                  <a:close/>
                  <a:moveTo>
                    <a:pt x="4477" y="1123"/>
                  </a:moveTo>
                  <a:lnTo>
                    <a:pt x="4477" y="943"/>
                  </a:lnTo>
                  <a:lnTo>
                    <a:pt x="4021" y="943"/>
                  </a:lnTo>
                  <a:lnTo>
                    <a:pt x="4021" y="1123"/>
                  </a:lnTo>
                  <a:lnTo>
                    <a:pt x="3743" y="1123"/>
                  </a:lnTo>
                  <a:lnTo>
                    <a:pt x="3743" y="1769"/>
                  </a:lnTo>
                  <a:lnTo>
                    <a:pt x="4754" y="1769"/>
                  </a:lnTo>
                  <a:lnTo>
                    <a:pt x="4754" y="1123"/>
                  </a:lnTo>
                  <a:lnTo>
                    <a:pt x="4477" y="1123"/>
                  </a:lnTo>
                  <a:close/>
                  <a:moveTo>
                    <a:pt x="5942" y="1123"/>
                  </a:moveTo>
                  <a:lnTo>
                    <a:pt x="5942" y="943"/>
                  </a:lnTo>
                  <a:lnTo>
                    <a:pt x="5486" y="943"/>
                  </a:lnTo>
                  <a:lnTo>
                    <a:pt x="5486" y="1123"/>
                  </a:lnTo>
                  <a:lnTo>
                    <a:pt x="5209" y="1123"/>
                  </a:lnTo>
                  <a:lnTo>
                    <a:pt x="5209" y="1769"/>
                  </a:lnTo>
                  <a:lnTo>
                    <a:pt x="6219" y="1769"/>
                  </a:lnTo>
                  <a:lnTo>
                    <a:pt x="6219" y="1123"/>
                  </a:lnTo>
                  <a:lnTo>
                    <a:pt x="5942" y="1123"/>
                  </a:lnTo>
                  <a:close/>
                  <a:moveTo>
                    <a:pt x="7407" y="1123"/>
                  </a:moveTo>
                  <a:lnTo>
                    <a:pt x="7407" y="943"/>
                  </a:lnTo>
                  <a:lnTo>
                    <a:pt x="6953" y="943"/>
                  </a:lnTo>
                  <a:lnTo>
                    <a:pt x="6953" y="1123"/>
                  </a:lnTo>
                  <a:lnTo>
                    <a:pt x="6675" y="1123"/>
                  </a:lnTo>
                  <a:lnTo>
                    <a:pt x="6675" y="1769"/>
                  </a:lnTo>
                  <a:lnTo>
                    <a:pt x="7685" y="1769"/>
                  </a:lnTo>
                  <a:lnTo>
                    <a:pt x="7685" y="1123"/>
                  </a:lnTo>
                  <a:lnTo>
                    <a:pt x="7407" y="1123"/>
                  </a:lnTo>
                  <a:close/>
                  <a:moveTo>
                    <a:pt x="8874" y="1123"/>
                  </a:moveTo>
                  <a:lnTo>
                    <a:pt x="8874" y="943"/>
                  </a:lnTo>
                  <a:lnTo>
                    <a:pt x="8418" y="943"/>
                  </a:lnTo>
                  <a:lnTo>
                    <a:pt x="8418" y="1123"/>
                  </a:lnTo>
                  <a:lnTo>
                    <a:pt x="8141" y="1123"/>
                  </a:lnTo>
                  <a:lnTo>
                    <a:pt x="8141" y="1769"/>
                  </a:lnTo>
                  <a:lnTo>
                    <a:pt x="9151" y="1769"/>
                  </a:lnTo>
                  <a:lnTo>
                    <a:pt x="9151" y="1123"/>
                  </a:lnTo>
                  <a:lnTo>
                    <a:pt x="8874" y="1123"/>
                  </a:lnTo>
                  <a:close/>
                  <a:moveTo>
                    <a:pt x="10339" y="1123"/>
                  </a:moveTo>
                  <a:lnTo>
                    <a:pt x="10339" y="943"/>
                  </a:lnTo>
                  <a:lnTo>
                    <a:pt x="9883" y="943"/>
                  </a:lnTo>
                  <a:lnTo>
                    <a:pt x="9883" y="1123"/>
                  </a:lnTo>
                  <a:lnTo>
                    <a:pt x="9606" y="1123"/>
                  </a:lnTo>
                  <a:lnTo>
                    <a:pt x="9606" y="1769"/>
                  </a:lnTo>
                  <a:lnTo>
                    <a:pt x="10617" y="1769"/>
                  </a:lnTo>
                  <a:lnTo>
                    <a:pt x="10617" y="1123"/>
                  </a:lnTo>
                  <a:lnTo>
                    <a:pt x="10339" y="1123"/>
                  </a:lnTo>
                  <a:close/>
                  <a:moveTo>
                    <a:pt x="1545" y="2845"/>
                  </a:moveTo>
                  <a:lnTo>
                    <a:pt x="1545" y="3025"/>
                  </a:lnTo>
                  <a:lnTo>
                    <a:pt x="1089" y="3025"/>
                  </a:lnTo>
                  <a:lnTo>
                    <a:pt x="1089" y="2845"/>
                  </a:lnTo>
                  <a:lnTo>
                    <a:pt x="811" y="2845"/>
                  </a:lnTo>
                  <a:lnTo>
                    <a:pt x="811" y="2199"/>
                  </a:lnTo>
                  <a:lnTo>
                    <a:pt x="1822" y="2199"/>
                  </a:lnTo>
                  <a:lnTo>
                    <a:pt x="1822" y="2845"/>
                  </a:lnTo>
                  <a:lnTo>
                    <a:pt x="1545" y="2845"/>
                  </a:lnTo>
                  <a:close/>
                  <a:moveTo>
                    <a:pt x="3010" y="2845"/>
                  </a:moveTo>
                  <a:lnTo>
                    <a:pt x="3010" y="3025"/>
                  </a:lnTo>
                  <a:lnTo>
                    <a:pt x="2555" y="3025"/>
                  </a:lnTo>
                  <a:lnTo>
                    <a:pt x="2555" y="2845"/>
                  </a:lnTo>
                  <a:lnTo>
                    <a:pt x="2278" y="2845"/>
                  </a:lnTo>
                  <a:lnTo>
                    <a:pt x="2278" y="2199"/>
                  </a:lnTo>
                  <a:lnTo>
                    <a:pt x="3288" y="2199"/>
                  </a:lnTo>
                  <a:lnTo>
                    <a:pt x="3288" y="2845"/>
                  </a:lnTo>
                  <a:lnTo>
                    <a:pt x="3010" y="2845"/>
                  </a:lnTo>
                  <a:close/>
                  <a:moveTo>
                    <a:pt x="4477" y="2845"/>
                  </a:moveTo>
                  <a:lnTo>
                    <a:pt x="4477" y="3025"/>
                  </a:lnTo>
                  <a:lnTo>
                    <a:pt x="4021" y="3025"/>
                  </a:lnTo>
                  <a:lnTo>
                    <a:pt x="4021" y="2845"/>
                  </a:lnTo>
                  <a:lnTo>
                    <a:pt x="3743" y="2845"/>
                  </a:lnTo>
                  <a:lnTo>
                    <a:pt x="3743" y="2199"/>
                  </a:lnTo>
                  <a:lnTo>
                    <a:pt x="4754" y="2199"/>
                  </a:lnTo>
                  <a:lnTo>
                    <a:pt x="4754" y="2845"/>
                  </a:lnTo>
                  <a:lnTo>
                    <a:pt x="4477" y="2845"/>
                  </a:lnTo>
                  <a:close/>
                  <a:moveTo>
                    <a:pt x="5942" y="2845"/>
                  </a:moveTo>
                  <a:lnTo>
                    <a:pt x="5942" y="3025"/>
                  </a:lnTo>
                  <a:lnTo>
                    <a:pt x="5486" y="3025"/>
                  </a:lnTo>
                  <a:lnTo>
                    <a:pt x="5486" y="2845"/>
                  </a:lnTo>
                  <a:lnTo>
                    <a:pt x="5209" y="2845"/>
                  </a:lnTo>
                  <a:lnTo>
                    <a:pt x="5209" y="2199"/>
                  </a:lnTo>
                  <a:lnTo>
                    <a:pt x="6219" y="2199"/>
                  </a:lnTo>
                  <a:lnTo>
                    <a:pt x="6219" y="2845"/>
                  </a:lnTo>
                  <a:lnTo>
                    <a:pt x="5942" y="2845"/>
                  </a:lnTo>
                  <a:close/>
                  <a:moveTo>
                    <a:pt x="7407" y="2845"/>
                  </a:moveTo>
                  <a:lnTo>
                    <a:pt x="7407" y="3025"/>
                  </a:lnTo>
                  <a:lnTo>
                    <a:pt x="6953" y="3025"/>
                  </a:lnTo>
                  <a:lnTo>
                    <a:pt x="6953" y="2845"/>
                  </a:lnTo>
                  <a:lnTo>
                    <a:pt x="6675" y="2845"/>
                  </a:lnTo>
                  <a:lnTo>
                    <a:pt x="6675" y="2199"/>
                  </a:lnTo>
                  <a:lnTo>
                    <a:pt x="7685" y="2199"/>
                  </a:lnTo>
                  <a:lnTo>
                    <a:pt x="7685" y="2845"/>
                  </a:lnTo>
                  <a:lnTo>
                    <a:pt x="7407" y="2845"/>
                  </a:lnTo>
                  <a:close/>
                  <a:moveTo>
                    <a:pt x="8874" y="2845"/>
                  </a:moveTo>
                  <a:lnTo>
                    <a:pt x="8874" y="3025"/>
                  </a:lnTo>
                  <a:lnTo>
                    <a:pt x="8418" y="3025"/>
                  </a:lnTo>
                  <a:lnTo>
                    <a:pt x="8418" y="2845"/>
                  </a:lnTo>
                  <a:lnTo>
                    <a:pt x="8141" y="2845"/>
                  </a:lnTo>
                  <a:lnTo>
                    <a:pt x="8141" y="2199"/>
                  </a:lnTo>
                  <a:lnTo>
                    <a:pt x="9151" y="2199"/>
                  </a:lnTo>
                  <a:lnTo>
                    <a:pt x="9151" y="2845"/>
                  </a:lnTo>
                  <a:lnTo>
                    <a:pt x="8874" y="2845"/>
                  </a:lnTo>
                  <a:close/>
                  <a:moveTo>
                    <a:pt x="10339" y="2845"/>
                  </a:moveTo>
                  <a:lnTo>
                    <a:pt x="10339" y="3025"/>
                  </a:lnTo>
                  <a:lnTo>
                    <a:pt x="9883" y="3025"/>
                  </a:lnTo>
                  <a:lnTo>
                    <a:pt x="9883" y="2845"/>
                  </a:lnTo>
                  <a:lnTo>
                    <a:pt x="9606" y="2845"/>
                  </a:lnTo>
                  <a:lnTo>
                    <a:pt x="9606" y="2199"/>
                  </a:lnTo>
                  <a:lnTo>
                    <a:pt x="10617" y="2199"/>
                  </a:lnTo>
                  <a:lnTo>
                    <a:pt x="10617" y="2845"/>
                  </a:lnTo>
                  <a:lnTo>
                    <a:pt x="10339" y="2845"/>
                  </a:lnTo>
                  <a:close/>
                  <a:moveTo>
                    <a:pt x="11851" y="1123"/>
                  </a:moveTo>
                  <a:lnTo>
                    <a:pt x="11851" y="943"/>
                  </a:lnTo>
                  <a:lnTo>
                    <a:pt x="11395" y="943"/>
                  </a:lnTo>
                  <a:lnTo>
                    <a:pt x="11395" y="1123"/>
                  </a:lnTo>
                  <a:lnTo>
                    <a:pt x="11117" y="1123"/>
                  </a:lnTo>
                  <a:lnTo>
                    <a:pt x="11117" y="1769"/>
                  </a:lnTo>
                  <a:lnTo>
                    <a:pt x="12128" y="1769"/>
                  </a:lnTo>
                  <a:lnTo>
                    <a:pt x="12128" y="1123"/>
                  </a:lnTo>
                  <a:lnTo>
                    <a:pt x="11851" y="1123"/>
                  </a:lnTo>
                  <a:close/>
                  <a:moveTo>
                    <a:pt x="11851" y="2845"/>
                  </a:moveTo>
                  <a:lnTo>
                    <a:pt x="11851" y="3025"/>
                  </a:lnTo>
                  <a:lnTo>
                    <a:pt x="11395" y="3025"/>
                  </a:lnTo>
                  <a:lnTo>
                    <a:pt x="11395" y="2845"/>
                  </a:lnTo>
                  <a:lnTo>
                    <a:pt x="11117" y="2845"/>
                  </a:lnTo>
                  <a:lnTo>
                    <a:pt x="11117" y="2199"/>
                  </a:lnTo>
                  <a:lnTo>
                    <a:pt x="12128" y="2199"/>
                  </a:lnTo>
                  <a:lnTo>
                    <a:pt x="12128" y="2845"/>
                  </a:lnTo>
                  <a:lnTo>
                    <a:pt x="11851" y="2845"/>
                  </a:lnTo>
                  <a:close/>
                </a:path>
              </a:pathLst>
            </a:custGeom>
            <a:grpFill/>
            <a:ln w="9525">
              <a:solidFill>
                <a:srgbClr val="00B0F0"/>
              </a:solidFill>
              <a:round/>
              <a:headEnd/>
              <a:tailEnd/>
            </a:ln>
          </p:spPr>
          <p:txBody>
            <a:bodyPr vert="horz" wrap="square" lIns="91416" tIns="45708" rIns="91416" bIns="45708" numCol="1" anchor="t" anchorCtr="0" compatLnSpc="1">
              <a:prstTxWarp prst="textNoShape">
                <a:avLst/>
              </a:prstTxWarp>
            </a:bodyPr>
            <a:lstStyle/>
            <a:p>
              <a:pPr defTabSz="914072" fontAlgn="ctr">
                <a:defRPr/>
              </a:pPr>
              <a:endParaRPr lang="en-US" altLang="zh-CN" sz="1200" kern="0" dirty="0">
                <a:solidFill>
                  <a:schemeClr val="bg1"/>
                </a:solidFill>
                <a:cs typeface="Times New Roman" pitchFamily="18" charset="0"/>
              </a:endParaRPr>
            </a:p>
          </p:txBody>
        </p:sp>
        <p:sp>
          <p:nvSpPr>
            <p:cNvPr id="148" name="1902386434"/>
            <p:cNvSpPr>
              <a:spLocks noEditPoints="1"/>
            </p:cNvSpPr>
            <p:nvPr/>
          </p:nvSpPr>
          <p:spPr bwMode="auto">
            <a:xfrm>
              <a:off x="5458125" y="4740284"/>
              <a:ext cx="696913" cy="124963"/>
            </a:xfrm>
            <a:custGeom>
              <a:avLst/>
              <a:gdLst/>
              <a:ahLst/>
              <a:cxnLst>
                <a:cxn ang="0">
                  <a:pos x="16278" y="39"/>
                </a:cxn>
                <a:cxn ang="0">
                  <a:pos x="16504" y="184"/>
                </a:cxn>
                <a:cxn ang="0">
                  <a:pos x="16649" y="411"/>
                </a:cxn>
                <a:cxn ang="0">
                  <a:pos x="16687" y="3376"/>
                </a:cxn>
                <a:cxn ang="0">
                  <a:pos x="16612" y="3641"/>
                </a:cxn>
                <a:cxn ang="0">
                  <a:pos x="16437" y="3844"/>
                </a:cxn>
                <a:cxn ang="0">
                  <a:pos x="16189" y="3955"/>
                </a:cxn>
                <a:cxn ang="0">
                  <a:pos x="499" y="3955"/>
                </a:cxn>
                <a:cxn ang="0">
                  <a:pos x="251" y="3844"/>
                </a:cxn>
                <a:cxn ang="0">
                  <a:pos x="75" y="3641"/>
                </a:cxn>
                <a:cxn ang="0">
                  <a:pos x="1" y="3376"/>
                </a:cxn>
                <a:cxn ang="0">
                  <a:pos x="38" y="411"/>
                </a:cxn>
                <a:cxn ang="0">
                  <a:pos x="184" y="184"/>
                </a:cxn>
                <a:cxn ang="0">
                  <a:pos x="410" y="39"/>
                </a:cxn>
                <a:cxn ang="0">
                  <a:pos x="13820" y="2430"/>
                </a:cxn>
                <a:cxn ang="0">
                  <a:pos x="13953" y="2510"/>
                </a:cxn>
                <a:cxn ang="0">
                  <a:pos x="13976" y="2666"/>
                </a:cxn>
                <a:cxn ang="0">
                  <a:pos x="13873" y="2780"/>
                </a:cxn>
                <a:cxn ang="0">
                  <a:pos x="13714" y="2773"/>
                </a:cxn>
                <a:cxn ang="0">
                  <a:pos x="13623" y="2648"/>
                </a:cxn>
                <a:cxn ang="0">
                  <a:pos x="13661" y="2496"/>
                </a:cxn>
                <a:cxn ang="0">
                  <a:pos x="13802" y="2429"/>
                </a:cxn>
                <a:cxn ang="0">
                  <a:pos x="14470" y="2482"/>
                </a:cxn>
                <a:cxn ang="0">
                  <a:pos x="14522" y="2631"/>
                </a:cxn>
                <a:cxn ang="0">
                  <a:pos x="14442" y="2763"/>
                </a:cxn>
                <a:cxn ang="0">
                  <a:pos x="14286" y="2786"/>
                </a:cxn>
                <a:cxn ang="0">
                  <a:pos x="14172" y="2683"/>
                </a:cxn>
                <a:cxn ang="0">
                  <a:pos x="14180" y="2525"/>
                </a:cxn>
                <a:cxn ang="0">
                  <a:pos x="14304" y="2433"/>
                </a:cxn>
                <a:cxn ang="0">
                  <a:pos x="14981" y="2460"/>
                </a:cxn>
                <a:cxn ang="0">
                  <a:pos x="15061" y="2593"/>
                </a:cxn>
                <a:cxn ang="0">
                  <a:pos x="15008" y="2741"/>
                </a:cxn>
                <a:cxn ang="0">
                  <a:pos x="14861" y="2794"/>
                </a:cxn>
                <a:cxn ang="0">
                  <a:pos x="14728" y="2714"/>
                </a:cxn>
                <a:cxn ang="0">
                  <a:pos x="14705" y="2558"/>
                </a:cxn>
                <a:cxn ang="0">
                  <a:pos x="14809" y="2444"/>
                </a:cxn>
                <a:cxn ang="0">
                  <a:pos x="15489" y="2444"/>
                </a:cxn>
                <a:cxn ang="0">
                  <a:pos x="15592" y="2558"/>
                </a:cxn>
                <a:cxn ang="0">
                  <a:pos x="15569" y="2714"/>
                </a:cxn>
                <a:cxn ang="0">
                  <a:pos x="15436" y="2794"/>
                </a:cxn>
                <a:cxn ang="0">
                  <a:pos x="15289" y="2741"/>
                </a:cxn>
                <a:cxn ang="0">
                  <a:pos x="15236" y="2593"/>
                </a:cxn>
                <a:cxn ang="0">
                  <a:pos x="15315" y="2460"/>
                </a:cxn>
                <a:cxn ang="0">
                  <a:pos x="15712" y="1546"/>
                </a:cxn>
                <a:cxn ang="0">
                  <a:pos x="1822" y="1769"/>
                </a:cxn>
                <a:cxn ang="0">
                  <a:pos x="3288" y="1769"/>
                </a:cxn>
                <a:cxn ang="0">
                  <a:pos x="4754" y="1769"/>
                </a:cxn>
                <a:cxn ang="0">
                  <a:pos x="6219" y="1769"/>
                </a:cxn>
                <a:cxn ang="0">
                  <a:pos x="7685" y="1769"/>
                </a:cxn>
                <a:cxn ang="0">
                  <a:pos x="9151" y="1769"/>
                </a:cxn>
                <a:cxn ang="0">
                  <a:pos x="10617" y="1769"/>
                </a:cxn>
                <a:cxn ang="0">
                  <a:pos x="1822" y="2199"/>
                </a:cxn>
                <a:cxn ang="0">
                  <a:pos x="3288" y="2199"/>
                </a:cxn>
                <a:cxn ang="0">
                  <a:pos x="4754" y="2199"/>
                </a:cxn>
                <a:cxn ang="0">
                  <a:pos x="6219" y="2199"/>
                </a:cxn>
                <a:cxn ang="0">
                  <a:pos x="7685" y="2199"/>
                </a:cxn>
                <a:cxn ang="0">
                  <a:pos x="9151" y="2199"/>
                </a:cxn>
                <a:cxn ang="0">
                  <a:pos x="10617" y="2199"/>
                </a:cxn>
                <a:cxn ang="0">
                  <a:pos x="12128" y="1769"/>
                </a:cxn>
                <a:cxn ang="0">
                  <a:pos x="12128" y="2199"/>
                </a:cxn>
              </a:cxnLst>
              <a:rect l="0" t="0" r="r" b="b"/>
              <a:pathLst>
                <a:path w="16688" h="3968">
                  <a:moveTo>
                    <a:pt x="624" y="0"/>
                  </a:moveTo>
                  <a:lnTo>
                    <a:pt x="16064" y="0"/>
                  </a:lnTo>
                  <a:lnTo>
                    <a:pt x="16097" y="1"/>
                  </a:lnTo>
                  <a:lnTo>
                    <a:pt x="16128" y="3"/>
                  </a:lnTo>
                  <a:lnTo>
                    <a:pt x="16159" y="7"/>
                  </a:lnTo>
                  <a:lnTo>
                    <a:pt x="16189" y="13"/>
                  </a:lnTo>
                  <a:lnTo>
                    <a:pt x="16220" y="20"/>
                  </a:lnTo>
                  <a:lnTo>
                    <a:pt x="16249" y="28"/>
                  </a:lnTo>
                  <a:lnTo>
                    <a:pt x="16278" y="39"/>
                  </a:lnTo>
                  <a:lnTo>
                    <a:pt x="16306" y="49"/>
                  </a:lnTo>
                  <a:lnTo>
                    <a:pt x="16334" y="62"/>
                  </a:lnTo>
                  <a:lnTo>
                    <a:pt x="16360" y="76"/>
                  </a:lnTo>
                  <a:lnTo>
                    <a:pt x="16387" y="91"/>
                  </a:lnTo>
                  <a:lnTo>
                    <a:pt x="16413" y="108"/>
                  </a:lnTo>
                  <a:lnTo>
                    <a:pt x="16437" y="124"/>
                  </a:lnTo>
                  <a:lnTo>
                    <a:pt x="16461" y="143"/>
                  </a:lnTo>
                  <a:lnTo>
                    <a:pt x="16484" y="163"/>
                  </a:lnTo>
                  <a:lnTo>
                    <a:pt x="16504" y="184"/>
                  </a:lnTo>
                  <a:lnTo>
                    <a:pt x="16525" y="205"/>
                  </a:lnTo>
                  <a:lnTo>
                    <a:pt x="16545" y="228"/>
                  </a:lnTo>
                  <a:lnTo>
                    <a:pt x="16564" y="252"/>
                  </a:lnTo>
                  <a:lnTo>
                    <a:pt x="16581" y="276"/>
                  </a:lnTo>
                  <a:lnTo>
                    <a:pt x="16597" y="302"/>
                  </a:lnTo>
                  <a:lnTo>
                    <a:pt x="16612" y="328"/>
                  </a:lnTo>
                  <a:lnTo>
                    <a:pt x="16626" y="354"/>
                  </a:lnTo>
                  <a:lnTo>
                    <a:pt x="16639" y="382"/>
                  </a:lnTo>
                  <a:lnTo>
                    <a:pt x="16649" y="411"/>
                  </a:lnTo>
                  <a:lnTo>
                    <a:pt x="16660" y="440"/>
                  </a:lnTo>
                  <a:lnTo>
                    <a:pt x="16668" y="469"/>
                  </a:lnTo>
                  <a:lnTo>
                    <a:pt x="16675" y="499"/>
                  </a:lnTo>
                  <a:lnTo>
                    <a:pt x="16681" y="530"/>
                  </a:lnTo>
                  <a:lnTo>
                    <a:pt x="16685" y="561"/>
                  </a:lnTo>
                  <a:lnTo>
                    <a:pt x="16687" y="592"/>
                  </a:lnTo>
                  <a:lnTo>
                    <a:pt x="16688" y="625"/>
                  </a:lnTo>
                  <a:lnTo>
                    <a:pt x="16688" y="3343"/>
                  </a:lnTo>
                  <a:lnTo>
                    <a:pt x="16687" y="3376"/>
                  </a:lnTo>
                  <a:lnTo>
                    <a:pt x="16685" y="3407"/>
                  </a:lnTo>
                  <a:lnTo>
                    <a:pt x="16681" y="3438"/>
                  </a:lnTo>
                  <a:lnTo>
                    <a:pt x="16675" y="3469"/>
                  </a:lnTo>
                  <a:lnTo>
                    <a:pt x="16668" y="3499"/>
                  </a:lnTo>
                  <a:lnTo>
                    <a:pt x="16660" y="3529"/>
                  </a:lnTo>
                  <a:lnTo>
                    <a:pt x="16649" y="3557"/>
                  </a:lnTo>
                  <a:lnTo>
                    <a:pt x="16639" y="3586"/>
                  </a:lnTo>
                  <a:lnTo>
                    <a:pt x="16626" y="3614"/>
                  </a:lnTo>
                  <a:lnTo>
                    <a:pt x="16612" y="3641"/>
                  </a:lnTo>
                  <a:lnTo>
                    <a:pt x="16597" y="3667"/>
                  </a:lnTo>
                  <a:lnTo>
                    <a:pt x="16581" y="3692"/>
                  </a:lnTo>
                  <a:lnTo>
                    <a:pt x="16564" y="3716"/>
                  </a:lnTo>
                  <a:lnTo>
                    <a:pt x="16545" y="3740"/>
                  </a:lnTo>
                  <a:lnTo>
                    <a:pt x="16525" y="3763"/>
                  </a:lnTo>
                  <a:lnTo>
                    <a:pt x="16504" y="3784"/>
                  </a:lnTo>
                  <a:lnTo>
                    <a:pt x="16484" y="3805"/>
                  </a:lnTo>
                  <a:lnTo>
                    <a:pt x="16461" y="3825"/>
                  </a:lnTo>
                  <a:lnTo>
                    <a:pt x="16437" y="3844"/>
                  </a:lnTo>
                  <a:lnTo>
                    <a:pt x="16413" y="3861"/>
                  </a:lnTo>
                  <a:lnTo>
                    <a:pt x="16387" y="3877"/>
                  </a:lnTo>
                  <a:lnTo>
                    <a:pt x="16360" y="3893"/>
                  </a:lnTo>
                  <a:lnTo>
                    <a:pt x="16334" y="3906"/>
                  </a:lnTo>
                  <a:lnTo>
                    <a:pt x="16306" y="3919"/>
                  </a:lnTo>
                  <a:lnTo>
                    <a:pt x="16278" y="3930"/>
                  </a:lnTo>
                  <a:lnTo>
                    <a:pt x="16249" y="3940"/>
                  </a:lnTo>
                  <a:lnTo>
                    <a:pt x="16220" y="3948"/>
                  </a:lnTo>
                  <a:lnTo>
                    <a:pt x="16189" y="3955"/>
                  </a:lnTo>
                  <a:lnTo>
                    <a:pt x="16159" y="3961"/>
                  </a:lnTo>
                  <a:lnTo>
                    <a:pt x="16128" y="3965"/>
                  </a:lnTo>
                  <a:lnTo>
                    <a:pt x="16097" y="3967"/>
                  </a:lnTo>
                  <a:lnTo>
                    <a:pt x="16064" y="3968"/>
                  </a:lnTo>
                  <a:lnTo>
                    <a:pt x="624" y="3968"/>
                  </a:lnTo>
                  <a:lnTo>
                    <a:pt x="591" y="3967"/>
                  </a:lnTo>
                  <a:lnTo>
                    <a:pt x="560" y="3965"/>
                  </a:lnTo>
                  <a:lnTo>
                    <a:pt x="529" y="3961"/>
                  </a:lnTo>
                  <a:lnTo>
                    <a:pt x="499" y="3955"/>
                  </a:lnTo>
                  <a:lnTo>
                    <a:pt x="468" y="3948"/>
                  </a:lnTo>
                  <a:lnTo>
                    <a:pt x="438" y="3940"/>
                  </a:lnTo>
                  <a:lnTo>
                    <a:pt x="410" y="3930"/>
                  </a:lnTo>
                  <a:lnTo>
                    <a:pt x="382" y="3919"/>
                  </a:lnTo>
                  <a:lnTo>
                    <a:pt x="354" y="3906"/>
                  </a:lnTo>
                  <a:lnTo>
                    <a:pt x="326" y="3893"/>
                  </a:lnTo>
                  <a:lnTo>
                    <a:pt x="300" y="3877"/>
                  </a:lnTo>
                  <a:lnTo>
                    <a:pt x="275" y="3861"/>
                  </a:lnTo>
                  <a:lnTo>
                    <a:pt x="251" y="3844"/>
                  </a:lnTo>
                  <a:lnTo>
                    <a:pt x="227" y="3825"/>
                  </a:lnTo>
                  <a:lnTo>
                    <a:pt x="204" y="3805"/>
                  </a:lnTo>
                  <a:lnTo>
                    <a:pt x="184" y="3784"/>
                  </a:lnTo>
                  <a:lnTo>
                    <a:pt x="163" y="3763"/>
                  </a:lnTo>
                  <a:lnTo>
                    <a:pt x="143" y="3740"/>
                  </a:lnTo>
                  <a:lnTo>
                    <a:pt x="124" y="3716"/>
                  </a:lnTo>
                  <a:lnTo>
                    <a:pt x="106" y="3692"/>
                  </a:lnTo>
                  <a:lnTo>
                    <a:pt x="91" y="3667"/>
                  </a:lnTo>
                  <a:lnTo>
                    <a:pt x="75" y="3641"/>
                  </a:lnTo>
                  <a:lnTo>
                    <a:pt x="62" y="3614"/>
                  </a:lnTo>
                  <a:lnTo>
                    <a:pt x="49" y="3586"/>
                  </a:lnTo>
                  <a:lnTo>
                    <a:pt x="38" y="3557"/>
                  </a:lnTo>
                  <a:lnTo>
                    <a:pt x="28" y="3529"/>
                  </a:lnTo>
                  <a:lnTo>
                    <a:pt x="20" y="3499"/>
                  </a:lnTo>
                  <a:lnTo>
                    <a:pt x="13" y="3469"/>
                  </a:lnTo>
                  <a:lnTo>
                    <a:pt x="7" y="3438"/>
                  </a:lnTo>
                  <a:lnTo>
                    <a:pt x="3" y="3407"/>
                  </a:lnTo>
                  <a:lnTo>
                    <a:pt x="1" y="3376"/>
                  </a:lnTo>
                  <a:lnTo>
                    <a:pt x="0" y="3343"/>
                  </a:lnTo>
                  <a:lnTo>
                    <a:pt x="0" y="625"/>
                  </a:lnTo>
                  <a:lnTo>
                    <a:pt x="1" y="592"/>
                  </a:lnTo>
                  <a:lnTo>
                    <a:pt x="3" y="561"/>
                  </a:lnTo>
                  <a:lnTo>
                    <a:pt x="7" y="530"/>
                  </a:lnTo>
                  <a:lnTo>
                    <a:pt x="13" y="499"/>
                  </a:lnTo>
                  <a:lnTo>
                    <a:pt x="20" y="469"/>
                  </a:lnTo>
                  <a:lnTo>
                    <a:pt x="28" y="440"/>
                  </a:lnTo>
                  <a:lnTo>
                    <a:pt x="38" y="411"/>
                  </a:lnTo>
                  <a:lnTo>
                    <a:pt x="49" y="382"/>
                  </a:lnTo>
                  <a:lnTo>
                    <a:pt x="62" y="354"/>
                  </a:lnTo>
                  <a:lnTo>
                    <a:pt x="75" y="328"/>
                  </a:lnTo>
                  <a:lnTo>
                    <a:pt x="91" y="302"/>
                  </a:lnTo>
                  <a:lnTo>
                    <a:pt x="106" y="276"/>
                  </a:lnTo>
                  <a:lnTo>
                    <a:pt x="124" y="252"/>
                  </a:lnTo>
                  <a:lnTo>
                    <a:pt x="143" y="228"/>
                  </a:lnTo>
                  <a:lnTo>
                    <a:pt x="163" y="205"/>
                  </a:lnTo>
                  <a:lnTo>
                    <a:pt x="184" y="184"/>
                  </a:lnTo>
                  <a:lnTo>
                    <a:pt x="204" y="163"/>
                  </a:lnTo>
                  <a:lnTo>
                    <a:pt x="227" y="143"/>
                  </a:lnTo>
                  <a:lnTo>
                    <a:pt x="251" y="124"/>
                  </a:lnTo>
                  <a:lnTo>
                    <a:pt x="275" y="108"/>
                  </a:lnTo>
                  <a:lnTo>
                    <a:pt x="300" y="91"/>
                  </a:lnTo>
                  <a:lnTo>
                    <a:pt x="326" y="76"/>
                  </a:lnTo>
                  <a:lnTo>
                    <a:pt x="354" y="62"/>
                  </a:lnTo>
                  <a:lnTo>
                    <a:pt x="382" y="49"/>
                  </a:lnTo>
                  <a:lnTo>
                    <a:pt x="410" y="39"/>
                  </a:lnTo>
                  <a:lnTo>
                    <a:pt x="438" y="28"/>
                  </a:lnTo>
                  <a:lnTo>
                    <a:pt x="468" y="20"/>
                  </a:lnTo>
                  <a:lnTo>
                    <a:pt x="499" y="13"/>
                  </a:lnTo>
                  <a:lnTo>
                    <a:pt x="529" y="7"/>
                  </a:lnTo>
                  <a:lnTo>
                    <a:pt x="560" y="3"/>
                  </a:lnTo>
                  <a:lnTo>
                    <a:pt x="591" y="1"/>
                  </a:lnTo>
                  <a:lnTo>
                    <a:pt x="624" y="0"/>
                  </a:lnTo>
                  <a:close/>
                  <a:moveTo>
                    <a:pt x="13802" y="2429"/>
                  </a:moveTo>
                  <a:lnTo>
                    <a:pt x="13820" y="2430"/>
                  </a:lnTo>
                  <a:lnTo>
                    <a:pt x="13839" y="2433"/>
                  </a:lnTo>
                  <a:lnTo>
                    <a:pt x="13856" y="2437"/>
                  </a:lnTo>
                  <a:lnTo>
                    <a:pt x="13873" y="2444"/>
                  </a:lnTo>
                  <a:lnTo>
                    <a:pt x="13889" y="2451"/>
                  </a:lnTo>
                  <a:lnTo>
                    <a:pt x="13903" y="2460"/>
                  </a:lnTo>
                  <a:lnTo>
                    <a:pt x="13918" y="2471"/>
                  </a:lnTo>
                  <a:lnTo>
                    <a:pt x="13930" y="2482"/>
                  </a:lnTo>
                  <a:lnTo>
                    <a:pt x="13942" y="2496"/>
                  </a:lnTo>
                  <a:lnTo>
                    <a:pt x="13953" y="2510"/>
                  </a:lnTo>
                  <a:lnTo>
                    <a:pt x="13962" y="2525"/>
                  </a:lnTo>
                  <a:lnTo>
                    <a:pt x="13970" y="2541"/>
                  </a:lnTo>
                  <a:lnTo>
                    <a:pt x="13976" y="2558"/>
                  </a:lnTo>
                  <a:lnTo>
                    <a:pt x="13980" y="2575"/>
                  </a:lnTo>
                  <a:lnTo>
                    <a:pt x="13984" y="2593"/>
                  </a:lnTo>
                  <a:lnTo>
                    <a:pt x="13985" y="2612"/>
                  </a:lnTo>
                  <a:lnTo>
                    <a:pt x="13984" y="2631"/>
                  </a:lnTo>
                  <a:lnTo>
                    <a:pt x="13980" y="2648"/>
                  </a:lnTo>
                  <a:lnTo>
                    <a:pt x="13976" y="2666"/>
                  </a:lnTo>
                  <a:lnTo>
                    <a:pt x="13970" y="2683"/>
                  </a:lnTo>
                  <a:lnTo>
                    <a:pt x="13962" y="2699"/>
                  </a:lnTo>
                  <a:lnTo>
                    <a:pt x="13953" y="2714"/>
                  </a:lnTo>
                  <a:lnTo>
                    <a:pt x="13942" y="2728"/>
                  </a:lnTo>
                  <a:lnTo>
                    <a:pt x="13930" y="2741"/>
                  </a:lnTo>
                  <a:lnTo>
                    <a:pt x="13918" y="2753"/>
                  </a:lnTo>
                  <a:lnTo>
                    <a:pt x="13903" y="2763"/>
                  </a:lnTo>
                  <a:lnTo>
                    <a:pt x="13889" y="2773"/>
                  </a:lnTo>
                  <a:lnTo>
                    <a:pt x="13873" y="2780"/>
                  </a:lnTo>
                  <a:lnTo>
                    <a:pt x="13856" y="2786"/>
                  </a:lnTo>
                  <a:lnTo>
                    <a:pt x="13839" y="2791"/>
                  </a:lnTo>
                  <a:lnTo>
                    <a:pt x="13820" y="2794"/>
                  </a:lnTo>
                  <a:lnTo>
                    <a:pt x="13802" y="2795"/>
                  </a:lnTo>
                  <a:lnTo>
                    <a:pt x="13783" y="2794"/>
                  </a:lnTo>
                  <a:lnTo>
                    <a:pt x="13764" y="2791"/>
                  </a:lnTo>
                  <a:lnTo>
                    <a:pt x="13748" y="2786"/>
                  </a:lnTo>
                  <a:lnTo>
                    <a:pt x="13731" y="2780"/>
                  </a:lnTo>
                  <a:lnTo>
                    <a:pt x="13714" y="2773"/>
                  </a:lnTo>
                  <a:lnTo>
                    <a:pt x="13700" y="2763"/>
                  </a:lnTo>
                  <a:lnTo>
                    <a:pt x="13685" y="2753"/>
                  </a:lnTo>
                  <a:lnTo>
                    <a:pt x="13673" y="2741"/>
                  </a:lnTo>
                  <a:lnTo>
                    <a:pt x="13661" y="2728"/>
                  </a:lnTo>
                  <a:lnTo>
                    <a:pt x="13651" y="2714"/>
                  </a:lnTo>
                  <a:lnTo>
                    <a:pt x="13641" y="2699"/>
                  </a:lnTo>
                  <a:lnTo>
                    <a:pt x="13634" y="2683"/>
                  </a:lnTo>
                  <a:lnTo>
                    <a:pt x="13628" y="2666"/>
                  </a:lnTo>
                  <a:lnTo>
                    <a:pt x="13623" y="2648"/>
                  </a:lnTo>
                  <a:lnTo>
                    <a:pt x="13621" y="2631"/>
                  </a:lnTo>
                  <a:lnTo>
                    <a:pt x="13619" y="2612"/>
                  </a:lnTo>
                  <a:lnTo>
                    <a:pt x="13621" y="2593"/>
                  </a:lnTo>
                  <a:lnTo>
                    <a:pt x="13623" y="2575"/>
                  </a:lnTo>
                  <a:lnTo>
                    <a:pt x="13628" y="2558"/>
                  </a:lnTo>
                  <a:lnTo>
                    <a:pt x="13634" y="2541"/>
                  </a:lnTo>
                  <a:lnTo>
                    <a:pt x="13641" y="2525"/>
                  </a:lnTo>
                  <a:lnTo>
                    <a:pt x="13651" y="2510"/>
                  </a:lnTo>
                  <a:lnTo>
                    <a:pt x="13661" y="2496"/>
                  </a:lnTo>
                  <a:lnTo>
                    <a:pt x="13673" y="2482"/>
                  </a:lnTo>
                  <a:lnTo>
                    <a:pt x="13685" y="2471"/>
                  </a:lnTo>
                  <a:lnTo>
                    <a:pt x="13700" y="2460"/>
                  </a:lnTo>
                  <a:lnTo>
                    <a:pt x="13714" y="2451"/>
                  </a:lnTo>
                  <a:lnTo>
                    <a:pt x="13731" y="2444"/>
                  </a:lnTo>
                  <a:lnTo>
                    <a:pt x="13748" y="2437"/>
                  </a:lnTo>
                  <a:lnTo>
                    <a:pt x="13764" y="2433"/>
                  </a:lnTo>
                  <a:lnTo>
                    <a:pt x="13783" y="2430"/>
                  </a:lnTo>
                  <a:lnTo>
                    <a:pt x="13802" y="2429"/>
                  </a:lnTo>
                  <a:close/>
                  <a:moveTo>
                    <a:pt x="14340" y="2429"/>
                  </a:moveTo>
                  <a:lnTo>
                    <a:pt x="14359" y="2430"/>
                  </a:lnTo>
                  <a:lnTo>
                    <a:pt x="14377" y="2433"/>
                  </a:lnTo>
                  <a:lnTo>
                    <a:pt x="14394" y="2437"/>
                  </a:lnTo>
                  <a:lnTo>
                    <a:pt x="14411" y="2444"/>
                  </a:lnTo>
                  <a:lnTo>
                    <a:pt x="14427" y="2451"/>
                  </a:lnTo>
                  <a:lnTo>
                    <a:pt x="14442" y="2460"/>
                  </a:lnTo>
                  <a:lnTo>
                    <a:pt x="14456" y="2471"/>
                  </a:lnTo>
                  <a:lnTo>
                    <a:pt x="14470" y="2482"/>
                  </a:lnTo>
                  <a:lnTo>
                    <a:pt x="14481" y="2496"/>
                  </a:lnTo>
                  <a:lnTo>
                    <a:pt x="14491" y="2510"/>
                  </a:lnTo>
                  <a:lnTo>
                    <a:pt x="14501" y="2525"/>
                  </a:lnTo>
                  <a:lnTo>
                    <a:pt x="14508" y="2541"/>
                  </a:lnTo>
                  <a:lnTo>
                    <a:pt x="14514" y="2558"/>
                  </a:lnTo>
                  <a:lnTo>
                    <a:pt x="14519" y="2575"/>
                  </a:lnTo>
                  <a:lnTo>
                    <a:pt x="14522" y="2593"/>
                  </a:lnTo>
                  <a:lnTo>
                    <a:pt x="14523" y="2612"/>
                  </a:lnTo>
                  <a:lnTo>
                    <a:pt x="14522" y="2631"/>
                  </a:lnTo>
                  <a:lnTo>
                    <a:pt x="14519" y="2648"/>
                  </a:lnTo>
                  <a:lnTo>
                    <a:pt x="14514" y="2666"/>
                  </a:lnTo>
                  <a:lnTo>
                    <a:pt x="14508" y="2683"/>
                  </a:lnTo>
                  <a:lnTo>
                    <a:pt x="14501" y="2699"/>
                  </a:lnTo>
                  <a:lnTo>
                    <a:pt x="14491" y="2714"/>
                  </a:lnTo>
                  <a:lnTo>
                    <a:pt x="14481" y="2728"/>
                  </a:lnTo>
                  <a:lnTo>
                    <a:pt x="14470" y="2741"/>
                  </a:lnTo>
                  <a:lnTo>
                    <a:pt x="14456" y="2753"/>
                  </a:lnTo>
                  <a:lnTo>
                    <a:pt x="14442" y="2763"/>
                  </a:lnTo>
                  <a:lnTo>
                    <a:pt x="14427" y="2773"/>
                  </a:lnTo>
                  <a:lnTo>
                    <a:pt x="14411" y="2780"/>
                  </a:lnTo>
                  <a:lnTo>
                    <a:pt x="14394" y="2786"/>
                  </a:lnTo>
                  <a:lnTo>
                    <a:pt x="14377" y="2791"/>
                  </a:lnTo>
                  <a:lnTo>
                    <a:pt x="14359" y="2794"/>
                  </a:lnTo>
                  <a:lnTo>
                    <a:pt x="14340" y="2795"/>
                  </a:lnTo>
                  <a:lnTo>
                    <a:pt x="14321" y="2794"/>
                  </a:lnTo>
                  <a:lnTo>
                    <a:pt x="14304" y="2791"/>
                  </a:lnTo>
                  <a:lnTo>
                    <a:pt x="14286" y="2786"/>
                  </a:lnTo>
                  <a:lnTo>
                    <a:pt x="14269" y="2780"/>
                  </a:lnTo>
                  <a:lnTo>
                    <a:pt x="14254" y="2773"/>
                  </a:lnTo>
                  <a:lnTo>
                    <a:pt x="14238" y="2763"/>
                  </a:lnTo>
                  <a:lnTo>
                    <a:pt x="14224" y="2753"/>
                  </a:lnTo>
                  <a:lnTo>
                    <a:pt x="14212" y="2741"/>
                  </a:lnTo>
                  <a:lnTo>
                    <a:pt x="14199" y="2728"/>
                  </a:lnTo>
                  <a:lnTo>
                    <a:pt x="14189" y="2714"/>
                  </a:lnTo>
                  <a:lnTo>
                    <a:pt x="14180" y="2699"/>
                  </a:lnTo>
                  <a:lnTo>
                    <a:pt x="14172" y="2683"/>
                  </a:lnTo>
                  <a:lnTo>
                    <a:pt x="14166" y="2666"/>
                  </a:lnTo>
                  <a:lnTo>
                    <a:pt x="14162" y="2648"/>
                  </a:lnTo>
                  <a:lnTo>
                    <a:pt x="14159" y="2631"/>
                  </a:lnTo>
                  <a:lnTo>
                    <a:pt x="14158" y="2612"/>
                  </a:lnTo>
                  <a:lnTo>
                    <a:pt x="14159" y="2593"/>
                  </a:lnTo>
                  <a:lnTo>
                    <a:pt x="14162" y="2575"/>
                  </a:lnTo>
                  <a:lnTo>
                    <a:pt x="14166" y="2558"/>
                  </a:lnTo>
                  <a:lnTo>
                    <a:pt x="14172" y="2541"/>
                  </a:lnTo>
                  <a:lnTo>
                    <a:pt x="14180" y="2525"/>
                  </a:lnTo>
                  <a:lnTo>
                    <a:pt x="14189" y="2510"/>
                  </a:lnTo>
                  <a:lnTo>
                    <a:pt x="14199" y="2496"/>
                  </a:lnTo>
                  <a:lnTo>
                    <a:pt x="14212" y="2482"/>
                  </a:lnTo>
                  <a:lnTo>
                    <a:pt x="14224" y="2471"/>
                  </a:lnTo>
                  <a:lnTo>
                    <a:pt x="14238" y="2460"/>
                  </a:lnTo>
                  <a:lnTo>
                    <a:pt x="14254" y="2451"/>
                  </a:lnTo>
                  <a:lnTo>
                    <a:pt x="14269" y="2444"/>
                  </a:lnTo>
                  <a:lnTo>
                    <a:pt x="14286" y="2437"/>
                  </a:lnTo>
                  <a:lnTo>
                    <a:pt x="14304" y="2433"/>
                  </a:lnTo>
                  <a:lnTo>
                    <a:pt x="14321" y="2430"/>
                  </a:lnTo>
                  <a:lnTo>
                    <a:pt x="14340" y="2429"/>
                  </a:lnTo>
                  <a:close/>
                  <a:moveTo>
                    <a:pt x="14879" y="2429"/>
                  </a:moveTo>
                  <a:lnTo>
                    <a:pt x="14897" y="2430"/>
                  </a:lnTo>
                  <a:lnTo>
                    <a:pt x="14916" y="2433"/>
                  </a:lnTo>
                  <a:lnTo>
                    <a:pt x="14933" y="2437"/>
                  </a:lnTo>
                  <a:lnTo>
                    <a:pt x="14950" y="2444"/>
                  </a:lnTo>
                  <a:lnTo>
                    <a:pt x="14966" y="2451"/>
                  </a:lnTo>
                  <a:lnTo>
                    <a:pt x="14981" y="2460"/>
                  </a:lnTo>
                  <a:lnTo>
                    <a:pt x="14995" y="2471"/>
                  </a:lnTo>
                  <a:lnTo>
                    <a:pt x="15008" y="2482"/>
                  </a:lnTo>
                  <a:lnTo>
                    <a:pt x="15019" y="2496"/>
                  </a:lnTo>
                  <a:lnTo>
                    <a:pt x="15031" y="2510"/>
                  </a:lnTo>
                  <a:lnTo>
                    <a:pt x="15039" y="2525"/>
                  </a:lnTo>
                  <a:lnTo>
                    <a:pt x="15047" y="2541"/>
                  </a:lnTo>
                  <a:lnTo>
                    <a:pt x="15054" y="2558"/>
                  </a:lnTo>
                  <a:lnTo>
                    <a:pt x="15058" y="2575"/>
                  </a:lnTo>
                  <a:lnTo>
                    <a:pt x="15061" y="2593"/>
                  </a:lnTo>
                  <a:lnTo>
                    <a:pt x="15062" y="2612"/>
                  </a:lnTo>
                  <a:lnTo>
                    <a:pt x="15061" y="2631"/>
                  </a:lnTo>
                  <a:lnTo>
                    <a:pt x="15058" y="2648"/>
                  </a:lnTo>
                  <a:lnTo>
                    <a:pt x="15054" y="2666"/>
                  </a:lnTo>
                  <a:lnTo>
                    <a:pt x="15047" y="2683"/>
                  </a:lnTo>
                  <a:lnTo>
                    <a:pt x="15039" y="2699"/>
                  </a:lnTo>
                  <a:lnTo>
                    <a:pt x="15031" y="2714"/>
                  </a:lnTo>
                  <a:lnTo>
                    <a:pt x="15019" y="2728"/>
                  </a:lnTo>
                  <a:lnTo>
                    <a:pt x="15008" y="2741"/>
                  </a:lnTo>
                  <a:lnTo>
                    <a:pt x="14995" y="2753"/>
                  </a:lnTo>
                  <a:lnTo>
                    <a:pt x="14981" y="2763"/>
                  </a:lnTo>
                  <a:lnTo>
                    <a:pt x="14966" y="2773"/>
                  </a:lnTo>
                  <a:lnTo>
                    <a:pt x="14950" y="2780"/>
                  </a:lnTo>
                  <a:lnTo>
                    <a:pt x="14933" y="2786"/>
                  </a:lnTo>
                  <a:lnTo>
                    <a:pt x="14916" y="2791"/>
                  </a:lnTo>
                  <a:lnTo>
                    <a:pt x="14897" y="2794"/>
                  </a:lnTo>
                  <a:lnTo>
                    <a:pt x="14879" y="2795"/>
                  </a:lnTo>
                  <a:lnTo>
                    <a:pt x="14861" y="2794"/>
                  </a:lnTo>
                  <a:lnTo>
                    <a:pt x="14842" y="2791"/>
                  </a:lnTo>
                  <a:lnTo>
                    <a:pt x="14825" y="2786"/>
                  </a:lnTo>
                  <a:lnTo>
                    <a:pt x="14809" y="2780"/>
                  </a:lnTo>
                  <a:lnTo>
                    <a:pt x="14792" y="2773"/>
                  </a:lnTo>
                  <a:lnTo>
                    <a:pt x="14777" y="2763"/>
                  </a:lnTo>
                  <a:lnTo>
                    <a:pt x="14763" y="2753"/>
                  </a:lnTo>
                  <a:lnTo>
                    <a:pt x="14750" y="2741"/>
                  </a:lnTo>
                  <a:lnTo>
                    <a:pt x="14739" y="2728"/>
                  </a:lnTo>
                  <a:lnTo>
                    <a:pt x="14728" y="2714"/>
                  </a:lnTo>
                  <a:lnTo>
                    <a:pt x="14719" y="2699"/>
                  </a:lnTo>
                  <a:lnTo>
                    <a:pt x="14710" y="2683"/>
                  </a:lnTo>
                  <a:lnTo>
                    <a:pt x="14705" y="2666"/>
                  </a:lnTo>
                  <a:lnTo>
                    <a:pt x="14700" y="2648"/>
                  </a:lnTo>
                  <a:lnTo>
                    <a:pt x="14698" y="2631"/>
                  </a:lnTo>
                  <a:lnTo>
                    <a:pt x="14697" y="2612"/>
                  </a:lnTo>
                  <a:lnTo>
                    <a:pt x="14698" y="2593"/>
                  </a:lnTo>
                  <a:lnTo>
                    <a:pt x="14700" y="2575"/>
                  </a:lnTo>
                  <a:lnTo>
                    <a:pt x="14705" y="2558"/>
                  </a:lnTo>
                  <a:lnTo>
                    <a:pt x="14710" y="2541"/>
                  </a:lnTo>
                  <a:lnTo>
                    <a:pt x="14719" y="2525"/>
                  </a:lnTo>
                  <a:lnTo>
                    <a:pt x="14728" y="2510"/>
                  </a:lnTo>
                  <a:lnTo>
                    <a:pt x="14739" y="2496"/>
                  </a:lnTo>
                  <a:lnTo>
                    <a:pt x="14750" y="2482"/>
                  </a:lnTo>
                  <a:lnTo>
                    <a:pt x="14763" y="2471"/>
                  </a:lnTo>
                  <a:lnTo>
                    <a:pt x="14777" y="2460"/>
                  </a:lnTo>
                  <a:lnTo>
                    <a:pt x="14792" y="2451"/>
                  </a:lnTo>
                  <a:lnTo>
                    <a:pt x="14809" y="2444"/>
                  </a:lnTo>
                  <a:lnTo>
                    <a:pt x="14825" y="2437"/>
                  </a:lnTo>
                  <a:lnTo>
                    <a:pt x="14842" y="2433"/>
                  </a:lnTo>
                  <a:lnTo>
                    <a:pt x="14861" y="2430"/>
                  </a:lnTo>
                  <a:lnTo>
                    <a:pt x="14879" y="2429"/>
                  </a:lnTo>
                  <a:close/>
                  <a:moveTo>
                    <a:pt x="15418" y="2429"/>
                  </a:moveTo>
                  <a:lnTo>
                    <a:pt x="15436" y="2430"/>
                  </a:lnTo>
                  <a:lnTo>
                    <a:pt x="15454" y="2433"/>
                  </a:lnTo>
                  <a:lnTo>
                    <a:pt x="15472" y="2437"/>
                  </a:lnTo>
                  <a:lnTo>
                    <a:pt x="15489" y="2444"/>
                  </a:lnTo>
                  <a:lnTo>
                    <a:pt x="15504" y="2451"/>
                  </a:lnTo>
                  <a:lnTo>
                    <a:pt x="15520" y="2460"/>
                  </a:lnTo>
                  <a:lnTo>
                    <a:pt x="15533" y="2471"/>
                  </a:lnTo>
                  <a:lnTo>
                    <a:pt x="15547" y="2482"/>
                  </a:lnTo>
                  <a:lnTo>
                    <a:pt x="15558" y="2496"/>
                  </a:lnTo>
                  <a:lnTo>
                    <a:pt x="15569" y="2510"/>
                  </a:lnTo>
                  <a:lnTo>
                    <a:pt x="15578" y="2525"/>
                  </a:lnTo>
                  <a:lnTo>
                    <a:pt x="15586" y="2541"/>
                  </a:lnTo>
                  <a:lnTo>
                    <a:pt x="15592" y="2558"/>
                  </a:lnTo>
                  <a:lnTo>
                    <a:pt x="15596" y="2575"/>
                  </a:lnTo>
                  <a:lnTo>
                    <a:pt x="15599" y="2593"/>
                  </a:lnTo>
                  <a:lnTo>
                    <a:pt x="15600" y="2612"/>
                  </a:lnTo>
                  <a:lnTo>
                    <a:pt x="15599" y="2631"/>
                  </a:lnTo>
                  <a:lnTo>
                    <a:pt x="15596" y="2648"/>
                  </a:lnTo>
                  <a:lnTo>
                    <a:pt x="15592" y="2666"/>
                  </a:lnTo>
                  <a:lnTo>
                    <a:pt x="15586" y="2683"/>
                  </a:lnTo>
                  <a:lnTo>
                    <a:pt x="15578" y="2699"/>
                  </a:lnTo>
                  <a:lnTo>
                    <a:pt x="15569" y="2714"/>
                  </a:lnTo>
                  <a:lnTo>
                    <a:pt x="15558" y="2728"/>
                  </a:lnTo>
                  <a:lnTo>
                    <a:pt x="15547" y="2741"/>
                  </a:lnTo>
                  <a:lnTo>
                    <a:pt x="15533" y="2753"/>
                  </a:lnTo>
                  <a:lnTo>
                    <a:pt x="15520" y="2763"/>
                  </a:lnTo>
                  <a:lnTo>
                    <a:pt x="15504" y="2773"/>
                  </a:lnTo>
                  <a:lnTo>
                    <a:pt x="15489" y="2780"/>
                  </a:lnTo>
                  <a:lnTo>
                    <a:pt x="15472" y="2786"/>
                  </a:lnTo>
                  <a:lnTo>
                    <a:pt x="15454" y="2791"/>
                  </a:lnTo>
                  <a:lnTo>
                    <a:pt x="15436" y="2794"/>
                  </a:lnTo>
                  <a:lnTo>
                    <a:pt x="15418" y="2795"/>
                  </a:lnTo>
                  <a:lnTo>
                    <a:pt x="15399" y="2794"/>
                  </a:lnTo>
                  <a:lnTo>
                    <a:pt x="15381" y="2791"/>
                  </a:lnTo>
                  <a:lnTo>
                    <a:pt x="15363" y="2786"/>
                  </a:lnTo>
                  <a:lnTo>
                    <a:pt x="15347" y="2780"/>
                  </a:lnTo>
                  <a:lnTo>
                    <a:pt x="15331" y="2773"/>
                  </a:lnTo>
                  <a:lnTo>
                    <a:pt x="15315" y="2763"/>
                  </a:lnTo>
                  <a:lnTo>
                    <a:pt x="15302" y="2753"/>
                  </a:lnTo>
                  <a:lnTo>
                    <a:pt x="15289" y="2741"/>
                  </a:lnTo>
                  <a:lnTo>
                    <a:pt x="15277" y="2728"/>
                  </a:lnTo>
                  <a:lnTo>
                    <a:pt x="15266" y="2714"/>
                  </a:lnTo>
                  <a:lnTo>
                    <a:pt x="15257" y="2699"/>
                  </a:lnTo>
                  <a:lnTo>
                    <a:pt x="15250" y="2683"/>
                  </a:lnTo>
                  <a:lnTo>
                    <a:pt x="15243" y="2666"/>
                  </a:lnTo>
                  <a:lnTo>
                    <a:pt x="15239" y="2648"/>
                  </a:lnTo>
                  <a:lnTo>
                    <a:pt x="15236" y="2631"/>
                  </a:lnTo>
                  <a:lnTo>
                    <a:pt x="15235" y="2612"/>
                  </a:lnTo>
                  <a:lnTo>
                    <a:pt x="15236" y="2593"/>
                  </a:lnTo>
                  <a:lnTo>
                    <a:pt x="15239" y="2575"/>
                  </a:lnTo>
                  <a:lnTo>
                    <a:pt x="15243" y="2558"/>
                  </a:lnTo>
                  <a:lnTo>
                    <a:pt x="15250" y="2541"/>
                  </a:lnTo>
                  <a:lnTo>
                    <a:pt x="15257" y="2525"/>
                  </a:lnTo>
                  <a:lnTo>
                    <a:pt x="15266" y="2510"/>
                  </a:lnTo>
                  <a:lnTo>
                    <a:pt x="15277" y="2496"/>
                  </a:lnTo>
                  <a:lnTo>
                    <a:pt x="15289" y="2482"/>
                  </a:lnTo>
                  <a:lnTo>
                    <a:pt x="15302" y="2471"/>
                  </a:lnTo>
                  <a:lnTo>
                    <a:pt x="15315" y="2460"/>
                  </a:lnTo>
                  <a:lnTo>
                    <a:pt x="15331" y="2451"/>
                  </a:lnTo>
                  <a:lnTo>
                    <a:pt x="15347" y="2444"/>
                  </a:lnTo>
                  <a:lnTo>
                    <a:pt x="15363" y="2437"/>
                  </a:lnTo>
                  <a:lnTo>
                    <a:pt x="15381" y="2433"/>
                  </a:lnTo>
                  <a:lnTo>
                    <a:pt x="15399" y="2430"/>
                  </a:lnTo>
                  <a:lnTo>
                    <a:pt x="15418" y="2429"/>
                  </a:lnTo>
                  <a:close/>
                  <a:moveTo>
                    <a:pt x="13682" y="943"/>
                  </a:moveTo>
                  <a:lnTo>
                    <a:pt x="15712" y="943"/>
                  </a:lnTo>
                  <a:lnTo>
                    <a:pt x="15712" y="1546"/>
                  </a:lnTo>
                  <a:lnTo>
                    <a:pt x="13682" y="1546"/>
                  </a:lnTo>
                  <a:lnTo>
                    <a:pt x="13682" y="943"/>
                  </a:lnTo>
                  <a:close/>
                  <a:moveTo>
                    <a:pt x="1545" y="1123"/>
                  </a:moveTo>
                  <a:lnTo>
                    <a:pt x="1545" y="943"/>
                  </a:lnTo>
                  <a:lnTo>
                    <a:pt x="1089" y="943"/>
                  </a:lnTo>
                  <a:lnTo>
                    <a:pt x="1089" y="1123"/>
                  </a:lnTo>
                  <a:lnTo>
                    <a:pt x="811" y="1123"/>
                  </a:lnTo>
                  <a:lnTo>
                    <a:pt x="811" y="1769"/>
                  </a:lnTo>
                  <a:lnTo>
                    <a:pt x="1822" y="1769"/>
                  </a:lnTo>
                  <a:lnTo>
                    <a:pt x="1822" y="1123"/>
                  </a:lnTo>
                  <a:lnTo>
                    <a:pt x="1545" y="1123"/>
                  </a:lnTo>
                  <a:close/>
                  <a:moveTo>
                    <a:pt x="3010" y="1123"/>
                  </a:moveTo>
                  <a:lnTo>
                    <a:pt x="3010" y="943"/>
                  </a:lnTo>
                  <a:lnTo>
                    <a:pt x="2555" y="943"/>
                  </a:lnTo>
                  <a:lnTo>
                    <a:pt x="2555" y="1123"/>
                  </a:lnTo>
                  <a:lnTo>
                    <a:pt x="2278" y="1123"/>
                  </a:lnTo>
                  <a:lnTo>
                    <a:pt x="2278" y="1769"/>
                  </a:lnTo>
                  <a:lnTo>
                    <a:pt x="3288" y="1769"/>
                  </a:lnTo>
                  <a:lnTo>
                    <a:pt x="3288" y="1123"/>
                  </a:lnTo>
                  <a:lnTo>
                    <a:pt x="3010" y="1123"/>
                  </a:lnTo>
                  <a:close/>
                  <a:moveTo>
                    <a:pt x="4477" y="1123"/>
                  </a:moveTo>
                  <a:lnTo>
                    <a:pt x="4477" y="943"/>
                  </a:lnTo>
                  <a:lnTo>
                    <a:pt x="4021" y="943"/>
                  </a:lnTo>
                  <a:lnTo>
                    <a:pt x="4021" y="1123"/>
                  </a:lnTo>
                  <a:lnTo>
                    <a:pt x="3743" y="1123"/>
                  </a:lnTo>
                  <a:lnTo>
                    <a:pt x="3743" y="1769"/>
                  </a:lnTo>
                  <a:lnTo>
                    <a:pt x="4754" y="1769"/>
                  </a:lnTo>
                  <a:lnTo>
                    <a:pt x="4754" y="1123"/>
                  </a:lnTo>
                  <a:lnTo>
                    <a:pt x="4477" y="1123"/>
                  </a:lnTo>
                  <a:close/>
                  <a:moveTo>
                    <a:pt x="5942" y="1123"/>
                  </a:moveTo>
                  <a:lnTo>
                    <a:pt x="5942" y="943"/>
                  </a:lnTo>
                  <a:lnTo>
                    <a:pt x="5486" y="943"/>
                  </a:lnTo>
                  <a:lnTo>
                    <a:pt x="5486" y="1123"/>
                  </a:lnTo>
                  <a:lnTo>
                    <a:pt x="5209" y="1123"/>
                  </a:lnTo>
                  <a:lnTo>
                    <a:pt x="5209" y="1769"/>
                  </a:lnTo>
                  <a:lnTo>
                    <a:pt x="6219" y="1769"/>
                  </a:lnTo>
                  <a:lnTo>
                    <a:pt x="6219" y="1123"/>
                  </a:lnTo>
                  <a:lnTo>
                    <a:pt x="5942" y="1123"/>
                  </a:lnTo>
                  <a:close/>
                  <a:moveTo>
                    <a:pt x="7407" y="1123"/>
                  </a:moveTo>
                  <a:lnTo>
                    <a:pt x="7407" y="943"/>
                  </a:lnTo>
                  <a:lnTo>
                    <a:pt x="6953" y="943"/>
                  </a:lnTo>
                  <a:lnTo>
                    <a:pt x="6953" y="1123"/>
                  </a:lnTo>
                  <a:lnTo>
                    <a:pt x="6675" y="1123"/>
                  </a:lnTo>
                  <a:lnTo>
                    <a:pt x="6675" y="1769"/>
                  </a:lnTo>
                  <a:lnTo>
                    <a:pt x="7685" y="1769"/>
                  </a:lnTo>
                  <a:lnTo>
                    <a:pt x="7685" y="1123"/>
                  </a:lnTo>
                  <a:lnTo>
                    <a:pt x="7407" y="1123"/>
                  </a:lnTo>
                  <a:close/>
                  <a:moveTo>
                    <a:pt x="8874" y="1123"/>
                  </a:moveTo>
                  <a:lnTo>
                    <a:pt x="8874" y="943"/>
                  </a:lnTo>
                  <a:lnTo>
                    <a:pt x="8418" y="943"/>
                  </a:lnTo>
                  <a:lnTo>
                    <a:pt x="8418" y="1123"/>
                  </a:lnTo>
                  <a:lnTo>
                    <a:pt x="8141" y="1123"/>
                  </a:lnTo>
                  <a:lnTo>
                    <a:pt x="8141" y="1769"/>
                  </a:lnTo>
                  <a:lnTo>
                    <a:pt x="9151" y="1769"/>
                  </a:lnTo>
                  <a:lnTo>
                    <a:pt x="9151" y="1123"/>
                  </a:lnTo>
                  <a:lnTo>
                    <a:pt x="8874" y="1123"/>
                  </a:lnTo>
                  <a:close/>
                  <a:moveTo>
                    <a:pt x="10339" y="1123"/>
                  </a:moveTo>
                  <a:lnTo>
                    <a:pt x="10339" y="943"/>
                  </a:lnTo>
                  <a:lnTo>
                    <a:pt x="9883" y="943"/>
                  </a:lnTo>
                  <a:lnTo>
                    <a:pt x="9883" y="1123"/>
                  </a:lnTo>
                  <a:lnTo>
                    <a:pt x="9606" y="1123"/>
                  </a:lnTo>
                  <a:lnTo>
                    <a:pt x="9606" y="1769"/>
                  </a:lnTo>
                  <a:lnTo>
                    <a:pt x="10617" y="1769"/>
                  </a:lnTo>
                  <a:lnTo>
                    <a:pt x="10617" y="1123"/>
                  </a:lnTo>
                  <a:lnTo>
                    <a:pt x="10339" y="1123"/>
                  </a:lnTo>
                  <a:close/>
                  <a:moveTo>
                    <a:pt x="1545" y="2845"/>
                  </a:moveTo>
                  <a:lnTo>
                    <a:pt x="1545" y="3025"/>
                  </a:lnTo>
                  <a:lnTo>
                    <a:pt x="1089" y="3025"/>
                  </a:lnTo>
                  <a:lnTo>
                    <a:pt x="1089" y="2845"/>
                  </a:lnTo>
                  <a:lnTo>
                    <a:pt x="811" y="2845"/>
                  </a:lnTo>
                  <a:lnTo>
                    <a:pt x="811" y="2199"/>
                  </a:lnTo>
                  <a:lnTo>
                    <a:pt x="1822" y="2199"/>
                  </a:lnTo>
                  <a:lnTo>
                    <a:pt x="1822" y="2845"/>
                  </a:lnTo>
                  <a:lnTo>
                    <a:pt x="1545" y="2845"/>
                  </a:lnTo>
                  <a:close/>
                  <a:moveTo>
                    <a:pt x="3010" y="2845"/>
                  </a:moveTo>
                  <a:lnTo>
                    <a:pt x="3010" y="3025"/>
                  </a:lnTo>
                  <a:lnTo>
                    <a:pt x="2555" y="3025"/>
                  </a:lnTo>
                  <a:lnTo>
                    <a:pt x="2555" y="2845"/>
                  </a:lnTo>
                  <a:lnTo>
                    <a:pt x="2278" y="2845"/>
                  </a:lnTo>
                  <a:lnTo>
                    <a:pt x="2278" y="2199"/>
                  </a:lnTo>
                  <a:lnTo>
                    <a:pt x="3288" y="2199"/>
                  </a:lnTo>
                  <a:lnTo>
                    <a:pt x="3288" y="2845"/>
                  </a:lnTo>
                  <a:lnTo>
                    <a:pt x="3010" y="2845"/>
                  </a:lnTo>
                  <a:close/>
                  <a:moveTo>
                    <a:pt x="4477" y="2845"/>
                  </a:moveTo>
                  <a:lnTo>
                    <a:pt x="4477" y="3025"/>
                  </a:lnTo>
                  <a:lnTo>
                    <a:pt x="4021" y="3025"/>
                  </a:lnTo>
                  <a:lnTo>
                    <a:pt x="4021" y="2845"/>
                  </a:lnTo>
                  <a:lnTo>
                    <a:pt x="3743" y="2845"/>
                  </a:lnTo>
                  <a:lnTo>
                    <a:pt x="3743" y="2199"/>
                  </a:lnTo>
                  <a:lnTo>
                    <a:pt x="4754" y="2199"/>
                  </a:lnTo>
                  <a:lnTo>
                    <a:pt x="4754" y="2845"/>
                  </a:lnTo>
                  <a:lnTo>
                    <a:pt x="4477" y="2845"/>
                  </a:lnTo>
                  <a:close/>
                  <a:moveTo>
                    <a:pt x="5942" y="2845"/>
                  </a:moveTo>
                  <a:lnTo>
                    <a:pt x="5942" y="3025"/>
                  </a:lnTo>
                  <a:lnTo>
                    <a:pt x="5486" y="3025"/>
                  </a:lnTo>
                  <a:lnTo>
                    <a:pt x="5486" y="2845"/>
                  </a:lnTo>
                  <a:lnTo>
                    <a:pt x="5209" y="2845"/>
                  </a:lnTo>
                  <a:lnTo>
                    <a:pt x="5209" y="2199"/>
                  </a:lnTo>
                  <a:lnTo>
                    <a:pt x="6219" y="2199"/>
                  </a:lnTo>
                  <a:lnTo>
                    <a:pt x="6219" y="2845"/>
                  </a:lnTo>
                  <a:lnTo>
                    <a:pt x="5942" y="2845"/>
                  </a:lnTo>
                  <a:close/>
                  <a:moveTo>
                    <a:pt x="7407" y="2845"/>
                  </a:moveTo>
                  <a:lnTo>
                    <a:pt x="7407" y="3025"/>
                  </a:lnTo>
                  <a:lnTo>
                    <a:pt x="6953" y="3025"/>
                  </a:lnTo>
                  <a:lnTo>
                    <a:pt x="6953" y="2845"/>
                  </a:lnTo>
                  <a:lnTo>
                    <a:pt x="6675" y="2845"/>
                  </a:lnTo>
                  <a:lnTo>
                    <a:pt x="6675" y="2199"/>
                  </a:lnTo>
                  <a:lnTo>
                    <a:pt x="7685" y="2199"/>
                  </a:lnTo>
                  <a:lnTo>
                    <a:pt x="7685" y="2845"/>
                  </a:lnTo>
                  <a:lnTo>
                    <a:pt x="7407" y="2845"/>
                  </a:lnTo>
                  <a:close/>
                  <a:moveTo>
                    <a:pt x="8874" y="2845"/>
                  </a:moveTo>
                  <a:lnTo>
                    <a:pt x="8874" y="3025"/>
                  </a:lnTo>
                  <a:lnTo>
                    <a:pt x="8418" y="3025"/>
                  </a:lnTo>
                  <a:lnTo>
                    <a:pt x="8418" y="2845"/>
                  </a:lnTo>
                  <a:lnTo>
                    <a:pt x="8141" y="2845"/>
                  </a:lnTo>
                  <a:lnTo>
                    <a:pt x="8141" y="2199"/>
                  </a:lnTo>
                  <a:lnTo>
                    <a:pt x="9151" y="2199"/>
                  </a:lnTo>
                  <a:lnTo>
                    <a:pt x="9151" y="2845"/>
                  </a:lnTo>
                  <a:lnTo>
                    <a:pt x="8874" y="2845"/>
                  </a:lnTo>
                  <a:close/>
                  <a:moveTo>
                    <a:pt x="10339" y="2845"/>
                  </a:moveTo>
                  <a:lnTo>
                    <a:pt x="10339" y="3025"/>
                  </a:lnTo>
                  <a:lnTo>
                    <a:pt x="9883" y="3025"/>
                  </a:lnTo>
                  <a:lnTo>
                    <a:pt x="9883" y="2845"/>
                  </a:lnTo>
                  <a:lnTo>
                    <a:pt x="9606" y="2845"/>
                  </a:lnTo>
                  <a:lnTo>
                    <a:pt x="9606" y="2199"/>
                  </a:lnTo>
                  <a:lnTo>
                    <a:pt x="10617" y="2199"/>
                  </a:lnTo>
                  <a:lnTo>
                    <a:pt x="10617" y="2845"/>
                  </a:lnTo>
                  <a:lnTo>
                    <a:pt x="10339" y="2845"/>
                  </a:lnTo>
                  <a:close/>
                  <a:moveTo>
                    <a:pt x="11851" y="1123"/>
                  </a:moveTo>
                  <a:lnTo>
                    <a:pt x="11851" y="943"/>
                  </a:lnTo>
                  <a:lnTo>
                    <a:pt x="11395" y="943"/>
                  </a:lnTo>
                  <a:lnTo>
                    <a:pt x="11395" y="1123"/>
                  </a:lnTo>
                  <a:lnTo>
                    <a:pt x="11117" y="1123"/>
                  </a:lnTo>
                  <a:lnTo>
                    <a:pt x="11117" y="1769"/>
                  </a:lnTo>
                  <a:lnTo>
                    <a:pt x="12128" y="1769"/>
                  </a:lnTo>
                  <a:lnTo>
                    <a:pt x="12128" y="1123"/>
                  </a:lnTo>
                  <a:lnTo>
                    <a:pt x="11851" y="1123"/>
                  </a:lnTo>
                  <a:close/>
                  <a:moveTo>
                    <a:pt x="11851" y="2845"/>
                  </a:moveTo>
                  <a:lnTo>
                    <a:pt x="11851" y="3025"/>
                  </a:lnTo>
                  <a:lnTo>
                    <a:pt x="11395" y="3025"/>
                  </a:lnTo>
                  <a:lnTo>
                    <a:pt x="11395" y="2845"/>
                  </a:lnTo>
                  <a:lnTo>
                    <a:pt x="11117" y="2845"/>
                  </a:lnTo>
                  <a:lnTo>
                    <a:pt x="11117" y="2199"/>
                  </a:lnTo>
                  <a:lnTo>
                    <a:pt x="12128" y="2199"/>
                  </a:lnTo>
                  <a:lnTo>
                    <a:pt x="12128" y="2845"/>
                  </a:lnTo>
                  <a:lnTo>
                    <a:pt x="11851" y="2845"/>
                  </a:lnTo>
                  <a:close/>
                </a:path>
              </a:pathLst>
            </a:custGeom>
            <a:grpFill/>
            <a:ln w="9525">
              <a:solidFill>
                <a:srgbClr val="00B0F0"/>
              </a:solidFill>
              <a:round/>
              <a:headEnd/>
              <a:tailEnd/>
            </a:ln>
          </p:spPr>
          <p:txBody>
            <a:bodyPr vert="horz" wrap="square" lIns="91416" tIns="45708" rIns="91416" bIns="45708" numCol="1" anchor="t" anchorCtr="0" compatLnSpc="1">
              <a:prstTxWarp prst="textNoShape">
                <a:avLst/>
              </a:prstTxWarp>
            </a:bodyPr>
            <a:lstStyle/>
            <a:p>
              <a:pPr defTabSz="914072" fontAlgn="ctr">
                <a:defRPr/>
              </a:pPr>
              <a:endParaRPr lang="en-US" altLang="zh-CN" sz="1200" kern="0" dirty="0">
                <a:solidFill>
                  <a:schemeClr val="bg1"/>
                </a:solidFill>
                <a:cs typeface="Times New Roman" pitchFamily="18" charset="0"/>
              </a:endParaRPr>
            </a:p>
          </p:txBody>
        </p:sp>
      </p:grpSp>
      <p:grpSp>
        <p:nvGrpSpPr>
          <p:cNvPr id="149" name="组合 282"/>
          <p:cNvGrpSpPr/>
          <p:nvPr/>
        </p:nvGrpSpPr>
        <p:grpSpPr>
          <a:xfrm>
            <a:off x="3556369" y="3837686"/>
            <a:ext cx="433550" cy="297365"/>
            <a:chOff x="-1618534" y="2713542"/>
            <a:chExt cx="795326" cy="527513"/>
          </a:xfrm>
          <a:solidFill>
            <a:srgbClr val="00B0F0"/>
          </a:solidFill>
        </p:grpSpPr>
        <p:sp>
          <p:nvSpPr>
            <p:cNvPr id="150" name="Freeform 40"/>
            <p:cNvSpPr>
              <a:spLocks/>
            </p:cNvSpPr>
            <p:nvPr/>
          </p:nvSpPr>
          <p:spPr bwMode="auto">
            <a:xfrm>
              <a:off x="-1326373" y="2713542"/>
              <a:ext cx="251583" cy="154196"/>
            </a:xfrm>
            <a:custGeom>
              <a:avLst/>
              <a:gdLst/>
              <a:ahLst/>
              <a:cxnLst>
                <a:cxn ang="0">
                  <a:pos x="124" y="4"/>
                </a:cxn>
                <a:cxn ang="0">
                  <a:pos x="124" y="0"/>
                </a:cxn>
                <a:cxn ang="0">
                  <a:pos x="124" y="0"/>
                </a:cxn>
                <a:cxn ang="0">
                  <a:pos x="122" y="0"/>
                </a:cxn>
                <a:cxn ang="0">
                  <a:pos x="10" y="0"/>
                </a:cxn>
                <a:cxn ang="0">
                  <a:pos x="10" y="0"/>
                </a:cxn>
                <a:cxn ang="0">
                  <a:pos x="6" y="0"/>
                </a:cxn>
                <a:cxn ang="0">
                  <a:pos x="2" y="2"/>
                </a:cxn>
                <a:cxn ang="0">
                  <a:pos x="0" y="6"/>
                </a:cxn>
                <a:cxn ang="0">
                  <a:pos x="0" y="10"/>
                </a:cxn>
                <a:cxn ang="0">
                  <a:pos x="0" y="66"/>
                </a:cxn>
                <a:cxn ang="0">
                  <a:pos x="0" y="66"/>
                </a:cxn>
                <a:cxn ang="0">
                  <a:pos x="0" y="70"/>
                </a:cxn>
                <a:cxn ang="0">
                  <a:pos x="2" y="72"/>
                </a:cxn>
                <a:cxn ang="0">
                  <a:pos x="6" y="74"/>
                </a:cxn>
                <a:cxn ang="0">
                  <a:pos x="10" y="76"/>
                </a:cxn>
                <a:cxn ang="0">
                  <a:pos x="100" y="76"/>
                </a:cxn>
                <a:cxn ang="0">
                  <a:pos x="100" y="76"/>
                </a:cxn>
                <a:cxn ang="0">
                  <a:pos x="110" y="64"/>
                </a:cxn>
                <a:cxn ang="0">
                  <a:pos x="116" y="52"/>
                </a:cxn>
                <a:cxn ang="0">
                  <a:pos x="120" y="40"/>
                </a:cxn>
                <a:cxn ang="0">
                  <a:pos x="122" y="28"/>
                </a:cxn>
                <a:cxn ang="0">
                  <a:pos x="124" y="12"/>
                </a:cxn>
                <a:cxn ang="0">
                  <a:pos x="124" y="4"/>
                </a:cxn>
                <a:cxn ang="0">
                  <a:pos x="124" y="4"/>
                </a:cxn>
              </a:cxnLst>
              <a:rect l="0" t="0" r="r" b="b"/>
              <a:pathLst>
                <a:path w="124" h="76">
                  <a:moveTo>
                    <a:pt x="124" y="4"/>
                  </a:moveTo>
                  <a:lnTo>
                    <a:pt x="124" y="0"/>
                  </a:lnTo>
                  <a:lnTo>
                    <a:pt x="124" y="0"/>
                  </a:lnTo>
                  <a:lnTo>
                    <a:pt x="122" y="0"/>
                  </a:lnTo>
                  <a:lnTo>
                    <a:pt x="10" y="0"/>
                  </a:lnTo>
                  <a:lnTo>
                    <a:pt x="10" y="0"/>
                  </a:lnTo>
                  <a:lnTo>
                    <a:pt x="6" y="0"/>
                  </a:lnTo>
                  <a:lnTo>
                    <a:pt x="2" y="2"/>
                  </a:lnTo>
                  <a:lnTo>
                    <a:pt x="0" y="6"/>
                  </a:lnTo>
                  <a:lnTo>
                    <a:pt x="0" y="10"/>
                  </a:lnTo>
                  <a:lnTo>
                    <a:pt x="0" y="66"/>
                  </a:lnTo>
                  <a:lnTo>
                    <a:pt x="0" y="66"/>
                  </a:lnTo>
                  <a:lnTo>
                    <a:pt x="0" y="70"/>
                  </a:lnTo>
                  <a:lnTo>
                    <a:pt x="2" y="72"/>
                  </a:lnTo>
                  <a:lnTo>
                    <a:pt x="6" y="74"/>
                  </a:lnTo>
                  <a:lnTo>
                    <a:pt x="10" y="76"/>
                  </a:lnTo>
                  <a:lnTo>
                    <a:pt x="100" y="76"/>
                  </a:lnTo>
                  <a:lnTo>
                    <a:pt x="100" y="76"/>
                  </a:lnTo>
                  <a:lnTo>
                    <a:pt x="110" y="64"/>
                  </a:lnTo>
                  <a:lnTo>
                    <a:pt x="116" y="52"/>
                  </a:lnTo>
                  <a:lnTo>
                    <a:pt x="120" y="40"/>
                  </a:lnTo>
                  <a:lnTo>
                    <a:pt x="122" y="28"/>
                  </a:lnTo>
                  <a:lnTo>
                    <a:pt x="124" y="12"/>
                  </a:lnTo>
                  <a:lnTo>
                    <a:pt x="124" y="4"/>
                  </a:lnTo>
                  <a:lnTo>
                    <a:pt x="124" y="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51" algn="ctr" fontAlgn="ctr">
                <a:buClr>
                  <a:srgbClr val="990000"/>
                </a:buClr>
                <a:buSzPct val="60000"/>
                <a:defRPr/>
              </a:pPr>
              <a:endParaRPr lang="zh-CN" altLang="en-US" sz="1799" dirty="0">
                <a:solidFill>
                  <a:schemeClr val="bg1"/>
                </a:solidFill>
                <a:latin typeface="Calibri" panose="020F0502020204030204" pitchFamily="34" charset="0"/>
                <a:sym typeface="Arial"/>
              </a:endParaRPr>
            </a:p>
          </p:txBody>
        </p:sp>
        <p:sp>
          <p:nvSpPr>
            <p:cNvPr id="151" name="Freeform 41"/>
            <p:cNvSpPr>
              <a:spLocks/>
            </p:cNvSpPr>
            <p:nvPr/>
          </p:nvSpPr>
          <p:spPr bwMode="auto">
            <a:xfrm>
              <a:off x="-1610418" y="2713542"/>
              <a:ext cx="247525" cy="154196"/>
            </a:xfrm>
            <a:custGeom>
              <a:avLst/>
              <a:gdLst/>
              <a:ahLst/>
              <a:cxnLst>
                <a:cxn ang="0">
                  <a:pos x="10" y="76"/>
                </a:cxn>
                <a:cxn ang="0">
                  <a:pos x="112" y="76"/>
                </a:cxn>
                <a:cxn ang="0">
                  <a:pos x="112" y="76"/>
                </a:cxn>
                <a:cxn ang="0">
                  <a:pos x="116" y="74"/>
                </a:cxn>
                <a:cxn ang="0">
                  <a:pos x="120" y="72"/>
                </a:cxn>
                <a:cxn ang="0">
                  <a:pos x="122" y="70"/>
                </a:cxn>
                <a:cxn ang="0">
                  <a:pos x="122" y="66"/>
                </a:cxn>
                <a:cxn ang="0">
                  <a:pos x="122" y="10"/>
                </a:cxn>
                <a:cxn ang="0">
                  <a:pos x="122" y="10"/>
                </a:cxn>
                <a:cxn ang="0">
                  <a:pos x="122" y="6"/>
                </a:cxn>
                <a:cxn ang="0">
                  <a:pos x="120" y="2"/>
                </a:cxn>
                <a:cxn ang="0">
                  <a:pos x="116" y="0"/>
                </a:cxn>
                <a:cxn ang="0">
                  <a:pos x="112" y="0"/>
                </a:cxn>
                <a:cxn ang="0">
                  <a:pos x="10" y="0"/>
                </a:cxn>
                <a:cxn ang="0">
                  <a:pos x="10" y="0"/>
                </a:cxn>
                <a:cxn ang="0">
                  <a:pos x="6" y="0"/>
                </a:cxn>
                <a:cxn ang="0">
                  <a:pos x="2" y="2"/>
                </a:cxn>
                <a:cxn ang="0">
                  <a:pos x="0" y="6"/>
                </a:cxn>
                <a:cxn ang="0">
                  <a:pos x="0" y="10"/>
                </a:cxn>
                <a:cxn ang="0">
                  <a:pos x="0" y="66"/>
                </a:cxn>
                <a:cxn ang="0">
                  <a:pos x="0" y="66"/>
                </a:cxn>
                <a:cxn ang="0">
                  <a:pos x="0" y="70"/>
                </a:cxn>
                <a:cxn ang="0">
                  <a:pos x="2" y="72"/>
                </a:cxn>
                <a:cxn ang="0">
                  <a:pos x="6" y="74"/>
                </a:cxn>
                <a:cxn ang="0">
                  <a:pos x="10" y="76"/>
                </a:cxn>
                <a:cxn ang="0">
                  <a:pos x="10" y="76"/>
                </a:cxn>
              </a:cxnLst>
              <a:rect l="0" t="0" r="r" b="b"/>
              <a:pathLst>
                <a:path w="122" h="76">
                  <a:moveTo>
                    <a:pt x="10" y="76"/>
                  </a:moveTo>
                  <a:lnTo>
                    <a:pt x="112" y="76"/>
                  </a:lnTo>
                  <a:lnTo>
                    <a:pt x="112" y="76"/>
                  </a:lnTo>
                  <a:lnTo>
                    <a:pt x="116" y="74"/>
                  </a:lnTo>
                  <a:lnTo>
                    <a:pt x="120" y="72"/>
                  </a:lnTo>
                  <a:lnTo>
                    <a:pt x="122" y="70"/>
                  </a:lnTo>
                  <a:lnTo>
                    <a:pt x="122" y="66"/>
                  </a:lnTo>
                  <a:lnTo>
                    <a:pt x="122" y="10"/>
                  </a:lnTo>
                  <a:lnTo>
                    <a:pt x="122" y="10"/>
                  </a:lnTo>
                  <a:lnTo>
                    <a:pt x="122" y="6"/>
                  </a:lnTo>
                  <a:lnTo>
                    <a:pt x="120" y="2"/>
                  </a:lnTo>
                  <a:lnTo>
                    <a:pt x="116" y="0"/>
                  </a:lnTo>
                  <a:lnTo>
                    <a:pt x="112" y="0"/>
                  </a:lnTo>
                  <a:lnTo>
                    <a:pt x="10" y="0"/>
                  </a:lnTo>
                  <a:lnTo>
                    <a:pt x="10" y="0"/>
                  </a:lnTo>
                  <a:lnTo>
                    <a:pt x="6" y="0"/>
                  </a:lnTo>
                  <a:lnTo>
                    <a:pt x="2" y="2"/>
                  </a:lnTo>
                  <a:lnTo>
                    <a:pt x="0" y="6"/>
                  </a:lnTo>
                  <a:lnTo>
                    <a:pt x="0" y="10"/>
                  </a:lnTo>
                  <a:lnTo>
                    <a:pt x="0" y="66"/>
                  </a:lnTo>
                  <a:lnTo>
                    <a:pt x="0" y="66"/>
                  </a:lnTo>
                  <a:lnTo>
                    <a:pt x="0" y="70"/>
                  </a:lnTo>
                  <a:lnTo>
                    <a:pt x="2" y="72"/>
                  </a:lnTo>
                  <a:lnTo>
                    <a:pt x="6" y="74"/>
                  </a:lnTo>
                  <a:lnTo>
                    <a:pt x="10" y="76"/>
                  </a:lnTo>
                  <a:lnTo>
                    <a:pt x="10" y="7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51" algn="ctr" fontAlgn="ctr">
                <a:buClr>
                  <a:srgbClr val="990000"/>
                </a:buClr>
                <a:buSzPct val="60000"/>
                <a:defRPr/>
              </a:pPr>
              <a:endParaRPr lang="zh-CN" altLang="en-US" sz="1799" dirty="0">
                <a:solidFill>
                  <a:schemeClr val="bg1"/>
                </a:solidFill>
                <a:latin typeface="Calibri" panose="020F0502020204030204" pitchFamily="34" charset="0"/>
                <a:sym typeface="Arial"/>
              </a:endParaRPr>
            </a:p>
          </p:txBody>
        </p:sp>
        <p:sp>
          <p:nvSpPr>
            <p:cNvPr id="152" name="Freeform 42"/>
            <p:cNvSpPr>
              <a:spLocks/>
            </p:cNvSpPr>
            <p:nvPr/>
          </p:nvSpPr>
          <p:spPr bwMode="auto">
            <a:xfrm>
              <a:off x="-1618534" y="2900200"/>
              <a:ext cx="466645" cy="154196"/>
            </a:xfrm>
            <a:custGeom>
              <a:avLst/>
              <a:gdLst/>
              <a:ahLst/>
              <a:cxnLst>
                <a:cxn ang="0">
                  <a:pos x="186" y="76"/>
                </a:cxn>
                <a:cxn ang="0">
                  <a:pos x="186" y="76"/>
                </a:cxn>
                <a:cxn ang="0">
                  <a:pos x="188" y="66"/>
                </a:cxn>
                <a:cxn ang="0">
                  <a:pos x="192" y="56"/>
                </a:cxn>
                <a:cxn ang="0">
                  <a:pos x="202" y="36"/>
                </a:cxn>
                <a:cxn ang="0">
                  <a:pos x="214" y="18"/>
                </a:cxn>
                <a:cxn ang="0">
                  <a:pos x="230" y="0"/>
                </a:cxn>
                <a:cxn ang="0">
                  <a:pos x="230" y="0"/>
                </a:cxn>
                <a:cxn ang="0">
                  <a:pos x="226" y="0"/>
                </a:cxn>
                <a:cxn ang="0">
                  <a:pos x="10" y="0"/>
                </a:cxn>
                <a:cxn ang="0">
                  <a:pos x="10" y="0"/>
                </a:cxn>
                <a:cxn ang="0">
                  <a:pos x="6" y="0"/>
                </a:cxn>
                <a:cxn ang="0">
                  <a:pos x="4" y="4"/>
                </a:cxn>
                <a:cxn ang="0">
                  <a:pos x="2" y="6"/>
                </a:cxn>
                <a:cxn ang="0">
                  <a:pos x="0" y="10"/>
                </a:cxn>
                <a:cxn ang="0">
                  <a:pos x="0" y="66"/>
                </a:cxn>
                <a:cxn ang="0">
                  <a:pos x="0" y="66"/>
                </a:cxn>
                <a:cxn ang="0">
                  <a:pos x="2" y="70"/>
                </a:cxn>
                <a:cxn ang="0">
                  <a:pos x="4" y="74"/>
                </a:cxn>
                <a:cxn ang="0">
                  <a:pos x="6" y="76"/>
                </a:cxn>
                <a:cxn ang="0">
                  <a:pos x="10" y="76"/>
                </a:cxn>
                <a:cxn ang="0">
                  <a:pos x="186" y="76"/>
                </a:cxn>
              </a:cxnLst>
              <a:rect l="0" t="0" r="r" b="b"/>
              <a:pathLst>
                <a:path w="230" h="76">
                  <a:moveTo>
                    <a:pt x="186" y="76"/>
                  </a:moveTo>
                  <a:lnTo>
                    <a:pt x="186" y="76"/>
                  </a:lnTo>
                  <a:lnTo>
                    <a:pt x="188" y="66"/>
                  </a:lnTo>
                  <a:lnTo>
                    <a:pt x="192" y="56"/>
                  </a:lnTo>
                  <a:lnTo>
                    <a:pt x="202" y="36"/>
                  </a:lnTo>
                  <a:lnTo>
                    <a:pt x="214" y="18"/>
                  </a:lnTo>
                  <a:lnTo>
                    <a:pt x="230" y="0"/>
                  </a:lnTo>
                  <a:lnTo>
                    <a:pt x="230" y="0"/>
                  </a:lnTo>
                  <a:lnTo>
                    <a:pt x="226" y="0"/>
                  </a:lnTo>
                  <a:lnTo>
                    <a:pt x="10" y="0"/>
                  </a:lnTo>
                  <a:lnTo>
                    <a:pt x="10" y="0"/>
                  </a:lnTo>
                  <a:lnTo>
                    <a:pt x="6" y="0"/>
                  </a:lnTo>
                  <a:lnTo>
                    <a:pt x="4" y="4"/>
                  </a:lnTo>
                  <a:lnTo>
                    <a:pt x="2" y="6"/>
                  </a:lnTo>
                  <a:lnTo>
                    <a:pt x="0" y="10"/>
                  </a:lnTo>
                  <a:lnTo>
                    <a:pt x="0" y="66"/>
                  </a:lnTo>
                  <a:lnTo>
                    <a:pt x="0" y="66"/>
                  </a:lnTo>
                  <a:lnTo>
                    <a:pt x="2" y="70"/>
                  </a:lnTo>
                  <a:lnTo>
                    <a:pt x="4" y="74"/>
                  </a:lnTo>
                  <a:lnTo>
                    <a:pt x="6" y="76"/>
                  </a:lnTo>
                  <a:lnTo>
                    <a:pt x="10" y="76"/>
                  </a:lnTo>
                  <a:lnTo>
                    <a:pt x="186" y="7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51" algn="ctr" fontAlgn="ctr">
                <a:buClr>
                  <a:srgbClr val="990000"/>
                </a:buClr>
                <a:buSzPct val="60000"/>
                <a:defRPr/>
              </a:pPr>
              <a:endParaRPr lang="zh-CN" altLang="en-US" sz="1799" dirty="0">
                <a:solidFill>
                  <a:schemeClr val="bg1"/>
                </a:solidFill>
                <a:latin typeface="Calibri" panose="020F0502020204030204" pitchFamily="34" charset="0"/>
                <a:sym typeface="Arial"/>
              </a:endParaRPr>
            </a:p>
          </p:txBody>
        </p:sp>
        <p:sp>
          <p:nvSpPr>
            <p:cNvPr id="153" name="Freeform 43"/>
            <p:cNvSpPr>
              <a:spLocks/>
            </p:cNvSpPr>
            <p:nvPr/>
          </p:nvSpPr>
          <p:spPr bwMode="auto">
            <a:xfrm>
              <a:off x="-1610418" y="3086858"/>
              <a:ext cx="247525" cy="154196"/>
            </a:xfrm>
            <a:custGeom>
              <a:avLst/>
              <a:gdLst/>
              <a:ahLst/>
              <a:cxnLst>
                <a:cxn ang="0">
                  <a:pos x="112" y="0"/>
                </a:cxn>
                <a:cxn ang="0">
                  <a:pos x="10" y="0"/>
                </a:cxn>
                <a:cxn ang="0">
                  <a:pos x="10" y="0"/>
                </a:cxn>
                <a:cxn ang="0">
                  <a:pos x="6" y="2"/>
                </a:cxn>
                <a:cxn ang="0">
                  <a:pos x="2" y="4"/>
                </a:cxn>
                <a:cxn ang="0">
                  <a:pos x="0" y="6"/>
                </a:cxn>
                <a:cxn ang="0">
                  <a:pos x="0" y="12"/>
                </a:cxn>
                <a:cxn ang="0">
                  <a:pos x="0" y="66"/>
                </a:cxn>
                <a:cxn ang="0">
                  <a:pos x="0" y="66"/>
                </a:cxn>
                <a:cxn ang="0">
                  <a:pos x="0" y="70"/>
                </a:cxn>
                <a:cxn ang="0">
                  <a:pos x="2" y="74"/>
                </a:cxn>
                <a:cxn ang="0">
                  <a:pos x="6" y="76"/>
                </a:cxn>
                <a:cxn ang="0">
                  <a:pos x="10" y="76"/>
                </a:cxn>
                <a:cxn ang="0">
                  <a:pos x="112" y="76"/>
                </a:cxn>
                <a:cxn ang="0">
                  <a:pos x="112" y="76"/>
                </a:cxn>
                <a:cxn ang="0">
                  <a:pos x="116" y="76"/>
                </a:cxn>
                <a:cxn ang="0">
                  <a:pos x="120" y="74"/>
                </a:cxn>
                <a:cxn ang="0">
                  <a:pos x="122" y="70"/>
                </a:cxn>
                <a:cxn ang="0">
                  <a:pos x="122" y="66"/>
                </a:cxn>
                <a:cxn ang="0">
                  <a:pos x="122" y="12"/>
                </a:cxn>
                <a:cxn ang="0">
                  <a:pos x="122" y="12"/>
                </a:cxn>
                <a:cxn ang="0">
                  <a:pos x="122" y="6"/>
                </a:cxn>
                <a:cxn ang="0">
                  <a:pos x="120" y="4"/>
                </a:cxn>
                <a:cxn ang="0">
                  <a:pos x="116" y="2"/>
                </a:cxn>
                <a:cxn ang="0">
                  <a:pos x="112" y="0"/>
                </a:cxn>
                <a:cxn ang="0">
                  <a:pos x="112" y="0"/>
                </a:cxn>
              </a:cxnLst>
              <a:rect l="0" t="0" r="r" b="b"/>
              <a:pathLst>
                <a:path w="122" h="76">
                  <a:moveTo>
                    <a:pt x="112" y="0"/>
                  </a:moveTo>
                  <a:lnTo>
                    <a:pt x="10" y="0"/>
                  </a:lnTo>
                  <a:lnTo>
                    <a:pt x="10" y="0"/>
                  </a:lnTo>
                  <a:lnTo>
                    <a:pt x="6" y="2"/>
                  </a:lnTo>
                  <a:lnTo>
                    <a:pt x="2" y="4"/>
                  </a:lnTo>
                  <a:lnTo>
                    <a:pt x="0" y="6"/>
                  </a:lnTo>
                  <a:lnTo>
                    <a:pt x="0" y="12"/>
                  </a:lnTo>
                  <a:lnTo>
                    <a:pt x="0" y="66"/>
                  </a:lnTo>
                  <a:lnTo>
                    <a:pt x="0" y="66"/>
                  </a:lnTo>
                  <a:lnTo>
                    <a:pt x="0" y="70"/>
                  </a:lnTo>
                  <a:lnTo>
                    <a:pt x="2" y="74"/>
                  </a:lnTo>
                  <a:lnTo>
                    <a:pt x="6" y="76"/>
                  </a:lnTo>
                  <a:lnTo>
                    <a:pt x="10" y="76"/>
                  </a:lnTo>
                  <a:lnTo>
                    <a:pt x="112" y="76"/>
                  </a:lnTo>
                  <a:lnTo>
                    <a:pt x="112" y="76"/>
                  </a:lnTo>
                  <a:lnTo>
                    <a:pt x="116" y="76"/>
                  </a:lnTo>
                  <a:lnTo>
                    <a:pt x="120" y="74"/>
                  </a:lnTo>
                  <a:lnTo>
                    <a:pt x="122" y="70"/>
                  </a:lnTo>
                  <a:lnTo>
                    <a:pt x="122" y="66"/>
                  </a:lnTo>
                  <a:lnTo>
                    <a:pt x="122" y="12"/>
                  </a:lnTo>
                  <a:lnTo>
                    <a:pt x="122" y="12"/>
                  </a:lnTo>
                  <a:lnTo>
                    <a:pt x="122" y="6"/>
                  </a:lnTo>
                  <a:lnTo>
                    <a:pt x="120" y="4"/>
                  </a:lnTo>
                  <a:lnTo>
                    <a:pt x="116" y="2"/>
                  </a:lnTo>
                  <a:lnTo>
                    <a:pt x="112" y="0"/>
                  </a:lnTo>
                  <a:lnTo>
                    <a:pt x="112"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51" algn="ctr" fontAlgn="ctr">
                <a:buClr>
                  <a:srgbClr val="990000"/>
                </a:buClr>
                <a:buSzPct val="60000"/>
                <a:defRPr/>
              </a:pPr>
              <a:endParaRPr lang="zh-CN" altLang="en-US" sz="1799" dirty="0">
                <a:solidFill>
                  <a:schemeClr val="bg1"/>
                </a:solidFill>
                <a:latin typeface="Calibri" panose="020F0502020204030204" pitchFamily="34" charset="0"/>
                <a:sym typeface="Arial"/>
              </a:endParaRPr>
            </a:p>
          </p:txBody>
        </p:sp>
        <p:sp>
          <p:nvSpPr>
            <p:cNvPr id="154" name="Freeform 44"/>
            <p:cNvSpPr>
              <a:spLocks/>
            </p:cNvSpPr>
            <p:nvPr/>
          </p:nvSpPr>
          <p:spPr bwMode="auto">
            <a:xfrm>
              <a:off x="-1326373" y="3086858"/>
              <a:ext cx="182600" cy="154196"/>
            </a:xfrm>
            <a:custGeom>
              <a:avLst/>
              <a:gdLst/>
              <a:ahLst/>
              <a:cxnLst>
                <a:cxn ang="0">
                  <a:pos x="44" y="16"/>
                </a:cxn>
                <a:cxn ang="0">
                  <a:pos x="44" y="16"/>
                </a:cxn>
                <a:cxn ang="0">
                  <a:pos x="40" y="0"/>
                </a:cxn>
                <a:cxn ang="0">
                  <a:pos x="10" y="0"/>
                </a:cxn>
                <a:cxn ang="0">
                  <a:pos x="10" y="0"/>
                </a:cxn>
                <a:cxn ang="0">
                  <a:pos x="6" y="2"/>
                </a:cxn>
                <a:cxn ang="0">
                  <a:pos x="2" y="4"/>
                </a:cxn>
                <a:cxn ang="0">
                  <a:pos x="0" y="6"/>
                </a:cxn>
                <a:cxn ang="0">
                  <a:pos x="0" y="12"/>
                </a:cxn>
                <a:cxn ang="0">
                  <a:pos x="0" y="66"/>
                </a:cxn>
                <a:cxn ang="0">
                  <a:pos x="0" y="66"/>
                </a:cxn>
                <a:cxn ang="0">
                  <a:pos x="0" y="70"/>
                </a:cxn>
                <a:cxn ang="0">
                  <a:pos x="2" y="74"/>
                </a:cxn>
                <a:cxn ang="0">
                  <a:pos x="6" y="76"/>
                </a:cxn>
                <a:cxn ang="0">
                  <a:pos x="10" y="76"/>
                </a:cxn>
                <a:cxn ang="0">
                  <a:pos x="90" y="76"/>
                </a:cxn>
                <a:cxn ang="0">
                  <a:pos x="90" y="76"/>
                </a:cxn>
                <a:cxn ang="0">
                  <a:pos x="74" y="66"/>
                </a:cxn>
                <a:cxn ang="0">
                  <a:pos x="62" y="50"/>
                </a:cxn>
                <a:cxn ang="0">
                  <a:pos x="50" y="34"/>
                </a:cxn>
                <a:cxn ang="0">
                  <a:pos x="44" y="16"/>
                </a:cxn>
                <a:cxn ang="0">
                  <a:pos x="44" y="16"/>
                </a:cxn>
              </a:cxnLst>
              <a:rect l="0" t="0" r="r" b="b"/>
              <a:pathLst>
                <a:path w="90" h="76">
                  <a:moveTo>
                    <a:pt x="44" y="16"/>
                  </a:moveTo>
                  <a:lnTo>
                    <a:pt x="44" y="16"/>
                  </a:lnTo>
                  <a:lnTo>
                    <a:pt x="40" y="0"/>
                  </a:lnTo>
                  <a:lnTo>
                    <a:pt x="10" y="0"/>
                  </a:lnTo>
                  <a:lnTo>
                    <a:pt x="10" y="0"/>
                  </a:lnTo>
                  <a:lnTo>
                    <a:pt x="6" y="2"/>
                  </a:lnTo>
                  <a:lnTo>
                    <a:pt x="2" y="4"/>
                  </a:lnTo>
                  <a:lnTo>
                    <a:pt x="0" y="6"/>
                  </a:lnTo>
                  <a:lnTo>
                    <a:pt x="0" y="12"/>
                  </a:lnTo>
                  <a:lnTo>
                    <a:pt x="0" y="66"/>
                  </a:lnTo>
                  <a:lnTo>
                    <a:pt x="0" y="66"/>
                  </a:lnTo>
                  <a:lnTo>
                    <a:pt x="0" y="70"/>
                  </a:lnTo>
                  <a:lnTo>
                    <a:pt x="2" y="74"/>
                  </a:lnTo>
                  <a:lnTo>
                    <a:pt x="6" y="76"/>
                  </a:lnTo>
                  <a:lnTo>
                    <a:pt x="10" y="76"/>
                  </a:lnTo>
                  <a:lnTo>
                    <a:pt x="90" y="76"/>
                  </a:lnTo>
                  <a:lnTo>
                    <a:pt x="90" y="76"/>
                  </a:lnTo>
                  <a:lnTo>
                    <a:pt x="74" y="66"/>
                  </a:lnTo>
                  <a:lnTo>
                    <a:pt x="62" y="50"/>
                  </a:lnTo>
                  <a:lnTo>
                    <a:pt x="50" y="34"/>
                  </a:lnTo>
                  <a:lnTo>
                    <a:pt x="44" y="16"/>
                  </a:lnTo>
                  <a:lnTo>
                    <a:pt x="44" y="1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51" algn="ctr" fontAlgn="ctr">
                <a:buClr>
                  <a:srgbClr val="990000"/>
                </a:buClr>
                <a:buSzPct val="60000"/>
                <a:defRPr/>
              </a:pPr>
              <a:endParaRPr lang="zh-CN" altLang="en-US" sz="1799" dirty="0">
                <a:solidFill>
                  <a:schemeClr val="bg1"/>
                </a:solidFill>
                <a:latin typeface="Calibri" panose="020F0502020204030204" pitchFamily="34" charset="0"/>
                <a:sym typeface="Arial"/>
              </a:endParaRPr>
            </a:p>
          </p:txBody>
        </p:sp>
        <p:sp>
          <p:nvSpPr>
            <p:cNvPr id="155" name="Freeform 45"/>
            <p:cNvSpPr>
              <a:spLocks/>
            </p:cNvSpPr>
            <p:nvPr/>
          </p:nvSpPr>
          <p:spPr bwMode="auto">
            <a:xfrm>
              <a:off x="-1216813" y="2721658"/>
              <a:ext cx="393605" cy="519397"/>
            </a:xfrm>
            <a:custGeom>
              <a:avLst/>
              <a:gdLst/>
              <a:ahLst/>
              <a:cxnLst>
                <a:cxn ang="0">
                  <a:pos x="194" y="144"/>
                </a:cxn>
                <a:cxn ang="0">
                  <a:pos x="188" y="112"/>
                </a:cxn>
                <a:cxn ang="0">
                  <a:pos x="174" y="82"/>
                </a:cxn>
                <a:cxn ang="0">
                  <a:pos x="156" y="58"/>
                </a:cxn>
                <a:cxn ang="0">
                  <a:pos x="116" y="22"/>
                </a:cxn>
                <a:cxn ang="0">
                  <a:pos x="84" y="0"/>
                </a:cxn>
                <a:cxn ang="0">
                  <a:pos x="84" y="8"/>
                </a:cxn>
                <a:cxn ang="0">
                  <a:pos x="78" y="42"/>
                </a:cxn>
                <a:cxn ang="0">
                  <a:pos x="64" y="72"/>
                </a:cxn>
                <a:cxn ang="0">
                  <a:pos x="52" y="86"/>
                </a:cxn>
                <a:cxn ang="0">
                  <a:pos x="20" y="122"/>
                </a:cxn>
                <a:cxn ang="0">
                  <a:pos x="6" y="150"/>
                </a:cxn>
                <a:cxn ang="0">
                  <a:pos x="0" y="178"/>
                </a:cxn>
                <a:cxn ang="0">
                  <a:pos x="2" y="192"/>
                </a:cxn>
                <a:cxn ang="0">
                  <a:pos x="12" y="214"/>
                </a:cxn>
                <a:cxn ang="0">
                  <a:pos x="28" y="234"/>
                </a:cxn>
                <a:cxn ang="0">
                  <a:pos x="46" y="248"/>
                </a:cxn>
                <a:cxn ang="0">
                  <a:pos x="70" y="256"/>
                </a:cxn>
                <a:cxn ang="0">
                  <a:pos x="64" y="240"/>
                </a:cxn>
                <a:cxn ang="0">
                  <a:pos x="64" y="214"/>
                </a:cxn>
                <a:cxn ang="0">
                  <a:pos x="72" y="196"/>
                </a:cxn>
                <a:cxn ang="0">
                  <a:pos x="78" y="186"/>
                </a:cxn>
                <a:cxn ang="0">
                  <a:pos x="104" y="146"/>
                </a:cxn>
                <a:cxn ang="0">
                  <a:pos x="112" y="128"/>
                </a:cxn>
                <a:cxn ang="0">
                  <a:pos x="120" y="140"/>
                </a:cxn>
                <a:cxn ang="0">
                  <a:pos x="132" y="168"/>
                </a:cxn>
                <a:cxn ang="0">
                  <a:pos x="140" y="206"/>
                </a:cxn>
                <a:cxn ang="0">
                  <a:pos x="138" y="228"/>
                </a:cxn>
                <a:cxn ang="0">
                  <a:pos x="130" y="248"/>
                </a:cxn>
                <a:cxn ang="0">
                  <a:pos x="142" y="242"/>
                </a:cxn>
                <a:cxn ang="0">
                  <a:pos x="166" y="224"/>
                </a:cxn>
                <a:cxn ang="0">
                  <a:pos x="186" y="200"/>
                </a:cxn>
                <a:cxn ang="0">
                  <a:pos x="194" y="166"/>
                </a:cxn>
                <a:cxn ang="0">
                  <a:pos x="194" y="144"/>
                </a:cxn>
              </a:cxnLst>
              <a:rect l="0" t="0" r="r" b="b"/>
              <a:pathLst>
                <a:path w="194" h="256">
                  <a:moveTo>
                    <a:pt x="194" y="144"/>
                  </a:moveTo>
                  <a:lnTo>
                    <a:pt x="194" y="144"/>
                  </a:lnTo>
                  <a:lnTo>
                    <a:pt x="192" y="128"/>
                  </a:lnTo>
                  <a:lnTo>
                    <a:pt x="188" y="112"/>
                  </a:lnTo>
                  <a:lnTo>
                    <a:pt x="180" y="96"/>
                  </a:lnTo>
                  <a:lnTo>
                    <a:pt x="174" y="82"/>
                  </a:lnTo>
                  <a:lnTo>
                    <a:pt x="164" y="70"/>
                  </a:lnTo>
                  <a:lnTo>
                    <a:pt x="156" y="58"/>
                  </a:lnTo>
                  <a:lnTo>
                    <a:pt x="136" y="38"/>
                  </a:lnTo>
                  <a:lnTo>
                    <a:pt x="116" y="22"/>
                  </a:lnTo>
                  <a:lnTo>
                    <a:pt x="100" y="10"/>
                  </a:lnTo>
                  <a:lnTo>
                    <a:pt x="84" y="0"/>
                  </a:lnTo>
                  <a:lnTo>
                    <a:pt x="84" y="0"/>
                  </a:lnTo>
                  <a:lnTo>
                    <a:pt x="84" y="8"/>
                  </a:lnTo>
                  <a:lnTo>
                    <a:pt x="82" y="30"/>
                  </a:lnTo>
                  <a:lnTo>
                    <a:pt x="78" y="42"/>
                  </a:lnTo>
                  <a:lnTo>
                    <a:pt x="72" y="58"/>
                  </a:lnTo>
                  <a:lnTo>
                    <a:pt x="64" y="72"/>
                  </a:lnTo>
                  <a:lnTo>
                    <a:pt x="52" y="86"/>
                  </a:lnTo>
                  <a:lnTo>
                    <a:pt x="52" y="86"/>
                  </a:lnTo>
                  <a:lnTo>
                    <a:pt x="30" y="110"/>
                  </a:lnTo>
                  <a:lnTo>
                    <a:pt x="20" y="122"/>
                  </a:lnTo>
                  <a:lnTo>
                    <a:pt x="12" y="136"/>
                  </a:lnTo>
                  <a:lnTo>
                    <a:pt x="6" y="150"/>
                  </a:lnTo>
                  <a:lnTo>
                    <a:pt x="2" y="164"/>
                  </a:lnTo>
                  <a:lnTo>
                    <a:pt x="0" y="178"/>
                  </a:lnTo>
                  <a:lnTo>
                    <a:pt x="2" y="192"/>
                  </a:lnTo>
                  <a:lnTo>
                    <a:pt x="2" y="192"/>
                  </a:lnTo>
                  <a:lnTo>
                    <a:pt x="8" y="204"/>
                  </a:lnTo>
                  <a:lnTo>
                    <a:pt x="12" y="214"/>
                  </a:lnTo>
                  <a:lnTo>
                    <a:pt x="20" y="224"/>
                  </a:lnTo>
                  <a:lnTo>
                    <a:pt x="28" y="234"/>
                  </a:lnTo>
                  <a:lnTo>
                    <a:pt x="36" y="242"/>
                  </a:lnTo>
                  <a:lnTo>
                    <a:pt x="46" y="248"/>
                  </a:lnTo>
                  <a:lnTo>
                    <a:pt x="58" y="254"/>
                  </a:lnTo>
                  <a:lnTo>
                    <a:pt x="70" y="256"/>
                  </a:lnTo>
                  <a:lnTo>
                    <a:pt x="70" y="256"/>
                  </a:lnTo>
                  <a:lnTo>
                    <a:pt x="64" y="240"/>
                  </a:lnTo>
                  <a:lnTo>
                    <a:pt x="64" y="222"/>
                  </a:lnTo>
                  <a:lnTo>
                    <a:pt x="64" y="214"/>
                  </a:lnTo>
                  <a:lnTo>
                    <a:pt x="66" y="204"/>
                  </a:lnTo>
                  <a:lnTo>
                    <a:pt x="72" y="196"/>
                  </a:lnTo>
                  <a:lnTo>
                    <a:pt x="78" y="186"/>
                  </a:lnTo>
                  <a:lnTo>
                    <a:pt x="78" y="186"/>
                  </a:lnTo>
                  <a:lnTo>
                    <a:pt x="94" y="164"/>
                  </a:lnTo>
                  <a:lnTo>
                    <a:pt x="104" y="146"/>
                  </a:lnTo>
                  <a:lnTo>
                    <a:pt x="112" y="128"/>
                  </a:lnTo>
                  <a:lnTo>
                    <a:pt x="112" y="128"/>
                  </a:lnTo>
                  <a:lnTo>
                    <a:pt x="114" y="130"/>
                  </a:lnTo>
                  <a:lnTo>
                    <a:pt x="120" y="140"/>
                  </a:lnTo>
                  <a:lnTo>
                    <a:pt x="126" y="152"/>
                  </a:lnTo>
                  <a:lnTo>
                    <a:pt x="132" y="168"/>
                  </a:lnTo>
                  <a:lnTo>
                    <a:pt x="138" y="186"/>
                  </a:lnTo>
                  <a:lnTo>
                    <a:pt x="140" y="206"/>
                  </a:lnTo>
                  <a:lnTo>
                    <a:pt x="138" y="218"/>
                  </a:lnTo>
                  <a:lnTo>
                    <a:pt x="138" y="228"/>
                  </a:lnTo>
                  <a:lnTo>
                    <a:pt x="134" y="238"/>
                  </a:lnTo>
                  <a:lnTo>
                    <a:pt x="130" y="248"/>
                  </a:lnTo>
                  <a:lnTo>
                    <a:pt x="130" y="248"/>
                  </a:lnTo>
                  <a:lnTo>
                    <a:pt x="142" y="242"/>
                  </a:lnTo>
                  <a:lnTo>
                    <a:pt x="154" y="234"/>
                  </a:lnTo>
                  <a:lnTo>
                    <a:pt x="166" y="224"/>
                  </a:lnTo>
                  <a:lnTo>
                    <a:pt x="176" y="212"/>
                  </a:lnTo>
                  <a:lnTo>
                    <a:pt x="186" y="200"/>
                  </a:lnTo>
                  <a:lnTo>
                    <a:pt x="192" y="184"/>
                  </a:lnTo>
                  <a:lnTo>
                    <a:pt x="194" y="166"/>
                  </a:lnTo>
                  <a:lnTo>
                    <a:pt x="194" y="144"/>
                  </a:lnTo>
                  <a:lnTo>
                    <a:pt x="194" y="14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51" algn="ctr" fontAlgn="ctr">
                <a:buClr>
                  <a:srgbClr val="990000"/>
                </a:buClr>
                <a:buSzPct val="60000"/>
                <a:defRPr/>
              </a:pPr>
              <a:endParaRPr lang="zh-CN" altLang="en-US" sz="1799" dirty="0">
                <a:solidFill>
                  <a:schemeClr val="bg1"/>
                </a:solidFill>
                <a:latin typeface="Calibri" panose="020F0502020204030204" pitchFamily="34" charset="0"/>
                <a:sym typeface="Arial"/>
              </a:endParaRPr>
            </a:p>
          </p:txBody>
        </p:sp>
      </p:grpSp>
      <p:sp>
        <p:nvSpPr>
          <p:cNvPr id="156" name="508237567"/>
          <p:cNvSpPr/>
          <p:nvPr/>
        </p:nvSpPr>
        <p:spPr bwMode="auto">
          <a:xfrm>
            <a:off x="4560793" y="4006394"/>
            <a:ext cx="3648354" cy="1018805"/>
          </a:xfrm>
          <a:prstGeom prst="ellipse">
            <a:avLst/>
          </a:prstGeom>
          <a:noFill/>
          <a:ln w="3175" cmpd="thickThin">
            <a:solidFill>
              <a:srgbClr val="FFC000"/>
            </a:solidFill>
            <a:prstDash val="lgDash"/>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16" tIns="60958" rIns="121916" bIns="60958" numCol="1" rtlCol="0" anchor="t" anchorCtr="0" compatLnSpc="1">
            <a:prstTxWarp prst="textNoShape">
              <a:avLst/>
            </a:prstTxWarp>
          </a:bodyPr>
          <a:lstStyle/>
          <a:p>
            <a:pPr defTabSz="1219008" fontAlgn="ctr">
              <a:buClr>
                <a:srgbClr val="CC9900"/>
              </a:buClr>
              <a:buFont typeface="Wingdings" pitchFamily="2" charset="2"/>
              <a:buChar char="n"/>
              <a:defRPr/>
            </a:pPr>
            <a:endParaRPr lang="en-US" altLang="zh-CN" sz="1200" kern="0">
              <a:solidFill>
                <a:schemeClr val="bg1"/>
              </a:solidFill>
            </a:endParaRPr>
          </a:p>
        </p:txBody>
      </p:sp>
      <p:sp>
        <p:nvSpPr>
          <p:cNvPr id="157" name="508237567"/>
          <p:cNvSpPr/>
          <p:nvPr/>
        </p:nvSpPr>
        <p:spPr bwMode="auto">
          <a:xfrm>
            <a:off x="8021552" y="4043032"/>
            <a:ext cx="1830824" cy="888075"/>
          </a:xfrm>
          <a:prstGeom prst="ellipse">
            <a:avLst/>
          </a:prstGeom>
          <a:noFill/>
          <a:ln w="3175" cmpd="thickThin">
            <a:solidFill>
              <a:schemeClr val="accent5">
                <a:lumMod val="60000"/>
                <a:lumOff val="40000"/>
              </a:schemeClr>
            </a:solidFill>
            <a:prstDash val="lgDash"/>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16" tIns="60958" rIns="121916" bIns="60958" numCol="1" rtlCol="0" anchor="t" anchorCtr="0" compatLnSpc="1">
            <a:prstTxWarp prst="textNoShape">
              <a:avLst/>
            </a:prstTxWarp>
          </a:bodyPr>
          <a:lstStyle/>
          <a:p>
            <a:pPr defTabSz="1219008" fontAlgn="ctr">
              <a:buClr>
                <a:srgbClr val="CC9900"/>
              </a:buClr>
              <a:buFont typeface="Wingdings" pitchFamily="2" charset="2"/>
              <a:buChar char="n"/>
              <a:defRPr/>
            </a:pPr>
            <a:endParaRPr lang="en-US" altLang="zh-CN" sz="1200" kern="0">
              <a:solidFill>
                <a:schemeClr val="bg1"/>
              </a:solidFill>
            </a:endParaRPr>
          </a:p>
        </p:txBody>
      </p:sp>
      <p:grpSp>
        <p:nvGrpSpPr>
          <p:cNvPr id="160" name="组合 159"/>
          <p:cNvGrpSpPr/>
          <p:nvPr/>
        </p:nvGrpSpPr>
        <p:grpSpPr>
          <a:xfrm>
            <a:off x="9189520" y="4709515"/>
            <a:ext cx="365665" cy="182833"/>
            <a:chOff x="3824620" y="4164196"/>
            <a:chExt cx="283985" cy="188570"/>
          </a:xfrm>
          <a:noFill/>
        </p:grpSpPr>
        <p:sp>
          <p:nvSpPr>
            <p:cNvPr id="161" name="336623122"/>
            <p:cNvSpPr>
              <a:spLocks/>
            </p:cNvSpPr>
            <p:nvPr/>
          </p:nvSpPr>
          <p:spPr bwMode="auto">
            <a:xfrm>
              <a:off x="4049312" y="4164196"/>
              <a:ext cx="59293" cy="165713"/>
            </a:xfrm>
            <a:custGeom>
              <a:avLst/>
              <a:gdLst/>
              <a:ahLst/>
              <a:cxnLst>
                <a:cxn ang="0">
                  <a:pos x="2" y="102"/>
                </a:cxn>
                <a:cxn ang="0">
                  <a:pos x="2" y="102"/>
                </a:cxn>
                <a:cxn ang="0">
                  <a:pos x="10" y="92"/>
                </a:cxn>
                <a:cxn ang="0">
                  <a:pos x="16" y="82"/>
                </a:cxn>
                <a:cxn ang="0">
                  <a:pos x="20" y="70"/>
                </a:cxn>
                <a:cxn ang="0">
                  <a:pos x="22" y="58"/>
                </a:cxn>
                <a:cxn ang="0">
                  <a:pos x="22" y="58"/>
                </a:cxn>
                <a:cxn ang="0">
                  <a:pos x="20" y="46"/>
                </a:cxn>
                <a:cxn ang="0">
                  <a:pos x="16" y="34"/>
                </a:cxn>
                <a:cxn ang="0">
                  <a:pos x="10" y="24"/>
                </a:cxn>
                <a:cxn ang="0">
                  <a:pos x="2" y="14"/>
                </a:cxn>
                <a:cxn ang="0">
                  <a:pos x="2" y="14"/>
                </a:cxn>
                <a:cxn ang="0">
                  <a:pos x="2" y="10"/>
                </a:cxn>
                <a:cxn ang="0">
                  <a:pos x="0" y="8"/>
                </a:cxn>
                <a:cxn ang="0">
                  <a:pos x="2" y="4"/>
                </a:cxn>
                <a:cxn ang="0">
                  <a:pos x="2" y="2"/>
                </a:cxn>
                <a:cxn ang="0">
                  <a:pos x="2" y="2"/>
                </a:cxn>
                <a:cxn ang="0">
                  <a:pos x="6" y="0"/>
                </a:cxn>
                <a:cxn ang="0">
                  <a:pos x="8" y="0"/>
                </a:cxn>
                <a:cxn ang="0">
                  <a:pos x="12" y="0"/>
                </a:cxn>
                <a:cxn ang="0">
                  <a:pos x="14" y="2"/>
                </a:cxn>
                <a:cxn ang="0">
                  <a:pos x="14" y="2"/>
                </a:cxn>
                <a:cxn ang="0">
                  <a:pos x="24" y="14"/>
                </a:cxn>
                <a:cxn ang="0">
                  <a:pos x="32" y="28"/>
                </a:cxn>
                <a:cxn ang="0">
                  <a:pos x="36" y="42"/>
                </a:cxn>
                <a:cxn ang="0">
                  <a:pos x="38" y="58"/>
                </a:cxn>
                <a:cxn ang="0">
                  <a:pos x="36" y="72"/>
                </a:cxn>
                <a:cxn ang="0">
                  <a:pos x="32" y="88"/>
                </a:cxn>
                <a:cxn ang="0">
                  <a:pos x="24" y="100"/>
                </a:cxn>
                <a:cxn ang="0">
                  <a:pos x="14" y="114"/>
                </a:cxn>
                <a:cxn ang="0">
                  <a:pos x="14" y="114"/>
                </a:cxn>
                <a:cxn ang="0">
                  <a:pos x="12" y="116"/>
                </a:cxn>
                <a:cxn ang="0">
                  <a:pos x="8" y="116"/>
                </a:cxn>
                <a:cxn ang="0">
                  <a:pos x="6" y="116"/>
                </a:cxn>
                <a:cxn ang="0">
                  <a:pos x="2" y="114"/>
                </a:cxn>
                <a:cxn ang="0">
                  <a:pos x="2" y="114"/>
                </a:cxn>
                <a:cxn ang="0">
                  <a:pos x="2" y="110"/>
                </a:cxn>
                <a:cxn ang="0">
                  <a:pos x="0" y="108"/>
                </a:cxn>
                <a:cxn ang="0">
                  <a:pos x="2" y="104"/>
                </a:cxn>
                <a:cxn ang="0">
                  <a:pos x="2" y="102"/>
                </a:cxn>
                <a:cxn ang="0">
                  <a:pos x="2" y="102"/>
                </a:cxn>
              </a:cxnLst>
              <a:rect l="0" t="0" r="r" b="b"/>
              <a:pathLst>
                <a:path w="38" h="116">
                  <a:moveTo>
                    <a:pt x="2" y="102"/>
                  </a:moveTo>
                  <a:lnTo>
                    <a:pt x="2" y="102"/>
                  </a:lnTo>
                  <a:lnTo>
                    <a:pt x="10" y="92"/>
                  </a:lnTo>
                  <a:lnTo>
                    <a:pt x="16" y="82"/>
                  </a:lnTo>
                  <a:lnTo>
                    <a:pt x="20" y="70"/>
                  </a:lnTo>
                  <a:lnTo>
                    <a:pt x="22" y="58"/>
                  </a:lnTo>
                  <a:lnTo>
                    <a:pt x="22" y="58"/>
                  </a:lnTo>
                  <a:lnTo>
                    <a:pt x="20" y="46"/>
                  </a:lnTo>
                  <a:lnTo>
                    <a:pt x="16" y="34"/>
                  </a:lnTo>
                  <a:lnTo>
                    <a:pt x="10" y="24"/>
                  </a:lnTo>
                  <a:lnTo>
                    <a:pt x="2" y="14"/>
                  </a:lnTo>
                  <a:lnTo>
                    <a:pt x="2" y="14"/>
                  </a:lnTo>
                  <a:lnTo>
                    <a:pt x="2" y="10"/>
                  </a:lnTo>
                  <a:lnTo>
                    <a:pt x="0" y="8"/>
                  </a:lnTo>
                  <a:lnTo>
                    <a:pt x="2" y="4"/>
                  </a:lnTo>
                  <a:lnTo>
                    <a:pt x="2" y="2"/>
                  </a:lnTo>
                  <a:lnTo>
                    <a:pt x="2" y="2"/>
                  </a:lnTo>
                  <a:lnTo>
                    <a:pt x="6" y="0"/>
                  </a:lnTo>
                  <a:lnTo>
                    <a:pt x="8" y="0"/>
                  </a:lnTo>
                  <a:lnTo>
                    <a:pt x="12" y="0"/>
                  </a:lnTo>
                  <a:lnTo>
                    <a:pt x="14" y="2"/>
                  </a:lnTo>
                  <a:lnTo>
                    <a:pt x="14" y="2"/>
                  </a:lnTo>
                  <a:lnTo>
                    <a:pt x="24" y="14"/>
                  </a:lnTo>
                  <a:lnTo>
                    <a:pt x="32" y="28"/>
                  </a:lnTo>
                  <a:lnTo>
                    <a:pt x="36" y="42"/>
                  </a:lnTo>
                  <a:lnTo>
                    <a:pt x="38" y="58"/>
                  </a:lnTo>
                  <a:lnTo>
                    <a:pt x="36" y="72"/>
                  </a:lnTo>
                  <a:lnTo>
                    <a:pt x="32" y="88"/>
                  </a:lnTo>
                  <a:lnTo>
                    <a:pt x="24" y="100"/>
                  </a:lnTo>
                  <a:lnTo>
                    <a:pt x="14" y="114"/>
                  </a:lnTo>
                  <a:lnTo>
                    <a:pt x="14" y="114"/>
                  </a:lnTo>
                  <a:lnTo>
                    <a:pt x="12" y="116"/>
                  </a:lnTo>
                  <a:lnTo>
                    <a:pt x="8" y="116"/>
                  </a:lnTo>
                  <a:lnTo>
                    <a:pt x="6" y="116"/>
                  </a:lnTo>
                  <a:lnTo>
                    <a:pt x="2" y="114"/>
                  </a:lnTo>
                  <a:lnTo>
                    <a:pt x="2" y="114"/>
                  </a:lnTo>
                  <a:lnTo>
                    <a:pt x="2" y="110"/>
                  </a:lnTo>
                  <a:lnTo>
                    <a:pt x="0" y="108"/>
                  </a:lnTo>
                  <a:lnTo>
                    <a:pt x="2" y="104"/>
                  </a:lnTo>
                  <a:lnTo>
                    <a:pt x="2" y="102"/>
                  </a:lnTo>
                  <a:lnTo>
                    <a:pt x="2" y="102"/>
                  </a:lnTo>
                  <a:close/>
                </a:path>
              </a:pathLst>
            </a:custGeom>
            <a:grpFill/>
            <a:ln w="9525">
              <a:solidFill>
                <a:srgbClr val="00B0F0"/>
              </a:solidFill>
              <a:round/>
              <a:headEnd/>
              <a:tailEnd/>
            </a:ln>
          </p:spPr>
          <p:txBody>
            <a:bodyPr vert="horz" wrap="square" lIns="91416" tIns="45708" rIns="91416" bIns="45708" numCol="1" anchor="t" anchorCtr="0" compatLnSpc="1">
              <a:prstTxWarp prst="textNoShape">
                <a:avLst/>
              </a:prstTxWarp>
            </a:bodyPr>
            <a:lstStyle/>
            <a:p>
              <a:pPr defTabSz="1219008" fontAlgn="ctr">
                <a:defRPr/>
              </a:pPr>
              <a:endParaRPr lang="en-US" altLang="zh-CN" sz="1799" kern="0">
                <a:solidFill>
                  <a:schemeClr val="bg1"/>
                </a:solidFill>
              </a:endParaRPr>
            </a:p>
          </p:txBody>
        </p:sp>
        <p:sp>
          <p:nvSpPr>
            <p:cNvPr id="162" name="296831863"/>
            <p:cNvSpPr>
              <a:spLocks/>
            </p:cNvSpPr>
            <p:nvPr/>
          </p:nvSpPr>
          <p:spPr bwMode="auto">
            <a:xfrm>
              <a:off x="4024347" y="4187053"/>
              <a:ext cx="43691" cy="117142"/>
            </a:xfrm>
            <a:custGeom>
              <a:avLst/>
              <a:gdLst/>
              <a:ahLst/>
              <a:cxnLst>
                <a:cxn ang="0">
                  <a:pos x="2" y="68"/>
                </a:cxn>
                <a:cxn ang="0">
                  <a:pos x="2" y="68"/>
                </a:cxn>
                <a:cxn ang="0">
                  <a:pos x="6" y="62"/>
                </a:cxn>
                <a:cxn ang="0">
                  <a:pos x="10" y="56"/>
                </a:cxn>
                <a:cxn ang="0">
                  <a:pos x="12" y="48"/>
                </a:cxn>
                <a:cxn ang="0">
                  <a:pos x="12" y="42"/>
                </a:cxn>
                <a:cxn ang="0">
                  <a:pos x="12" y="34"/>
                </a:cxn>
                <a:cxn ang="0">
                  <a:pos x="10" y="28"/>
                </a:cxn>
                <a:cxn ang="0">
                  <a:pos x="6" y="20"/>
                </a:cxn>
                <a:cxn ang="0">
                  <a:pos x="2" y="14"/>
                </a:cxn>
                <a:cxn ang="0">
                  <a:pos x="2" y="14"/>
                </a:cxn>
                <a:cxn ang="0">
                  <a:pos x="0" y="12"/>
                </a:cxn>
                <a:cxn ang="0">
                  <a:pos x="0" y="8"/>
                </a:cxn>
                <a:cxn ang="0">
                  <a:pos x="0" y="6"/>
                </a:cxn>
                <a:cxn ang="0">
                  <a:pos x="2" y="4"/>
                </a:cxn>
                <a:cxn ang="0">
                  <a:pos x="2" y="4"/>
                </a:cxn>
                <a:cxn ang="0">
                  <a:pos x="4" y="2"/>
                </a:cxn>
                <a:cxn ang="0">
                  <a:pos x="8" y="0"/>
                </a:cxn>
                <a:cxn ang="0">
                  <a:pos x="10" y="2"/>
                </a:cxn>
                <a:cxn ang="0">
                  <a:pos x="12" y="4"/>
                </a:cxn>
                <a:cxn ang="0">
                  <a:pos x="12" y="4"/>
                </a:cxn>
                <a:cxn ang="0">
                  <a:pos x="20" y="12"/>
                </a:cxn>
                <a:cxn ang="0">
                  <a:pos x="24" y="22"/>
                </a:cxn>
                <a:cxn ang="0">
                  <a:pos x="28" y="32"/>
                </a:cxn>
                <a:cxn ang="0">
                  <a:pos x="28" y="42"/>
                </a:cxn>
                <a:cxn ang="0">
                  <a:pos x="28" y="52"/>
                </a:cxn>
                <a:cxn ang="0">
                  <a:pos x="24" y="62"/>
                </a:cxn>
                <a:cxn ang="0">
                  <a:pos x="20" y="72"/>
                </a:cxn>
                <a:cxn ang="0">
                  <a:pos x="12" y="80"/>
                </a:cxn>
                <a:cxn ang="0">
                  <a:pos x="12" y="80"/>
                </a:cxn>
                <a:cxn ang="0">
                  <a:pos x="10" y="82"/>
                </a:cxn>
                <a:cxn ang="0">
                  <a:pos x="8" y="82"/>
                </a:cxn>
                <a:cxn ang="0">
                  <a:pos x="4" y="82"/>
                </a:cxn>
                <a:cxn ang="0">
                  <a:pos x="2" y="80"/>
                </a:cxn>
                <a:cxn ang="0">
                  <a:pos x="2" y="80"/>
                </a:cxn>
                <a:cxn ang="0">
                  <a:pos x="0" y="78"/>
                </a:cxn>
                <a:cxn ang="0">
                  <a:pos x="0" y="74"/>
                </a:cxn>
                <a:cxn ang="0">
                  <a:pos x="0" y="72"/>
                </a:cxn>
                <a:cxn ang="0">
                  <a:pos x="2" y="68"/>
                </a:cxn>
                <a:cxn ang="0">
                  <a:pos x="2" y="68"/>
                </a:cxn>
              </a:cxnLst>
              <a:rect l="0" t="0" r="r" b="b"/>
              <a:pathLst>
                <a:path w="28" h="82">
                  <a:moveTo>
                    <a:pt x="2" y="68"/>
                  </a:moveTo>
                  <a:lnTo>
                    <a:pt x="2" y="68"/>
                  </a:lnTo>
                  <a:lnTo>
                    <a:pt x="6" y="62"/>
                  </a:lnTo>
                  <a:lnTo>
                    <a:pt x="10" y="56"/>
                  </a:lnTo>
                  <a:lnTo>
                    <a:pt x="12" y="48"/>
                  </a:lnTo>
                  <a:lnTo>
                    <a:pt x="12" y="42"/>
                  </a:lnTo>
                  <a:lnTo>
                    <a:pt x="12" y="34"/>
                  </a:lnTo>
                  <a:lnTo>
                    <a:pt x="10" y="28"/>
                  </a:lnTo>
                  <a:lnTo>
                    <a:pt x="6" y="20"/>
                  </a:lnTo>
                  <a:lnTo>
                    <a:pt x="2" y="14"/>
                  </a:lnTo>
                  <a:lnTo>
                    <a:pt x="2" y="14"/>
                  </a:lnTo>
                  <a:lnTo>
                    <a:pt x="0" y="12"/>
                  </a:lnTo>
                  <a:lnTo>
                    <a:pt x="0" y="8"/>
                  </a:lnTo>
                  <a:lnTo>
                    <a:pt x="0" y="6"/>
                  </a:lnTo>
                  <a:lnTo>
                    <a:pt x="2" y="4"/>
                  </a:lnTo>
                  <a:lnTo>
                    <a:pt x="2" y="4"/>
                  </a:lnTo>
                  <a:lnTo>
                    <a:pt x="4" y="2"/>
                  </a:lnTo>
                  <a:lnTo>
                    <a:pt x="8" y="0"/>
                  </a:lnTo>
                  <a:lnTo>
                    <a:pt x="10" y="2"/>
                  </a:lnTo>
                  <a:lnTo>
                    <a:pt x="12" y="4"/>
                  </a:lnTo>
                  <a:lnTo>
                    <a:pt x="12" y="4"/>
                  </a:lnTo>
                  <a:lnTo>
                    <a:pt x="20" y="12"/>
                  </a:lnTo>
                  <a:lnTo>
                    <a:pt x="24" y="22"/>
                  </a:lnTo>
                  <a:lnTo>
                    <a:pt x="28" y="32"/>
                  </a:lnTo>
                  <a:lnTo>
                    <a:pt x="28" y="42"/>
                  </a:lnTo>
                  <a:lnTo>
                    <a:pt x="28" y="52"/>
                  </a:lnTo>
                  <a:lnTo>
                    <a:pt x="24" y="62"/>
                  </a:lnTo>
                  <a:lnTo>
                    <a:pt x="20" y="72"/>
                  </a:lnTo>
                  <a:lnTo>
                    <a:pt x="12" y="80"/>
                  </a:lnTo>
                  <a:lnTo>
                    <a:pt x="12" y="80"/>
                  </a:lnTo>
                  <a:lnTo>
                    <a:pt x="10" y="82"/>
                  </a:lnTo>
                  <a:lnTo>
                    <a:pt x="8" y="82"/>
                  </a:lnTo>
                  <a:lnTo>
                    <a:pt x="4" y="82"/>
                  </a:lnTo>
                  <a:lnTo>
                    <a:pt x="2" y="80"/>
                  </a:lnTo>
                  <a:lnTo>
                    <a:pt x="2" y="80"/>
                  </a:lnTo>
                  <a:lnTo>
                    <a:pt x="0" y="78"/>
                  </a:lnTo>
                  <a:lnTo>
                    <a:pt x="0" y="74"/>
                  </a:lnTo>
                  <a:lnTo>
                    <a:pt x="0" y="72"/>
                  </a:lnTo>
                  <a:lnTo>
                    <a:pt x="2" y="68"/>
                  </a:lnTo>
                  <a:lnTo>
                    <a:pt x="2" y="68"/>
                  </a:lnTo>
                  <a:close/>
                </a:path>
              </a:pathLst>
            </a:custGeom>
            <a:grpFill/>
            <a:ln w="9525">
              <a:solidFill>
                <a:srgbClr val="00B0F0"/>
              </a:solidFill>
              <a:round/>
              <a:headEnd/>
              <a:tailEnd/>
            </a:ln>
          </p:spPr>
          <p:txBody>
            <a:bodyPr vert="horz" wrap="square" lIns="91416" tIns="45708" rIns="91416" bIns="45708" numCol="1" anchor="t" anchorCtr="0" compatLnSpc="1">
              <a:prstTxWarp prst="textNoShape">
                <a:avLst/>
              </a:prstTxWarp>
            </a:bodyPr>
            <a:lstStyle/>
            <a:p>
              <a:pPr defTabSz="1219008" fontAlgn="ctr">
                <a:defRPr/>
              </a:pPr>
              <a:endParaRPr lang="en-US" altLang="zh-CN" sz="1799" kern="0">
                <a:solidFill>
                  <a:schemeClr val="bg1"/>
                </a:solidFill>
              </a:endParaRPr>
            </a:p>
          </p:txBody>
        </p:sp>
        <p:sp>
          <p:nvSpPr>
            <p:cNvPr id="163" name="1673090072"/>
            <p:cNvSpPr>
              <a:spLocks/>
            </p:cNvSpPr>
            <p:nvPr/>
          </p:nvSpPr>
          <p:spPr bwMode="auto">
            <a:xfrm>
              <a:off x="3824620" y="4164196"/>
              <a:ext cx="59293" cy="165713"/>
            </a:xfrm>
            <a:custGeom>
              <a:avLst/>
              <a:gdLst/>
              <a:ahLst/>
              <a:cxnLst>
                <a:cxn ang="0">
                  <a:pos x="34" y="14"/>
                </a:cxn>
                <a:cxn ang="0">
                  <a:pos x="34" y="14"/>
                </a:cxn>
                <a:cxn ang="0">
                  <a:pos x="26" y="24"/>
                </a:cxn>
                <a:cxn ang="0">
                  <a:pos x="22" y="34"/>
                </a:cxn>
                <a:cxn ang="0">
                  <a:pos x="18" y="46"/>
                </a:cxn>
                <a:cxn ang="0">
                  <a:pos x="16" y="58"/>
                </a:cxn>
                <a:cxn ang="0">
                  <a:pos x="16" y="58"/>
                </a:cxn>
                <a:cxn ang="0">
                  <a:pos x="18" y="70"/>
                </a:cxn>
                <a:cxn ang="0">
                  <a:pos x="22" y="82"/>
                </a:cxn>
                <a:cxn ang="0">
                  <a:pos x="26" y="92"/>
                </a:cxn>
                <a:cxn ang="0">
                  <a:pos x="34" y="102"/>
                </a:cxn>
                <a:cxn ang="0">
                  <a:pos x="34" y="102"/>
                </a:cxn>
                <a:cxn ang="0">
                  <a:pos x="36" y="104"/>
                </a:cxn>
                <a:cxn ang="0">
                  <a:pos x="38" y="108"/>
                </a:cxn>
                <a:cxn ang="0">
                  <a:pos x="36" y="110"/>
                </a:cxn>
                <a:cxn ang="0">
                  <a:pos x="34" y="114"/>
                </a:cxn>
                <a:cxn ang="0">
                  <a:pos x="34" y="114"/>
                </a:cxn>
                <a:cxn ang="0">
                  <a:pos x="32" y="116"/>
                </a:cxn>
                <a:cxn ang="0">
                  <a:pos x="30" y="116"/>
                </a:cxn>
                <a:cxn ang="0">
                  <a:pos x="26" y="116"/>
                </a:cxn>
                <a:cxn ang="0">
                  <a:pos x="24" y="114"/>
                </a:cxn>
                <a:cxn ang="0">
                  <a:pos x="24" y="114"/>
                </a:cxn>
                <a:cxn ang="0">
                  <a:pos x="14" y="100"/>
                </a:cxn>
                <a:cxn ang="0">
                  <a:pos x="6" y="88"/>
                </a:cxn>
                <a:cxn ang="0">
                  <a:pos x="2" y="72"/>
                </a:cxn>
                <a:cxn ang="0">
                  <a:pos x="0" y="58"/>
                </a:cxn>
                <a:cxn ang="0">
                  <a:pos x="2" y="42"/>
                </a:cxn>
                <a:cxn ang="0">
                  <a:pos x="6" y="28"/>
                </a:cxn>
                <a:cxn ang="0">
                  <a:pos x="14" y="14"/>
                </a:cxn>
                <a:cxn ang="0">
                  <a:pos x="24" y="2"/>
                </a:cxn>
                <a:cxn ang="0">
                  <a:pos x="24" y="2"/>
                </a:cxn>
                <a:cxn ang="0">
                  <a:pos x="26" y="0"/>
                </a:cxn>
                <a:cxn ang="0">
                  <a:pos x="30" y="0"/>
                </a:cxn>
                <a:cxn ang="0">
                  <a:pos x="32" y="0"/>
                </a:cxn>
                <a:cxn ang="0">
                  <a:pos x="34" y="2"/>
                </a:cxn>
                <a:cxn ang="0">
                  <a:pos x="34" y="2"/>
                </a:cxn>
                <a:cxn ang="0">
                  <a:pos x="36" y="4"/>
                </a:cxn>
                <a:cxn ang="0">
                  <a:pos x="38" y="8"/>
                </a:cxn>
                <a:cxn ang="0">
                  <a:pos x="36" y="10"/>
                </a:cxn>
                <a:cxn ang="0">
                  <a:pos x="34" y="14"/>
                </a:cxn>
                <a:cxn ang="0">
                  <a:pos x="34" y="14"/>
                </a:cxn>
              </a:cxnLst>
              <a:rect l="0" t="0" r="r" b="b"/>
              <a:pathLst>
                <a:path w="38" h="116">
                  <a:moveTo>
                    <a:pt x="34" y="14"/>
                  </a:moveTo>
                  <a:lnTo>
                    <a:pt x="34" y="14"/>
                  </a:lnTo>
                  <a:lnTo>
                    <a:pt x="26" y="24"/>
                  </a:lnTo>
                  <a:lnTo>
                    <a:pt x="22" y="34"/>
                  </a:lnTo>
                  <a:lnTo>
                    <a:pt x="18" y="46"/>
                  </a:lnTo>
                  <a:lnTo>
                    <a:pt x="16" y="58"/>
                  </a:lnTo>
                  <a:lnTo>
                    <a:pt x="16" y="58"/>
                  </a:lnTo>
                  <a:lnTo>
                    <a:pt x="18" y="70"/>
                  </a:lnTo>
                  <a:lnTo>
                    <a:pt x="22" y="82"/>
                  </a:lnTo>
                  <a:lnTo>
                    <a:pt x="26" y="92"/>
                  </a:lnTo>
                  <a:lnTo>
                    <a:pt x="34" y="102"/>
                  </a:lnTo>
                  <a:lnTo>
                    <a:pt x="34" y="102"/>
                  </a:lnTo>
                  <a:lnTo>
                    <a:pt x="36" y="104"/>
                  </a:lnTo>
                  <a:lnTo>
                    <a:pt x="38" y="108"/>
                  </a:lnTo>
                  <a:lnTo>
                    <a:pt x="36" y="110"/>
                  </a:lnTo>
                  <a:lnTo>
                    <a:pt x="34" y="114"/>
                  </a:lnTo>
                  <a:lnTo>
                    <a:pt x="34" y="114"/>
                  </a:lnTo>
                  <a:lnTo>
                    <a:pt x="32" y="116"/>
                  </a:lnTo>
                  <a:lnTo>
                    <a:pt x="30" y="116"/>
                  </a:lnTo>
                  <a:lnTo>
                    <a:pt x="26" y="116"/>
                  </a:lnTo>
                  <a:lnTo>
                    <a:pt x="24" y="114"/>
                  </a:lnTo>
                  <a:lnTo>
                    <a:pt x="24" y="114"/>
                  </a:lnTo>
                  <a:lnTo>
                    <a:pt x="14" y="100"/>
                  </a:lnTo>
                  <a:lnTo>
                    <a:pt x="6" y="88"/>
                  </a:lnTo>
                  <a:lnTo>
                    <a:pt x="2" y="72"/>
                  </a:lnTo>
                  <a:lnTo>
                    <a:pt x="0" y="58"/>
                  </a:lnTo>
                  <a:lnTo>
                    <a:pt x="2" y="42"/>
                  </a:lnTo>
                  <a:lnTo>
                    <a:pt x="6" y="28"/>
                  </a:lnTo>
                  <a:lnTo>
                    <a:pt x="14" y="14"/>
                  </a:lnTo>
                  <a:lnTo>
                    <a:pt x="24" y="2"/>
                  </a:lnTo>
                  <a:lnTo>
                    <a:pt x="24" y="2"/>
                  </a:lnTo>
                  <a:lnTo>
                    <a:pt x="26" y="0"/>
                  </a:lnTo>
                  <a:lnTo>
                    <a:pt x="30" y="0"/>
                  </a:lnTo>
                  <a:lnTo>
                    <a:pt x="32" y="0"/>
                  </a:lnTo>
                  <a:lnTo>
                    <a:pt x="34" y="2"/>
                  </a:lnTo>
                  <a:lnTo>
                    <a:pt x="34" y="2"/>
                  </a:lnTo>
                  <a:lnTo>
                    <a:pt x="36" y="4"/>
                  </a:lnTo>
                  <a:lnTo>
                    <a:pt x="38" y="8"/>
                  </a:lnTo>
                  <a:lnTo>
                    <a:pt x="36" y="10"/>
                  </a:lnTo>
                  <a:lnTo>
                    <a:pt x="34" y="14"/>
                  </a:lnTo>
                  <a:lnTo>
                    <a:pt x="34" y="14"/>
                  </a:lnTo>
                  <a:close/>
                </a:path>
              </a:pathLst>
            </a:custGeom>
            <a:grpFill/>
            <a:ln w="9525">
              <a:solidFill>
                <a:srgbClr val="00B0F0"/>
              </a:solidFill>
              <a:round/>
              <a:headEnd/>
              <a:tailEnd/>
            </a:ln>
          </p:spPr>
          <p:txBody>
            <a:bodyPr vert="horz" wrap="square" lIns="91416" tIns="45708" rIns="91416" bIns="45708" numCol="1" anchor="t" anchorCtr="0" compatLnSpc="1">
              <a:prstTxWarp prst="textNoShape">
                <a:avLst/>
              </a:prstTxWarp>
            </a:bodyPr>
            <a:lstStyle/>
            <a:p>
              <a:pPr defTabSz="1219008" fontAlgn="ctr">
                <a:defRPr/>
              </a:pPr>
              <a:endParaRPr lang="en-US" altLang="zh-CN" sz="1799" kern="0">
                <a:solidFill>
                  <a:schemeClr val="bg1"/>
                </a:solidFill>
              </a:endParaRPr>
            </a:p>
          </p:txBody>
        </p:sp>
        <p:sp>
          <p:nvSpPr>
            <p:cNvPr id="164" name="925420628"/>
            <p:cNvSpPr>
              <a:spLocks/>
            </p:cNvSpPr>
            <p:nvPr/>
          </p:nvSpPr>
          <p:spPr bwMode="auto">
            <a:xfrm>
              <a:off x="3862069" y="4187053"/>
              <a:ext cx="46810" cy="117142"/>
            </a:xfrm>
            <a:custGeom>
              <a:avLst/>
              <a:gdLst/>
              <a:ahLst/>
              <a:cxnLst>
                <a:cxn ang="0">
                  <a:pos x="28" y="14"/>
                </a:cxn>
                <a:cxn ang="0">
                  <a:pos x="28" y="14"/>
                </a:cxn>
                <a:cxn ang="0">
                  <a:pos x="24" y="20"/>
                </a:cxn>
                <a:cxn ang="0">
                  <a:pos x="20" y="28"/>
                </a:cxn>
                <a:cxn ang="0">
                  <a:pos x="18" y="34"/>
                </a:cxn>
                <a:cxn ang="0">
                  <a:pos x="16" y="42"/>
                </a:cxn>
                <a:cxn ang="0">
                  <a:pos x="18" y="48"/>
                </a:cxn>
                <a:cxn ang="0">
                  <a:pos x="20" y="56"/>
                </a:cxn>
                <a:cxn ang="0">
                  <a:pos x="24" y="62"/>
                </a:cxn>
                <a:cxn ang="0">
                  <a:pos x="28" y="68"/>
                </a:cxn>
                <a:cxn ang="0">
                  <a:pos x="28" y="68"/>
                </a:cxn>
                <a:cxn ang="0">
                  <a:pos x="30" y="72"/>
                </a:cxn>
                <a:cxn ang="0">
                  <a:pos x="30" y="74"/>
                </a:cxn>
                <a:cxn ang="0">
                  <a:pos x="30" y="78"/>
                </a:cxn>
                <a:cxn ang="0">
                  <a:pos x="28" y="80"/>
                </a:cxn>
                <a:cxn ang="0">
                  <a:pos x="28" y="80"/>
                </a:cxn>
                <a:cxn ang="0">
                  <a:pos x="26" y="82"/>
                </a:cxn>
                <a:cxn ang="0">
                  <a:pos x="22" y="82"/>
                </a:cxn>
                <a:cxn ang="0">
                  <a:pos x="20" y="82"/>
                </a:cxn>
                <a:cxn ang="0">
                  <a:pos x="16" y="80"/>
                </a:cxn>
                <a:cxn ang="0">
                  <a:pos x="16" y="80"/>
                </a:cxn>
                <a:cxn ang="0">
                  <a:pos x="10" y="72"/>
                </a:cxn>
                <a:cxn ang="0">
                  <a:pos x="4" y="62"/>
                </a:cxn>
                <a:cxn ang="0">
                  <a:pos x="2" y="52"/>
                </a:cxn>
                <a:cxn ang="0">
                  <a:pos x="0" y="42"/>
                </a:cxn>
                <a:cxn ang="0">
                  <a:pos x="2" y="32"/>
                </a:cxn>
                <a:cxn ang="0">
                  <a:pos x="4" y="22"/>
                </a:cxn>
                <a:cxn ang="0">
                  <a:pos x="10" y="12"/>
                </a:cxn>
                <a:cxn ang="0">
                  <a:pos x="16" y="4"/>
                </a:cxn>
                <a:cxn ang="0">
                  <a:pos x="16" y="4"/>
                </a:cxn>
                <a:cxn ang="0">
                  <a:pos x="20" y="2"/>
                </a:cxn>
                <a:cxn ang="0">
                  <a:pos x="22" y="0"/>
                </a:cxn>
                <a:cxn ang="0">
                  <a:pos x="26" y="2"/>
                </a:cxn>
                <a:cxn ang="0">
                  <a:pos x="28" y="4"/>
                </a:cxn>
                <a:cxn ang="0">
                  <a:pos x="28" y="4"/>
                </a:cxn>
                <a:cxn ang="0">
                  <a:pos x="30" y="6"/>
                </a:cxn>
                <a:cxn ang="0">
                  <a:pos x="30" y="8"/>
                </a:cxn>
                <a:cxn ang="0">
                  <a:pos x="30" y="12"/>
                </a:cxn>
                <a:cxn ang="0">
                  <a:pos x="28" y="14"/>
                </a:cxn>
                <a:cxn ang="0">
                  <a:pos x="28" y="14"/>
                </a:cxn>
              </a:cxnLst>
              <a:rect l="0" t="0" r="r" b="b"/>
              <a:pathLst>
                <a:path w="30" h="82">
                  <a:moveTo>
                    <a:pt x="28" y="14"/>
                  </a:moveTo>
                  <a:lnTo>
                    <a:pt x="28" y="14"/>
                  </a:lnTo>
                  <a:lnTo>
                    <a:pt x="24" y="20"/>
                  </a:lnTo>
                  <a:lnTo>
                    <a:pt x="20" y="28"/>
                  </a:lnTo>
                  <a:lnTo>
                    <a:pt x="18" y="34"/>
                  </a:lnTo>
                  <a:lnTo>
                    <a:pt x="16" y="42"/>
                  </a:lnTo>
                  <a:lnTo>
                    <a:pt x="18" y="48"/>
                  </a:lnTo>
                  <a:lnTo>
                    <a:pt x="20" y="56"/>
                  </a:lnTo>
                  <a:lnTo>
                    <a:pt x="24" y="62"/>
                  </a:lnTo>
                  <a:lnTo>
                    <a:pt x="28" y="68"/>
                  </a:lnTo>
                  <a:lnTo>
                    <a:pt x="28" y="68"/>
                  </a:lnTo>
                  <a:lnTo>
                    <a:pt x="30" y="72"/>
                  </a:lnTo>
                  <a:lnTo>
                    <a:pt x="30" y="74"/>
                  </a:lnTo>
                  <a:lnTo>
                    <a:pt x="30" y="78"/>
                  </a:lnTo>
                  <a:lnTo>
                    <a:pt x="28" y="80"/>
                  </a:lnTo>
                  <a:lnTo>
                    <a:pt x="28" y="80"/>
                  </a:lnTo>
                  <a:lnTo>
                    <a:pt x="26" y="82"/>
                  </a:lnTo>
                  <a:lnTo>
                    <a:pt x="22" y="82"/>
                  </a:lnTo>
                  <a:lnTo>
                    <a:pt x="20" y="82"/>
                  </a:lnTo>
                  <a:lnTo>
                    <a:pt x="16" y="80"/>
                  </a:lnTo>
                  <a:lnTo>
                    <a:pt x="16" y="80"/>
                  </a:lnTo>
                  <a:lnTo>
                    <a:pt x="10" y="72"/>
                  </a:lnTo>
                  <a:lnTo>
                    <a:pt x="4" y="62"/>
                  </a:lnTo>
                  <a:lnTo>
                    <a:pt x="2" y="52"/>
                  </a:lnTo>
                  <a:lnTo>
                    <a:pt x="0" y="42"/>
                  </a:lnTo>
                  <a:lnTo>
                    <a:pt x="2" y="32"/>
                  </a:lnTo>
                  <a:lnTo>
                    <a:pt x="4" y="22"/>
                  </a:lnTo>
                  <a:lnTo>
                    <a:pt x="10" y="12"/>
                  </a:lnTo>
                  <a:lnTo>
                    <a:pt x="16" y="4"/>
                  </a:lnTo>
                  <a:lnTo>
                    <a:pt x="16" y="4"/>
                  </a:lnTo>
                  <a:lnTo>
                    <a:pt x="20" y="2"/>
                  </a:lnTo>
                  <a:lnTo>
                    <a:pt x="22" y="0"/>
                  </a:lnTo>
                  <a:lnTo>
                    <a:pt x="26" y="2"/>
                  </a:lnTo>
                  <a:lnTo>
                    <a:pt x="28" y="4"/>
                  </a:lnTo>
                  <a:lnTo>
                    <a:pt x="28" y="4"/>
                  </a:lnTo>
                  <a:lnTo>
                    <a:pt x="30" y="6"/>
                  </a:lnTo>
                  <a:lnTo>
                    <a:pt x="30" y="8"/>
                  </a:lnTo>
                  <a:lnTo>
                    <a:pt x="30" y="12"/>
                  </a:lnTo>
                  <a:lnTo>
                    <a:pt x="28" y="14"/>
                  </a:lnTo>
                  <a:lnTo>
                    <a:pt x="28" y="14"/>
                  </a:lnTo>
                  <a:close/>
                </a:path>
              </a:pathLst>
            </a:custGeom>
            <a:grpFill/>
            <a:ln w="9525">
              <a:solidFill>
                <a:srgbClr val="00B0F0"/>
              </a:solidFill>
              <a:round/>
              <a:headEnd/>
              <a:tailEnd/>
            </a:ln>
          </p:spPr>
          <p:txBody>
            <a:bodyPr vert="horz" wrap="square" lIns="91416" tIns="45708" rIns="91416" bIns="45708" numCol="1" anchor="t" anchorCtr="0" compatLnSpc="1">
              <a:prstTxWarp prst="textNoShape">
                <a:avLst/>
              </a:prstTxWarp>
            </a:bodyPr>
            <a:lstStyle/>
            <a:p>
              <a:pPr defTabSz="1219008" fontAlgn="ctr">
                <a:defRPr/>
              </a:pPr>
              <a:endParaRPr lang="en-US" altLang="zh-CN" sz="1799" kern="0">
                <a:solidFill>
                  <a:schemeClr val="bg1"/>
                </a:solidFill>
              </a:endParaRPr>
            </a:p>
          </p:txBody>
        </p:sp>
        <p:sp>
          <p:nvSpPr>
            <p:cNvPr id="165" name="1922837404"/>
            <p:cNvSpPr>
              <a:spLocks/>
            </p:cNvSpPr>
            <p:nvPr/>
          </p:nvSpPr>
          <p:spPr bwMode="auto">
            <a:xfrm>
              <a:off x="3949449" y="4235624"/>
              <a:ext cx="34327" cy="117142"/>
            </a:xfrm>
            <a:custGeom>
              <a:avLst/>
              <a:gdLst/>
              <a:ahLst/>
              <a:cxnLst>
                <a:cxn ang="0">
                  <a:pos x="22" y="76"/>
                </a:cxn>
                <a:cxn ang="0">
                  <a:pos x="22" y="76"/>
                </a:cxn>
                <a:cxn ang="0">
                  <a:pos x="20" y="80"/>
                </a:cxn>
                <a:cxn ang="0">
                  <a:pos x="16" y="82"/>
                </a:cxn>
                <a:cxn ang="0">
                  <a:pos x="4" y="82"/>
                </a:cxn>
                <a:cxn ang="0">
                  <a:pos x="4" y="82"/>
                </a:cxn>
                <a:cxn ang="0">
                  <a:pos x="2" y="80"/>
                </a:cxn>
                <a:cxn ang="0">
                  <a:pos x="0" y="76"/>
                </a:cxn>
                <a:cxn ang="0">
                  <a:pos x="0" y="4"/>
                </a:cxn>
                <a:cxn ang="0">
                  <a:pos x="0" y="4"/>
                </a:cxn>
                <a:cxn ang="0">
                  <a:pos x="2" y="2"/>
                </a:cxn>
                <a:cxn ang="0">
                  <a:pos x="4" y="0"/>
                </a:cxn>
                <a:cxn ang="0">
                  <a:pos x="16" y="0"/>
                </a:cxn>
                <a:cxn ang="0">
                  <a:pos x="16" y="0"/>
                </a:cxn>
                <a:cxn ang="0">
                  <a:pos x="20" y="2"/>
                </a:cxn>
                <a:cxn ang="0">
                  <a:pos x="22" y="4"/>
                </a:cxn>
                <a:cxn ang="0">
                  <a:pos x="22" y="76"/>
                </a:cxn>
              </a:cxnLst>
              <a:rect l="0" t="0" r="r" b="b"/>
              <a:pathLst>
                <a:path w="22" h="82">
                  <a:moveTo>
                    <a:pt x="22" y="76"/>
                  </a:moveTo>
                  <a:lnTo>
                    <a:pt x="22" y="76"/>
                  </a:lnTo>
                  <a:lnTo>
                    <a:pt x="20" y="80"/>
                  </a:lnTo>
                  <a:lnTo>
                    <a:pt x="16" y="82"/>
                  </a:lnTo>
                  <a:lnTo>
                    <a:pt x="4" y="82"/>
                  </a:lnTo>
                  <a:lnTo>
                    <a:pt x="4" y="82"/>
                  </a:lnTo>
                  <a:lnTo>
                    <a:pt x="2" y="80"/>
                  </a:lnTo>
                  <a:lnTo>
                    <a:pt x="0" y="76"/>
                  </a:lnTo>
                  <a:lnTo>
                    <a:pt x="0" y="4"/>
                  </a:lnTo>
                  <a:lnTo>
                    <a:pt x="0" y="4"/>
                  </a:lnTo>
                  <a:lnTo>
                    <a:pt x="2" y="2"/>
                  </a:lnTo>
                  <a:lnTo>
                    <a:pt x="4" y="0"/>
                  </a:lnTo>
                  <a:lnTo>
                    <a:pt x="16" y="0"/>
                  </a:lnTo>
                  <a:lnTo>
                    <a:pt x="16" y="0"/>
                  </a:lnTo>
                  <a:lnTo>
                    <a:pt x="20" y="2"/>
                  </a:lnTo>
                  <a:lnTo>
                    <a:pt x="22" y="4"/>
                  </a:lnTo>
                  <a:lnTo>
                    <a:pt x="22" y="76"/>
                  </a:lnTo>
                  <a:close/>
                </a:path>
              </a:pathLst>
            </a:custGeom>
            <a:grpFill/>
            <a:ln w="9525">
              <a:solidFill>
                <a:srgbClr val="00B0F0"/>
              </a:solidFill>
              <a:round/>
              <a:headEnd/>
              <a:tailEnd/>
            </a:ln>
          </p:spPr>
          <p:txBody>
            <a:bodyPr vert="horz" wrap="square" lIns="91416" tIns="45708" rIns="91416" bIns="45708" numCol="1" anchor="t" anchorCtr="0" compatLnSpc="1">
              <a:prstTxWarp prst="textNoShape">
                <a:avLst/>
              </a:prstTxWarp>
            </a:bodyPr>
            <a:lstStyle/>
            <a:p>
              <a:pPr defTabSz="1219008" fontAlgn="ctr">
                <a:defRPr/>
              </a:pPr>
              <a:endParaRPr lang="en-US" altLang="zh-CN" sz="1799" kern="0">
                <a:solidFill>
                  <a:schemeClr val="bg1"/>
                </a:solidFill>
              </a:endParaRPr>
            </a:p>
          </p:txBody>
        </p:sp>
      </p:grpSp>
      <p:grpSp>
        <p:nvGrpSpPr>
          <p:cNvPr id="167" name="组合 282"/>
          <p:cNvGrpSpPr/>
          <p:nvPr/>
        </p:nvGrpSpPr>
        <p:grpSpPr>
          <a:xfrm>
            <a:off x="8640282" y="3855892"/>
            <a:ext cx="433550" cy="297365"/>
            <a:chOff x="-1618534" y="2713542"/>
            <a:chExt cx="795326" cy="527513"/>
          </a:xfrm>
          <a:solidFill>
            <a:srgbClr val="00B0F0"/>
          </a:solidFill>
        </p:grpSpPr>
        <p:sp>
          <p:nvSpPr>
            <p:cNvPr id="168" name="Freeform 40"/>
            <p:cNvSpPr>
              <a:spLocks/>
            </p:cNvSpPr>
            <p:nvPr/>
          </p:nvSpPr>
          <p:spPr bwMode="auto">
            <a:xfrm>
              <a:off x="-1326373" y="2713542"/>
              <a:ext cx="251583" cy="154196"/>
            </a:xfrm>
            <a:custGeom>
              <a:avLst/>
              <a:gdLst/>
              <a:ahLst/>
              <a:cxnLst>
                <a:cxn ang="0">
                  <a:pos x="124" y="4"/>
                </a:cxn>
                <a:cxn ang="0">
                  <a:pos x="124" y="0"/>
                </a:cxn>
                <a:cxn ang="0">
                  <a:pos x="124" y="0"/>
                </a:cxn>
                <a:cxn ang="0">
                  <a:pos x="122" y="0"/>
                </a:cxn>
                <a:cxn ang="0">
                  <a:pos x="10" y="0"/>
                </a:cxn>
                <a:cxn ang="0">
                  <a:pos x="10" y="0"/>
                </a:cxn>
                <a:cxn ang="0">
                  <a:pos x="6" y="0"/>
                </a:cxn>
                <a:cxn ang="0">
                  <a:pos x="2" y="2"/>
                </a:cxn>
                <a:cxn ang="0">
                  <a:pos x="0" y="6"/>
                </a:cxn>
                <a:cxn ang="0">
                  <a:pos x="0" y="10"/>
                </a:cxn>
                <a:cxn ang="0">
                  <a:pos x="0" y="66"/>
                </a:cxn>
                <a:cxn ang="0">
                  <a:pos x="0" y="66"/>
                </a:cxn>
                <a:cxn ang="0">
                  <a:pos x="0" y="70"/>
                </a:cxn>
                <a:cxn ang="0">
                  <a:pos x="2" y="72"/>
                </a:cxn>
                <a:cxn ang="0">
                  <a:pos x="6" y="74"/>
                </a:cxn>
                <a:cxn ang="0">
                  <a:pos x="10" y="76"/>
                </a:cxn>
                <a:cxn ang="0">
                  <a:pos x="100" y="76"/>
                </a:cxn>
                <a:cxn ang="0">
                  <a:pos x="100" y="76"/>
                </a:cxn>
                <a:cxn ang="0">
                  <a:pos x="110" y="64"/>
                </a:cxn>
                <a:cxn ang="0">
                  <a:pos x="116" y="52"/>
                </a:cxn>
                <a:cxn ang="0">
                  <a:pos x="120" y="40"/>
                </a:cxn>
                <a:cxn ang="0">
                  <a:pos x="122" y="28"/>
                </a:cxn>
                <a:cxn ang="0">
                  <a:pos x="124" y="12"/>
                </a:cxn>
                <a:cxn ang="0">
                  <a:pos x="124" y="4"/>
                </a:cxn>
                <a:cxn ang="0">
                  <a:pos x="124" y="4"/>
                </a:cxn>
              </a:cxnLst>
              <a:rect l="0" t="0" r="r" b="b"/>
              <a:pathLst>
                <a:path w="124" h="76">
                  <a:moveTo>
                    <a:pt x="124" y="4"/>
                  </a:moveTo>
                  <a:lnTo>
                    <a:pt x="124" y="0"/>
                  </a:lnTo>
                  <a:lnTo>
                    <a:pt x="124" y="0"/>
                  </a:lnTo>
                  <a:lnTo>
                    <a:pt x="122" y="0"/>
                  </a:lnTo>
                  <a:lnTo>
                    <a:pt x="10" y="0"/>
                  </a:lnTo>
                  <a:lnTo>
                    <a:pt x="10" y="0"/>
                  </a:lnTo>
                  <a:lnTo>
                    <a:pt x="6" y="0"/>
                  </a:lnTo>
                  <a:lnTo>
                    <a:pt x="2" y="2"/>
                  </a:lnTo>
                  <a:lnTo>
                    <a:pt x="0" y="6"/>
                  </a:lnTo>
                  <a:lnTo>
                    <a:pt x="0" y="10"/>
                  </a:lnTo>
                  <a:lnTo>
                    <a:pt x="0" y="66"/>
                  </a:lnTo>
                  <a:lnTo>
                    <a:pt x="0" y="66"/>
                  </a:lnTo>
                  <a:lnTo>
                    <a:pt x="0" y="70"/>
                  </a:lnTo>
                  <a:lnTo>
                    <a:pt x="2" y="72"/>
                  </a:lnTo>
                  <a:lnTo>
                    <a:pt x="6" y="74"/>
                  </a:lnTo>
                  <a:lnTo>
                    <a:pt x="10" y="76"/>
                  </a:lnTo>
                  <a:lnTo>
                    <a:pt x="100" y="76"/>
                  </a:lnTo>
                  <a:lnTo>
                    <a:pt x="100" y="76"/>
                  </a:lnTo>
                  <a:lnTo>
                    <a:pt x="110" y="64"/>
                  </a:lnTo>
                  <a:lnTo>
                    <a:pt x="116" y="52"/>
                  </a:lnTo>
                  <a:lnTo>
                    <a:pt x="120" y="40"/>
                  </a:lnTo>
                  <a:lnTo>
                    <a:pt x="122" y="28"/>
                  </a:lnTo>
                  <a:lnTo>
                    <a:pt x="124" y="12"/>
                  </a:lnTo>
                  <a:lnTo>
                    <a:pt x="124" y="4"/>
                  </a:lnTo>
                  <a:lnTo>
                    <a:pt x="124" y="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51" algn="ctr" fontAlgn="ctr">
                <a:buClr>
                  <a:srgbClr val="990000"/>
                </a:buClr>
                <a:buSzPct val="60000"/>
                <a:defRPr/>
              </a:pPr>
              <a:endParaRPr lang="zh-CN" altLang="en-US" sz="1799" dirty="0">
                <a:solidFill>
                  <a:schemeClr val="bg1"/>
                </a:solidFill>
                <a:latin typeface="Calibri" panose="020F0502020204030204" pitchFamily="34" charset="0"/>
                <a:sym typeface="Arial"/>
              </a:endParaRPr>
            </a:p>
          </p:txBody>
        </p:sp>
        <p:sp>
          <p:nvSpPr>
            <p:cNvPr id="169" name="Freeform 41"/>
            <p:cNvSpPr>
              <a:spLocks/>
            </p:cNvSpPr>
            <p:nvPr/>
          </p:nvSpPr>
          <p:spPr bwMode="auto">
            <a:xfrm>
              <a:off x="-1610418" y="2713542"/>
              <a:ext cx="247525" cy="154196"/>
            </a:xfrm>
            <a:custGeom>
              <a:avLst/>
              <a:gdLst/>
              <a:ahLst/>
              <a:cxnLst>
                <a:cxn ang="0">
                  <a:pos x="10" y="76"/>
                </a:cxn>
                <a:cxn ang="0">
                  <a:pos x="112" y="76"/>
                </a:cxn>
                <a:cxn ang="0">
                  <a:pos x="112" y="76"/>
                </a:cxn>
                <a:cxn ang="0">
                  <a:pos x="116" y="74"/>
                </a:cxn>
                <a:cxn ang="0">
                  <a:pos x="120" y="72"/>
                </a:cxn>
                <a:cxn ang="0">
                  <a:pos x="122" y="70"/>
                </a:cxn>
                <a:cxn ang="0">
                  <a:pos x="122" y="66"/>
                </a:cxn>
                <a:cxn ang="0">
                  <a:pos x="122" y="10"/>
                </a:cxn>
                <a:cxn ang="0">
                  <a:pos x="122" y="10"/>
                </a:cxn>
                <a:cxn ang="0">
                  <a:pos x="122" y="6"/>
                </a:cxn>
                <a:cxn ang="0">
                  <a:pos x="120" y="2"/>
                </a:cxn>
                <a:cxn ang="0">
                  <a:pos x="116" y="0"/>
                </a:cxn>
                <a:cxn ang="0">
                  <a:pos x="112" y="0"/>
                </a:cxn>
                <a:cxn ang="0">
                  <a:pos x="10" y="0"/>
                </a:cxn>
                <a:cxn ang="0">
                  <a:pos x="10" y="0"/>
                </a:cxn>
                <a:cxn ang="0">
                  <a:pos x="6" y="0"/>
                </a:cxn>
                <a:cxn ang="0">
                  <a:pos x="2" y="2"/>
                </a:cxn>
                <a:cxn ang="0">
                  <a:pos x="0" y="6"/>
                </a:cxn>
                <a:cxn ang="0">
                  <a:pos x="0" y="10"/>
                </a:cxn>
                <a:cxn ang="0">
                  <a:pos x="0" y="66"/>
                </a:cxn>
                <a:cxn ang="0">
                  <a:pos x="0" y="66"/>
                </a:cxn>
                <a:cxn ang="0">
                  <a:pos x="0" y="70"/>
                </a:cxn>
                <a:cxn ang="0">
                  <a:pos x="2" y="72"/>
                </a:cxn>
                <a:cxn ang="0">
                  <a:pos x="6" y="74"/>
                </a:cxn>
                <a:cxn ang="0">
                  <a:pos x="10" y="76"/>
                </a:cxn>
                <a:cxn ang="0">
                  <a:pos x="10" y="76"/>
                </a:cxn>
              </a:cxnLst>
              <a:rect l="0" t="0" r="r" b="b"/>
              <a:pathLst>
                <a:path w="122" h="76">
                  <a:moveTo>
                    <a:pt x="10" y="76"/>
                  </a:moveTo>
                  <a:lnTo>
                    <a:pt x="112" y="76"/>
                  </a:lnTo>
                  <a:lnTo>
                    <a:pt x="112" y="76"/>
                  </a:lnTo>
                  <a:lnTo>
                    <a:pt x="116" y="74"/>
                  </a:lnTo>
                  <a:lnTo>
                    <a:pt x="120" y="72"/>
                  </a:lnTo>
                  <a:lnTo>
                    <a:pt x="122" y="70"/>
                  </a:lnTo>
                  <a:lnTo>
                    <a:pt x="122" y="66"/>
                  </a:lnTo>
                  <a:lnTo>
                    <a:pt x="122" y="10"/>
                  </a:lnTo>
                  <a:lnTo>
                    <a:pt x="122" y="10"/>
                  </a:lnTo>
                  <a:lnTo>
                    <a:pt x="122" y="6"/>
                  </a:lnTo>
                  <a:lnTo>
                    <a:pt x="120" y="2"/>
                  </a:lnTo>
                  <a:lnTo>
                    <a:pt x="116" y="0"/>
                  </a:lnTo>
                  <a:lnTo>
                    <a:pt x="112" y="0"/>
                  </a:lnTo>
                  <a:lnTo>
                    <a:pt x="10" y="0"/>
                  </a:lnTo>
                  <a:lnTo>
                    <a:pt x="10" y="0"/>
                  </a:lnTo>
                  <a:lnTo>
                    <a:pt x="6" y="0"/>
                  </a:lnTo>
                  <a:lnTo>
                    <a:pt x="2" y="2"/>
                  </a:lnTo>
                  <a:lnTo>
                    <a:pt x="0" y="6"/>
                  </a:lnTo>
                  <a:lnTo>
                    <a:pt x="0" y="10"/>
                  </a:lnTo>
                  <a:lnTo>
                    <a:pt x="0" y="66"/>
                  </a:lnTo>
                  <a:lnTo>
                    <a:pt x="0" y="66"/>
                  </a:lnTo>
                  <a:lnTo>
                    <a:pt x="0" y="70"/>
                  </a:lnTo>
                  <a:lnTo>
                    <a:pt x="2" y="72"/>
                  </a:lnTo>
                  <a:lnTo>
                    <a:pt x="6" y="74"/>
                  </a:lnTo>
                  <a:lnTo>
                    <a:pt x="10" y="76"/>
                  </a:lnTo>
                  <a:lnTo>
                    <a:pt x="10" y="7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51" algn="ctr" fontAlgn="ctr">
                <a:buClr>
                  <a:srgbClr val="990000"/>
                </a:buClr>
                <a:buSzPct val="60000"/>
                <a:defRPr/>
              </a:pPr>
              <a:endParaRPr lang="zh-CN" altLang="en-US" sz="1799" dirty="0">
                <a:solidFill>
                  <a:schemeClr val="bg1"/>
                </a:solidFill>
                <a:latin typeface="Calibri" panose="020F0502020204030204" pitchFamily="34" charset="0"/>
                <a:sym typeface="Arial"/>
              </a:endParaRPr>
            </a:p>
          </p:txBody>
        </p:sp>
        <p:sp>
          <p:nvSpPr>
            <p:cNvPr id="170" name="Freeform 42"/>
            <p:cNvSpPr>
              <a:spLocks/>
            </p:cNvSpPr>
            <p:nvPr/>
          </p:nvSpPr>
          <p:spPr bwMode="auto">
            <a:xfrm>
              <a:off x="-1618534" y="2900200"/>
              <a:ext cx="466645" cy="154196"/>
            </a:xfrm>
            <a:custGeom>
              <a:avLst/>
              <a:gdLst/>
              <a:ahLst/>
              <a:cxnLst>
                <a:cxn ang="0">
                  <a:pos x="186" y="76"/>
                </a:cxn>
                <a:cxn ang="0">
                  <a:pos x="186" y="76"/>
                </a:cxn>
                <a:cxn ang="0">
                  <a:pos x="188" y="66"/>
                </a:cxn>
                <a:cxn ang="0">
                  <a:pos x="192" y="56"/>
                </a:cxn>
                <a:cxn ang="0">
                  <a:pos x="202" y="36"/>
                </a:cxn>
                <a:cxn ang="0">
                  <a:pos x="214" y="18"/>
                </a:cxn>
                <a:cxn ang="0">
                  <a:pos x="230" y="0"/>
                </a:cxn>
                <a:cxn ang="0">
                  <a:pos x="230" y="0"/>
                </a:cxn>
                <a:cxn ang="0">
                  <a:pos x="226" y="0"/>
                </a:cxn>
                <a:cxn ang="0">
                  <a:pos x="10" y="0"/>
                </a:cxn>
                <a:cxn ang="0">
                  <a:pos x="10" y="0"/>
                </a:cxn>
                <a:cxn ang="0">
                  <a:pos x="6" y="0"/>
                </a:cxn>
                <a:cxn ang="0">
                  <a:pos x="4" y="4"/>
                </a:cxn>
                <a:cxn ang="0">
                  <a:pos x="2" y="6"/>
                </a:cxn>
                <a:cxn ang="0">
                  <a:pos x="0" y="10"/>
                </a:cxn>
                <a:cxn ang="0">
                  <a:pos x="0" y="66"/>
                </a:cxn>
                <a:cxn ang="0">
                  <a:pos x="0" y="66"/>
                </a:cxn>
                <a:cxn ang="0">
                  <a:pos x="2" y="70"/>
                </a:cxn>
                <a:cxn ang="0">
                  <a:pos x="4" y="74"/>
                </a:cxn>
                <a:cxn ang="0">
                  <a:pos x="6" y="76"/>
                </a:cxn>
                <a:cxn ang="0">
                  <a:pos x="10" y="76"/>
                </a:cxn>
                <a:cxn ang="0">
                  <a:pos x="186" y="76"/>
                </a:cxn>
              </a:cxnLst>
              <a:rect l="0" t="0" r="r" b="b"/>
              <a:pathLst>
                <a:path w="230" h="76">
                  <a:moveTo>
                    <a:pt x="186" y="76"/>
                  </a:moveTo>
                  <a:lnTo>
                    <a:pt x="186" y="76"/>
                  </a:lnTo>
                  <a:lnTo>
                    <a:pt x="188" y="66"/>
                  </a:lnTo>
                  <a:lnTo>
                    <a:pt x="192" y="56"/>
                  </a:lnTo>
                  <a:lnTo>
                    <a:pt x="202" y="36"/>
                  </a:lnTo>
                  <a:lnTo>
                    <a:pt x="214" y="18"/>
                  </a:lnTo>
                  <a:lnTo>
                    <a:pt x="230" y="0"/>
                  </a:lnTo>
                  <a:lnTo>
                    <a:pt x="230" y="0"/>
                  </a:lnTo>
                  <a:lnTo>
                    <a:pt x="226" y="0"/>
                  </a:lnTo>
                  <a:lnTo>
                    <a:pt x="10" y="0"/>
                  </a:lnTo>
                  <a:lnTo>
                    <a:pt x="10" y="0"/>
                  </a:lnTo>
                  <a:lnTo>
                    <a:pt x="6" y="0"/>
                  </a:lnTo>
                  <a:lnTo>
                    <a:pt x="4" y="4"/>
                  </a:lnTo>
                  <a:lnTo>
                    <a:pt x="2" y="6"/>
                  </a:lnTo>
                  <a:lnTo>
                    <a:pt x="0" y="10"/>
                  </a:lnTo>
                  <a:lnTo>
                    <a:pt x="0" y="66"/>
                  </a:lnTo>
                  <a:lnTo>
                    <a:pt x="0" y="66"/>
                  </a:lnTo>
                  <a:lnTo>
                    <a:pt x="2" y="70"/>
                  </a:lnTo>
                  <a:lnTo>
                    <a:pt x="4" y="74"/>
                  </a:lnTo>
                  <a:lnTo>
                    <a:pt x="6" y="76"/>
                  </a:lnTo>
                  <a:lnTo>
                    <a:pt x="10" y="76"/>
                  </a:lnTo>
                  <a:lnTo>
                    <a:pt x="186" y="7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51" algn="ctr" fontAlgn="ctr">
                <a:buClr>
                  <a:srgbClr val="990000"/>
                </a:buClr>
                <a:buSzPct val="60000"/>
                <a:defRPr/>
              </a:pPr>
              <a:endParaRPr lang="zh-CN" altLang="en-US" sz="1799" dirty="0">
                <a:solidFill>
                  <a:schemeClr val="bg1"/>
                </a:solidFill>
                <a:latin typeface="Calibri" panose="020F0502020204030204" pitchFamily="34" charset="0"/>
                <a:sym typeface="Arial"/>
              </a:endParaRPr>
            </a:p>
          </p:txBody>
        </p:sp>
        <p:sp>
          <p:nvSpPr>
            <p:cNvPr id="171" name="Freeform 43"/>
            <p:cNvSpPr>
              <a:spLocks/>
            </p:cNvSpPr>
            <p:nvPr/>
          </p:nvSpPr>
          <p:spPr bwMode="auto">
            <a:xfrm>
              <a:off x="-1610418" y="3086858"/>
              <a:ext cx="247525" cy="154196"/>
            </a:xfrm>
            <a:custGeom>
              <a:avLst/>
              <a:gdLst/>
              <a:ahLst/>
              <a:cxnLst>
                <a:cxn ang="0">
                  <a:pos x="112" y="0"/>
                </a:cxn>
                <a:cxn ang="0">
                  <a:pos x="10" y="0"/>
                </a:cxn>
                <a:cxn ang="0">
                  <a:pos x="10" y="0"/>
                </a:cxn>
                <a:cxn ang="0">
                  <a:pos x="6" y="2"/>
                </a:cxn>
                <a:cxn ang="0">
                  <a:pos x="2" y="4"/>
                </a:cxn>
                <a:cxn ang="0">
                  <a:pos x="0" y="6"/>
                </a:cxn>
                <a:cxn ang="0">
                  <a:pos x="0" y="12"/>
                </a:cxn>
                <a:cxn ang="0">
                  <a:pos x="0" y="66"/>
                </a:cxn>
                <a:cxn ang="0">
                  <a:pos x="0" y="66"/>
                </a:cxn>
                <a:cxn ang="0">
                  <a:pos x="0" y="70"/>
                </a:cxn>
                <a:cxn ang="0">
                  <a:pos x="2" y="74"/>
                </a:cxn>
                <a:cxn ang="0">
                  <a:pos x="6" y="76"/>
                </a:cxn>
                <a:cxn ang="0">
                  <a:pos x="10" y="76"/>
                </a:cxn>
                <a:cxn ang="0">
                  <a:pos x="112" y="76"/>
                </a:cxn>
                <a:cxn ang="0">
                  <a:pos x="112" y="76"/>
                </a:cxn>
                <a:cxn ang="0">
                  <a:pos x="116" y="76"/>
                </a:cxn>
                <a:cxn ang="0">
                  <a:pos x="120" y="74"/>
                </a:cxn>
                <a:cxn ang="0">
                  <a:pos x="122" y="70"/>
                </a:cxn>
                <a:cxn ang="0">
                  <a:pos x="122" y="66"/>
                </a:cxn>
                <a:cxn ang="0">
                  <a:pos x="122" y="12"/>
                </a:cxn>
                <a:cxn ang="0">
                  <a:pos x="122" y="12"/>
                </a:cxn>
                <a:cxn ang="0">
                  <a:pos x="122" y="6"/>
                </a:cxn>
                <a:cxn ang="0">
                  <a:pos x="120" y="4"/>
                </a:cxn>
                <a:cxn ang="0">
                  <a:pos x="116" y="2"/>
                </a:cxn>
                <a:cxn ang="0">
                  <a:pos x="112" y="0"/>
                </a:cxn>
                <a:cxn ang="0">
                  <a:pos x="112" y="0"/>
                </a:cxn>
              </a:cxnLst>
              <a:rect l="0" t="0" r="r" b="b"/>
              <a:pathLst>
                <a:path w="122" h="76">
                  <a:moveTo>
                    <a:pt x="112" y="0"/>
                  </a:moveTo>
                  <a:lnTo>
                    <a:pt x="10" y="0"/>
                  </a:lnTo>
                  <a:lnTo>
                    <a:pt x="10" y="0"/>
                  </a:lnTo>
                  <a:lnTo>
                    <a:pt x="6" y="2"/>
                  </a:lnTo>
                  <a:lnTo>
                    <a:pt x="2" y="4"/>
                  </a:lnTo>
                  <a:lnTo>
                    <a:pt x="0" y="6"/>
                  </a:lnTo>
                  <a:lnTo>
                    <a:pt x="0" y="12"/>
                  </a:lnTo>
                  <a:lnTo>
                    <a:pt x="0" y="66"/>
                  </a:lnTo>
                  <a:lnTo>
                    <a:pt x="0" y="66"/>
                  </a:lnTo>
                  <a:lnTo>
                    <a:pt x="0" y="70"/>
                  </a:lnTo>
                  <a:lnTo>
                    <a:pt x="2" y="74"/>
                  </a:lnTo>
                  <a:lnTo>
                    <a:pt x="6" y="76"/>
                  </a:lnTo>
                  <a:lnTo>
                    <a:pt x="10" y="76"/>
                  </a:lnTo>
                  <a:lnTo>
                    <a:pt x="112" y="76"/>
                  </a:lnTo>
                  <a:lnTo>
                    <a:pt x="112" y="76"/>
                  </a:lnTo>
                  <a:lnTo>
                    <a:pt x="116" y="76"/>
                  </a:lnTo>
                  <a:lnTo>
                    <a:pt x="120" y="74"/>
                  </a:lnTo>
                  <a:lnTo>
                    <a:pt x="122" y="70"/>
                  </a:lnTo>
                  <a:lnTo>
                    <a:pt x="122" y="66"/>
                  </a:lnTo>
                  <a:lnTo>
                    <a:pt x="122" y="12"/>
                  </a:lnTo>
                  <a:lnTo>
                    <a:pt x="122" y="12"/>
                  </a:lnTo>
                  <a:lnTo>
                    <a:pt x="122" y="6"/>
                  </a:lnTo>
                  <a:lnTo>
                    <a:pt x="120" y="4"/>
                  </a:lnTo>
                  <a:lnTo>
                    <a:pt x="116" y="2"/>
                  </a:lnTo>
                  <a:lnTo>
                    <a:pt x="112" y="0"/>
                  </a:lnTo>
                  <a:lnTo>
                    <a:pt x="112"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51" algn="ctr" fontAlgn="ctr">
                <a:buClr>
                  <a:srgbClr val="990000"/>
                </a:buClr>
                <a:buSzPct val="60000"/>
                <a:defRPr/>
              </a:pPr>
              <a:endParaRPr lang="zh-CN" altLang="en-US" sz="1799" dirty="0">
                <a:solidFill>
                  <a:schemeClr val="bg1"/>
                </a:solidFill>
                <a:latin typeface="Calibri" panose="020F0502020204030204" pitchFamily="34" charset="0"/>
                <a:sym typeface="Arial"/>
              </a:endParaRPr>
            </a:p>
          </p:txBody>
        </p:sp>
        <p:sp>
          <p:nvSpPr>
            <p:cNvPr id="172" name="Freeform 44"/>
            <p:cNvSpPr>
              <a:spLocks/>
            </p:cNvSpPr>
            <p:nvPr/>
          </p:nvSpPr>
          <p:spPr bwMode="auto">
            <a:xfrm>
              <a:off x="-1326373" y="3086858"/>
              <a:ext cx="182600" cy="154196"/>
            </a:xfrm>
            <a:custGeom>
              <a:avLst/>
              <a:gdLst/>
              <a:ahLst/>
              <a:cxnLst>
                <a:cxn ang="0">
                  <a:pos x="44" y="16"/>
                </a:cxn>
                <a:cxn ang="0">
                  <a:pos x="44" y="16"/>
                </a:cxn>
                <a:cxn ang="0">
                  <a:pos x="40" y="0"/>
                </a:cxn>
                <a:cxn ang="0">
                  <a:pos x="10" y="0"/>
                </a:cxn>
                <a:cxn ang="0">
                  <a:pos x="10" y="0"/>
                </a:cxn>
                <a:cxn ang="0">
                  <a:pos x="6" y="2"/>
                </a:cxn>
                <a:cxn ang="0">
                  <a:pos x="2" y="4"/>
                </a:cxn>
                <a:cxn ang="0">
                  <a:pos x="0" y="6"/>
                </a:cxn>
                <a:cxn ang="0">
                  <a:pos x="0" y="12"/>
                </a:cxn>
                <a:cxn ang="0">
                  <a:pos x="0" y="66"/>
                </a:cxn>
                <a:cxn ang="0">
                  <a:pos x="0" y="66"/>
                </a:cxn>
                <a:cxn ang="0">
                  <a:pos x="0" y="70"/>
                </a:cxn>
                <a:cxn ang="0">
                  <a:pos x="2" y="74"/>
                </a:cxn>
                <a:cxn ang="0">
                  <a:pos x="6" y="76"/>
                </a:cxn>
                <a:cxn ang="0">
                  <a:pos x="10" y="76"/>
                </a:cxn>
                <a:cxn ang="0">
                  <a:pos x="90" y="76"/>
                </a:cxn>
                <a:cxn ang="0">
                  <a:pos x="90" y="76"/>
                </a:cxn>
                <a:cxn ang="0">
                  <a:pos x="74" y="66"/>
                </a:cxn>
                <a:cxn ang="0">
                  <a:pos x="62" y="50"/>
                </a:cxn>
                <a:cxn ang="0">
                  <a:pos x="50" y="34"/>
                </a:cxn>
                <a:cxn ang="0">
                  <a:pos x="44" y="16"/>
                </a:cxn>
                <a:cxn ang="0">
                  <a:pos x="44" y="16"/>
                </a:cxn>
              </a:cxnLst>
              <a:rect l="0" t="0" r="r" b="b"/>
              <a:pathLst>
                <a:path w="90" h="76">
                  <a:moveTo>
                    <a:pt x="44" y="16"/>
                  </a:moveTo>
                  <a:lnTo>
                    <a:pt x="44" y="16"/>
                  </a:lnTo>
                  <a:lnTo>
                    <a:pt x="40" y="0"/>
                  </a:lnTo>
                  <a:lnTo>
                    <a:pt x="10" y="0"/>
                  </a:lnTo>
                  <a:lnTo>
                    <a:pt x="10" y="0"/>
                  </a:lnTo>
                  <a:lnTo>
                    <a:pt x="6" y="2"/>
                  </a:lnTo>
                  <a:lnTo>
                    <a:pt x="2" y="4"/>
                  </a:lnTo>
                  <a:lnTo>
                    <a:pt x="0" y="6"/>
                  </a:lnTo>
                  <a:lnTo>
                    <a:pt x="0" y="12"/>
                  </a:lnTo>
                  <a:lnTo>
                    <a:pt x="0" y="66"/>
                  </a:lnTo>
                  <a:lnTo>
                    <a:pt x="0" y="66"/>
                  </a:lnTo>
                  <a:lnTo>
                    <a:pt x="0" y="70"/>
                  </a:lnTo>
                  <a:lnTo>
                    <a:pt x="2" y="74"/>
                  </a:lnTo>
                  <a:lnTo>
                    <a:pt x="6" y="76"/>
                  </a:lnTo>
                  <a:lnTo>
                    <a:pt x="10" y="76"/>
                  </a:lnTo>
                  <a:lnTo>
                    <a:pt x="90" y="76"/>
                  </a:lnTo>
                  <a:lnTo>
                    <a:pt x="90" y="76"/>
                  </a:lnTo>
                  <a:lnTo>
                    <a:pt x="74" y="66"/>
                  </a:lnTo>
                  <a:lnTo>
                    <a:pt x="62" y="50"/>
                  </a:lnTo>
                  <a:lnTo>
                    <a:pt x="50" y="34"/>
                  </a:lnTo>
                  <a:lnTo>
                    <a:pt x="44" y="16"/>
                  </a:lnTo>
                  <a:lnTo>
                    <a:pt x="44" y="1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51" algn="ctr" fontAlgn="ctr">
                <a:buClr>
                  <a:srgbClr val="990000"/>
                </a:buClr>
                <a:buSzPct val="60000"/>
                <a:defRPr/>
              </a:pPr>
              <a:endParaRPr lang="zh-CN" altLang="en-US" sz="1799" dirty="0">
                <a:solidFill>
                  <a:schemeClr val="bg1"/>
                </a:solidFill>
                <a:latin typeface="Calibri" panose="020F0502020204030204" pitchFamily="34" charset="0"/>
                <a:sym typeface="Arial"/>
              </a:endParaRPr>
            </a:p>
          </p:txBody>
        </p:sp>
        <p:sp>
          <p:nvSpPr>
            <p:cNvPr id="173" name="Freeform 45"/>
            <p:cNvSpPr>
              <a:spLocks/>
            </p:cNvSpPr>
            <p:nvPr/>
          </p:nvSpPr>
          <p:spPr bwMode="auto">
            <a:xfrm>
              <a:off x="-1216813" y="2721658"/>
              <a:ext cx="393605" cy="519397"/>
            </a:xfrm>
            <a:custGeom>
              <a:avLst/>
              <a:gdLst/>
              <a:ahLst/>
              <a:cxnLst>
                <a:cxn ang="0">
                  <a:pos x="194" y="144"/>
                </a:cxn>
                <a:cxn ang="0">
                  <a:pos x="188" y="112"/>
                </a:cxn>
                <a:cxn ang="0">
                  <a:pos x="174" y="82"/>
                </a:cxn>
                <a:cxn ang="0">
                  <a:pos x="156" y="58"/>
                </a:cxn>
                <a:cxn ang="0">
                  <a:pos x="116" y="22"/>
                </a:cxn>
                <a:cxn ang="0">
                  <a:pos x="84" y="0"/>
                </a:cxn>
                <a:cxn ang="0">
                  <a:pos x="84" y="8"/>
                </a:cxn>
                <a:cxn ang="0">
                  <a:pos x="78" y="42"/>
                </a:cxn>
                <a:cxn ang="0">
                  <a:pos x="64" y="72"/>
                </a:cxn>
                <a:cxn ang="0">
                  <a:pos x="52" y="86"/>
                </a:cxn>
                <a:cxn ang="0">
                  <a:pos x="20" y="122"/>
                </a:cxn>
                <a:cxn ang="0">
                  <a:pos x="6" y="150"/>
                </a:cxn>
                <a:cxn ang="0">
                  <a:pos x="0" y="178"/>
                </a:cxn>
                <a:cxn ang="0">
                  <a:pos x="2" y="192"/>
                </a:cxn>
                <a:cxn ang="0">
                  <a:pos x="12" y="214"/>
                </a:cxn>
                <a:cxn ang="0">
                  <a:pos x="28" y="234"/>
                </a:cxn>
                <a:cxn ang="0">
                  <a:pos x="46" y="248"/>
                </a:cxn>
                <a:cxn ang="0">
                  <a:pos x="70" y="256"/>
                </a:cxn>
                <a:cxn ang="0">
                  <a:pos x="64" y="240"/>
                </a:cxn>
                <a:cxn ang="0">
                  <a:pos x="64" y="214"/>
                </a:cxn>
                <a:cxn ang="0">
                  <a:pos x="72" y="196"/>
                </a:cxn>
                <a:cxn ang="0">
                  <a:pos x="78" y="186"/>
                </a:cxn>
                <a:cxn ang="0">
                  <a:pos x="104" y="146"/>
                </a:cxn>
                <a:cxn ang="0">
                  <a:pos x="112" y="128"/>
                </a:cxn>
                <a:cxn ang="0">
                  <a:pos x="120" y="140"/>
                </a:cxn>
                <a:cxn ang="0">
                  <a:pos x="132" y="168"/>
                </a:cxn>
                <a:cxn ang="0">
                  <a:pos x="140" y="206"/>
                </a:cxn>
                <a:cxn ang="0">
                  <a:pos x="138" y="228"/>
                </a:cxn>
                <a:cxn ang="0">
                  <a:pos x="130" y="248"/>
                </a:cxn>
                <a:cxn ang="0">
                  <a:pos x="142" y="242"/>
                </a:cxn>
                <a:cxn ang="0">
                  <a:pos x="166" y="224"/>
                </a:cxn>
                <a:cxn ang="0">
                  <a:pos x="186" y="200"/>
                </a:cxn>
                <a:cxn ang="0">
                  <a:pos x="194" y="166"/>
                </a:cxn>
                <a:cxn ang="0">
                  <a:pos x="194" y="144"/>
                </a:cxn>
              </a:cxnLst>
              <a:rect l="0" t="0" r="r" b="b"/>
              <a:pathLst>
                <a:path w="194" h="256">
                  <a:moveTo>
                    <a:pt x="194" y="144"/>
                  </a:moveTo>
                  <a:lnTo>
                    <a:pt x="194" y="144"/>
                  </a:lnTo>
                  <a:lnTo>
                    <a:pt x="192" y="128"/>
                  </a:lnTo>
                  <a:lnTo>
                    <a:pt x="188" y="112"/>
                  </a:lnTo>
                  <a:lnTo>
                    <a:pt x="180" y="96"/>
                  </a:lnTo>
                  <a:lnTo>
                    <a:pt x="174" y="82"/>
                  </a:lnTo>
                  <a:lnTo>
                    <a:pt x="164" y="70"/>
                  </a:lnTo>
                  <a:lnTo>
                    <a:pt x="156" y="58"/>
                  </a:lnTo>
                  <a:lnTo>
                    <a:pt x="136" y="38"/>
                  </a:lnTo>
                  <a:lnTo>
                    <a:pt x="116" y="22"/>
                  </a:lnTo>
                  <a:lnTo>
                    <a:pt x="100" y="10"/>
                  </a:lnTo>
                  <a:lnTo>
                    <a:pt x="84" y="0"/>
                  </a:lnTo>
                  <a:lnTo>
                    <a:pt x="84" y="0"/>
                  </a:lnTo>
                  <a:lnTo>
                    <a:pt x="84" y="8"/>
                  </a:lnTo>
                  <a:lnTo>
                    <a:pt x="82" y="30"/>
                  </a:lnTo>
                  <a:lnTo>
                    <a:pt x="78" y="42"/>
                  </a:lnTo>
                  <a:lnTo>
                    <a:pt x="72" y="58"/>
                  </a:lnTo>
                  <a:lnTo>
                    <a:pt x="64" y="72"/>
                  </a:lnTo>
                  <a:lnTo>
                    <a:pt x="52" y="86"/>
                  </a:lnTo>
                  <a:lnTo>
                    <a:pt x="52" y="86"/>
                  </a:lnTo>
                  <a:lnTo>
                    <a:pt x="30" y="110"/>
                  </a:lnTo>
                  <a:lnTo>
                    <a:pt x="20" y="122"/>
                  </a:lnTo>
                  <a:lnTo>
                    <a:pt x="12" y="136"/>
                  </a:lnTo>
                  <a:lnTo>
                    <a:pt x="6" y="150"/>
                  </a:lnTo>
                  <a:lnTo>
                    <a:pt x="2" y="164"/>
                  </a:lnTo>
                  <a:lnTo>
                    <a:pt x="0" y="178"/>
                  </a:lnTo>
                  <a:lnTo>
                    <a:pt x="2" y="192"/>
                  </a:lnTo>
                  <a:lnTo>
                    <a:pt x="2" y="192"/>
                  </a:lnTo>
                  <a:lnTo>
                    <a:pt x="8" y="204"/>
                  </a:lnTo>
                  <a:lnTo>
                    <a:pt x="12" y="214"/>
                  </a:lnTo>
                  <a:lnTo>
                    <a:pt x="20" y="224"/>
                  </a:lnTo>
                  <a:lnTo>
                    <a:pt x="28" y="234"/>
                  </a:lnTo>
                  <a:lnTo>
                    <a:pt x="36" y="242"/>
                  </a:lnTo>
                  <a:lnTo>
                    <a:pt x="46" y="248"/>
                  </a:lnTo>
                  <a:lnTo>
                    <a:pt x="58" y="254"/>
                  </a:lnTo>
                  <a:lnTo>
                    <a:pt x="70" y="256"/>
                  </a:lnTo>
                  <a:lnTo>
                    <a:pt x="70" y="256"/>
                  </a:lnTo>
                  <a:lnTo>
                    <a:pt x="64" y="240"/>
                  </a:lnTo>
                  <a:lnTo>
                    <a:pt x="64" y="222"/>
                  </a:lnTo>
                  <a:lnTo>
                    <a:pt x="64" y="214"/>
                  </a:lnTo>
                  <a:lnTo>
                    <a:pt x="66" y="204"/>
                  </a:lnTo>
                  <a:lnTo>
                    <a:pt x="72" y="196"/>
                  </a:lnTo>
                  <a:lnTo>
                    <a:pt x="78" y="186"/>
                  </a:lnTo>
                  <a:lnTo>
                    <a:pt x="78" y="186"/>
                  </a:lnTo>
                  <a:lnTo>
                    <a:pt x="94" y="164"/>
                  </a:lnTo>
                  <a:lnTo>
                    <a:pt x="104" y="146"/>
                  </a:lnTo>
                  <a:lnTo>
                    <a:pt x="112" y="128"/>
                  </a:lnTo>
                  <a:lnTo>
                    <a:pt x="112" y="128"/>
                  </a:lnTo>
                  <a:lnTo>
                    <a:pt x="114" y="130"/>
                  </a:lnTo>
                  <a:lnTo>
                    <a:pt x="120" y="140"/>
                  </a:lnTo>
                  <a:lnTo>
                    <a:pt x="126" y="152"/>
                  </a:lnTo>
                  <a:lnTo>
                    <a:pt x="132" y="168"/>
                  </a:lnTo>
                  <a:lnTo>
                    <a:pt x="138" y="186"/>
                  </a:lnTo>
                  <a:lnTo>
                    <a:pt x="140" y="206"/>
                  </a:lnTo>
                  <a:lnTo>
                    <a:pt x="138" y="218"/>
                  </a:lnTo>
                  <a:lnTo>
                    <a:pt x="138" y="228"/>
                  </a:lnTo>
                  <a:lnTo>
                    <a:pt x="134" y="238"/>
                  </a:lnTo>
                  <a:lnTo>
                    <a:pt x="130" y="248"/>
                  </a:lnTo>
                  <a:lnTo>
                    <a:pt x="130" y="248"/>
                  </a:lnTo>
                  <a:lnTo>
                    <a:pt x="142" y="242"/>
                  </a:lnTo>
                  <a:lnTo>
                    <a:pt x="154" y="234"/>
                  </a:lnTo>
                  <a:lnTo>
                    <a:pt x="166" y="224"/>
                  </a:lnTo>
                  <a:lnTo>
                    <a:pt x="176" y="212"/>
                  </a:lnTo>
                  <a:lnTo>
                    <a:pt x="186" y="200"/>
                  </a:lnTo>
                  <a:lnTo>
                    <a:pt x="192" y="184"/>
                  </a:lnTo>
                  <a:lnTo>
                    <a:pt x="194" y="166"/>
                  </a:lnTo>
                  <a:lnTo>
                    <a:pt x="194" y="144"/>
                  </a:lnTo>
                  <a:lnTo>
                    <a:pt x="194" y="14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51" algn="ctr" fontAlgn="ctr">
                <a:buClr>
                  <a:srgbClr val="990000"/>
                </a:buClr>
                <a:buSzPct val="60000"/>
                <a:defRPr/>
              </a:pPr>
              <a:endParaRPr lang="zh-CN" altLang="en-US" sz="1799" dirty="0">
                <a:solidFill>
                  <a:schemeClr val="bg1"/>
                </a:solidFill>
                <a:latin typeface="Calibri" panose="020F0502020204030204" pitchFamily="34" charset="0"/>
                <a:sym typeface="Arial"/>
              </a:endParaRPr>
            </a:p>
          </p:txBody>
        </p:sp>
      </p:grpSp>
      <p:sp>
        <p:nvSpPr>
          <p:cNvPr id="121" name="1901948586"/>
          <p:cNvSpPr>
            <a:spLocks noChangeArrowheads="1"/>
          </p:cNvSpPr>
          <p:nvPr/>
        </p:nvSpPr>
        <p:spPr bwMode="auto">
          <a:xfrm>
            <a:off x="2621839" y="4951002"/>
            <a:ext cx="1438273" cy="184666"/>
          </a:xfrm>
          <a:prstGeom prst="rect">
            <a:avLst/>
          </a:prstGeom>
          <a:noFill/>
          <a:ln w="9525" algn="ctr">
            <a:noFill/>
            <a:miter lim="800000"/>
            <a:headEnd/>
            <a:tailEnd/>
          </a:ln>
        </p:spPr>
        <p:txBody>
          <a:bodyPr wrap="square" lIns="0" tIns="0" rIns="0" bIns="0">
            <a:spAutoFit/>
          </a:bodyPr>
          <a:lstStyle/>
          <a:p>
            <a:pPr algn="ctr" defTabSz="1068747" fontAlgn="ctr">
              <a:defRPr/>
            </a:pPr>
            <a:r>
              <a:rPr lang="en-US" altLang="zh-CN" sz="1200" b="1" kern="0" dirty="0">
                <a:solidFill>
                  <a:schemeClr val="bg1"/>
                </a:solidFill>
                <a:cs typeface="Arial Unicode MS" pitchFamily="34" charset="-122"/>
              </a:rPr>
              <a:t>WLAN</a:t>
            </a:r>
          </a:p>
        </p:txBody>
      </p:sp>
      <p:sp>
        <p:nvSpPr>
          <p:cNvPr id="123" name="1901948586"/>
          <p:cNvSpPr>
            <a:spLocks noChangeArrowheads="1"/>
          </p:cNvSpPr>
          <p:nvPr/>
        </p:nvSpPr>
        <p:spPr bwMode="auto">
          <a:xfrm>
            <a:off x="8215214" y="4163077"/>
            <a:ext cx="1438273" cy="184666"/>
          </a:xfrm>
          <a:prstGeom prst="rect">
            <a:avLst/>
          </a:prstGeom>
          <a:noFill/>
          <a:ln w="9525" algn="ctr">
            <a:noFill/>
            <a:miter lim="800000"/>
            <a:headEnd/>
            <a:tailEnd/>
          </a:ln>
        </p:spPr>
        <p:txBody>
          <a:bodyPr wrap="square" lIns="0" tIns="0" rIns="0" bIns="0">
            <a:spAutoFit/>
          </a:bodyPr>
          <a:lstStyle/>
          <a:p>
            <a:pPr algn="ctr" defTabSz="1068747" fontAlgn="ctr">
              <a:defRPr/>
            </a:pPr>
            <a:r>
              <a:rPr lang="en-US" altLang="zh-CN" sz="1200" b="1" kern="0" dirty="0">
                <a:solidFill>
                  <a:schemeClr val="bg1"/>
                </a:solidFill>
                <a:cs typeface="Arial Unicode MS" pitchFamily="34" charset="-122"/>
              </a:rPr>
              <a:t>Red Segura</a:t>
            </a:r>
          </a:p>
        </p:txBody>
      </p:sp>
      <p:sp>
        <p:nvSpPr>
          <p:cNvPr id="124" name="1901948586"/>
          <p:cNvSpPr>
            <a:spLocks noChangeArrowheads="1"/>
          </p:cNvSpPr>
          <p:nvPr/>
        </p:nvSpPr>
        <p:spPr bwMode="auto">
          <a:xfrm>
            <a:off x="8836048" y="4947251"/>
            <a:ext cx="1438273" cy="184666"/>
          </a:xfrm>
          <a:prstGeom prst="rect">
            <a:avLst/>
          </a:prstGeom>
          <a:noFill/>
          <a:ln w="9525" algn="ctr">
            <a:noFill/>
            <a:miter lim="800000"/>
            <a:headEnd/>
            <a:tailEnd/>
          </a:ln>
        </p:spPr>
        <p:txBody>
          <a:bodyPr wrap="square" lIns="0" tIns="0" rIns="0" bIns="0">
            <a:spAutoFit/>
          </a:bodyPr>
          <a:lstStyle/>
          <a:p>
            <a:pPr algn="ctr" defTabSz="1068747" fontAlgn="ctr">
              <a:defRPr/>
            </a:pPr>
            <a:r>
              <a:rPr lang="en-US" altLang="zh-CN" sz="1200" b="1" kern="0" dirty="0">
                <a:solidFill>
                  <a:schemeClr val="bg1"/>
                </a:solidFill>
                <a:cs typeface="Arial Unicode MS" pitchFamily="34" charset="-122"/>
              </a:rPr>
              <a:t>WLAN</a:t>
            </a:r>
          </a:p>
        </p:txBody>
      </p:sp>
      <p:grpSp>
        <p:nvGrpSpPr>
          <p:cNvPr id="92" name="组合 91"/>
          <p:cNvGrpSpPr/>
          <p:nvPr/>
        </p:nvGrpSpPr>
        <p:grpSpPr>
          <a:xfrm>
            <a:off x="4591785" y="5321101"/>
            <a:ext cx="545160" cy="467284"/>
            <a:chOff x="15801975" y="3559175"/>
            <a:chExt cx="766763" cy="669926"/>
          </a:xfrm>
          <a:solidFill>
            <a:schemeClr val="bg2"/>
          </a:solidFill>
        </p:grpSpPr>
        <p:sp>
          <p:nvSpPr>
            <p:cNvPr id="93" name="Freeform 786"/>
            <p:cNvSpPr>
              <a:spLocks/>
            </p:cNvSpPr>
            <p:nvPr/>
          </p:nvSpPr>
          <p:spPr bwMode="auto">
            <a:xfrm>
              <a:off x="16327438" y="3724275"/>
              <a:ext cx="150813" cy="198438"/>
            </a:xfrm>
            <a:custGeom>
              <a:avLst/>
              <a:gdLst/>
              <a:ahLst/>
              <a:cxnLst>
                <a:cxn ang="0">
                  <a:pos x="95" y="125"/>
                </a:cxn>
                <a:cxn ang="0">
                  <a:pos x="85" y="108"/>
                </a:cxn>
                <a:cxn ang="0">
                  <a:pos x="87" y="108"/>
                </a:cxn>
                <a:cxn ang="0">
                  <a:pos x="87" y="8"/>
                </a:cxn>
                <a:cxn ang="0">
                  <a:pos x="9" y="8"/>
                </a:cxn>
                <a:cxn ang="0">
                  <a:pos x="11" y="54"/>
                </a:cxn>
                <a:cxn ang="0">
                  <a:pos x="9" y="54"/>
                </a:cxn>
                <a:cxn ang="0">
                  <a:pos x="9" y="59"/>
                </a:cxn>
                <a:cxn ang="0">
                  <a:pos x="8" y="59"/>
                </a:cxn>
                <a:cxn ang="0">
                  <a:pos x="3" y="59"/>
                </a:cxn>
                <a:cxn ang="0">
                  <a:pos x="1" y="56"/>
                </a:cxn>
                <a:cxn ang="0">
                  <a:pos x="0" y="0"/>
                </a:cxn>
                <a:cxn ang="0">
                  <a:pos x="95" y="0"/>
                </a:cxn>
                <a:cxn ang="0">
                  <a:pos x="95" y="125"/>
                </a:cxn>
              </a:cxnLst>
              <a:rect l="0" t="0" r="r" b="b"/>
              <a:pathLst>
                <a:path w="95" h="125">
                  <a:moveTo>
                    <a:pt x="95" y="125"/>
                  </a:moveTo>
                  <a:lnTo>
                    <a:pt x="85" y="108"/>
                  </a:lnTo>
                  <a:lnTo>
                    <a:pt x="87" y="108"/>
                  </a:lnTo>
                  <a:lnTo>
                    <a:pt x="87" y="8"/>
                  </a:lnTo>
                  <a:lnTo>
                    <a:pt x="9" y="8"/>
                  </a:lnTo>
                  <a:lnTo>
                    <a:pt x="11" y="54"/>
                  </a:lnTo>
                  <a:lnTo>
                    <a:pt x="9" y="54"/>
                  </a:lnTo>
                  <a:lnTo>
                    <a:pt x="9" y="59"/>
                  </a:lnTo>
                  <a:lnTo>
                    <a:pt x="8" y="59"/>
                  </a:lnTo>
                  <a:lnTo>
                    <a:pt x="3" y="59"/>
                  </a:lnTo>
                  <a:lnTo>
                    <a:pt x="1" y="56"/>
                  </a:lnTo>
                  <a:lnTo>
                    <a:pt x="0" y="0"/>
                  </a:lnTo>
                  <a:lnTo>
                    <a:pt x="95" y="0"/>
                  </a:lnTo>
                  <a:lnTo>
                    <a:pt x="95" y="125"/>
                  </a:lnTo>
                  <a:close/>
                </a:path>
              </a:pathLst>
            </a:custGeom>
            <a:grpFill/>
            <a:ln w="3175">
              <a:solidFill>
                <a:schemeClr val="bg2">
                  <a:lumMod val="60000"/>
                  <a:lumOff val="40000"/>
                </a:schemeClr>
              </a:solidFill>
              <a:round/>
              <a:headEnd/>
              <a:tailEnd/>
            </a:ln>
          </p:spPr>
          <p:txBody>
            <a:bodyPr vert="horz" wrap="square" lIns="91416" tIns="45708" rIns="91416" bIns="45708" numCol="1" anchor="t" anchorCtr="0" compatLnSpc="1">
              <a:prstTxWarp prst="textNoShape">
                <a:avLst/>
              </a:prstTxWarp>
            </a:bodyPr>
            <a:lstStyle/>
            <a:p>
              <a:endParaRPr lang="zh-CN" altLang="en-US" sz="1799"/>
            </a:p>
          </p:txBody>
        </p:sp>
        <p:sp>
          <p:nvSpPr>
            <p:cNvPr id="94" name="Rectangle 787"/>
            <p:cNvSpPr>
              <a:spLocks noChangeArrowheads="1"/>
            </p:cNvSpPr>
            <p:nvPr/>
          </p:nvSpPr>
          <p:spPr bwMode="auto">
            <a:xfrm>
              <a:off x="16238538" y="3559175"/>
              <a:ext cx="330200" cy="12700"/>
            </a:xfrm>
            <a:prstGeom prst="rect">
              <a:avLst/>
            </a:prstGeom>
            <a:grpFill/>
            <a:ln w="3175">
              <a:solidFill>
                <a:schemeClr val="bg2">
                  <a:lumMod val="60000"/>
                  <a:lumOff val="40000"/>
                </a:schemeClr>
              </a:solidFill>
              <a:miter lim="800000"/>
              <a:headEnd/>
              <a:tailEnd/>
            </a:ln>
          </p:spPr>
          <p:txBody>
            <a:bodyPr vert="horz" wrap="square" lIns="91416" tIns="45708" rIns="91416" bIns="45708" numCol="1" anchor="t" anchorCtr="0" compatLnSpc="1">
              <a:prstTxWarp prst="textNoShape">
                <a:avLst/>
              </a:prstTxWarp>
            </a:bodyPr>
            <a:lstStyle/>
            <a:p>
              <a:endParaRPr lang="zh-CN" altLang="en-US" sz="1799"/>
            </a:p>
          </p:txBody>
        </p:sp>
        <p:sp>
          <p:nvSpPr>
            <p:cNvPr id="95" name="Freeform 788"/>
            <p:cNvSpPr>
              <a:spLocks/>
            </p:cNvSpPr>
            <p:nvPr/>
          </p:nvSpPr>
          <p:spPr bwMode="auto">
            <a:xfrm>
              <a:off x="15925800" y="3927475"/>
              <a:ext cx="247650" cy="296863"/>
            </a:xfrm>
            <a:custGeom>
              <a:avLst/>
              <a:gdLst/>
              <a:ahLst/>
              <a:cxnLst>
                <a:cxn ang="0">
                  <a:pos x="88" y="187"/>
                </a:cxn>
                <a:cxn ang="0">
                  <a:pos x="82" y="187"/>
                </a:cxn>
                <a:cxn ang="0">
                  <a:pos x="75" y="186"/>
                </a:cxn>
                <a:cxn ang="0">
                  <a:pos x="70" y="184"/>
                </a:cxn>
                <a:cxn ang="0">
                  <a:pos x="64" y="181"/>
                </a:cxn>
                <a:cxn ang="0">
                  <a:pos x="55" y="174"/>
                </a:cxn>
                <a:cxn ang="0">
                  <a:pos x="46" y="166"/>
                </a:cxn>
                <a:cxn ang="0">
                  <a:pos x="36" y="154"/>
                </a:cxn>
                <a:cxn ang="0">
                  <a:pos x="26" y="143"/>
                </a:cxn>
                <a:cxn ang="0">
                  <a:pos x="16" y="128"/>
                </a:cxn>
                <a:cxn ang="0">
                  <a:pos x="9" y="112"/>
                </a:cxn>
                <a:cxn ang="0">
                  <a:pos x="4" y="98"/>
                </a:cxn>
                <a:cxn ang="0">
                  <a:pos x="1" y="82"/>
                </a:cxn>
                <a:cxn ang="0">
                  <a:pos x="0" y="51"/>
                </a:cxn>
                <a:cxn ang="0">
                  <a:pos x="3" y="13"/>
                </a:cxn>
                <a:cxn ang="0">
                  <a:pos x="9" y="0"/>
                </a:cxn>
                <a:cxn ang="0">
                  <a:pos x="18" y="3"/>
                </a:cxn>
                <a:cxn ang="0">
                  <a:pos x="9" y="20"/>
                </a:cxn>
                <a:cxn ang="0">
                  <a:pos x="8" y="36"/>
                </a:cxn>
                <a:cxn ang="0">
                  <a:pos x="8" y="51"/>
                </a:cxn>
                <a:cxn ang="0">
                  <a:pos x="9" y="77"/>
                </a:cxn>
                <a:cxn ang="0">
                  <a:pos x="11" y="92"/>
                </a:cxn>
                <a:cxn ang="0">
                  <a:pos x="16" y="105"/>
                </a:cxn>
                <a:cxn ang="0">
                  <a:pos x="21" y="118"/>
                </a:cxn>
                <a:cxn ang="0">
                  <a:pos x="27" y="130"/>
                </a:cxn>
                <a:cxn ang="0">
                  <a:pos x="36" y="141"/>
                </a:cxn>
                <a:cxn ang="0">
                  <a:pos x="46" y="154"/>
                </a:cxn>
                <a:cxn ang="0">
                  <a:pos x="59" y="166"/>
                </a:cxn>
                <a:cxn ang="0">
                  <a:pos x="69" y="172"/>
                </a:cxn>
                <a:cxn ang="0">
                  <a:pos x="73" y="176"/>
                </a:cxn>
                <a:cxn ang="0">
                  <a:pos x="78" y="177"/>
                </a:cxn>
                <a:cxn ang="0">
                  <a:pos x="83" y="179"/>
                </a:cxn>
                <a:cxn ang="0">
                  <a:pos x="88" y="179"/>
                </a:cxn>
                <a:cxn ang="0">
                  <a:pos x="96" y="179"/>
                </a:cxn>
                <a:cxn ang="0">
                  <a:pos x="105" y="176"/>
                </a:cxn>
                <a:cxn ang="0">
                  <a:pos x="115" y="172"/>
                </a:cxn>
                <a:cxn ang="0">
                  <a:pos x="123" y="166"/>
                </a:cxn>
                <a:cxn ang="0">
                  <a:pos x="131" y="159"/>
                </a:cxn>
                <a:cxn ang="0">
                  <a:pos x="138" y="153"/>
                </a:cxn>
                <a:cxn ang="0">
                  <a:pos x="141" y="148"/>
                </a:cxn>
                <a:cxn ang="0">
                  <a:pos x="144" y="140"/>
                </a:cxn>
                <a:cxn ang="0">
                  <a:pos x="146" y="123"/>
                </a:cxn>
                <a:cxn ang="0">
                  <a:pos x="147" y="107"/>
                </a:cxn>
                <a:cxn ang="0">
                  <a:pos x="147" y="94"/>
                </a:cxn>
                <a:cxn ang="0">
                  <a:pos x="151" y="94"/>
                </a:cxn>
                <a:cxn ang="0">
                  <a:pos x="156" y="92"/>
                </a:cxn>
                <a:cxn ang="0">
                  <a:pos x="156" y="107"/>
                </a:cxn>
                <a:cxn ang="0">
                  <a:pos x="156" y="125"/>
                </a:cxn>
                <a:cxn ang="0">
                  <a:pos x="152" y="141"/>
                </a:cxn>
                <a:cxn ang="0">
                  <a:pos x="149" y="149"/>
                </a:cxn>
                <a:cxn ang="0">
                  <a:pos x="146" y="156"/>
                </a:cxn>
                <a:cxn ang="0">
                  <a:pos x="139" y="164"/>
                </a:cxn>
                <a:cxn ang="0">
                  <a:pos x="131" y="172"/>
                </a:cxn>
                <a:cxn ang="0">
                  <a:pos x="123" y="177"/>
                </a:cxn>
                <a:cxn ang="0">
                  <a:pos x="115" y="181"/>
                </a:cxn>
                <a:cxn ang="0">
                  <a:pos x="106" y="184"/>
                </a:cxn>
                <a:cxn ang="0">
                  <a:pos x="98" y="187"/>
                </a:cxn>
                <a:cxn ang="0">
                  <a:pos x="88" y="187"/>
                </a:cxn>
              </a:cxnLst>
              <a:rect l="0" t="0" r="r" b="b"/>
              <a:pathLst>
                <a:path w="156" h="187">
                  <a:moveTo>
                    <a:pt x="88" y="187"/>
                  </a:moveTo>
                  <a:lnTo>
                    <a:pt x="82" y="187"/>
                  </a:lnTo>
                  <a:lnTo>
                    <a:pt x="75" y="186"/>
                  </a:lnTo>
                  <a:lnTo>
                    <a:pt x="70" y="184"/>
                  </a:lnTo>
                  <a:lnTo>
                    <a:pt x="64" y="181"/>
                  </a:lnTo>
                  <a:lnTo>
                    <a:pt x="55" y="174"/>
                  </a:lnTo>
                  <a:lnTo>
                    <a:pt x="46" y="166"/>
                  </a:lnTo>
                  <a:lnTo>
                    <a:pt x="36" y="154"/>
                  </a:lnTo>
                  <a:lnTo>
                    <a:pt x="26" y="143"/>
                  </a:lnTo>
                  <a:lnTo>
                    <a:pt x="16" y="128"/>
                  </a:lnTo>
                  <a:lnTo>
                    <a:pt x="9" y="112"/>
                  </a:lnTo>
                  <a:lnTo>
                    <a:pt x="4" y="98"/>
                  </a:lnTo>
                  <a:lnTo>
                    <a:pt x="1" y="82"/>
                  </a:lnTo>
                  <a:lnTo>
                    <a:pt x="0" y="51"/>
                  </a:lnTo>
                  <a:lnTo>
                    <a:pt x="3" y="13"/>
                  </a:lnTo>
                  <a:lnTo>
                    <a:pt x="9" y="0"/>
                  </a:lnTo>
                  <a:lnTo>
                    <a:pt x="18" y="3"/>
                  </a:lnTo>
                  <a:lnTo>
                    <a:pt x="9" y="20"/>
                  </a:lnTo>
                  <a:lnTo>
                    <a:pt x="8" y="36"/>
                  </a:lnTo>
                  <a:lnTo>
                    <a:pt x="8" y="51"/>
                  </a:lnTo>
                  <a:lnTo>
                    <a:pt x="9" y="77"/>
                  </a:lnTo>
                  <a:lnTo>
                    <a:pt x="11" y="92"/>
                  </a:lnTo>
                  <a:lnTo>
                    <a:pt x="16" y="105"/>
                  </a:lnTo>
                  <a:lnTo>
                    <a:pt x="21" y="118"/>
                  </a:lnTo>
                  <a:lnTo>
                    <a:pt x="27" y="130"/>
                  </a:lnTo>
                  <a:lnTo>
                    <a:pt x="36" y="141"/>
                  </a:lnTo>
                  <a:lnTo>
                    <a:pt x="46" y="154"/>
                  </a:lnTo>
                  <a:lnTo>
                    <a:pt x="59" y="166"/>
                  </a:lnTo>
                  <a:lnTo>
                    <a:pt x="69" y="172"/>
                  </a:lnTo>
                  <a:lnTo>
                    <a:pt x="73" y="176"/>
                  </a:lnTo>
                  <a:lnTo>
                    <a:pt x="78" y="177"/>
                  </a:lnTo>
                  <a:lnTo>
                    <a:pt x="83" y="179"/>
                  </a:lnTo>
                  <a:lnTo>
                    <a:pt x="88" y="179"/>
                  </a:lnTo>
                  <a:lnTo>
                    <a:pt x="96" y="179"/>
                  </a:lnTo>
                  <a:lnTo>
                    <a:pt x="105" y="176"/>
                  </a:lnTo>
                  <a:lnTo>
                    <a:pt x="115" y="172"/>
                  </a:lnTo>
                  <a:lnTo>
                    <a:pt x="123" y="166"/>
                  </a:lnTo>
                  <a:lnTo>
                    <a:pt x="131" y="159"/>
                  </a:lnTo>
                  <a:lnTo>
                    <a:pt x="138" y="153"/>
                  </a:lnTo>
                  <a:lnTo>
                    <a:pt x="141" y="148"/>
                  </a:lnTo>
                  <a:lnTo>
                    <a:pt x="144" y="140"/>
                  </a:lnTo>
                  <a:lnTo>
                    <a:pt x="146" y="123"/>
                  </a:lnTo>
                  <a:lnTo>
                    <a:pt x="147" y="107"/>
                  </a:lnTo>
                  <a:lnTo>
                    <a:pt x="147" y="94"/>
                  </a:lnTo>
                  <a:lnTo>
                    <a:pt x="151" y="94"/>
                  </a:lnTo>
                  <a:lnTo>
                    <a:pt x="156" y="92"/>
                  </a:lnTo>
                  <a:lnTo>
                    <a:pt x="156" y="107"/>
                  </a:lnTo>
                  <a:lnTo>
                    <a:pt x="156" y="125"/>
                  </a:lnTo>
                  <a:lnTo>
                    <a:pt x="152" y="141"/>
                  </a:lnTo>
                  <a:lnTo>
                    <a:pt x="149" y="149"/>
                  </a:lnTo>
                  <a:lnTo>
                    <a:pt x="146" y="156"/>
                  </a:lnTo>
                  <a:lnTo>
                    <a:pt x="139" y="164"/>
                  </a:lnTo>
                  <a:lnTo>
                    <a:pt x="131" y="172"/>
                  </a:lnTo>
                  <a:lnTo>
                    <a:pt x="123" y="177"/>
                  </a:lnTo>
                  <a:lnTo>
                    <a:pt x="115" y="181"/>
                  </a:lnTo>
                  <a:lnTo>
                    <a:pt x="106" y="184"/>
                  </a:lnTo>
                  <a:lnTo>
                    <a:pt x="98" y="187"/>
                  </a:lnTo>
                  <a:lnTo>
                    <a:pt x="88" y="187"/>
                  </a:lnTo>
                  <a:close/>
                </a:path>
              </a:pathLst>
            </a:custGeom>
            <a:grpFill/>
            <a:ln w="3175">
              <a:solidFill>
                <a:schemeClr val="bg2">
                  <a:lumMod val="60000"/>
                  <a:lumOff val="40000"/>
                </a:schemeClr>
              </a:solidFill>
              <a:round/>
              <a:headEnd/>
              <a:tailEnd/>
            </a:ln>
          </p:spPr>
          <p:txBody>
            <a:bodyPr vert="horz" wrap="square" lIns="91416" tIns="45708" rIns="91416" bIns="45708" numCol="1" anchor="t" anchorCtr="0" compatLnSpc="1">
              <a:prstTxWarp prst="textNoShape">
                <a:avLst/>
              </a:prstTxWarp>
            </a:bodyPr>
            <a:lstStyle/>
            <a:p>
              <a:endParaRPr lang="zh-CN" altLang="en-US" sz="1799"/>
            </a:p>
          </p:txBody>
        </p:sp>
        <p:sp>
          <p:nvSpPr>
            <p:cNvPr id="96" name="Freeform 789"/>
            <p:cNvSpPr>
              <a:spLocks noEditPoints="1"/>
            </p:cNvSpPr>
            <p:nvPr/>
          </p:nvSpPr>
          <p:spPr bwMode="auto">
            <a:xfrm>
              <a:off x="15801975" y="3940175"/>
              <a:ext cx="128588" cy="187325"/>
            </a:xfrm>
            <a:custGeom>
              <a:avLst/>
              <a:gdLst/>
              <a:ahLst/>
              <a:cxnLst>
                <a:cxn ang="0">
                  <a:pos x="81" y="118"/>
                </a:cxn>
                <a:cxn ang="0">
                  <a:pos x="58" y="109"/>
                </a:cxn>
                <a:cxn ang="0">
                  <a:pos x="41" y="99"/>
                </a:cxn>
                <a:cxn ang="0">
                  <a:pos x="28" y="90"/>
                </a:cxn>
                <a:cxn ang="0">
                  <a:pos x="22" y="84"/>
                </a:cxn>
                <a:cxn ang="0">
                  <a:pos x="15" y="76"/>
                </a:cxn>
                <a:cxn ang="0">
                  <a:pos x="10" y="67"/>
                </a:cxn>
                <a:cxn ang="0">
                  <a:pos x="5" y="54"/>
                </a:cxn>
                <a:cxn ang="0">
                  <a:pos x="2" y="43"/>
                </a:cxn>
                <a:cxn ang="0">
                  <a:pos x="0" y="36"/>
                </a:cxn>
                <a:cxn ang="0">
                  <a:pos x="0" y="31"/>
                </a:cxn>
                <a:cxn ang="0">
                  <a:pos x="0" y="23"/>
                </a:cxn>
                <a:cxn ang="0">
                  <a:pos x="2" y="18"/>
                </a:cxn>
                <a:cxn ang="0">
                  <a:pos x="4" y="15"/>
                </a:cxn>
                <a:cxn ang="0">
                  <a:pos x="7" y="10"/>
                </a:cxn>
                <a:cxn ang="0">
                  <a:pos x="10" y="7"/>
                </a:cxn>
                <a:cxn ang="0">
                  <a:pos x="15" y="5"/>
                </a:cxn>
                <a:cxn ang="0">
                  <a:pos x="22" y="3"/>
                </a:cxn>
                <a:cxn ang="0">
                  <a:pos x="28" y="2"/>
                </a:cxn>
                <a:cxn ang="0">
                  <a:pos x="50" y="0"/>
                </a:cxn>
                <a:cxn ang="0">
                  <a:pos x="73" y="3"/>
                </a:cxn>
                <a:cxn ang="0">
                  <a:pos x="76" y="3"/>
                </a:cxn>
                <a:cxn ang="0">
                  <a:pos x="81" y="5"/>
                </a:cxn>
                <a:cxn ang="0">
                  <a:pos x="78" y="10"/>
                </a:cxn>
                <a:cxn ang="0">
                  <a:pos x="74" y="8"/>
                </a:cxn>
                <a:cxn ang="0">
                  <a:pos x="74" y="8"/>
                </a:cxn>
                <a:cxn ang="0">
                  <a:pos x="78" y="10"/>
                </a:cxn>
                <a:cxn ang="0">
                  <a:pos x="71" y="23"/>
                </a:cxn>
                <a:cxn ang="0">
                  <a:pos x="68" y="33"/>
                </a:cxn>
                <a:cxn ang="0">
                  <a:pos x="66" y="49"/>
                </a:cxn>
                <a:cxn ang="0">
                  <a:pos x="66" y="54"/>
                </a:cxn>
                <a:cxn ang="0">
                  <a:pos x="68" y="69"/>
                </a:cxn>
                <a:cxn ang="0">
                  <a:pos x="76" y="104"/>
                </a:cxn>
                <a:cxn ang="0">
                  <a:pos x="81" y="118"/>
                </a:cxn>
                <a:cxn ang="0">
                  <a:pos x="50" y="8"/>
                </a:cxn>
                <a:cxn ang="0">
                  <a:pos x="28" y="10"/>
                </a:cxn>
                <a:cxn ang="0">
                  <a:pos x="23" y="12"/>
                </a:cxn>
                <a:cxn ang="0">
                  <a:pos x="17" y="13"/>
                </a:cxn>
                <a:cxn ang="0">
                  <a:pos x="13" y="17"/>
                </a:cxn>
                <a:cxn ang="0">
                  <a:pos x="10" y="20"/>
                </a:cxn>
                <a:cxn ang="0">
                  <a:pos x="9" y="25"/>
                </a:cxn>
                <a:cxn ang="0">
                  <a:pos x="9" y="31"/>
                </a:cxn>
                <a:cxn ang="0">
                  <a:pos x="9" y="36"/>
                </a:cxn>
                <a:cxn ang="0">
                  <a:pos x="12" y="46"/>
                </a:cxn>
                <a:cxn ang="0">
                  <a:pos x="17" y="59"/>
                </a:cxn>
                <a:cxn ang="0">
                  <a:pos x="22" y="69"/>
                </a:cxn>
                <a:cxn ang="0">
                  <a:pos x="27" y="76"/>
                </a:cxn>
                <a:cxn ang="0">
                  <a:pos x="32" y="82"/>
                </a:cxn>
                <a:cxn ang="0">
                  <a:pos x="43" y="90"/>
                </a:cxn>
                <a:cxn ang="0">
                  <a:pos x="63" y="102"/>
                </a:cxn>
                <a:cxn ang="0">
                  <a:pos x="66" y="104"/>
                </a:cxn>
                <a:cxn ang="0">
                  <a:pos x="58" y="71"/>
                </a:cxn>
                <a:cxn ang="0">
                  <a:pos x="58" y="56"/>
                </a:cxn>
                <a:cxn ang="0">
                  <a:pos x="58" y="54"/>
                </a:cxn>
                <a:cxn ang="0">
                  <a:pos x="58" y="41"/>
                </a:cxn>
                <a:cxn ang="0">
                  <a:pos x="63" y="21"/>
                </a:cxn>
                <a:cxn ang="0">
                  <a:pos x="68" y="10"/>
                </a:cxn>
                <a:cxn ang="0">
                  <a:pos x="56" y="8"/>
                </a:cxn>
                <a:cxn ang="0">
                  <a:pos x="50" y="8"/>
                </a:cxn>
              </a:cxnLst>
              <a:rect l="0" t="0" r="r" b="b"/>
              <a:pathLst>
                <a:path w="81" h="118">
                  <a:moveTo>
                    <a:pt x="81" y="118"/>
                  </a:moveTo>
                  <a:lnTo>
                    <a:pt x="58" y="109"/>
                  </a:lnTo>
                  <a:lnTo>
                    <a:pt x="41" y="99"/>
                  </a:lnTo>
                  <a:lnTo>
                    <a:pt x="28" y="90"/>
                  </a:lnTo>
                  <a:lnTo>
                    <a:pt x="22" y="84"/>
                  </a:lnTo>
                  <a:lnTo>
                    <a:pt x="15" y="76"/>
                  </a:lnTo>
                  <a:lnTo>
                    <a:pt x="10" y="67"/>
                  </a:lnTo>
                  <a:lnTo>
                    <a:pt x="5" y="54"/>
                  </a:lnTo>
                  <a:lnTo>
                    <a:pt x="2" y="43"/>
                  </a:lnTo>
                  <a:lnTo>
                    <a:pt x="0" y="36"/>
                  </a:lnTo>
                  <a:lnTo>
                    <a:pt x="0" y="31"/>
                  </a:lnTo>
                  <a:lnTo>
                    <a:pt x="0" y="23"/>
                  </a:lnTo>
                  <a:lnTo>
                    <a:pt x="2" y="18"/>
                  </a:lnTo>
                  <a:lnTo>
                    <a:pt x="4" y="15"/>
                  </a:lnTo>
                  <a:lnTo>
                    <a:pt x="7" y="10"/>
                  </a:lnTo>
                  <a:lnTo>
                    <a:pt x="10" y="7"/>
                  </a:lnTo>
                  <a:lnTo>
                    <a:pt x="15" y="5"/>
                  </a:lnTo>
                  <a:lnTo>
                    <a:pt x="22" y="3"/>
                  </a:lnTo>
                  <a:lnTo>
                    <a:pt x="28" y="2"/>
                  </a:lnTo>
                  <a:lnTo>
                    <a:pt x="50" y="0"/>
                  </a:lnTo>
                  <a:lnTo>
                    <a:pt x="73" y="3"/>
                  </a:lnTo>
                  <a:lnTo>
                    <a:pt x="76" y="3"/>
                  </a:lnTo>
                  <a:lnTo>
                    <a:pt x="81" y="5"/>
                  </a:lnTo>
                  <a:lnTo>
                    <a:pt x="78" y="10"/>
                  </a:lnTo>
                  <a:lnTo>
                    <a:pt x="74" y="8"/>
                  </a:lnTo>
                  <a:lnTo>
                    <a:pt x="74" y="8"/>
                  </a:lnTo>
                  <a:lnTo>
                    <a:pt x="78" y="10"/>
                  </a:lnTo>
                  <a:lnTo>
                    <a:pt x="71" y="23"/>
                  </a:lnTo>
                  <a:lnTo>
                    <a:pt x="68" y="33"/>
                  </a:lnTo>
                  <a:lnTo>
                    <a:pt x="66" y="49"/>
                  </a:lnTo>
                  <a:lnTo>
                    <a:pt x="66" y="54"/>
                  </a:lnTo>
                  <a:lnTo>
                    <a:pt x="68" y="69"/>
                  </a:lnTo>
                  <a:lnTo>
                    <a:pt x="76" y="104"/>
                  </a:lnTo>
                  <a:lnTo>
                    <a:pt x="81" y="118"/>
                  </a:lnTo>
                  <a:close/>
                  <a:moveTo>
                    <a:pt x="50" y="8"/>
                  </a:moveTo>
                  <a:lnTo>
                    <a:pt x="28" y="10"/>
                  </a:lnTo>
                  <a:lnTo>
                    <a:pt x="23" y="12"/>
                  </a:lnTo>
                  <a:lnTo>
                    <a:pt x="17" y="13"/>
                  </a:lnTo>
                  <a:lnTo>
                    <a:pt x="13" y="17"/>
                  </a:lnTo>
                  <a:lnTo>
                    <a:pt x="10" y="20"/>
                  </a:lnTo>
                  <a:lnTo>
                    <a:pt x="9" y="25"/>
                  </a:lnTo>
                  <a:lnTo>
                    <a:pt x="9" y="31"/>
                  </a:lnTo>
                  <a:lnTo>
                    <a:pt x="9" y="36"/>
                  </a:lnTo>
                  <a:lnTo>
                    <a:pt x="12" y="46"/>
                  </a:lnTo>
                  <a:lnTo>
                    <a:pt x="17" y="59"/>
                  </a:lnTo>
                  <a:lnTo>
                    <a:pt x="22" y="69"/>
                  </a:lnTo>
                  <a:lnTo>
                    <a:pt x="27" y="76"/>
                  </a:lnTo>
                  <a:lnTo>
                    <a:pt x="32" y="82"/>
                  </a:lnTo>
                  <a:lnTo>
                    <a:pt x="43" y="90"/>
                  </a:lnTo>
                  <a:lnTo>
                    <a:pt x="63" y="102"/>
                  </a:lnTo>
                  <a:lnTo>
                    <a:pt x="66" y="104"/>
                  </a:lnTo>
                  <a:lnTo>
                    <a:pt x="58" y="71"/>
                  </a:lnTo>
                  <a:lnTo>
                    <a:pt x="58" y="56"/>
                  </a:lnTo>
                  <a:lnTo>
                    <a:pt x="58" y="54"/>
                  </a:lnTo>
                  <a:lnTo>
                    <a:pt x="58" y="41"/>
                  </a:lnTo>
                  <a:lnTo>
                    <a:pt x="63" y="21"/>
                  </a:lnTo>
                  <a:lnTo>
                    <a:pt x="68" y="10"/>
                  </a:lnTo>
                  <a:lnTo>
                    <a:pt x="56" y="8"/>
                  </a:lnTo>
                  <a:lnTo>
                    <a:pt x="50" y="8"/>
                  </a:lnTo>
                  <a:close/>
                </a:path>
              </a:pathLst>
            </a:custGeom>
            <a:grpFill/>
            <a:ln w="3175">
              <a:solidFill>
                <a:schemeClr val="bg2">
                  <a:lumMod val="60000"/>
                  <a:lumOff val="40000"/>
                </a:schemeClr>
              </a:solidFill>
              <a:round/>
              <a:headEnd/>
              <a:tailEnd/>
            </a:ln>
          </p:spPr>
          <p:txBody>
            <a:bodyPr vert="horz" wrap="square" lIns="91416" tIns="45708" rIns="91416" bIns="45708" numCol="1" anchor="t" anchorCtr="0" compatLnSpc="1">
              <a:prstTxWarp prst="textNoShape">
                <a:avLst/>
              </a:prstTxWarp>
            </a:bodyPr>
            <a:lstStyle/>
            <a:p>
              <a:endParaRPr lang="zh-CN" altLang="en-US" sz="1799"/>
            </a:p>
          </p:txBody>
        </p:sp>
        <p:sp>
          <p:nvSpPr>
            <p:cNvPr id="97" name="Freeform 790"/>
            <p:cNvSpPr>
              <a:spLocks noEditPoints="1"/>
            </p:cNvSpPr>
            <p:nvPr/>
          </p:nvSpPr>
          <p:spPr bwMode="auto">
            <a:xfrm>
              <a:off x="15825794" y="3798888"/>
              <a:ext cx="668339" cy="307975"/>
            </a:xfrm>
            <a:custGeom>
              <a:avLst/>
              <a:gdLst/>
              <a:ahLst/>
              <a:cxnLst>
                <a:cxn ang="0">
                  <a:pos x="253" y="193"/>
                </a:cxn>
                <a:cxn ang="0">
                  <a:pos x="238" y="189"/>
                </a:cxn>
                <a:cxn ang="0">
                  <a:pos x="209" y="175"/>
                </a:cxn>
                <a:cxn ang="0">
                  <a:pos x="125" y="114"/>
                </a:cxn>
                <a:cxn ang="0">
                  <a:pos x="100" y="101"/>
                </a:cxn>
                <a:cxn ang="0">
                  <a:pos x="63" y="86"/>
                </a:cxn>
                <a:cxn ang="0">
                  <a:pos x="0" y="74"/>
                </a:cxn>
                <a:cxn ang="0">
                  <a:pos x="306" y="0"/>
                </a:cxn>
                <a:cxn ang="0">
                  <a:pos x="343" y="5"/>
                </a:cxn>
                <a:cxn ang="0">
                  <a:pos x="366" y="18"/>
                </a:cxn>
                <a:cxn ang="0">
                  <a:pos x="394" y="45"/>
                </a:cxn>
                <a:cxn ang="0">
                  <a:pos x="404" y="58"/>
                </a:cxn>
                <a:cxn ang="0">
                  <a:pos x="412" y="76"/>
                </a:cxn>
                <a:cxn ang="0">
                  <a:pos x="417" y="96"/>
                </a:cxn>
                <a:cxn ang="0">
                  <a:pos x="421" y="127"/>
                </a:cxn>
                <a:cxn ang="0">
                  <a:pos x="419" y="160"/>
                </a:cxn>
                <a:cxn ang="0">
                  <a:pos x="271" y="194"/>
                </a:cxn>
                <a:cxn ang="0">
                  <a:pos x="66" y="78"/>
                </a:cxn>
                <a:cxn ang="0">
                  <a:pos x="105" y="92"/>
                </a:cxn>
                <a:cxn ang="0">
                  <a:pos x="135" y="109"/>
                </a:cxn>
                <a:cxn ang="0">
                  <a:pos x="233" y="178"/>
                </a:cxn>
                <a:cxn ang="0">
                  <a:pos x="253" y="184"/>
                </a:cxn>
                <a:cxn ang="0">
                  <a:pos x="304" y="181"/>
                </a:cxn>
                <a:cxn ang="0">
                  <a:pos x="412" y="153"/>
                </a:cxn>
                <a:cxn ang="0">
                  <a:pos x="412" y="119"/>
                </a:cxn>
                <a:cxn ang="0">
                  <a:pos x="409" y="92"/>
                </a:cxn>
                <a:cxn ang="0">
                  <a:pos x="403" y="74"/>
                </a:cxn>
                <a:cxn ang="0">
                  <a:pos x="394" y="58"/>
                </a:cxn>
                <a:cxn ang="0">
                  <a:pos x="385" y="46"/>
                </a:cxn>
                <a:cxn ang="0">
                  <a:pos x="347" y="17"/>
                </a:cxn>
                <a:cxn ang="0">
                  <a:pos x="311" y="9"/>
                </a:cxn>
                <a:cxn ang="0">
                  <a:pos x="286" y="9"/>
                </a:cxn>
                <a:cxn ang="0">
                  <a:pos x="227" y="22"/>
                </a:cxn>
              </a:cxnLst>
              <a:rect l="0" t="0" r="r" b="b"/>
              <a:pathLst>
                <a:path w="421" h="194">
                  <a:moveTo>
                    <a:pt x="271" y="194"/>
                  </a:moveTo>
                  <a:lnTo>
                    <a:pt x="253" y="193"/>
                  </a:lnTo>
                  <a:lnTo>
                    <a:pt x="248" y="193"/>
                  </a:lnTo>
                  <a:lnTo>
                    <a:pt x="238" y="189"/>
                  </a:lnTo>
                  <a:lnTo>
                    <a:pt x="227" y="184"/>
                  </a:lnTo>
                  <a:lnTo>
                    <a:pt x="209" y="175"/>
                  </a:lnTo>
                  <a:lnTo>
                    <a:pt x="182" y="156"/>
                  </a:lnTo>
                  <a:lnTo>
                    <a:pt x="125" y="114"/>
                  </a:lnTo>
                  <a:lnTo>
                    <a:pt x="115" y="107"/>
                  </a:lnTo>
                  <a:lnTo>
                    <a:pt x="100" y="101"/>
                  </a:lnTo>
                  <a:lnTo>
                    <a:pt x="86" y="94"/>
                  </a:lnTo>
                  <a:lnTo>
                    <a:pt x="63" y="86"/>
                  </a:lnTo>
                  <a:lnTo>
                    <a:pt x="23" y="76"/>
                  </a:lnTo>
                  <a:lnTo>
                    <a:pt x="0" y="74"/>
                  </a:lnTo>
                  <a:lnTo>
                    <a:pt x="276" y="2"/>
                  </a:lnTo>
                  <a:lnTo>
                    <a:pt x="306" y="0"/>
                  </a:lnTo>
                  <a:lnTo>
                    <a:pt x="320" y="0"/>
                  </a:lnTo>
                  <a:lnTo>
                    <a:pt x="343" y="5"/>
                  </a:lnTo>
                  <a:lnTo>
                    <a:pt x="353" y="10"/>
                  </a:lnTo>
                  <a:lnTo>
                    <a:pt x="366" y="18"/>
                  </a:lnTo>
                  <a:lnTo>
                    <a:pt x="385" y="35"/>
                  </a:lnTo>
                  <a:lnTo>
                    <a:pt x="394" y="45"/>
                  </a:lnTo>
                  <a:lnTo>
                    <a:pt x="398" y="48"/>
                  </a:lnTo>
                  <a:lnTo>
                    <a:pt x="404" y="58"/>
                  </a:lnTo>
                  <a:lnTo>
                    <a:pt x="409" y="66"/>
                  </a:lnTo>
                  <a:lnTo>
                    <a:pt x="412" y="76"/>
                  </a:lnTo>
                  <a:lnTo>
                    <a:pt x="416" y="86"/>
                  </a:lnTo>
                  <a:lnTo>
                    <a:pt x="417" y="96"/>
                  </a:lnTo>
                  <a:lnTo>
                    <a:pt x="421" y="109"/>
                  </a:lnTo>
                  <a:lnTo>
                    <a:pt x="421" y="127"/>
                  </a:lnTo>
                  <a:lnTo>
                    <a:pt x="421" y="135"/>
                  </a:lnTo>
                  <a:lnTo>
                    <a:pt x="419" y="160"/>
                  </a:lnTo>
                  <a:lnTo>
                    <a:pt x="288" y="193"/>
                  </a:lnTo>
                  <a:lnTo>
                    <a:pt x="271" y="194"/>
                  </a:lnTo>
                  <a:close/>
                  <a:moveTo>
                    <a:pt x="43" y="71"/>
                  </a:moveTo>
                  <a:lnTo>
                    <a:pt x="66" y="78"/>
                  </a:lnTo>
                  <a:lnTo>
                    <a:pt x="89" y="86"/>
                  </a:lnTo>
                  <a:lnTo>
                    <a:pt x="105" y="92"/>
                  </a:lnTo>
                  <a:lnTo>
                    <a:pt x="120" y="101"/>
                  </a:lnTo>
                  <a:lnTo>
                    <a:pt x="135" y="109"/>
                  </a:lnTo>
                  <a:lnTo>
                    <a:pt x="214" y="166"/>
                  </a:lnTo>
                  <a:lnTo>
                    <a:pt x="233" y="178"/>
                  </a:lnTo>
                  <a:lnTo>
                    <a:pt x="245" y="183"/>
                  </a:lnTo>
                  <a:lnTo>
                    <a:pt x="253" y="184"/>
                  </a:lnTo>
                  <a:lnTo>
                    <a:pt x="271" y="184"/>
                  </a:lnTo>
                  <a:lnTo>
                    <a:pt x="304" y="181"/>
                  </a:lnTo>
                  <a:lnTo>
                    <a:pt x="319" y="178"/>
                  </a:lnTo>
                  <a:lnTo>
                    <a:pt x="412" y="153"/>
                  </a:lnTo>
                  <a:lnTo>
                    <a:pt x="412" y="135"/>
                  </a:lnTo>
                  <a:lnTo>
                    <a:pt x="412" y="119"/>
                  </a:lnTo>
                  <a:lnTo>
                    <a:pt x="411" y="102"/>
                  </a:lnTo>
                  <a:lnTo>
                    <a:pt x="409" y="92"/>
                  </a:lnTo>
                  <a:lnTo>
                    <a:pt x="406" y="83"/>
                  </a:lnTo>
                  <a:lnTo>
                    <a:pt x="403" y="74"/>
                  </a:lnTo>
                  <a:lnTo>
                    <a:pt x="399" y="66"/>
                  </a:lnTo>
                  <a:lnTo>
                    <a:pt x="394" y="58"/>
                  </a:lnTo>
                  <a:lnTo>
                    <a:pt x="391" y="55"/>
                  </a:lnTo>
                  <a:lnTo>
                    <a:pt x="385" y="46"/>
                  </a:lnTo>
                  <a:lnTo>
                    <a:pt x="362" y="25"/>
                  </a:lnTo>
                  <a:lnTo>
                    <a:pt x="347" y="17"/>
                  </a:lnTo>
                  <a:lnTo>
                    <a:pt x="335" y="12"/>
                  </a:lnTo>
                  <a:lnTo>
                    <a:pt x="311" y="9"/>
                  </a:lnTo>
                  <a:lnTo>
                    <a:pt x="306" y="9"/>
                  </a:lnTo>
                  <a:lnTo>
                    <a:pt x="286" y="9"/>
                  </a:lnTo>
                  <a:lnTo>
                    <a:pt x="265" y="12"/>
                  </a:lnTo>
                  <a:lnTo>
                    <a:pt x="227" y="22"/>
                  </a:lnTo>
                  <a:lnTo>
                    <a:pt x="43" y="71"/>
                  </a:lnTo>
                  <a:close/>
                </a:path>
              </a:pathLst>
            </a:custGeom>
            <a:grpFill/>
            <a:ln w="3175">
              <a:solidFill>
                <a:schemeClr val="bg2">
                  <a:lumMod val="60000"/>
                  <a:lumOff val="40000"/>
                </a:schemeClr>
              </a:solidFill>
              <a:round/>
              <a:headEnd/>
              <a:tailEnd/>
            </a:ln>
          </p:spPr>
          <p:txBody>
            <a:bodyPr vert="horz" wrap="square" lIns="91416" tIns="45708" rIns="91416" bIns="45708" numCol="1" anchor="t" anchorCtr="0" compatLnSpc="1">
              <a:prstTxWarp prst="textNoShape">
                <a:avLst/>
              </a:prstTxWarp>
            </a:bodyPr>
            <a:lstStyle/>
            <a:p>
              <a:endParaRPr lang="zh-CN" altLang="en-US" sz="1799"/>
            </a:p>
          </p:txBody>
        </p:sp>
        <p:sp>
          <p:nvSpPr>
            <p:cNvPr id="98" name="Freeform 791"/>
            <p:cNvSpPr>
              <a:spLocks/>
            </p:cNvSpPr>
            <p:nvPr/>
          </p:nvSpPr>
          <p:spPr bwMode="auto">
            <a:xfrm>
              <a:off x="16036925" y="4024313"/>
              <a:ext cx="458788" cy="204788"/>
            </a:xfrm>
            <a:custGeom>
              <a:avLst/>
              <a:gdLst/>
              <a:ahLst/>
              <a:cxnLst>
                <a:cxn ang="0">
                  <a:pos x="18" y="79"/>
                </a:cxn>
                <a:cxn ang="0">
                  <a:pos x="0" y="75"/>
                </a:cxn>
                <a:cxn ang="0">
                  <a:pos x="3" y="70"/>
                </a:cxn>
                <a:cxn ang="0">
                  <a:pos x="20" y="74"/>
                </a:cxn>
                <a:cxn ang="0">
                  <a:pos x="135" y="46"/>
                </a:cxn>
                <a:cxn ang="0">
                  <a:pos x="163" y="21"/>
                </a:cxn>
                <a:cxn ang="0">
                  <a:pos x="170" y="0"/>
                </a:cxn>
                <a:cxn ang="0">
                  <a:pos x="175" y="0"/>
                </a:cxn>
                <a:cxn ang="0">
                  <a:pos x="168" y="24"/>
                </a:cxn>
                <a:cxn ang="0">
                  <a:pos x="138" y="50"/>
                </a:cxn>
                <a:cxn ang="0">
                  <a:pos x="137" y="50"/>
                </a:cxn>
                <a:cxn ang="0">
                  <a:pos x="21" y="79"/>
                </a:cxn>
                <a:cxn ang="0">
                  <a:pos x="18" y="79"/>
                </a:cxn>
              </a:cxnLst>
              <a:rect l="0" t="0" r="r" b="b"/>
              <a:pathLst>
                <a:path w="176" h="79">
                  <a:moveTo>
                    <a:pt x="18" y="79"/>
                  </a:moveTo>
                  <a:cubicBezTo>
                    <a:pt x="10" y="79"/>
                    <a:pt x="1" y="75"/>
                    <a:pt x="0" y="75"/>
                  </a:cubicBezTo>
                  <a:cubicBezTo>
                    <a:pt x="3" y="70"/>
                    <a:pt x="3" y="70"/>
                    <a:pt x="3" y="70"/>
                  </a:cubicBezTo>
                  <a:cubicBezTo>
                    <a:pt x="3" y="70"/>
                    <a:pt x="13" y="75"/>
                    <a:pt x="20" y="74"/>
                  </a:cubicBezTo>
                  <a:cubicBezTo>
                    <a:pt x="28" y="73"/>
                    <a:pt x="129" y="47"/>
                    <a:pt x="135" y="46"/>
                  </a:cubicBezTo>
                  <a:cubicBezTo>
                    <a:pt x="138" y="44"/>
                    <a:pt x="157" y="33"/>
                    <a:pt x="163" y="21"/>
                  </a:cubicBezTo>
                  <a:cubicBezTo>
                    <a:pt x="171" y="10"/>
                    <a:pt x="170" y="0"/>
                    <a:pt x="170" y="0"/>
                  </a:cubicBezTo>
                  <a:cubicBezTo>
                    <a:pt x="175" y="0"/>
                    <a:pt x="175" y="0"/>
                    <a:pt x="175" y="0"/>
                  </a:cubicBezTo>
                  <a:cubicBezTo>
                    <a:pt x="175" y="0"/>
                    <a:pt x="176" y="11"/>
                    <a:pt x="168" y="24"/>
                  </a:cubicBezTo>
                  <a:cubicBezTo>
                    <a:pt x="160" y="37"/>
                    <a:pt x="139" y="50"/>
                    <a:pt x="138" y="50"/>
                  </a:cubicBezTo>
                  <a:cubicBezTo>
                    <a:pt x="137" y="50"/>
                    <a:pt x="137" y="50"/>
                    <a:pt x="137" y="50"/>
                  </a:cubicBezTo>
                  <a:cubicBezTo>
                    <a:pt x="133" y="52"/>
                    <a:pt x="29" y="78"/>
                    <a:pt x="21" y="79"/>
                  </a:cubicBezTo>
                  <a:cubicBezTo>
                    <a:pt x="20" y="79"/>
                    <a:pt x="19" y="79"/>
                    <a:pt x="18" y="79"/>
                  </a:cubicBezTo>
                  <a:close/>
                </a:path>
              </a:pathLst>
            </a:custGeom>
            <a:grpFill/>
            <a:ln w="3175">
              <a:solidFill>
                <a:schemeClr val="bg2">
                  <a:lumMod val="60000"/>
                  <a:lumOff val="40000"/>
                </a:schemeClr>
              </a:solidFill>
              <a:round/>
              <a:headEnd/>
              <a:tailEnd/>
            </a:ln>
          </p:spPr>
          <p:txBody>
            <a:bodyPr vert="horz" wrap="square" lIns="91416" tIns="45708" rIns="91416" bIns="45708" numCol="1" anchor="t" anchorCtr="0" compatLnSpc="1">
              <a:prstTxWarp prst="textNoShape">
                <a:avLst/>
              </a:prstTxWarp>
            </a:bodyPr>
            <a:lstStyle/>
            <a:p>
              <a:endParaRPr lang="zh-CN" altLang="en-US" sz="1799"/>
            </a:p>
          </p:txBody>
        </p:sp>
        <p:sp>
          <p:nvSpPr>
            <p:cNvPr id="99" name="Rectangle 792"/>
            <p:cNvSpPr>
              <a:spLocks noChangeArrowheads="1"/>
            </p:cNvSpPr>
            <p:nvPr/>
          </p:nvSpPr>
          <p:spPr bwMode="auto">
            <a:xfrm>
              <a:off x="16397288" y="3570288"/>
              <a:ext cx="12700" cy="161925"/>
            </a:xfrm>
            <a:prstGeom prst="rect">
              <a:avLst/>
            </a:prstGeom>
            <a:grpFill/>
            <a:ln w="3175">
              <a:solidFill>
                <a:schemeClr val="bg2">
                  <a:lumMod val="60000"/>
                  <a:lumOff val="40000"/>
                </a:schemeClr>
              </a:solidFill>
              <a:miter lim="800000"/>
              <a:headEnd/>
              <a:tailEnd/>
            </a:ln>
          </p:spPr>
          <p:txBody>
            <a:bodyPr vert="horz" wrap="square" lIns="91416" tIns="45708" rIns="91416" bIns="45708" numCol="1" anchor="t" anchorCtr="0" compatLnSpc="1">
              <a:prstTxWarp prst="textNoShape">
                <a:avLst/>
              </a:prstTxWarp>
            </a:bodyPr>
            <a:lstStyle/>
            <a:p>
              <a:endParaRPr lang="zh-CN" altLang="en-US" sz="1799"/>
            </a:p>
          </p:txBody>
        </p:sp>
      </p:grpSp>
      <p:grpSp>
        <p:nvGrpSpPr>
          <p:cNvPr id="100" name="组合 99"/>
          <p:cNvGrpSpPr/>
          <p:nvPr/>
        </p:nvGrpSpPr>
        <p:grpSpPr>
          <a:xfrm>
            <a:off x="4226834" y="5486940"/>
            <a:ext cx="457081" cy="548497"/>
            <a:chOff x="-2922588" y="4408488"/>
            <a:chExt cx="676275" cy="768350"/>
          </a:xfrm>
          <a:solidFill>
            <a:schemeClr val="tx1"/>
          </a:solidFill>
        </p:grpSpPr>
        <p:sp>
          <p:nvSpPr>
            <p:cNvPr id="101" name="Freeform 107"/>
            <p:cNvSpPr>
              <a:spLocks noEditPoints="1"/>
            </p:cNvSpPr>
            <p:nvPr/>
          </p:nvSpPr>
          <p:spPr bwMode="auto">
            <a:xfrm>
              <a:off x="-2922588" y="4408488"/>
              <a:ext cx="676275" cy="768350"/>
            </a:xfrm>
            <a:custGeom>
              <a:avLst/>
              <a:gdLst/>
              <a:ahLst/>
              <a:cxnLst>
                <a:cxn ang="0">
                  <a:pos x="426" y="70"/>
                </a:cxn>
                <a:cxn ang="0">
                  <a:pos x="220" y="70"/>
                </a:cxn>
                <a:cxn ang="0">
                  <a:pos x="220" y="2"/>
                </a:cxn>
                <a:cxn ang="0">
                  <a:pos x="208" y="0"/>
                </a:cxn>
                <a:cxn ang="0">
                  <a:pos x="208" y="70"/>
                </a:cxn>
                <a:cxn ang="0">
                  <a:pos x="0" y="70"/>
                </a:cxn>
                <a:cxn ang="0">
                  <a:pos x="0" y="350"/>
                </a:cxn>
                <a:cxn ang="0">
                  <a:pos x="166" y="350"/>
                </a:cxn>
                <a:cxn ang="0">
                  <a:pos x="116" y="478"/>
                </a:cxn>
                <a:cxn ang="0">
                  <a:pos x="128" y="484"/>
                </a:cxn>
                <a:cxn ang="0">
                  <a:pos x="178" y="350"/>
                </a:cxn>
                <a:cxn ang="0">
                  <a:pos x="206" y="350"/>
                </a:cxn>
                <a:cxn ang="0">
                  <a:pos x="206" y="480"/>
                </a:cxn>
                <a:cxn ang="0">
                  <a:pos x="218" y="482"/>
                </a:cxn>
                <a:cxn ang="0">
                  <a:pos x="218" y="350"/>
                </a:cxn>
                <a:cxn ang="0">
                  <a:pos x="248" y="350"/>
                </a:cxn>
                <a:cxn ang="0">
                  <a:pos x="298" y="484"/>
                </a:cxn>
                <a:cxn ang="0">
                  <a:pos x="310" y="478"/>
                </a:cxn>
                <a:cxn ang="0">
                  <a:pos x="260" y="350"/>
                </a:cxn>
                <a:cxn ang="0">
                  <a:pos x="426" y="350"/>
                </a:cxn>
                <a:cxn ang="0">
                  <a:pos x="426" y="70"/>
                </a:cxn>
                <a:cxn ang="0">
                  <a:pos x="416" y="340"/>
                </a:cxn>
                <a:cxn ang="0">
                  <a:pos x="10" y="340"/>
                </a:cxn>
                <a:cxn ang="0">
                  <a:pos x="10" y="82"/>
                </a:cxn>
                <a:cxn ang="0">
                  <a:pos x="416" y="82"/>
                </a:cxn>
                <a:cxn ang="0">
                  <a:pos x="416" y="340"/>
                </a:cxn>
              </a:cxnLst>
              <a:rect l="0" t="0" r="r" b="b"/>
              <a:pathLst>
                <a:path w="426" h="484">
                  <a:moveTo>
                    <a:pt x="426" y="70"/>
                  </a:moveTo>
                  <a:lnTo>
                    <a:pt x="220" y="70"/>
                  </a:lnTo>
                  <a:lnTo>
                    <a:pt x="220" y="2"/>
                  </a:lnTo>
                  <a:lnTo>
                    <a:pt x="208" y="0"/>
                  </a:lnTo>
                  <a:lnTo>
                    <a:pt x="208" y="70"/>
                  </a:lnTo>
                  <a:lnTo>
                    <a:pt x="0" y="70"/>
                  </a:lnTo>
                  <a:lnTo>
                    <a:pt x="0" y="350"/>
                  </a:lnTo>
                  <a:lnTo>
                    <a:pt x="166" y="350"/>
                  </a:lnTo>
                  <a:lnTo>
                    <a:pt x="116" y="478"/>
                  </a:lnTo>
                  <a:lnTo>
                    <a:pt x="128" y="484"/>
                  </a:lnTo>
                  <a:lnTo>
                    <a:pt x="178" y="350"/>
                  </a:lnTo>
                  <a:lnTo>
                    <a:pt x="206" y="350"/>
                  </a:lnTo>
                  <a:lnTo>
                    <a:pt x="206" y="480"/>
                  </a:lnTo>
                  <a:lnTo>
                    <a:pt x="218" y="482"/>
                  </a:lnTo>
                  <a:lnTo>
                    <a:pt x="218" y="350"/>
                  </a:lnTo>
                  <a:lnTo>
                    <a:pt x="248" y="350"/>
                  </a:lnTo>
                  <a:lnTo>
                    <a:pt x="298" y="484"/>
                  </a:lnTo>
                  <a:lnTo>
                    <a:pt x="310" y="478"/>
                  </a:lnTo>
                  <a:lnTo>
                    <a:pt x="260" y="350"/>
                  </a:lnTo>
                  <a:lnTo>
                    <a:pt x="426" y="350"/>
                  </a:lnTo>
                  <a:lnTo>
                    <a:pt x="426" y="70"/>
                  </a:lnTo>
                  <a:close/>
                  <a:moveTo>
                    <a:pt x="416" y="340"/>
                  </a:moveTo>
                  <a:lnTo>
                    <a:pt x="10" y="340"/>
                  </a:lnTo>
                  <a:lnTo>
                    <a:pt x="10" y="82"/>
                  </a:lnTo>
                  <a:lnTo>
                    <a:pt x="416" y="82"/>
                  </a:lnTo>
                  <a:lnTo>
                    <a:pt x="416" y="340"/>
                  </a:lnTo>
                  <a:close/>
                </a:path>
              </a:pathLst>
            </a:custGeom>
            <a:grpFill/>
            <a:ln w="3175">
              <a:solidFill>
                <a:schemeClr val="bg2">
                  <a:lumMod val="60000"/>
                  <a:lumOff val="40000"/>
                </a:schemeClr>
              </a:solidFill>
              <a:round/>
              <a:headEnd/>
              <a:tailEnd/>
            </a:ln>
          </p:spPr>
          <p:txBody>
            <a:bodyPr vert="horz" wrap="square" lIns="91416" tIns="45708" rIns="91416" bIns="45708" numCol="1" anchor="t" anchorCtr="0" compatLnSpc="1">
              <a:prstTxWarp prst="textNoShape">
                <a:avLst/>
              </a:prstTxWarp>
            </a:bodyPr>
            <a:lstStyle/>
            <a:p>
              <a:endParaRPr lang="zh-CN" altLang="en-US" sz="1799"/>
            </a:p>
          </p:txBody>
        </p:sp>
        <p:sp>
          <p:nvSpPr>
            <p:cNvPr id="102" name="Freeform 108"/>
            <p:cNvSpPr>
              <a:spLocks noEditPoints="1"/>
            </p:cNvSpPr>
            <p:nvPr/>
          </p:nvSpPr>
          <p:spPr bwMode="auto">
            <a:xfrm>
              <a:off x="-2795588" y="4665663"/>
              <a:ext cx="130175" cy="155575"/>
            </a:xfrm>
            <a:custGeom>
              <a:avLst/>
              <a:gdLst/>
              <a:ahLst/>
              <a:cxnLst>
                <a:cxn ang="0">
                  <a:pos x="12" y="33"/>
                </a:cxn>
                <a:cxn ang="0">
                  <a:pos x="29" y="33"/>
                </a:cxn>
                <a:cxn ang="0">
                  <a:pos x="35" y="49"/>
                </a:cxn>
                <a:cxn ang="0">
                  <a:pos x="41" y="49"/>
                </a:cxn>
                <a:cxn ang="0">
                  <a:pos x="25" y="0"/>
                </a:cxn>
                <a:cxn ang="0">
                  <a:pos x="17" y="0"/>
                </a:cxn>
                <a:cxn ang="0">
                  <a:pos x="0" y="49"/>
                </a:cxn>
                <a:cxn ang="0">
                  <a:pos x="7" y="49"/>
                </a:cxn>
                <a:cxn ang="0">
                  <a:pos x="12" y="33"/>
                </a:cxn>
                <a:cxn ang="0">
                  <a:pos x="18" y="14"/>
                </a:cxn>
                <a:cxn ang="0">
                  <a:pos x="21" y="5"/>
                </a:cxn>
                <a:cxn ang="0">
                  <a:pos x="21" y="5"/>
                </a:cxn>
                <a:cxn ang="0">
                  <a:pos x="23" y="14"/>
                </a:cxn>
                <a:cxn ang="0">
                  <a:pos x="28" y="29"/>
                </a:cxn>
                <a:cxn ang="0">
                  <a:pos x="13" y="29"/>
                </a:cxn>
                <a:cxn ang="0">
                  <a:pos x="18" y="14"/>
                </a:cxn>
              </a:cxnLst>
              <a:rect l="0" t="0" r="r" b="b"/>
              <a:pathLst>
                <a:path w="41" h="49">
                  <a:moveTo>
                    <a:pt x="12" y="33"/>
                  </a:moveTo>
                  <a:cubicBezTo>
                    <a:pt x="29" y="33"/>
                    <a:pt x="29" y="33"/>
                    <a:pt x="29" y="33"/>
                  </a:cubicBezTo>
                  <a:cubicBezTo>
                    <a:pt x="35" y="49"/>
                    <a:pt x="35" y="49"/>
                    <a:pt x="35" y="49"/>
                  </a:cubicBezTo>
                  <a:cubicBezTo>
                    <a:pt x="41" y="49"/>
                    <a:pt x="41" y="49"/>
                    <a:pt x="41" y="49"/>
                  </a:cubicBezTo>
                  <a:cubicBezTo>
                    <a:pt x="25" y="0"/>
                    <a:pt x="25" y="0"/>
                    <a:pt x="25" y="0"/>
                  </a:cubicBezTo>
                  <a:cubicBezTo>
                    <a:pt x="17" y="0"/>
                    <a:pt x="17" y="0"/>
                    <a:pt x="17" y="0"/>
                  </a:cubicBezTo>
                  <a:cubicBezTo>
                    <a:pt x="0" y="49"/>
                    <a:pt x="0" y="49"/>
                    <a:pt x="0" y="49"/>
                  </a:cubicBezTo>
                  <a:cubicBezTo>
                    <a:pt x="7" y="49"/>
                    <a:pt x="7" y="49"/>
                    <a:pt x="7" y="49"/>
                  </a:cubicBezTo>
                  <a:lnTo>
                    <a:pt x="12" y="33"/>
                  </a:lnTo>
                  <a:close/>
                  <a:moveTo>
                    <a:pt x="18" y="14"/>
                  </a:moveTo>
                  <a:cubicBezTo>
                    <a:pt x="19" y="11"/>
                    <a:pt x="20" y="8"/>
                    <a:pt x="21" y="5"/>
                  </a:cubicBezTo>
                  <a:cubicBezTo>
                    <a:pt x="21" y="5"/>
                    <a:pt x="21" y="5"/>
                    <a:pt x="21" y="5"/>
                  </a:cubicBezTo>
                  <a:cubicBezTo>
                    <a:pt x="21" y="8"/>
                    <a:pt x="22" y="11"/>
                    <a:pt x="23" y="14"/>
                  </a:cubicBezTo>
                  <a:cubicBezTo>
                    <a:pt x="28" y="29"/>
                    <a:pt x="28" y="29"/>
                    <a:pt x="28" y="29"/>
                  </a:cubicBezTo>
                  <a:cubicBezTo>
                    <a:pt x="13" y="29"/>
                    <a:pt x="13" y="29"/>
                    <a:pt x="13" y="29"/>
                  </a:cubicBezTo>
                  <a:lnTo>
                    <a:pt x="18" y="14"/>
                  </a:lnTo>
                  <a:close/>
                </a:path>
              </a:pathLst>
            </a:custGeom>
            <a:grpFill/>
            <a:ln w="3175">
              <a:solidFill>
                <a:schemeClr val="bg2">
                  <a:lumMod val="60000"/>
                  <a:lumOff val="40000"/>
                </a:schemeClr>
              </a:solidFill>
              <a:round/>
              <a:headEnd/>
              <a:tailEnd/>
            </a:ln>
          </p:spPr>
          <p:txBody>
            <a:bodyPr vert="horz" wrap="square" lIns="91416" tIns="45708" rIns="91416" bIns="45708" numCol="1" anchor="t" anchorCtr="0" compatLnSpc="1">
              <a:prstTxWarp prst="textNoShape">
                <a:avLst/>
              </a:prstTxWarp>
            </a:bodyPr>
            <a:lstStyle/>
            <a:p>
              <a:endParaRPr lang="zh-CN" altLang="en-US" sz="1799"/>
            </a:p>
          </p:txBody>
        </p:sp>
        <p:sp>
          <p:nvSpPr>
            <p:cNvPr id="103" name="Freeform 109"/>
            <p:cNvSpPr>
              <a:spLocks noEditPoints="1"/>
            </p:cNvSpPr>
            <p:nvPr/>
          </p:nvSpPr>
          <p:spPr bwMode="auto">
            <a:xfrm>
              <a:off x="-2640013" y="4662488"/>
              <a:ext cx="98425" cy="158750"/>
            </a:xfrm>
            <a:custGeom>
              <a:avLst/>
              <a:gdLst/>
              <a:ahLst/>
              <a:cxnLst>
                <a:cxn ang="0">
                  <a:pos x="27" y="46"/>
                </a:cxn>
                <a:cxn ang="0">
                  <a:pos x="31" y="36"/>
                </a:cxn>
                <a:cxn ang="0">
                  <a:pos x="21" y="24"/>
                </a:cxn>
                <a:cxn ang="0">
                  <a:pos x="21" y="23"/>
                </a:cxn>
                <a:cxn ang="0">
                  <a:pos x="29" y="13"/>
                </a:cxn>
                <a:cxn ang="0">
                  <a:pos x="25" y="4"/>
                </a:cxn>
                <a:cxn ang="0">
                  <a:pos x="11" y="0"/>
                </a:cxn>
                <a:cxn ang="0">
                  <a:pos x="0" y="1"/>
                </a:cxn>
                <a:cxn ang="0">
                  <a:pos x="0" y="50"/>
                </a:cxn>
                <a:cxn ang="0">
                  <a:pos x="10" y="50"/>
                </a:cxn>
                <a:cxn ang="0">
                  <a:pos x="27" y="46"/>
                </a:cxn>
                <a:cxn ang="0">
                  <a:pos x="6" y="6"/>
                </a:cxn>
                <a:cxn ang="0">
                  <a:pos x="12" y="5"/>
                </a:cxn>
                <a:cxn ang="0">
                  <a:pos x="23" y="13"/>
                </a:cxn>
                <a:cxn ang="0">
                  <a:pos x="12" y="22"/>
                </a:cxn>
                <a:cxn ang="0">
                  <a:pos x="6" y="22"/>
                </a:cxn>
                <a:cxn ang="0">
                  <a:pos x="6" y="6"/>
                </a:cxn>
                <a:cxn ang="0">
                  <a:pos x="6" y="26"/>
                </a:cxn>
                <a:cxn ang="0">
                  <a:pos x="11" y="26"/>
                </a:cxn>
                <a:cxn ang="0">
                  <a:pos x="24" y="36"/>
                </a:cxn>
                <a:cxn ang="0">
                  <a:pos x="11" y="45"/>
                </a:cxn>
                <a:cxn ang="0">
                  <a:pos x="6" y="45"/>
                </a:cxn>
                <a:cxn ang="0">
                  <a:pos x="6" y="26"/>
                </a:cxn>
              </a:cxnLst>
              <a:rect l="0" t="0" r="r" b="b"/>
              <a:pathLst>
                <a:path w="31" h="50">
                  <a:moveTo>
                    <a:pt x="27" y="46"/>
                  </a:moveTo>
                  <a:cubicBezTo>
                    <a:pt x="29" y="43"/>
                    <a:pt x="31" y="40"/>
                    <a:pt x="31" y="36"/>
                  </a:cubicBezTo>
                  <a:cubicBezTo>
                    <a:pt x="31" y="29"/>
                    <a:pt x="25" y="25"/>
                    <a:pt x="21" y="24"/>
                  </a:cubicBezTo>
                  <a:cubicBezTo>
                    <a:pt x="21" y="23"/>
                    <a:pt x="21" y="23"/>
                    <a:pt x="21" y="23"/>
                  </a:cubicBezTo>
                  <a:cubicBezTo>
                    <a:pt x="26" y="22"/>
                    <a:pt x="29" y="17"/>
                    <a:pt x="29" y="13"/>
                  </a:cubicBezTo>
                  <a:cubicBezTo>
                    <a:pt x="29" y="9"/>
                    <a:pt x="27" y="6"/>
                    <a:pt x="25" y="4"/>
                  </a:cubicBezTo>
                  <a:cubicBezTo>
                    <a:pt x="22" y="1"/>
                    <a:pt x="18" y="0"/>
                    <a:pt x="11" y="0"/>
                  </a:cubicBezTo>
                  <a:cubicBezTo>
                    <a:pt x="7" y="0"/>
                    <a:pt x="2" y="1"/>
                    <a:pt x="0" y="1"/>
                  </a:cubicBezTo>
                  <a:cubicBezTo>
                    <a:pt x="0" y="50"/>
                    <a:pt x="0" y="50"/>
                    <a:pt x="0" y="50"/>
                  </a:cubicBezTo>
                  <a:cubicBezTo>
                    <a:pt x="2" y="50"/>
                    <a:pt x="5" y="50"/>
                    <a:pt x="10" y="50"/>
                  </a:cubicBezTo>
                  <a:cubicBezTo>
                    <a:pt x="18" y="50"/>
                    <a:pt x="23" y="49"/>
                    <a:pt x="27" y="46"/>
                  </a:cubicBezTo>
                  <a:close/>
                  <a:moveTo>
                    <a:pt x="6" y="6"/>
                  </a:moveTo>
                  <a:cubicBezTo>
                    <a:pt x="7" y="5"/>
                    <a:pt x="9" y="5"/>
                    <a:pt x="12" y="5"/>
                  </a:cubicBezTo>
                  <a:cubicBezTo>
                    <a:pt x="18" y="5"/>
                    <a:pt x="23" y="8"/>
                    <a:pt x="23" y="13"/>
                  </a:cubicBezTo>
                  <a:cubicBezTo>
                    <a:pt x="23" y="18"/>
                    <a:pt x="19" y="22"/>
                    <a:pt x="12" y="22"/>
                  </a:cubicBezTo>
                  <a:cubicBezTo>
                    <a:pt x="6" y="22"/>
                    <a:pt x="6" y="22"/>
                    <a:pt x="6" y="22"/>
                  </a:cubicBezTo>
                  <a:lnTo>
                    <a:pt x="6" y="6"/>
                  </a:lnTo>
                  <a:close/>
                  <a:moveTo>
                    <a:pt x="6" y="26"/>
                  </a:moveTo>
                  <a:cubicBezTo>
                    <a:pt x="11" y="26"/>
                    <a:pt x="11" y="26"/>
                    <a:pt x="11" y="26"/>
                  </a:cubicBezTo>
                  <a:cubicBezTo>
                    <a:pt x="18" y="26"/>
                    <a:pt x="24" y="29"/>
                    <a:pt x="24" y="36"/>
                  </a:cubicBezTo>
                  <a:cubicBezTo>
                    <a:pt x="24" y="43"/>
                    <a:pt x="18" y="45"/>
                    <a:pt x="11" y="45"/>
                  </a:cubicBezTo>
                  <a:cubicBezTo>
                    <a:pt x="9" y="45"/>
                    <a:pt x="7" y="45"/>
                    <a:pt x="6" y="45"/>
                  </a:cubicBezTo>
                  <a:lnTo>
                    <a:pt x="6" y="26"/>
                  </a:lnTo>
                  <a:close/>
                </a:path>
              </a:pathLst>
            </a:custGeom>
            <a:grpFill/>
            <a:ln w="3175">
              <a:solidFill>
                <a:schemeClr val="bg2">
                  <a:lumMod val="60000"/>
                  <a:lumOff val="40000"/>
                </a:schemeClr>
              </a:solidFill>
              <a:round/>
              <a:headEnd/>
              <a:tailEnd/>
            </a:ln>
          </p:spPr>
          <p:txBody>
            <a:bodyPr vert="horz" wrap="square" lIns="91416" tIns="45708" rIns="91416" bIns="45708" numCol="1" anchor="t" anchorCtr="0" compatLnSpc="1">
              <a:prstTxWarp prst="textNoShape">
                <a:avLst/>
              </a:prstTxWarp>
            </a:bodyPr>
            <a:lstStyle/>
            <a:p>
              <a:endParaRPr lang="zh-CN" altLang="en-US" sz="1799"/>
            </a:p>
          </p:txBody>
        </p:sp>
        <p:sp>
          <p:nvSpPr>
            <p:cNvPr id="104" name="Freeform 110"/>
            <p:cNvSpPr>
              <a:spLocks/>
            </p:cNvSpPr>
            <p:nvPr/>
          </p:nvSpPr>
          <p:spPr bwMode="auto">
            <a:xfrm>
              <a:off x="-2525713" y="4662488"/>
              <a:ext cx="120650" cy="161925"/>
            </a:xfrm>
            <a:custGeom>
              <a:avLst/>
              <a:gdLst/>
              <a:ahLst/>
              <a:cxnLst>
                <a:cxn ang="0">
                  <a:pos x="25" y="51"/>
                </a:cxn>
                <a:cxn ang="0">
                  <a:pos x="38" y="48"/>
                </a:cxn>
                <a:cxn ang="0">
                  <a:pos x="36" y="43"/>
                </a:cxn>
                <a:cxn ang="0">
                  <a:pos x="26" y="45"/>
                </a:cxn>
                <a:cxn ang="0">
                  <a:pos x="7" y="26"/>
                </a:cxn>
                <a:cxn ang="0">
                  <a:pos x="26" y="5"/>
                </a:cxn>
                <a:cxn ang="0">
                  <a:pos x="36" y="7"/>
                </a:cxn>
                <a:cxn ang="0">
                  <a:pos x="38" y="2"/>
                </a:cxn>
                <a:cxn ang="0">
                  <a:pos x="26" y="0"/>
                </a:cxn>
                <a:cxn ang="0">
                  <a:pos x="0" y="26"/>
                </a:cxn>
                <a:cxn ang="0">
                  <a:pos x="25" y="51"/>
                </a:cxn>
              </a:cxnLst>
              <a:rect l="0" t="0" r="r" b="b"/>
              <a:pathLst>
                <a:path w="38" h="51">
                  <a:moveTo>
                    <a:pt x="25" y="51"/>
                  </a:moveTo>
                  <a:cubicBezTo>
                    <a:pt x="31" y="51"/>
                    <a:pt x="35" y="50"/>
                    <a:pt x="38" y="48"/>
                  </a:cubicBezTo>
                  <a:cubicBezTo>
                    <a:pt x="36" y="43"/>
                    <a:pt x="36" y="43"/>
                    <a:pt x="36" y="43"/>
                  </a:cubicBezTo>
                  <a:cubicBezTo>
                    <a:pt x="34" y="45"/>
                    <a:pt x="30" y="45"/>
                    <a:pt x="26" y="45"/>
                  </a:cubicBezTo>
                  <a:cubicBezTo>
                    <a:pt x="14" y="45"/>
                    <a:pt x="7" y="38"/>
                    <a:pt x="7" y="26"/>
                  </a:cubicBezTo>
                  <a:cubicBezTo>
                    <a:pt x="7" y="13"/>
                    <a:pt x="15" y="5"/>
                    <a:pt x="26" y="5"/>
                  </a:cubicBezTo>
                  <a:cubicBezTo>
                    <a:pt x="30" y="5"/>
                    <a:pt x="34" y="6"/>
                    <a:pt x="36" y="7"/>
                  </a:cubicBezTo>
                  <a:cubicBezTo>
                    <a:pt x="38" y="2"/>
                    <a:pt x="38" y="2"/>
                    <a:pt x="38" y="2"/>
                  </a:cubicBezTo>
                  <a:cubicBezTo>
                    <a:pt x="36" y="1"/>
                    <a:pt x="32" y="0"/>
                    <a:pt x="26" y="0"/>
                  </a:cubicBezTo>
                  <a:cubicBezTo>
                    <a:pt x="11" y="0"/>
                    <a:pt x="0" y="10"/>
                    <a:pt x="0" y="26"/>
                  </a:cubicBezTo>
                  <a:cubicBezTo>
                    <a:pt x="0" y="42"/>
                    <a:pt x="11" y="51"/>
                    <a:pt x="25" y="51"/>
                  </a:cubicBezTo>
                  <a:close/>
                </a:path>
              </a:pathLst>
            </a:custGeom>
            <a:grpFill/>
            <a:ln w="3175">
              <a:solidFill>
                <a:schemeClr val="bg2">
                  <a:lumMod val="60000"/>
                  <a:lumOff val="40000"/>
                </a:schemeClr>
              </a:solidFill>
              <a:round/>
              <a:headEnd/>
              <a:tailEnd/>
            </a:ln>
          </p:spPr>
          <p:txBody>
            <a:bodyPr vert="horz" wrap="square" lIns="91416" tIns="45708" rIns="91416" bIns="45708" numCol="1" anchor="t" anchorCtr="0" compatLnSpc="1">
              <a:prstTxWarp prst="textNoShape">
                <a:avLst/>
              </a:prstTxWarp>
            </a:bodyPr>
            <a:lstStyle/>
            <a:p>
              <a:endParaRPr lang="zh-CN" altLang="en-US" sz="1799"/>
            </a:p>
          </p:txBody>
        </p:sp>
      </p:grpSp>
      <p:cxnSp>
        <p:nvCxnSpPr>
          <p:cNvPr id="112" name="直接连接符 111"/>
          <p:cNvCxnSpPr/>
          <p:nvPr/>
        </p:nvCxnSpPr>
        <p:spPr>
          <a:xfrm flipV="1">
            <a:off x="8178294" y="756392"/>
            <a:ext cx="943183" cy="0"/>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sp>
        <p:nvSpPr>
          <p:cNvPr id="113" name="文本框 112"/>
          <p:cNvSpPr txBox="1"/>
          <p:nvPr/>
        </p:nvSpPr>
        <p:spPr>
          <a:xfrm>
            <a:off x="9073832" y="606593"/>
            <a:ext cx="1901062" cy="184666"/>
          </a:xfrm>
          <a:prstGeom prst="rect">
            <a:avLst/>
          </a:prstGeom>
          <a:noFill/>
          <a:ln w="9525" algn="ctr">
            <a:noFill/>
            <a:miter lim="800000"/>
            <a:headEnd/>
            <a:tailEnd/>
          </a:ln>
        </p:spPr>
        <p:txBody>
          <a:bodyPr wrap="square" lIns="0" tIns="0" rIns="0" bIns="0">
            <a:spAutoFit/>
          </a:bodyPr>
          <a:lstStyle>
            <a:defPPr>
              <a:defRPr lang="zh-CN"/>
            </a:defPPr>
            <a:lvl1pPr marR="0" lvl="0" indent="0" algn="ctr" defTabSz="1068979" fontAlgn="ctr">
              <a:lnSpc>
                <a:spcPct val="100000"/>
              </a:lnSpc>
              <a:spcBef>
                <a:spcPts val="0"/>
              </a:spcBef>
              <a:spcAft>
                <a:spcPts val="0"/>
              </a:spcAft>
              <a:buClrTx/>
              <a:buSzTx/>
              <a:buFontTx/>
              <a:buNone/>
              <a:tabLst/>
              <a:defRPr sz="1200" b="1" kern="0">
                <a:solidFill>
                  <a:schemeClr val="bg1"/>
                </a:solidFill>
                <a:cs typeface="Arial Unicode MS" pitchFamily="34" charset="-122"/>
              </a:defRPr>
            </a:lvl1pPr>
          </a:lstStyle>
          <a:p>
            <a:r>
              <a:rPr lang="en-US" altLang="zh-CN" dirty="0" err="1"/>
              <a:t>Solución</a:t>
            </a:r>
            <a:r>
              <a:rPr lang="en-US" altLang="zh-CN" dirty="0"/>
              <a:t> Partner</a:t>
            </a:r>
            <a:endParaRPr lang="zh-CN" altLang="en-US" dirty="0"/>
          </a:p>
        </p:txBody>
      </p:sp>
      <p:cxnSp>
        <p:nvCxnSpPr>
          <p:cNvPr id="114" name="直接连接符 113"/>
          <p:cNvCxnSpPr/>
          <p:nvPr/>
        </p:nvCxnSpPr>
        <p:spPr>
          <a:xfrm flipV="1">
            <a:off x="8178294" y="983652"/>
            <a:ext cx="943183"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115" name="文本框 114"/>
          <p:cNvSpPr txBox="1"/>
          <p:nvPr/>
        </p:nvSpPr>
        <p:spPr>
          <a:xfrm>
            <a:off x="9098066" y="882541"/>
            <a:ext cx="1728816" cy="184666"/>
          </a:xfrm>
          <a:prstGeom prst="rect">
            <a:avLst/>
          </a:prstGeom>
          <a:noFill/>
          <a:ln w="9525" algn="ctr">
            <a:noFill/>
            <a:miter lim="800000"/>
            <a:headEnd/>
            <a:tailEnd/>
          </a:ln>
        </p:spPr>
        <p:txBody>
          <a:bodyPr wrap="square" lIns="0" tIns="0" rIns="0" bIns="0">
            <a:spAutoFit/>
          </a:bodyPr>
          <a:lstStyle>
            <a:defPPr>
              <a:defRPr lang="zh-CN"/>
            </a:defPPr>
            <a:lvl1pPr marR="0" lvl="0" indent="0" algn="ctr" defTabSz="1068979" fontAlgn="ctr">
              <a:lnSpc>
                <a:spcPct val="100000"/>
              </a:lnSpc>
              <a:spcBef>
                <a:spcPts val="0"/>
              </a:spcBef>
              <a:spcAft>
                <a:spcPts val="0"/>
              </a:spcAft>
              <a:buClrTx/>
              <a:buSzTx/>
              <a:buFontTx/>
              <a:buNone/>
              <a:tabLst/>
              <a:defRPr sz="1200" b="1" kern="0">
                <a:solidFill>
                  <a:schemeClr val="bg1"/>
                </a:solidFill>
                <a:cs typeface="Arial Unicode MS" pitchFamily="34" charset="-122"/>
              </a:defRPr>
            </a:lvl1pPr>
          </a:lstStyle>
          <a:p>
            <a:r>
              <a:rPr lang="en-US" altLang="zh-CN" dirty="0" err="1"/>
              <a:t>Solución</a:t>
            </a:r>
            <a:r>
              <a:rPr lang="en-US" altLang="zh-CN" dirty="0"/>
              <a:t> Huawei </a:t>
            </a:r>
            <a:endParaRPr lang="zh-CN" altLang="en-US" dirty="0"/>
          </a:p>
        </p:txBody>
      </p:sp>
      <p:cxnSp>
        <p:nvCxnSpPr>
          <p:cNvPr id="116" name="直接连接符 115"/>
          <p:cNvCxnSpPr/>
          <p:nvPr/>
        </p:nvCxnSpPr>
        <p:spPr>
          <a:xfrm flipV="1">
            <a:off x="8185713" y="1221347"/>
            <a:ext cx="943183"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117" name="文本框 116"/>
          <p:cNvSpPr txBox="1"/>
          <p:nvPr/>
        </p:nvSpPr>
        <p:spPr>
          <a:xfrm>
            <a:off x="9028409" y="1131967"/>
            <a:ext cx="3163591" cy="161583"/>
          </a:xfrm>
          <a:prstGeom prst="rect">
            <a:avLst/>
          </a:prstGeom>
          <a:noFill/>
          <a:ln w="9525" algn="ctr">
            <a:noFill/>
            <a:miter lim="800000"/>
            <a:headEnd/>
            <a:tailEnd/>
          </a:ln>
        </p:spPr>
        <p:txBody>
          <a:bodyPr wrap="square" lIns="0" tIns="0" rIns="0" bIns="0">
            <a:spAutoFit/>
          </a:bodyPr>
          <a:lstStyle>
            <a:defPPr>
              <a:defRPr lang="zh-CN"/>
            </a:defPPr>
            <a:lvl1pPr marR="0" lvl="0" indent="0" algn="ctr" defTabSz="1068979" fontAlgn="ctr">
              <a:lnSpc>
                <a:spcPct val="100000"/>
              </a:lnSpc>
              <a:spcBef>
                <a:spcPts val="0"/>
              </a:spcBef>
              <a:spcAft>
                <a:spcPts val="0"/>
              </a:spcAft>
              <a:buClrTx/>
              <a:buSzTx/>
              <a:buFontTx/>
              <a:buNone/>
              <a:tabLst/>
              <a:defRPr sz="1200" b="1" kern="0">
                <a:solidFill>
                  <a:schemeClr val="bg1"/>
                </a:solidFill>
                <a:cs typeface="Arial Unicode MS" pitchFamily="34" charset="-122"/>
              </a:defRPr>
            </a:lvl1pPr>
          </a:lstStyle>
          <a:p>
            <a:r>
              <a:rPr lang="en-US" altLang="zh-CN" sz="1050" dirty="0" err="1"/>
              <a:t>Conjuntamente</a:t>
            </a:r>
            <a:r>
              <a:rPr lang="en-US" altLang="zh-CN" sz="1050" dirty="0"/>
              <a:t> </a:t>
            </a:r>
            <a:r>
              <a:rPr lang="en-US" altLang="zh-CN" sz="1050" dirty="0" err="1"/>
              <a:t>ofrecido</a:t>
            </a:r>
            <a:r>
              <a:rPr lang="en-US" altLang="zh-CN" sz="1050" dirty="0"/>
              <a:t> </a:t>
            </a:r>
            <a:r>
              <a:rPr lang="en-US" altLang="zh-CN" sz="1050" dirty="0" err="1"/>
              <a:t>por</a:t>
            </a:r>
            <a:r>
              <a:rPr lang="en-US" altLang="zh-CN" sz="1050" dirty="0"/>
              <a:t> Huawei &amp; Partner</a:t>
            </a:r>
            <a:endParaRPr lang="zh-CN" altLang="en-US" sz="1050" dirty="0"/>
          </a:p>
        </p:txBody>
      </p:sp>
      <p:pic>
        <p:nvPicPr>
          <p:cNvPr id="105" name="Imagen 104">
            <a:extLst>
              <a:ext uri="{FF2B5EF4-FFF2-40B4-BE49-F238E27FC236}">
                <a16:creationId xmlns:a16="http://schemas.microsoft.com/office/drawing/2014/main" id="{36B8BC93-B4F0-C14C-B41E-FD0F37657F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9484" y="248921"/>
            <a:ext cx="1388533" cy="355600"/>
          </a:xfrm>
          <a:prstGeom prst="rect">
            <a:avLst/>
          </a:prstGeom>
        </p:spPr>
      </p:pic>
      <p:sp>
        <p:nvSpPr>
          <p:cNvPr id="106" name="Marcador de número de diapositiva 1"/>
          <p:cNvSpPr txBox="1">
            <a:spLocks/>
          </p:cNvSpPr>
          <p:nvPr/>
        </p:nvSpPr>
        <p:spPr>
          <a:xfrm>
            <a:off x="11704622" y="6458134"/>
            <a:ext cx="487378" cy="48134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dirty="0" smtClean="0">
                <a:solidFill>
                  <a:schemeClr val="bg1"/>
                </a:solidFill>
              </a:rPr>
              <a:t>47</a:t>
            </a:r>
            <a:endParaRPr lang="en-US" sz="2000" dirty="0">
              <a:solidFill>
                <a:schemeClr val="bg1"/>
              </a:solidFill>
            </a:endParaRPr>
          </a:p>
        </p:txBody>
      </p:sp>
    </p:spTree>
    <p:extLst>
      <p:ext uri="{BB962C8B-B14F-4D97-AF65-F5344CB8AC3E}">
        <p14:creationId xmlns:p14="http://schemas.microsoft.com/office/powerpoint/2010/main" val="64384713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55" name="1278876068"/>
          <p:cNvSpPr>
            <a:spLocks noGrp="1"/>
          </p:cNvSpPr>
          <p:nvPr>
            <p:ph type="ctrTitle"/>
          </p:nvPr>
        </p:nvSpPr>
        <p:spPr>
          <a:xfrm>
            <a:off x="141921" y="486888"/>
            <a:ext cx="11157095" cy="888161"/>
          </a:xfrm>
        </p:spPr>
        <p:txBody>
          <a:bodyPr>
            <a:normAutofit/>
          </a:bodyPr>
          <a:lstStyle/>
          <a:p>
            <a:pPr fontAlgn="ctr"/>
            <a:r>
              <a:rPr lang="en-US" altLang="zh-CN" sz="2399" dirty="0">
                <a:solidFill>
                  <a:schemeClr val="bg1"/>
                </a:solidFill>
                <a:ea typeface="+mn-ea"/>
              </a:rPr>
              <a:t>Smart Classroom – Aula </a:t>
            </a:r>
            <a:r>
              <a:rPr lang="en-US" altLang="zh-CN" sz="2399" dirty="0" err="1">
                <a:solidFill>
                  <a:schemeClr val="bg1"/>
                </a:solidFill>
                <a:ea typeface="+mn-ea"/>
              </a:rPr>
              <a:t>Inteligente</a:t>
            </a:r>
            <a:endParaRPr lang="en-US" altLang="zh-CN" sz="2399" dirty="0">
              <a:solidFill>
                <a:schemeClr val="bg1"/>
              </a:solidFill>
              <a:ea typeface="+mn-ea"/>
            </a:endParaRPr>
          </a:p>
        </p:txBody>
      </p:sp>
      <p:sp>
        <p:nvSpPr>
          <p:cNvPr id="182" name="430632054"/>
          <p:cNvSpPr txBox="1">
            <a:spLocks noChangeArrowheads="1"/>
          </p:cNvSpPr>
          <p:nvPr/>
        </p:nvSpPr>
        <p:spPr bwMode="gray">
          <a:xfrm>
            <a:off x="7990695" y="4614228"/>
            <a:ext cx="3828415" cy="1529397"/>
          </a:xfrm>
          <a:prstGeom prst="rect">
            <a:avLst/>
          </a:prstGeom>
          <a:noFill/>
          <a:ln w="19050">
            <a:solidFill>
              <a:srgbClr val="00B0F0"/>
            </a:solidFill>
            <a:headEnd/>
            <a:tailEnd/>
          </a:ln>
          <a:effectLst/>
          <a:scene3d>
            <a:camera prst="orthographicFront"/>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16841" tIns="8421" rIns="16841" bIns="8421" anchor="ctr" anchorCtr="0">
            <a:noAutofit/>
          </a:bodyPr>
          <a:lstStyle>
            <a:defPPr>
              <a:defRPr lang="zh-CN"/>
            </a:defPPr>
            <a:lvl1pPr algn="ctr" eaLnBrk="0" hangingPunct="0">
              <a:buClr>
                <a:srgbClr val="CC9900"/>
              </a:buClr>
              <a:buFont typeface="Wingdings" pitchFamily="2" charset="2"/>
              <a:buNone/>
              <a:defRPr sz="1800">
                <a:solidFill>
                  <a:schemeClr val="bg1"/>
                </a:solidFill>
                <a:latin typeface="+mj-lt"/>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fontAlgn="ctr">
              <a:lnSpc>
                <a:spcPct val="120000"/>
              </a:lnSpc>
            </a:pPr>
            <a:endParaRPr lang="en-US" altLang="zh-CN" sz="1599" dirty="0">
              <a:latin typeface="Calibri" panose="020F0502020204030204" pitchFamily="34" charset="0"/>
            </a:endParaRPr>
          </a:p>
        </p:txBody>
      </p:sp>
      <p:sp>
        <p:nvSpPr>
          <p:cNvPr id="183" name="538712840"/>
          <p:cNvSpPr/>
          <p:nvPr/>
        </p:nvSpPr>
        <p:spPr bwMode="auto">
          <a:xfrm>
            <a:off x="7964270" y="4152861"/>
            <a:ext cx="3864399" cy="511615"/>
          </a:xfrm>
          <a:prstGeom prst="rect">
            <a:avLst/>
          </a:prstGeom>
          <a:solidFill>
            <a:schemeClr val="accent5">
              <a:lumMod val="75000"/>
            </a:schemeClr>
          </a:solidFill>
          <a:ln>
            <a:noFill/>
          </a:ln>
          <a:effectLst/>
        </p:spPr>
        <p:txBody>
          <a:bodyPr vert="horz" wrap="square" lIns="121916" tIns="60958" rIns="121916" bIns="60958" numCol="1" rtlCol="0" anchor="ctr" anchorCtr="0" compatLnSpc="1">
            <a:prstTxWarp prst="textNoShape">
              <a:avLst/>
            </a:prstTxWarp>
          </a:bodyPr>
          <a:lstStyle/>
          <a:p>
            <a:pPr marL="176164" indent="-176164" algn="ctr" defTabSz="914141">
              <a:lnSpc>
                <a:spcPct val="120000"/>
              </a:lnSpc>
            </a:pPr>
            <a:r>
              <a:rPr lang="en-US" altLang="zh-CN" sz="1399" kern="0" dirty="0">
                <a:solidFill>
                  <a:schemeClr val="bg1"/>
                </a:solidFill>
                <a:ea typeface="宋体" charset="-122"/>
                <a:sym typeface="Arial" panose="020B0604020202020204" pitchFamily="34" charset="0"/>
              </a:rPr>
              <a:t>Cloud classroom: </a:t>
            </a:r>
            <a:br>
              <a:rPr lang="en-US" altLang="zh-CN" sz="1399" kern="0" dirty="0">
                <a:solidFill>
                  <a:schemeClr val="bg1"/>
                </a:solidFill>
                <a:ea typeface="宋体" charset="-122"/>
                <a:sym typeface="Arial" panose="020B0604020202020204" pitchFamily="34" charset="0"/>
              </a:rPr>
            </a:br>
            <a:r>
              <a:rPr lang="en-US" altLang="zh-CN" sz="1399" kern="0" dirty="0" err="1">
                <a:solidFill>
                  <a:schemeClr val="bg1"/>
                </a:solidFill>
                <a:ea typeface="宋体" charset="-122"/>
                <a:sym typeface="Arial" panose="020B0604020202020204" pitchFamily="34" charset="0"/>
              </a:rPr>
              <a:t>Gestión</a:t>
            </a:r>
            <a:r>
              <a:rPr lang="en-US" altLang="zh-CN" sz="1399" kern="0" dirty="0">
                <a:solidFill>
                  <a:schemeClr val="bg1"/>
                </a:solidFill>
                <a:ea typeface="宋体" charset="-122"/>
                <a:sym typeface="Arial" panose="020B0604020202020204" pitchFamily="34" charset="0"/>
              </a:rPr>
              <a:t> </a:t>
            </a:r>
            <a:r>
              <a:rPr lang="en-US" altLang="zh-CN" sz="1399" kern="0" dirty="0" err="1">
                <a:solidFill>
                  <a:schemeClr val="bg1"/>
                </a:solidFill>
                <a:ea typeface="宋体" charset="-122"/>
                <a:sym typeface="Arial" panose="020B0604020202020204" pitchFamily="34" charset="0"/>
              </a:rPr>
              <a:t>Eficiente</a:t>
            </a:r>
            <a:r>
              <a:rPr lang="en-US" altLang="zh-CN" sz="1399" kern="0" dirty="0">
                <a:solidFill>
                  <a:schemeClr val="bg1"/>
                </a:solidFill>
                <a:ea typeface="宋体" charset="-122"/>
                <a:sym typeface="Arial" panose="020B0604020202020204" pitchFamily="34" charset="0"/>
              </a:rPr>
              <a:t> </a:t>
            </a:r>
            <a:r>
              <a:rPr lang="en-US" altLang="zh-CN" sz="1399" kern="0" dirty="0" err="1">
                <a:solidFill>
                  <a:schemeClr val="bg1"/>
                </a:solidFill>
                <a:ea typeface="宋体" charset="-122"/>
                <a:sym typeface="Arial" panose="020B0604020202020204" pitchFamily="34" charset="0"/>
              </a:rPr>
              <a:t>Mejorada</a:t>
            </a:r>
            <a:endParaRPr lang="en-US" altLang="zh-CN" sz="1399" kern="0" dirty="0">
              <a:solidFill>
                <a:schemeClr val="bg1"/>
              </a:solidFill>
              <a:ea typeface="宋体" charset="-122"/>
            </a:endParaRPr>
          </a:p>
        </p:txBody>
      </p:sp>
      <p:sp>
        <p:nvSpPr>
          <p:cNvPr id="184" name="1305767737"/>
          <p:cNvSpPr txBox="1"/>
          <p:nvPr/>
        </p:nvSpPr>
        <p:spPr>
          <a:xfrm>
            <a:off x="7998420" y="4695489"/>
            <a:ext cx="3812964" cy="1200329"/>
          </a:xfrm>
          <a:prstGeom prst="rect">
            <a:avLst/>
          </a:prstGeom>
          <a:noFill/>
          <a:ln>
            <a:noFill/>
          </a:ln>
        </p:spPr>
        <p:txBody>
          <a:bodyPr wrap="square" rtlCol="0">
            <a:spAutoFit/>
          </a:bodyPr>
          <a:lstStyle/>
          <a:p>
            <a:pPr marL="179961" indent="-179961" fontAlgn="ctr">
              <a:lnSpc>
                <a:spcPct val="120000"/>
              </a:lnSpc>
              <a:buClr>
                <a:schemeClr val="bg1"/>
              </a:buClr>
              <a:buSzPct val="60000"/>
              <a:buFont typeface="Arial" panose="020B0604020202020204" pitchFamily="34" charset="0"/>
              <a:buChar char="•"/>
              <a:defRPr/>
            </a:pPr>
            <a:r>
              <a:rPr lang="en-US" altLang="zh-CN" sz="1200" dirty="0" err="1">
                <a:solidFill>
                  <a:schemeClr val="bg1"/>
                </a:solidFill>
              </a:rPr>
              <a:t>Convergencia</a:t>
            </a:r>
            <a:r>
              <a:rPr lang="en-US" altLang="zh-CN" sz="1200" dirty="0">
                <a:solidFill>
                  <a:schemeClr val="bg1"/>
                </a:solidFill>
              </a:rPr>
              <a:t> perfecta entre las </a:t>
            </a:r>
            <a:r>
              <a:rPr lang="en-US" altLang="zh-CN" sz="1200" dirty="0" err="1">
                <a:solidFill>
                  <a:schemeClr val="bg1"/>
                </a:solidFill>
              </a:rPr>
              <a:t>aplicaciones</a:t>
            </a:r>
            <a:r>
              <a:rPr lang="en-US" altLang="zh-CN" sz="1200" dirty="0">
                <a:solidFill>
                  <a:schemeClr val="bg1"/>
                </a:solidFill>
              </a:rPr>
              <a:t> </a:t>
            </a:r>
            <a:r>
              <a:rPr lang="en-US" altLang="zh-CN" sz="1200" dirty="0" err="1">
                <a:solidFill>
                  <a:schemeClr val="bg1"/>
                </a:solidFill>
              </a:rPr>
              <a:t>necesarias</a:t>
            </a:r>
            <a:r>
              <a:rPr lang="en-US" altLang="zh-CN" sz="1200" dirty="0">
                <a:solidFill>
                  <a:schemeClr val="bg1"/>
                </a:solidFill>
              </a:rPr>
              <a:t> </a:t>
            </a:r>
            <a:r>
              <a:rPr lang="en-US" altLang="zh-CN" sz="1200" dirty="0" err="1">
                <a:solidFill>
                  <a:schemeClr val="bg1"/>
                </a:solidFill>
              </a:rPr>
              <a:t>en</a:t>
            </a:r>
            <a:r>
              <a:rPr lang="en-US" altLang="zh-CN" sz="1200" dirty="0">
                <a:solidFill>
                  <a:schemeClr val="bg1"/>
                </a:solidFill>
              </a:rPr>
              <a:t>  </a:t>
            </a:r>
            <a:r>
              <a:rPr lang="en-US" altLang="zh-CN" sz="1200" dirty="0" err="1">
                <a:solidFill>
                  <a:schemeClr val="bg1"/>
                </a:solidFill>
              </a:rPr>
              <a:t>Enseñanza</a:t>
            </a:r>
            <a:r>
              <a:rPr lang="en-US" altLang="zh-CN" sz="1200" dirty="0">
                <a:solidFill>
                  <a:schemeClr val="bg1"/>
                </a:solidFill>
              </a:rPr>
              <a:t> y la </a:t>
            </a:r>
            <a:r>
              <a:rPr lang="en-US" altLang="zh-CN" sz="1200" dirty="0" err="1">
                <a:solidFill>
                  <a:schemeClr val="bg1"/>
                </a:solidFill>
              </a:rPr>
              <a:t>gestión</a:t>
            </a:r>
            <a:r>
              <a:rPr lang="en-US" altLang="zh-CN" sz="1200" dirty="0">
                <a:solidFill>
                  <a:schemeClr val="bg1"/>
                </a:solidFill>
              </a:rPr>
              <a:t> de </a:t>
            </a:r>
            <a:r>
              <a:rPr lang="en-US" altLang="zh-CN" sz="1200" dirty="0" err="1">
                <a:solidFill>
                  <a:schemeClr val="bg1"/>
                </a:solidFill>
              </a:rPr>
              <a:t>los</a:t>
            </a:r>
            <a:r>
              <a:rPr lang="en-US" altLang="zh-CN" sz="1200" dirty="0">
                <a:solidFill>
                  <a:schemeClr val="bg1"/>
                </a:solidFill>
              </a:rPr>
              <a:t> </a:t>
            </a:r>
            <a:r>
              <a:rPr lang="en-US" altLang="zh-CN" sz="1200" dirty="0" err="1">
                <a:solidFill>
                  <a:schemeClr val="bg1"/>
                </a:solidFill>
              </a:rPr>
              <a:t>escritorios</a:t>
            </a:r>
            <a:r>
              <a:rPr lang="en-US" altLang="zh-CN" sz="1200" dirty="0">
                <a:solidFill>
                  <a:schemeClr val="bg1"/>
                </a:solidFill>
              </a:rPr>
              <a:t>: </a:t>
            </a:r>
            <a:r>
              <a:rPr lang="en-US" altLang="zh-CN" sz="1200" dirty="0" err="1">
                <a:solidFill>
                  <a:schemeClr val="bg1"/>
                </a:solidFill>
              </a:rPr>
              <a:t>Eficacia</a:t>
            </a:r>
            <a:r>
              <a:rPr lang="en-US" altLang="zh-CN" sz="1200" dirty="0">
                <a:solidFill>
                  <a:schemeClr val="bg1"/>
                </a:solidFill>
              </a:rPr>
              <a:t> </a:t>
            </a:r>
            <a:r>
              <a:rPr lang="en-US" altLang="zh-CN" sz="1200" dirty="0" err="1">
                <a:solidFill>
                  <a:schemeClr val="bg1"/>
                </a:solidFill>
              </a:rPr>
              <a:t>mejorada</a:t>
            </a:r>
            <a:r>
              <a:rPr lang="en-US" altLang="zh-CN" sz="1200" dirty="0">
                <a:solidFill>
                  <a:schemeClr val="bg1"/>
                </a:solidFill>
              </a:rPr>
              <a:t> </a:t>
            </a:r>
            <a:r>
              <a:rPr lang="en-US" altLang="zh-CN" sz="1200" dirty="0" err="1">
                <a:solidFill>
                  <a:schemeClr val="bg1"/>
                </a:solidFill>
              </a:rPr>
              <a:t>en</a:t>
            </a:r>
            <a:r>
              <a:rPr lang="en-US" altLang="zh-CN" sz="1200" dirty="0">
                <a:solidFill>
                  <a:schemeClr val="bg1"/>
                </a:solidFill>
              </a:rPr>
              <a:t> </a:t>
            </a:r>
            <a:r>
              <a:rPr lang="en-US" altLang="zh-CN" sz="1200" dirty="0" err="1">
                <a:solidFill>
                  <a:schemeClr val="bg1"/>
                </a:solidFill>
              </a:rPr>
              <a:t>tareas</a:t>
            </a:r>
            <a:r>
              <a:rPr lang="en-US" altLang="zh-CN" sz="1200" dirty="0">
                <a:solidFill>
                  <a:schemeClr val="bg1"/>
                </a:solidFill>
              </a:rPr>
              <a:t> O&amp;M </a:t>
            </a:r>
            <a:r>
              <a:rPr lang="en-US" altLang="zh-CN" sz="1200" dirty="0" err="1">
                <a:solidFill>
                  <a:schemeClr val="bg1"/>
                </a:solidFill>
              </a:rPr>
              <a:t>en</a:t>
            </a:r>
            <a:r>
              <a:rPr lang="en-US" altLang="zh-CN" sz="1200" dirty="0">
                <a:solidFill>
                  <a:schemeClr val="bg1"/>
                </a:solidFill>
              </a:rPr>
              <a:t> </a:t>
            </a:r>
            <a:r>
              <a:rPr lang="en-US" altLang="zh-CN" sz="1200" dirty="0" err="1">
                <a:solidFill>
                  <a:schemeClr val="bg1"/>
                </a:solidFill>
              </a:rPr>
              <a:t>más</a:t>
            </a:r>
            <a:r>
              <a:rPr lang="en-US" altLang="zh-CN" sz="1200" dirty="0">
                <a:solidFill>
                  <a:schemeClr val="bg1"/>
                </a:solidFill>
              </a:rPr>
              <a:t> de un </a:t>
            </a:r>
            <a:r>
              <a:rPr lang="en-US" altLang="zh-CN" sz="1200" b="1" dirty="0">
                <a:solidFill>
                  <a:schemeClr val="bg1"/>
                </a:solidFill>
                <a:latin typeface="Calibri" panose="020F0502020204030204" pitchFamily="34" charset="0"/>
                <a:sym typeface="Arial"/>
              </a:rPr>
              <a:t>↑10x</a:t>
            </a:r>
            <a:endParaRPr lang="en-US" altLang="zh-CN" sz="1200" b="1" dirty="0">
              <a:solidFill>
                <a:schemeClr val="bg1"/>
              </a:solidFill>
              <a:latin typeface="Calibri" panose="020F0502020204030204" pitchFamily="34" charset="0"/>
              <a:sym typeface="Arial" panose="020B0604020202020204" pitchFamily="34" charset="0"/>
            </a:endParaRPr>
          </a:p>
          <a:p>
            <a:pPr marL="179961" indent="-179961" fontAlgn="ctr">
              <a:lnSpc>
                <a:spcPct val="120000"/>
              </a:lnSpc>
              <a:buClr>
                <a:schemeClr val="bg1"/>
              </a:buClr>
              <a:buSzPct val="60000"/>
              <a:buFont typeface="Arial" panose="020B0604020202020204" pitchFamily="34" charset="0"/>
              <a:buChar char="•"/>
              <a:defRPr/>
            </a:pPr>
            <a:r>
              <a:rPr lang="en-US" altLang="zh-CN" sz="1200" dirty="0" err="1">
                <a:solidFill>
                  <a:schemeClr val="bg1"/>
                </a:solidFill>
                <a:latin typeface="Calibri" panose="020F0502020204030204" pitchFamily="34" charset="0"/>
                <a:sym typeface="Arial" panose="020B0604020202020204" pitchFamily="34" charset="0"/>
              </a:rPr>
              <a:t>Protocolo</a:t>
            </a:r>
            <a:r>
              <a:rPr lang="en-US" altLang="zh-CN" sz="1200" dirty="0">
                <a:solidFill>
                  <a:schemeClr val="bg1"/>
                </a:solidFill>
                <a:latin typeface="Calibri" panose="020F0502020204030204" pitchFamily="34" charset="0"/>
                <a:sym typeface="Arial" panose="020B0604020202020204" pitchFamily="34" charset="0"/>
              </a:rPr>
              <a:t> </a:t>
            </a:r>
            <a:r>
              <a:rPr lang="en-US" altLang="zh-CN" sz="1200" dirty="0" err="1">
                <a:solidFill>
                  <a:schemeClr val="bg1"/>
                </a:solidFill>
                <a:latin typeface="Calibri" panose="020F0502020204030204" pitchFamily="34" charset="0"/>
                <a:sym typeface="Arial" panose="020B0604020202020204" pitchFamily="34" charset="0"/>
              </a:rPr>
              <a:t>desarrollado</a:t>
            </a:r>
            <a:r>
              <a:rPr lang="en-US" altLang="zh-CN" sz="1200" dirty="0">
                <a:solidFill>
                  <a:schemeClr val="bg1"/>
                </a:solidFill>
                <a:latin typeface="Calibri" panose="020F0502020204030204" pitchFamily="34" charset="0"/>
                <a:sym typeface="Arial" panose="020B0604020202020204" pitchFamily="34" charset="0"/>
              </a:rPr>
              <a:t> </a:t>
            </a:r>
            <a:r>
              <a:rPr lang="en-US" altLang="zh-CN" sz="1200" dirty="0" err="1">
                <a:solidFill>
                  <a:schemeClr val="bg1"/>
                </a:solidFill>
                <a:latin typeface="Calibri" panose="020F0502020204030204" pitchFamily="34" charset="0"/>
                <a:sym typeface="Arial" panose="020B0604020202020204" pitchFamily="34" charset="0"/>
              </a:rPr>
              <a:t>por</a:t>
            </a:r>
            <a:r>
              <a:rPr lang="en-US" altLang="zh-CN" sz="1200" dirty="0">
                <a:solidFill>
                  <a:schemeClr val="bg1"/>
                </a:solidFill>
                <a:latin typeface="Calibri" panose="020F0502020204030204" pitchFamily="34" charset="0"/>
                <a:sym typeface="Arial" panose="020B0604020202020204" pitchFamily="34" charset="0"/>
              </a:rPr>
              <a:t> Huawei HDP (Huawei Desktop Protocol): </a:t>
            </a:r>
            <a:r>
              <a:rPr lang="en-US" altLang="zh-CN" sz="1200" dirty="0" err="1">
                <a:solidFill>
                  <a:schemeClr val="bg1"/>
                </a:solidFill>
                <a:latin typeface="Calibri" panose="020F0502020204030204" pitchFamily="34" charset="0"/>
                <a:sym typeface="Arial" panose="020B0604020202020204" pitchFamily="34" charset="0"/>
              </a:rPr>
              <a:t>Mejora</a:t>
            </a:r>
            <a:r>
              <a:rPr lang="en-US" altLang="zh-CN" sz="1200" dirty="0">
                <a:solidFill>
                  <a:schemeClr val="bg1"/>
                </a:solidFill>
                <a:latin typeface="Calibri" panose="020F0502020204030204" pitchFamily="34" charset="0"/>
                <a:sym typeface="Arial" panose="020B0604020202020204" pitchFamily="34" charset="0"/>
              </a:rPr>
              <a:t> la </a:t>
            </a:r>
            <a:r>
              <a:rPr lang="en-US" altLang="zh-CN" sz="1200" dirty="0" err="1">
                <a:solidFill>
                  <a:schemeClr val="bg1"/>
                </a:solidFill>
                <a:latin typeface="Calibri" panose="020F0502020204030204" pitchFamily="34" charset="0"/>
                <a:sym typeface="Arial" panose="020B0604020202020204" pitchFamily="34" charset="0"/>
              </a:rPr>
              <a:t>experiencia</a:t>
            </a:r>
            <a:r>
              <a:rPr lang="en-US" altLang="zh-CN" sz="1200" dirty="0">
                <a:solidFill>
                  <a:schemeClr val="bg1"/>
                </a:solidFill>
                <a:latin typeface="Calibri" panose="020F0502020204030204" pitchFamily="34" charset="0"/>
                <a:sym typeface="Arial" panose="020B0604020202020204" pitchFamily="34" charset="0"/>
              </a:rPr>
              <a:t> multimedia </a:t>
            </a:r>
          </a:p>
        </p:txBody>
      </p:sp>
      <p:sp>
        <p:nvSpPr>
          <p:cNvPr id="185" name="1730698027"/>
          <p:cNvSpPr txBox="1">
            <a:spLocks noChangeArrowheads="1"/>
          </p:cNvSpPr>
          <p:nvPr/>
        </p:nvSpPr>
        <p:spPr bwMode="gray">
          <a:xfrm>
            <a:off x="7964270" y="2075692"/>
            <a:ext cx="3826521" cy="1615686"/>
          </a:xfrm>
          <a:prstGeom prst="rect">
            <a:avLst/>
          </a:prstGeom>
          <a:noFill/>
          <a:ln w="19050">
            <a:solidFill>
              <a:srgbClr val="00B0F0"/>
            </a:solidFill>
            <a:headEnd/>
            <a:tailEnd/>
          </a:ln>
          <a:effectLst/>
          <a:scene3d>
            <a:camera prst="orthographicFront"/>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16841" tIns="8421" rIns="16841" bIns="8421" anchor="ctr" anchorCtr="0">
            <a:noAutofit/>
          </a:bodyPr>
          <a:lstStyle>
            <a:defPPr>
              <a:defRPr lang="zh-CN"/>
            </a:defPPr>
            <a:lvl1pPr algn="ctr" eaLnBrk="0" hangingPunct="0">
              <a:buClr>
                <a:srgbClr val="CC9900"/>
              </a:buClr>
              <a:buFont typeface="Wingdings" pitchFamily="2" charset="2"/>
              <a:buNone/>
              <a:defRPr sz="1800">
                <a:solidFill>
                  <a:schemeClr val="bg1"/>
                </a:solidFill>
                <a:latin typeface="+mj-lt"/>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fontAlgn="ctr">
              <a:lnSpc>
                <a:spcPct val="120000"/>
              </a:lnSpc>
            </a:pPr>
            <a:endParaRPr lang="en-US" altLang="zh-CN" sz="1599" dirty="0">
              <a:latin typeface="Calibri" panose="020F0502020204030204" pitchFamily="34" charset="0"/>
            </a:endParaRPr>
          </a:p>
        </p:txBody>
      </p:sp>
      <p:sp>
        <p:nvSpPr>
          <p:cNvPr id="186" name="780873504"/>
          <p:cNvSpPr/>
          <p:nvPr/>
        </p:nvSpPr>
        <p:spPr bwMode="auto">
          <a:xfrm>
            <a:off x="7948856" y="1375049"/>
            <a:ext cx="3870254" cy="936389"/>
          </a:xfrm>
          <a:prstGeom prst="rect">
            <a:avLst/>
          </a:prstGeom>
          <a:solidFill>
            <a:schemeClr val="accent5">
              <a:lumMod val="75000"/>
            </a:schemeClr>
          </a:solidFill>
          <a:ln>
            <a:noFill/>
          </a:ln>
          <a:effectLst/>
        </p:spPr>
        <p:txBody>
          <a:bodyPr vert="horz" wrap="square" lIns="121916" tIns="60958" rIns="121916" bIns="60958" numCol="1" rtlCol="0" anchor="ctr" anchorCtr="0" compatLnSpc="1">
            <a:prstTxWarp prst="textNoShape">
              <a:avLst/>
            </a:prstTxWarp>
          </a:bodyPr>
          <a:lstStyle/>
          <a:p>
            <a:pPr marL="176164" indent="-176164" algn="ctr" defTabSz="914141">
              <a:lnSpc>
                <a:spcPct val="120000"/>
              </a:lnSpc>
            </a:pPr>
            <a:r>
              <a:rPr lang="en-US" altLang="zh-CN" sz="1399" kern="0" dirty="0" err="1">
                <a:solidFill>
                  <a:schemeClr val="bg1"/>
                </a:solidFill>
                <a:ea typeface="宋体" charset="-122"/>
                <a:sym typeface="Arial" panose="020B0604020202020204" pitchFamily="34" charset="0"/>
              </a:rPr>
              <a:t>eClassroom</a:t>
            </a:r>
            <a:r>
              <a:rPr lang="en-US" altLang="zh-CN" sz="1399" kern="0" dirty="0">
                <a:solidFill>
                  <a:schemeClr val="bg1"/>
                </a:solidFill>
                <a:ea typeface="宋体" charset="-122"/>
                <a:sym typeface="Arial" panose="020B0604020202020204" pitchFamily="34" charset="0"/>
              </a:rPr>
              <a:t>: </a:t>
            </a:r>
            <a:br>
              <a:rPr lang="en-US" altLang="zh-CN" sz="1399" kern="0" dirty="0">
                <a:solidFill>
                  <a:schemeClr val="bg1"/>
                </a:solidFill>
                <a:ea typeface="宋体" charset="-122"/>
                <a:sym typeface="Arial" panose="020B0604020202020204" pitchFamily="34" charset="0"/>
              </a:rPr>
            </a:br>
            <a:r>
              <a:rPr lang="en-US" altLang="zh-CN" sz="1399" kern="0" dirty="0" err="1">
                <a:solidFill>
                  <a:schemeClr val="bg1"/>
                </a:solidFill>
                <a:ea typeface="宋体" charset="-122"/>
                <a:sym typeface="Arial" panose="020B0604020202020204" pitchFamily="34" charset="0"/>
              </a:rPr>
              <a:t>Compartición</a:t>
            </a:r>
            <a:r>
              <a:rPr lang="en-US" altLang="zh-CN" sz="1399" kern="0" dirty="0">
                <a:solidFill>
                  <a:schemeClr val="bg1"/>
                </a:solidFill>
                <a:ea typeface="宋体" charset="-122"/>
                <a:sym typeface="Arial" panose="020B0604020202020204" pitchFamily="34" charset="0"/>
              </a:rPr>
              <a:t> de </a:t>
            </a:r>
            <a:r>
              <a:rPr lang="en-US" altLang="zh-CN" sz="1399" kern="0" dirty="0" err="1">
                <a:solidFill>
                  <a:schemeClr val="bg1"/>
                </a:solidFill>
                <a:ea typeface="宋体" charset="-122"/>
                <a:sym typeface="Arial" panose="020B0604020202020204" pitchFamily="34" charset="0"/>
              </a:rPr>
              <a:t>Recursos</a:t>
            </a:r>
            <a:r>
              <a:rPr lang="en-US" altLang="zh-CN" sz="1399" kern="0" dirty="0">
                <a:solidFill>
                  <a:schemeClr val="bg1"/>
                </a:solidFill>
                <a:ea typeface="宋体" charset="-122"/>
                <a:sym typeface="Arial" panose="020B0604020202020204" pitchFamily="34" charset="0"/>
              </a:rPr>
              <a:t> de Alta </a:t>
            </a:r>
            <a:r>
              <a:rPr lang="en-US" altLang="zh-CN" sz="1399" kern="0" dirty="0" err="1">
                <a:solidFill>
                  <a:schemeClr val="bg1"/>
                </a:solidFill>
                <a:ea typeface="宋体" charset="-122"/>
                <a:sym typeface="Arial" panose="020B0604020202020204" pitchFamily="34" charset="0"/>
              </a:rPr>
              <a:t>Calidad</a:t>
            </a:r>
            <a:endParaRPr lang="en-US" altLang="zh-CN" sz="1399" kern="0" dirty="0">
              <a:solidFill>
                <a:schemeClr val="bg1"/>
              </a:solidFill>
              <a:ea typeface="宋体" charset="-122"/>
            </a:endParaRPr>
          </a:p>
        </p:txBody>
      </p:sp>
      <p:sp>
        <p:nvSpPr>
          <p:cNvPr id="187" name="645137287"/>
          <p:cNvSpPr txBox="1"/>
          <p:nvPr/>
        </p:nvSpPr>
        <p:spPr>
          <a:xfrm>
            <a:off x="8006146" y="2301886"/>
            <a:ext cx="3751843" cy="1200329"/>
          </a:xfrm>
          <a:prstGeom prst="rect">
            <a:avLst/>
          </a:prstGeom>
          <a:noFill/>
          <a:ln>
            <a:noFill/>
          </a:ln>
        </p:spPr>
        <p:txBody>
          <a:bodyPr wrap="square" rtlCol="0">
            <a:spAutoFit/>
          </a:bodyPr>
          <a:lstStyle/>
          <a:p>
            <a:pPr marL="179961" indent="-179961" fontAlgn="ctr">
              <a:lnSpc>
                <a:spcPct val="120000"/>
              </a:lnSpc>
              <a:buClr>
                <a:schemeClr val="bg1"/>
              </a:buClr>
              <a:buSzPct val="60000"/>
              <a:buFont typeface="Arial" panose="020B0604020202020204" pitchFamily="34" charset="0"/>
              <a:buChar char="•"/>
              <a:defRPr/>
            </a:pPr>
            <a:r>
              <a:rPr lang="es-ES" altLang="zh-CN" sz="1200" dirty="0">
                <a:solidFill>
                  <a:schemeClr val="bg1"/>
                </a:solidFill>
                <a:latin typeface="Calibri" panose="020F0502020204030204" pitchFamily="34" charset="0"/>
                <a:sym typeface="Calibri" pitchFamily="34" charset="0"/>
              </a:rPr>
              <a:t>Grabación de contenido de enseñanza en 1080p HD, con posibilidad de </a:t>
            </a:r>
            <a:r>
              <a:rPr lang="es-ES" altLang="zh-CN" sz="1200" dirty="0" err="1">
                <a:solidFill>
                  <a:schemeClr val="bg1"/>
                </a:solidFill>
                <a:latin typeface="Calibri" panose="020F0502020204030204" pitchFamily="34" charset="0"/>
                <a:sym typeface="Calibri" pitchFamily="34" charset="0"/>
              </a:rPr>
              <a:t>Broadcasting</a:t>
            </a:r>
            <a:r>
              <a:rPr lang="es-ES" altLang="zh-CN" sz="1200" dirty="0">
                <a:solidFill>
                  <a:schemeClr val="bg1"/>
                </a:solidFill>
                <a:latin typeface="Calibri" panose="020F0502020204030204" pitchFamily="34" charset="0"/>
                <a:sym typeface="Calibri" pitchFamily="34" charset="0"/>
              </a:rPr>
              <a:t> en directo y Video bajo demanda OFFLINE.</a:t>
            </a:r>
            <a:endParaRPr lang="en-US" altLang="zh-CN" sz="1200" dirty="0">
              <a:solidFill>
                <a:schemeClr val="bg1"/>
              </a:solidFill>
              <a:latin typeface="Calibri" panose="020F0502020204030204" pitchFamily="34" charset="0"/>
              <a:sym typeface="Calibri" pitchFamily="34" charset="0"/>
            </a:endParaRPr>
          </a:p>
          <a:p>
            <a:pPr marL="179961" indent="-179961" fontAlgn="ctr">
              <a:lnSpc>
                <a:spcPct val="120000"/>
              </a:lnSpc>
              <a:buClr>
                <a:schemeClr val="bg1"/>
              </a:buClr>
              <a:buSzPct val="60000"/>
              <a:buFont typeface="Arial" panose="020B0604020202020204" pitchFamily="34" charset="0"/>
              <a:buChar char="•"/>
              <a:defRPr/>
            </a:pPr>
            <a:r>
              <a:rPr lang="en-US" altLang="zh-CN" sz="1200" dirty="0" err="1">
                <a:solidFill>
                  <a:schemeClr val="bg1"/>
                </a:solidFill>
                <a:latin typeface="Calibri" panose="020F0502020204030204" pitchFamily="34" charset="0"/>
                <a:sym typeface="Calibri" pitchFamily="34" charset="0"/>
              </a:rPr>
              <a:t>Enseñanza</a:t>
            </a:r>
            <a:r>
              <a:rPr lang="en-US" altLang="zh-CN" sz="1200" dirty="0">
                <a:solidFill>
                  <a:schemeClr val="bg1"/>
                </a:solidFill>
                <a:latin typeface="Calibri" panose="020F0502020204030204" pitchFamily="34" charset="0"/>
                <a:sym typeface="Calibri" pitchFamily="34" charset="0"/>
              </a:rPr>
              <a:t> </a:t>
            </a:r>
            <a:r>
              <a:rPr lang="en-US" altLang="zh-CN" sz="1200" dirty="0" err="1">
                <a:solidFill>
                  <a:schemeClr val="bg1"/>
                </a:solidFill>
                <a:latin typeface="Calibri" panose="020F0502020204030204" pitchFamily="34" charset="0"/>
                <a:sym typeface="Calibri" pitchFamily="34" charset="0"/>
              </a:rPr>
              <a:t>remota</a:t>
            </a:r>
            <a:r>
              <a:rPr lang="en-US" altLang="zh-CN" sz="1200" dirty="0">
                <a:solidFill>
                  <a:schemeClr val="bg1"/>
                </a:solidFill>
                <a:latin typeface="Calibri" panose="020F0502020204030204" pitchFamily="34" charset="0"/>
                <a:sym typeface="Calibri" pitchFamily="34" charset="0"/>
              </a:rPr>
              <a:t> </a:t>
            </a:r>
            <a:r>
              <a:rPr lang="en-US" altLang="zh-CN" sz="1200" dirty="0" err="1">
                <a:solidFill>
                  <a:schemeClr val="bg1"/>
                </a:solidFill>
                <a:latin typeface="Calibri" panose="020F0502020204030204" pitchFamily="34" charset="0"/>
                <a:sym typeface="Calibri" pitchFamily="34" charset="0"/>
              </a:rPr>
              <a:t>en</a:t>
            </a:r>
            <a:r>
              <a:rPr lang="en-US" altLang="zh-CN" sz="1200" dirty="0">
                <a:solidFill>
                  <a:schemeClr val="bg1"/>
                </a:solidFill>
                <a:latin typeface="Calibri" panose="020F0502020204030204" pitchFamily="34" charset="0"/>
                <a:sym typeface="Calibri" pitchFamily="34" charset="0"/>
              </a:rPr>
              <a:t> HD y </a:t>
            </a:r>
            <a:r>
              <a:rPr lang="en-US" altLang="zh-CN" sz="1200" dirty="0" err="1">
                <a:solidFill>
                  <a:schemeClr val="bg1"/>
                </a:solidFill>
                <a:latin typeface="Calibri" panose="020F0502020204030204" pitchFamily="34" charset="0"/>
                <a:sym typeface="Calibri" pitchFamily="34" charset="0"/>
              </a:rPr>
              <a:t>experencia</a:t>
            </a:r>
            <a:r>
              <a:rPr lang="en-US" altLang="zh-CN" sz="1200" dirty="0">
                <a:solidFill>
                  <a:schemeClr val="bg1"/>
                </a:solidFill>
                <a:latin typeface="Calibri" panose="020F0502020204030204" pitchFamily="34" charset="0"/>
                <a:sym typeface="Calibri" pitchFamily="34" charset="0"/>
              </a:rPr>
              <a:t> de </a:t>
            </a:r>
            <a:r>
              <a:rPr lang="en-US" altLang="zh-CN" sz="1200" dirty="0" err="1">
                <a:solidFill>
                  <a:schemeClr val="bg1"/>
                </a:solidFill>
                <a:latin typeface="Calibri" panose="020F0502020204030204" pitchFamily="34" charset="0"/>
                <a:sym typeface="Calibri" pitchFamily="34" charset="0"/>
              </a:rPr>
              <a:t>aprendizaje</a:t>
            </a:r>
            <a:r>
              <a:rPr lang="en-US" altLang="zh-CN" sz="1200" dirty="0">
                <a:solidFill>
                  <a:schemeClr val="bg1"/>
                </a:solidFill>
                <a:latin typeface="Calibri" panose="020F0502020204030204" pitchFamily="34" charset="0"/>
                <a:sym typeface="Calibri" pitchFamily="34" charset="0"/>
              </a:rPr>
              <a:t> con </a:t>
            </a:r>
            <a:r>
              <a:rPr lang="en-US" altLang="zh-CN" sz="1200" dirty="0" err="1">
                <a:solidFill>
                  <a:schemeClr val="bg1"/>
                </a:solidFill>
                <a:latin typeface="Calibri" panose="020F0502020204030204" pitchFamily="34" charset="0"/>
                <a:sym typeface="Calibri" pitchFamily="34" charset="0"/>
              </a:rPr>
              <a:t>técnicas</a:t>
            </a:r>
            <a:r>
              <a:rPr lang="en-US" altLang="zh-CN" sz="1200" dirty="0">
                <a:solidFill>
                  <a:schemeClr val="bg1"/>
                </a:solidFill>
                <a:latin typeface="Calibri" panose="020F0502020204030204" pitchFamily="34" charset="0"/>
                <a:sym typeface="Calibri" pitchFamily="34" charset="0"/>
              </a:rPr>
              <a:t> de </a:t>
            </a:r>
            <a:r>
              <a:rPr lang="en-US" altLang="zh-CN" sz="1200" dirty="0" err="1">
                <a:solidFill>
                  <a:schemeClr val="bg1"/>
                </a:solidFill>
                <a:latin typeface="Calibri" panose="020F0502020204030204" pitchFamily="34" charset="0"/>
                <a:sym typeface="Calibri" pitchFamily="34" charset="0"/>
              </a:rPr>
              <a:t>sensación</a:t>
            </a:r>
            <a:r>
              <a:rPr lang="en-US" altLang="zh-CN" sz="1200" dirty="0">
                <a:solidFill>
                  <a:schemeClr val="bg1"/>
                </a:solidFill>
                <a:latin typeface="Calibri" panose="020F0502020204030204" pitchFamily="34" charset="0"/>
                <a:sym typeface="Calibri" pitchFamily="34" charset="0"/>
              </a:rPr>
              <a:t> </a:t>
            </a:r>
            <a:r>
              <a:rPr lang="en-US" altLang="zh-CN" sz="1200" dirty="0" err="1">
                <a:solidFill>
                  <a:schemeClr val="bg1"/>
                </a:solidFill>
                <a:latin typeface="Calibri" panose="020F0502020204030204" pitchFamily="34" charset="0"/>
                <a:sym typeface="Calibri" pitchFamily="34" charset="0"/>
              </a:rPr>
              <a:t>inmersiva</a:t>
            </a:r>
            <a:endParaRPr lang="en-US" altLang="zh-CN" sz="1200" dirty="0">
              <a:solidFill>
                <a:schemeClr val="bg1"/>
              </a:solidFill>
              <a:latin typeface="Calibri" panose="020F0502020204030204" pitchFamily="34" charset="0"/>
              <a:sym typeface="Arial" panose="020B0604020202020204" pitchFamily="34" charset="0"/>
            </a:endParaRPr>
          </a:p>
        </p:txBody>
      </p:sp>
      <p:sp>
        <p:nvSpPr>
          <p:cNvPr id="154" name="1603954934"/>
          <p:cNvSpPr>
            <a:spLocks noChangeAspect="1" noEditPoints="1"/>
          </p:cNvSpPr>
          <p:nvPr/>
        </p:nvSpPr>
        <p:spPr bwMode="auto">
          <a:xfrm>
            <a:off x="2875687" y="1817511"/>
            <a:ext cx="3123317" cy="1362799"/>
          </a:xfrm>
          <a:custGeom>
            <a:avLst/>
            <a:gdLst/>
            <a:ahLst/>
            <a:cxnLst>
              <a:cxn ang="0">
                <a:pos x="8324" y="38"/>
              </a:cxn>
              <a:cxn ang="0">
                <a:pos x="9087" y="203"/>
              </a:cxn>
              <a:cxn ang="0">
                <a:pos x="9799" y="487"/>
              </a:cxn>
              <a:cxn ang="0">
                <a:pos x="10451" y="880"/>
              </a:cxn>
              <a:cxn ang="0">
                <a:pos x="11031" y="1370"/>
              </a:cxn>
              <a:cxn ang="0">
                <a:pos x="11529" y="1947"/>
              </a:cxn>
              <a:cxn ang="0">
                <a:pos x="11934" y="2598"/>
              </a:cxn>
              <a:cxn ang="0">
                <a:pos x="12234" y="3314"/>
              </a:cxn>
              <a:cxn ang="0">
                <a:pos x="12378" y="3497"/>
              </a:cxn>
              <a:cxn ang="0">
                <a:pos x="12496" y="3494"/>
              </a:cxn>
              <a:cxn ang="0">
                <a:pos x="13119" y="3540"/>
              </a:cxn>
              <a:cxn ang="0">
                <a:pos x="13870" y="3738"/>
              </a:cxn>
              <a:cxn ang="0">
                <a:pos x="14554" y="4074"/>
              </a:cxn>
              <a:cxn ang="0">
                <a:pos x="15156" y="4535"/>
              </a:cxn>
              <a:cxn ang="0">
                <a:pos x="15663" y="5102"/>
              </a:cxn>
              <a:cxn ang="0">
                <a:pos x="16056" y="5761"/>
              </a:cxn>
              <a:cxn ang="0">
                <a:pos x="16320" y="6494"/>
              </a:cxn>
              <a:cxn ang="0">
                <a:pos x="16438" y="7286"/>
              </a:cxn>
              <a:cxn ang="0">
                <a:pos x="16401" y="8075"/>
              </a:cxn>
              <a:cxn ang="0">
                <a:pos x="16222" y="8813"/>
              </a:cxn>
              <a:cxn ang="0">
                <a:pos x="15915" y="9491"/>
              </a:cxn>
              <a:cxn ang="0">
                <a:pos x="15494" y="10093"/>
              </a:cxn>
              <a:cxn ang="0">
                <a:pos x="14974" y="10606"/>
              </a:cxn>
              <a:cxn ang="0">
                <a:pos x="14369" y="11014"/>
              </a:cxn>
              <a:cxn ang="0">
                <a:pos x="13693" y="11305"/>
              </a:cxn>
              <a:cxn ang="0">
                <a:pos x="12960" y="11462"/>
              </a:cxn>
              <a:cxn ang="0">
                <a:pos x="3341" y="11487"/>
              </a:cxn>
              <a:cxn ang="0">
                <a:pos x="2760" y="11436"/>
              </a:cxn>
              <a:cxn ang="0">
                <a:pos x="2156" y="11265"/>
              </a:cxn>
              <a:cxn ang="0">
                <a:pos x="1603" y="10987"/>
              </a:cxn>
              <a:cxn ang="0">
                <a:pos x="1113" y="10615"/>
              </a:cxn>
              <a:cxn ang="0">
                <a:pos x="697" y="10159"/>
              </a:cxn>
              <a:cxn ang="0">
                <a:pos x="368" y="9631"/>
              </a:cxn>
              <a:cxn ang="0">
                <a:pos x="137" y="9044"/>
              </a:cxn>
              <a:cxn ang="0">
                <a:pos x="15" y="8410"/>
              </a:cxn>
              <a:cxn ang="0">
                <a:pos x="15" y="7754"/>
              </a:cxn>
              <a:cxn ang="0">
                <a:pos x="132" y="7132"/>
              </a:cxn>
              <a:cxn ang="0">
                <a:pos x="354" y="6556"/>
              </a:cxn>
              <a:cxn ang="0">
                <a:pos x="671" y="6034"/>
              </a:cxn>
              <a:cxn ang="0">
                <a:pos x="1072" y="5582"/>
              </a:cxn>
              <a:cxn ang="0">
                <a:pos x="1546" y="5208"/>
              </a:cxn>
              <a:cxn ang="0">
                <a:pos x="2082" y="4924"/>
              </a:cxn>
              <a:cxn ang="0">
                <a:pos x="2668" y="4741"/>
              </a:cxn>
              <a:cxn ang="0">
                <a:pos x="3015" y="4212"/>
              </a:cxn>
              <a:cxn ang="0">
                <a:pos x="3225" y="3295"/>
              </a:cxn>
              <a:cxn ang="0">
                <a:pos x="3597" y="2453"/>
              </a:cxn>
              <a:cxn ang="0">
                <a:pos x="4113" y="1704"/>
              </a:cxn>
              <a:cxn ang="0">
                <a:pos x="4754" y="1069"/>
              </a:cxn>
              <a:cxn ang="0">
                <a:pos x="5503" y="565"/>
              </a:cxn>
              <a:cxn ang="0">
                <a:pos x="6342" y="211"/>
              </a:cxn>
              <a:cxn ang="0">
                <a:pos x="7250" y="25"/>
              </a:cxn>
              <a:cxn ang="0">
                <a:pos x="9148" y="9515"/>
              </a:cxn>
              <a:cxn ang="0">
                <a:pos x="9106" y="9484"/>
              </a:cxn>
              <a:cxn ang="0">
                <a:pos x="9023" y="9509"/>
              </a:cxn>
              <a:cxn ang="0">
                <a:pos x="9156" y="9528"/>
              </a:cxn>
              <a:cxn ang="0">
                <a:pos x="6408" y="9503"/>
              </a:cxn>
              <a:cxn ang="0">
                <a:pos x="6368" y="9519"/>
              </a:cxn>
            </a:cxnLst>
            <a:rect l="0" t="0" r="r" b="b"/>
            <a:pathLst>
              <a:path w="16443" h="11487">
                <a:moveTo>
                  <a:pt x="7726" y="0"/>
                </a:moveTo>
                <a:lnTo>
                  <a:pt x="7928" y="4"/>
                </a:lnTo>
                <a:lnTo>
                  <a:pt x="8127" y="17"/>
                </a:lnTo>
                <a:lnTo>
                  <a:pt x="8324" y="38"/>
                </a:lnTo>
                <a:lnTo>
                  <a:pt x="8519" y="68"/>
                </a:lnTo>
                <a:lnTo>
                  <a:pt x="8711" y="105"/>
                </a:lnTo>
                <a:lnTo>
                  <a:pt x="8900" y="150"/>
                </a:lnTo>
                <a:lnTo>
                  <a:pt x="9087" y="203"/>
                </a:lnTo>
                <a:lnTo>
                  <a:pt x="9270" y="263"/>
                </a:lnTo>
                <a:lnTo>
                  <a:pt x="9450" y="331"/>
                </a:lnTo>
                <a:lnTo>
                  <a:pt x="9626" y="406"/>
                </a:lnTo>
                <a:lnTo>
                  <a:pt x="9799" y="487"/>
                </a:lnTo>
                <a:lnTo>
                  <a:pt x="9969" y="576"/>
                </a:lnTo>
                <a:lnTo>
                  <a:pt x="10133" y="670"/>
                </a:lnTo>
                <a:lnTo>
                  <a:pt x="10294" y="772"/>
                </a:lnTo>
                <a:lnTo>
                  <a:pt x="10451" y="880"/>
                </a:lnTo>
                <a:lnTo>
                  <a:pt x="10604" y="994"/>
                </a:lnTo>
                <a:lnTo>
                  <a:pt x="10751" y="1113"/>
                </a:lnTo>
                <a:lnTo>
                  <a:pt x="10893" y="1239"/>
                </a:lnTo>
                <a:lnTo>
                  <a:pt x="11031" y="1370"/>
                </a:lnTo>
                <a:lnTo>
                  <a:pt x="11164" y="1507"/>
                </a:lnTo>
                <a:lnTo>
                  <a:pt x="11291" y="1648"/>
                </a:lnTo>
                <a:lnTo>
                  <a:pt x="11412" y="1795"/>
                </a:lnTo>
                <a:lnTo>
                  <a:pt x="11529" y="1947"/>
                </a:lnTo>
                <a:lnTo>
                  <a:pt x="11640" y="2102"/>
                </a:lnTo>
                <a:lnTo>
                  <a:pt x="11743" y="2264"/>
                </a:lnTo>
                <a:lnTo>
                  <a:pt x="11842" y="2429"/>
                </a:lnTo>
                <a:lnTo>
                  <a:pt x="11934" y="2598"/>
                </a:lnTo>
                <a:lnTo>
                  <a:pt x="12019" y="2772"/>
                </a:lnTo>
                <a:lnTo>
                  <a:pt x="12097" y="2948"/>
                </a:lnTo>
                <a:lnTo>
                  <a:pt x="12169" y="3129"/>
                </a:lnTo>
                <a:lnTo>
                  <a:pt x="12234" y="3314"/>
                </a:lnTo>
                <a:lnTo>
                  <a:pt x="12291" y="3501"/>
                </a:lnTo>
                <a:lnTo>
                  <a:pt x="12320" y="3499"/>
                </a:lnTo>
                <a:lnTo>
                  <a:pt x="12349" y="3498"/>
                </a:lnTo>
                <a:lnTo>
                  <a:pt x="12378" y="3497"/>
                </a:lnTo>
                <a:lnTo>
                  <a:pt x="12407" y="3496"/>
                </a:lnTo>
                <a:lnTo>
                  <a:pt x="12437" y="3495"/>
                </a:lnTo>
                <a:lnTo>
                  <a:pt x="12466" y="3494"/>
                </a:lnTo>
                <a:lnTo>
                  <a:pt x="12496" y="3494"/>
                </a:lnTo>
                <a:lnTo>
                  <a:pt x="12524" y="3494"/>
                </a:lnTo>
                <a:lnTo>
                  <a:pt x="12726" y="3499"/>
                </a:lnTo>
                <a:lnTo>
                  <a:pt x="12924" y="3515"/>
                </a:lnTo>
                <a:lnTo>
                  <a:pt x="13119" y="3540"/>
                </a:lnTo>
                <a:lnTo>
                  <a:pt x="13313" y="3575"/>
                </a:lnTo>
                <a:lnTo>
                  <a:pt x="13502" y="3621"/>
                </a:lnTo>
                <a:lnTo>
                  <a:pt x="13688" y="3674"/>
                </a:lnTo>
                <a:lnTo>
                  <a:pt x="13870" y="3738"/>
                </a:lnTo>
                <a:lnTo>
                  <a:pt x="14047" y="3809"/>
                </a:lnTo>
                <a:lnTo>
                  <a:pt x="14221" y="3889"/>
                </a:lnTo>
                <a:lnTo>
                  <a:pt x="14390" y="3977"/>
                </a:lnTo>
                <a:lnTo>
                  <a:pt x="14554" y="4074"/>
                </a:lnTo>
                <a:lnTo>
                  <a:pt x="14712" y="4179"/>
                </a:lnTo>
                <a:lnTo>
                  <a:pt x="14867" y="4290"/>
                </a:lnTo>
                <a:lnTo>
                  <a:pt x="15015" y="4409"/>
                </a:lnTo>
                <a:lnTo>
                  <a:pt x="15156" y="4535"/>
                </a:lnTo>
                <a:lnTo>
                  <a:pt x="15293" y="4667"/>
                </a:lnTo>
                <a:lnTo>
                  <a:pt x="15423" y="4806"/>
                </a:lnTo>
                <a:lnTo>
                  <a:pt x="15546" y="4951"/>
                </a:lnTo>
                <a:lnTo>
                  <a:pt x="15663" y="5102"/>
                </a:lnTo>
                <a:lnTo>
                  <a:pt x="15772" y="5259"/>
                </a:lnTo>
                <a:lnTo>
                  <a:pt x="15875" y="5421"/>
                </a:lnTo>
                <a:lnTo>
                  <a:pt x="15969" y="5588"/>
                </a:lnTo>
                <a:lnTo>
                  <a:pt x="16056" y="5761"/>
                </a:lnTo>
                <a:lnTo>
                  <a:pt x="16134" y="5938"/>
                </a:lnTo>
                <a:lnTo>
                  <a:pt x="16205" y="6119"/>
                </a:lnTo>
                <a:lnTo>
                  <a:pt x="16266" y="6305"/>
                </a:lnTo>
                <a:lnTo>
                  <a:pt x="16320" y="6494"/>
                </a:lnTo>
                <a:lnTo>
                  <a:pt x="16363" y="6687"/>
                </a:lnTo>
                <a:lnTo>
                  <a:pt x="16398" y="6884"/>
                </a:lnTo>
                <a:lnTo>
                  <a:pt x="16422" y="7083"/>
                </a:lnTo>
                <a:lnTo>
                  <a:pt x="16438" y="7286"/>
                </a:lnTo>
                <a:lnTo>
                  <a:pt x="16443" y="7490"/>
                </a:lnTo>
                <a:lnTo>
                  <a:pt x="16438" y="7688"/>
                </a:lnTo>
                <a:lnTo>
                  <a:pt x="16425" y="7883"/>
                </a:lnTo>
                <a:lnTo>
                  <a:pt x="16401" y="8075"/>
                </a:lnTo>
                <a:lnTo>
                  <a:pt x="16369" y="8264"/>
                </a:lnTo>
                <a:lnTo>
                  <a:pt x="16328" y="8451"/>
                </a:lnTo>
                <a:lnTo>
                  <a:pt x="16280" y="8634"/>
                </a:lnTo>
                <a:lnTo>
                  <a:pt x="16222" y="8813"/>
                </a:lnTo>
                <a:lnTo>
                  <a:pt x="16156" y="8989"/>
                </a:lnTo>
                <a:lnTo>
                  <a:pt x="16083" y="9161"/>
                </a:lnTo>
                <a:lnTo>
                  <a:pt x="16003" y="9328"/>
                </a:lnTo>
                <a:lnTo>
                  <a:pt x="15915" y="9491"/>
                </a:lnTo>
                <a:lnTo>
                  <a:pt x="15820" y="9649"/>
                </a:lnTo>
                <a:lnTo>
                  <a:pt x="15717" y="9802"/>
                </a:lnTo>
                <a:lnTo>
                  <a:pt x="15610" y="9950"/>
                </a:lnTo>
                <a:lnTo>
                  <a:pt x="15494" y="10093"/>
                </a:lnTo>
                <a:lnTo>
                  <a:pt x="15373" y="10230"/>
                </a:lnTo>
                <a:lnTo>
                  <a:pt x="15246" y="10361"/>
                </a:lnTo>
                <a:lnTo>
                  <a:pt x="15113" y="10487"/>
                </a:lnTo>
                <a:lnTo>
                  <a:pt x="14974" y="10606"/>
                </a:lnTo>
                <a:lnTo>
                  <a:pt x="14831" y="10718"/>
                </a:lnTo>
                <a:lnTo>
                  <a:pt x="14682" y="10824"/>
                </a:lnTo>
                <a:lnTo>
                  <a:pt x="14527" y="10923"/>
                </a:lnTo>
                <a:lnTo>
                  <a:pt x="14369" y="11014"/>
                </a:lnTo>
                <a:lnTo>
                  <a:pt x="14206" y="11098"/>
                </a:lnTo>
                <a:lnTo>
                  <a:pt x="14039" y="11176"/>
                </a:lnTo>
                <a:lnTo>
                  <a:pt x="13868" y="11244"/>
                </a:lnTo>
                <a:lnTo>
                  <a:pt x="13693" y="11305"/>
                </a:lnTo>
                <a:lnTo>
                  <a:pt x="13514" y="11357"/>
                </a:lnTo>
                <a:lnTo>
                  <a:pt x="13332" y="11401"/>
                </a:lnTo>
                <a:lnTo>
                  <a:pt x="13147" y="11436"/>
                </a:lnTo>
                <a:lnTo>
                  <a:pt x="12960" y="11462"/>
                </a:lnTo>
                <a:lnTo>
                  <a:pt x="12770" y="11479"/>
                </a:lnTo>
                <a:lnTo>
                  <a:pt x="12770" y="11487"/>
                </a:lnTo>
                <a:lnTo>
                  <a:pt x="12524" y="11487"/>
                </a:lnTo>
                <a:lnTo>
                  <a:pt x="3341" y="11487"/>
                </a:lnTo>
                <a:lnTo>
                  <a:pt x="3079" y="11487"/>
                </a:lnTo>
                <a:lnTo>
                  <a:pt x="3079" y="11477"/>
                </a:lnTo>
                <a:lnTo>
                  <a:pt x="2919" y="11459"/>
                </a:lnTo>
                <a:lnTo>
                  <a:pt x="2760" y="11436"/>
                </a:lnTo>
                <a:lnTo>
                  <a:pt x="2605" y="11404"/>
                </a:lnTo>
                <a:lnTo>
                  <a:pt x="2453" y="11365"/>
                </a:lnTo>
                <a:lnTo>
                  <a:pt x="2303" y="11318"/>
                </a:lnTo>
                <a:lnTo>
                  <a:pt x="2156" y="11265"/>
                </a:lnTo>
                <a:lnTo>
                  <a:pt x="2013" y="11205"/>
                </a:lnTo>
                <a:lnTo>
                  <a:pt x="1872" y="11139"/>
                </a:lnTo>
                <a:lnTo>
                  <a:pt x="1736" y="11067"/>
                </a:lnTo>
                <a:lnTo>
                  <a:pt x="1603" y="10987"/>
                </a:lnTo>
                <a:lnTo>
                  <a:pt x="1474" y="10903"/>
                </a:lnTo>
                <a:lnTo>
                  <a:pt x="1349" y="10813"/>
                </a:lnTo>
                <a:lnTo>
                  <a:pt x="1229" y="10716"/>
                </a:lnTo>
                <a:lnTo>
                  <a:pt x="1113" y="10615"/>
                </a:lnTo>
                <a:lnTo>
                  <a:pt x="1001" y="10508"/>
                </a:lnTo>
                <a:lnTo>
                  <a:pt x="895" y="10396"/>
                </a:lnTo>
                <a:lnTo>
                  <a:pt x="793" y="10280"/>
                </a:lnTo>
                <a:lnTo>
                  <a:pt x="697" y="10159"/>
                </a:lnTo>
                <a:lnTo>
                  <a:pt x="606" y="10033"/>
                </a:lnTo>
                <a:lnTo>
                  <a:pt x="521" y="9903"/>
                </a:lnTo>
                <a:lnTo>
                  <a:pt x="441" y="9769"/>
                </a:lnTo>
                <a:lnTo>
                  <a:pt x="368" y="9631"/>
                </a:lnTo>
                <a:lnTo>
                  <a:pt x="300" y="9490"/>
                </a:lnTo>
                <a:lnTo>
                  <a:pt x="239" y="9345"/>
                </a:lnTo>
                <a:lnTo>
                  <a:pt x="185" y="9197"/>
                </a:lnTo>
                <a:lnTo>
                  <a:pt x="137" y="9044"/>
                </a:lnTo>
                <a:lnTo>
                  <a:pt x="96" y="8890"/>
                </a:lnTo>
                <a:lnTo>
                  <a:pt x="62" y="8733"/>
                </a:lnTo>
                <a:lnTo>
                  <a:pt x="35" y="8573"/>
                </a:lnTo>
                <a:lnTo>
                  <a:pt x="15" y="8410"/>
                </a:lnTo>
                <a:lnTo>
                  <a:pt x="4" y="8246"/>
                </a:lnTo>
                <a:lnTo>
                  <a:pt x="0" y="8079"/>
                </a:lnTo>
                <a:lnTo>
                  <a:pt x="4" y="7916"/>
                </a:lnTo>
                <a:lnTo>
                  <a:pt x="15" y="7754"/>
                </a:lnTo>
                <a:lnTo>
                  <a:pt x="34" y="7596"/>
                </a:lnTo>
                <a:lnTo>
                  <a:pt x="60" y="7439"/>
                </a:lnTo>
                <a:lnTo>
                  <a:pt x="92" y="7284"/>
                </a:lnTo>
                <a:lnTo>
                  <a:pt x="132" y="7132"/>
                </a:lnTo>
                <a:lnTo>
                  <a:pt x="178" y="6983"/>
                </a:lnTo>
                <a:lnTo>
                  <a:pt x="230" y="6837"/>
                </a:lnTo>
                <a:lnTo>
                  <a:pt x="289" y="6694"/>
                </a:lnTo>
                <a:lnTo>
                  <a:pt x="354" y="6556"/>
                </a:lnTo>
                <a:lnTo>
                  <a:pt x="424" y="6420"/>
                </a:lnTo>
                <a:lnTo>
                  <a:pt x="502" y="6287"/>
                </a:lnTo>
                <a:lnTo>
                  <a:pt x="584" y="6159"/>
                </a:lnTo>
                <a:lnTo>
                  <a:pt x="671" y="6034"/>
                </a:lnTo>
                <a:lnTo>
                  <a:pt x="765" y="5914"/>
                </a:lnTo>
                <a:lnTo>
                  <a:pt x="862" y="5799"/>
                </a:lnTo>
                <a:lnTo>
                  <a:pt x="965" y="5688"/>
                </a:lnTo>
                <a:lnTo>
                  <a:pt x="1072" y="5582"/>
                </a:lnTo>
                <a:lnTo>
                  <a:pt x="1184" y="5480"/>
                </a:lnTo>
                <a:lnTo>
                  <a:pt x="1301" y="5384"/>
                </a:lnTo>
                <a:lnTo>
                  <a:pt x="1421" y="5293"/>
                </a:lnTo>
                <a:lnTo>
                  <a:pt x="1546" y="5208"/>
                </a:lnTo>
                <a:lnTo>
                  <a:pt x="1675" y="5128"/>
                </a:lnTo>
                <a:lnTo>
                  <a:pt x="1807" y="5054"/>
                </a:lnTo>
                <a:lnTo>
                  <a:pt x="1942" y="4986"/>
                </a:lnTo>
                <a:lnTo>
                  <a:pt x="2082" y="4924"/>
                </a:lnTo>
                <a:lnTo>
                  <a:pt x="2224" y="4869"/>
                </a:lnTo>
                <a:lnTo>
                  <a:pt x="2369" y="4819"/>
                </a:lnTo>
                <a:lnTo>
                  <a:pt x="2517" y="4777"/>
                </a:lnTo>
                <a:lnTo>
                  <a:pt x="2668" y="4741"/>
                </a:lnTo>
                <a:lnTo>
                  <a:pt x="2821" y="4713"/>
                </a:lnTo>
                <a:lnTo>
                  <a:pt x="2976" y="4692"/>
                </a:lnTo>
                <a:lnTo>
                  <a:pt x="2990" y="4450"/>
                </a:lnTo>
                <a:lnTo>
                  <a:pt x="3015" y="4212"/>
                </a:lnTo>
                <a:lnTo>
                  <a:pt x="3051" y="3976"/>
                </a:lnTo>
                <a:lnTo>
                  <a:pt x="3098" y="3744"/>
                </a:lnTo>
                <a:lnTo>
                  <a:pt x="3156" y="3517"/>
                </a:lnTo>
                <a:lnTo>
                  <a:pt x="3225" y="3295"/>
                </a:lnTo>
                <a:lnTo>
                  <a:pt x="3303" y="3076"/>
                </a:lnTo>
                <a:lnTo>
                  <a:pt x="3391" y="2863"/>
                </a:lnTo>
                <a:lnTo>
                  <a:pt x="3489" y="2655"/>
                </a:lnTo>
                <a:lnTo>
                  <a:pt x="3597" y="2453"/>
                </a:lnTo>
                <a:lnTo>
                  <a:pt x="3713" y="2256"/>
                </a:lnTo>
                <a:lnTo>
                  <a:pt x="3837" y="2065"/>
                </a:lnTo>
                <a:lnTo>
                  <a:pt x="3971" y="1882"/>
                </a:lnTo>
                <a:lnTo>
                  <a:pt x="4113" y="1704"/>
                </a:lnTo>
                <a:lnTo>
                  <a:pt x="4262" y="1535"/>
                </a:lnTo>
                <a:lnTo>
                  <a:pt x="4419" y="1371"/>
                </a:lnTo>
                <a:lnTo>
                  <a:pt x="4583" y="1216"/>
                </a:lnTo>
                <a:lnTo>
                  <a:pt x="4754" y="1069"/>
                </a:lnTo>
                <a:lnTo>
                  <a:pt x="4932" y="930"/>
                </a:lnTo>
                <a:lnTo>
                  <a:pt x="5117" y="800"/>
                </a:lnTo>
                <a:lnTo>
                  <a:pt x="5307" y="677"/>
                </a:lnTo>
                <a:lnTo>
                  <a:pt x="5503" y="565"/>
                </a:lnTo>
                <a:lnTo>
                  <a:pt x="5705" y="462"/>
                </a:lnTo>
                <a:lnTo>
                  <a:pt x="5912" y="368"/>
                </a:lnTo>
                <a:lnTo>
                  <a:pt x="6124" y="284"/>
                </a:lnTo>
                <a:lnTo>
                  <a:pt x="6342" y="211"/>
                </a:lnTo>
                <a:lnTo>
                  <a:pt x="6563" y="147"/>
                </a:lnTo>
                <a:lnTo>
                  <a:pt x="6788" y="95"/>
                </a:lnTo>
                <a:lnTo>
                  <a:pt x="7018" y="54"/>
                </a:lnTo>
                <a:lnTo>
                  <a:pt x="7250" y="25"/>
                </a:lnTo>
                <a:lnTo>
                  <a:pt x="7487" y="6"/>
                </a:lnTo>
                <a:lnTo>
                  <a:pt x="7726" y="0"/>
                </a:lnTo>
                <a:close/>
                <a:moveTo>
                  <a:pt x="9156" y="9528"/>
                </a:moveTo>
                <a:lnTo>
                  <a:pt x="9148" y="9515"/>
                </a:lnTo>
                <a:lnTo>
                  <a:pt x="9141" y="9503"/>
                </a:lnTo>
                <a:lnTo>
                  <a:pt x="9134" y="9491"/>
                </a:lnTo>
                <a:lnTo>
                  <a:pt x="9127" y="9478"/>
                </a:lnTo>
                <a:lnTo>
                  <a:pt x="9106" y="9484"/>
                </a:lnTo>
                <a:lnTo>
                  <a:pt x="9086" y="9491"/>
                </a:lnTo>
                <a:lnTo>
                  <a:pt x="9065" y="9498"/>
                </a:lnTo>
                <a:lnTo>
                  <a:pt x="9045" y="9503"/>
                </a:lnTo>
                <a:lnTo>
                  <a:pt x="9023" y="9509"/>
                </a:lnTo>
                <a:lnTo>
                  <a:pt x="9003" y="9515"/>
                </a:lnTo>
                <a:lnTo>
                  <a:pt x="8982" y="9521"/>
                </a:lnTo>
                <a:lnTo>
                  <a:pt x="8961" y="9528"/>
                </a:lnTo>
                <a:lnTo>
                  <a:pt x="9156" y="9528"/>
                </a:lnTo>
                <a:close/>
                <a:moveTo>
                  <a:pt x="6492" y="9528"/>
                </a:moveTo>
                <a:lnTo>
                  <a:pt x="6464" y="9519"/>
                </a:lnTo>
                <a:lnTo>
                  <a:pt x="6435" y="9511"/>
                </a:lnTo>
                <a:lnTo>
                  <a:pt x="6408" y="9503"/>
                </a:lnTo>
                <a:lnTo>
                  <a:pt x="6379" y="9495"/>
                </a:lnTo>
                <a:lnTo>
                  <a:pt x="6376" y="9503"/>
                </a:lnTo>
                <a:lnTo>
                  <a:pt x="6372" y="9511"/>
                </a:lnTo>
                <a:lnTo>
                  <a:pt x="6368" y="9519"/>
                </a:lnTo>
                <a:lnTo>
                  <a:pt x="6364" y="9528"/>
                </a:lnTo>
                <a:lnTo>
                  <a:pt x="6492" y="9528"/>
                </a:lnTo>
                <a:close/>
              </a:path>
            </a:pathLst>
          </a:custGeom>
          <a:gradFill>
            <a:gsLst>
              <a:gs pos="0">
                <a:srgbClr val="00B0F0">
                  <a:alpha val="10000"/>
                </a:srgbClr>
              </a:gs>
              <a:gs pos="52000">
                <a:srgbClr val="00B0F0">
                  <a:alpha val="50000"/>
                </a:srgbClr>
              </a:gs>
              <a:gs pos="100000">
                <a:srgbClr val="00B0F0">
                  <a:alpha val="10000"/>
                </a:srgbClr>
              </a:gs>
            </a:gsLst>
            <a:lin ang="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tIns="35991" rtlCol="0" anchor="t" anchorCtr="0">
            <a:noAutofit/>
          </a:bodyPr>
          <a:lstStyle/>
          <a:p>
            <a:pPr lvl="1"/>
            <a:endParaRPr lang="en-US" altLang="zh-CN" sz="1799" noProof="1">
              <a:sym typeface="Arial"/>
            </a:endParaRPr>
          </a:p>
        </p:txBody>
      </p:sp>
      <p:sp>
        <p:nvSpPr>
          <p:cNvPr id="2" name="圆角矩形 1"/>
          <p:cNvSpPr/>
          <p:nvPr/>
        </p:nvSpPr>
        <p:spPr>
          <a:xfrm>
            <a:off x="3341031" y="2558587"/>
            <a:ext cx="1124790" cy="372043"/>
          </a:xfrm>
          <a:prstGeom prst="roundRect">
            <a:avLst/>
          </a:prstGeom>
          <a:solidFill>
            <a:schemeClr val="bg1">
              <a:lumMod val="75000"/>
            </a:schemeClr>
          </a:solidFill>
          <a:ln>
            <a:noFill/>
          </a:ln>
          <a:effectLst/>
        </p:spPr>
        <p:txBody>
          <a:bodyPr vert="horz" wrap="square" lIns="91416" tIns="45708" rIns="91416" bIns="45708" numCol="1" rtlCol="0" anchor="t" anchorCtr="0" compatLnSpc="1">
            <a:prstTxWarp prst="textNoShape">
              <a:avLst/>
            </a:prstTxWarp>
          </a:bodyPr>
          <a:lstStyle/>
          <a:p>
            <a:pPr fontAlgn="ctr">
              <a:buClr>
                <a:srgbClr val="CC9900"/>
              </a:buClr>
              <a:buFont typeface="Wingdings" pitchFamily="2" charset="2"/>
              <a:buChar char="n"/>
            </a:pPr>
            <a:endParaRPr lang="zh-CN" altLang="en-US" sz="1799" dirty="0">
              <a:solidFill>
                <a:schemeClr val="bg1"/>
              </a:solidFill>
              <a:latin typeface="Calibri" panose="020F0502020204030204" pitchFamily="34" charset="0"/>
              <a:ea typeface="宋体" charset="-122"/>
            </a:endParaRPr>
          </a:p>
        </p:txBody>
      </p:sp>
      <p:cxnSp>
        <p:nvCxnSpPr>
          <p:cNvPr id="156" name="812041149"/>
          <p:cNvCxnSpPr/>
          <p:nvPr/>
        </p:nvCxnSpPr>
        <p:spPr bwMode="auto">
          <a:xfrm flipH="1">
            <a:off x="5689656" y="2176193"/>
            <a:ext cx="849062" cy="144367"/>
          </a:xfrm>
          <a:prstGeom prst="line">
            <a:avLst/>
          </a:prstGeom>
          <a:noFill/>
          <a:ln w="19050">
            <a:solidFill>
              <a:srgbClr val="4E6C8A"/>
            </a:solidFill>
            <a:round/>
            <a:headEnd/>
            <a:tailEnd/>
          </a:ln>
          <a:effectLst/>
        </p:spPr>
      </p:cxnSp>
      <p:sp>
        <p:nvSpPr>
          <p:cNvPr id="158" name="545169073"/>
          <p:cNvSpPr txBox="1">
            <a:spLocks noChangeArrowheads="1"/>
          </p:cNvSpPr>
          <p:nvPr/>
        </p:nvSpPr>
        <p:spPr bwMode="auto">
          <a:xfrm>
            <a:off x="963768" y="5443471"/>
            <a:ext cx="2775068" cy="492186"/>
          </a:xfrm>
          <a:prstGeom prst="rect">
            <a:avLst/>
          </a:prstGeom>
          <a:noFill/>
          <a:ln w="9525" algn="ctr">
            <a:noFill/>
            <a:miter lim="800000"/>
            <a:headEnd/>
            <a:tailEnd/>
          </a:ln>
          <a:effectLst/>
        </p:spPr>
        <p:txBody>
          <a:bodyPr wrap="square">
            <a:spAutoFit/>
          </a:bodyPr>
          <a:lstStyle/>
          <a:p>
            <a:pPr algn="ctr" fontAlgn="ctr">
              <a:spcBef>
                <a:spcPct val="50000"/>
              </a:spcBef>
            </a:pPr>
            <a:r>
              <a:rPr kumimoji="1" lang="en-US" altLang="zh-CN" sz="1299" dirty="0">
                <a:solidFill>
                  <a:schemeClr val="bg1"/>
                </a:solidFill>
                <a:latin typeface="Calibri" panose="020F0502020204030204" pitchFamily="34" charset="0"/>
                <a:sym typeface="Arial"/>
              </a:rPr>
              <a:t> Aula Principal: </a:t>
            </a:r>
            <a:br>
              <a:rPr kumimoji="1" lang="en-US" altLang="zh-CN" sz="1299" dirty="0">
                <a:solidFill>
                  <a:schemeClr val="bg1"/>
                </a:solidFill>
                <a:latin typeface="Calibri" panose="020F0502020204030204" pitchFamily="34" charset="0"/>
                <a:sym typeface="Arial"/>
              </a:rPr>
            </a:br>
            <a:r>
              <a:rPr kumimoji="1" lang="en-US" altLang="zh-CN" sz="1299" dirty="0">
                <a:solidFill>
                  <a:schemeClr val="bg1"/>
                </a:solidFill>
                <a:latin typeface="Calibri" panose="020F0502020204030204" pitchFamily="34" charset="0"/>
                <a:sym typeface="Arial"/>
              </a:rPr>
              <a:t>Live </a:t>
            </a:r>
            <a:r>
              <a:rPr kumimoji="1" lang="en-US" altLang="zh-CN" sz="1299" dirty="0" err="1">
                <a:solidFill>
                  <a:schemeClr val="bg1"/>
                </a:solidFill>
                <a:latin typeface="Calibri" panose="020F0502020204030204" pitchFamily="34" charset="0"/>
                <a:sym typeface="Arial"/>
              </a:rPr>
              <a:t>eClassroom</a:t>
            </a:r>
            <a:endParaRPr kumimoji="1" lang="en-US" altLang="zh-CN" sz="1299" dirty="0">
              <a:solidFill>
                <a:schemeClr val="bg1"/>
              </a:solidFill>
              <a:latin typeface="Calibri" panose="020F0502020204030204" pitchFamily="34" charset="0"/>
              <a:sym typeface="Arial"/>
            </a:endParaRPr>
          </a:p>
        </p:txBody>
      </p:sp>
      <p:sp>
        <p:nvSpPr>
          <p:cNvPr id="159" name="1535613459"/>
          <p:cNvSpPr txBox="1"/>
          <p:nvPr/>
        </p:nvSpPr>
        <p:spPr>
          <a:xfrm>
            <a:off x="6855565" y="2494214"/>
            <a:ext cx="474810" cy="276999"/>
          </a:xfrm>
          <a:prstGeom prst="rect">
            <a:avLst/>
          </a:prstGeom>
          <a:noFill/>
        </p:spPr>
        <p:txBody>
          <a:bodyPr wrap="none" rtlCol="0">
            <a:spAutoFit/>
          </a:bodyPr>
          <a:lstStyle/>
          <a:p>
            <a:pPr fontAlgn="ctr"/>
            <a:r>
              <a:rPr lang="en-US" altLang="zh-CN" sz="1200" dirty="0">
                <a:solidFill>
                  <a:schemeClr val="bg1"/>
                </a:solidFill>
                <a:latin typeface="Calibri" panose="020F0502020204030204" pitchFamily="34" charset="0"/>
              </a:rPr>
              <a:t>Casa</a:t>
            </a:r>
          </a:p>
        </p:txBody>
      </p:sp>
      <p:pic>
        <p:nvPicPr>
          <p:cNvPr id="160" name="1073752175" descr="D:\文档资料\常用文档模板\胶片制作材料\图标素材\EverywareCloud-Dark.png"/>
          <p:cNvPicPr>
            <a:picLocks noChangeAspect="1" noChangeArrowheads="1"/>
          </p:cNvPicPr>
          <p:nvPr/>
        </p:nvPicPr>
        <p:blipFill>
          <a:blip r:embed="rId3" cstate="screen">
            <a:duotone>
              <a:srgbClr val="B2B2B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5821044" y="1966043"/>
            <a:ext cx="613497" cy="480572"/>
          </a:xfrm>
          <a:prstGeom prst="rect">
            <a:avLst/>
          </a:prstGeom>
          <a:noFill/>
        </p:spPr>
      </p:pic>
      <p:sp>
        <p:nvSpPr>
          <p:cNvPr id="161" name="1302803504"/>
          <p:cNvSpPr txBox="1"/>
          <p:nvPr/>
        </p:nvSpPr>
        <p:spPr>
          <a:xfrm>
            <a:off x="5822550" y="2095165"/>
            <a:ext cx="651140" cy="261610"/>
          </a:xfrm>
          <a:prstGeom prst="rect">
            <a:avLst/>
          </a:prstGeom>
          <a:noFill/>
        </p:spPr>
        <p:txBody>
          <a:bodyPr wrap="none" rtlCol="0">
            <a:spAutoFit/>
          </a:bodyPr>
          <a:lstStyle/>
          <a:p>
            <a:pPr fontAlgn="ctr"/>
            <a:r>
              <a:rPr lang="en-US" altLang="zh-CN" sz="1100" dirty="0">
                <a:solidFill>
                  <a:schemeClr val="tx1">
                    <a:lumMod val="75000"/>
                    <a:lumOff val="25000"/>
                  </a:schemeClr>
                </a:solidFill>
                <a:latin typeface="Calibri" panose="020F0502020204030204" pitchFamily="34" charset="0"/>
              </a:rPr>
              <a:t>Internet</a:t>
            </a:r>
          </a:p>
        </p:txBody>
      </p:sp>
      <p:cxnSp>
        <p:nvCxnSpPr>
          <p:cNvPr id="162" name="1025903230"/>
          <p:cNvCxnSpPr/>
          <p:nvPr/>
        </p:nvCxnSpPr>
        <p:spPr bwMode="auto">
          <a:xfrm flipV="1">
            <a:off x="2045697" y="3299896"/>
            <a:ext cx="3143" cy="509806"/>
          </a:xfrm>
          <a:prstGeom prst="line">
            <a:avLst/>
          </a:prstGeom>
          <a:noFill/>
          <a:ln w="19050">
            <a:solidFill>
              <a:srgbClr val="4E6C8A"/>
            </a:solidFill>
            <a:round/>
            <a:headEnd/>
            <a:tailEnd/>
          </a:ln>
          <a:effectLst/>
        </p:spPr>
      </p:cxnSp>
      <p:sp>
        <p:nvSpPr>
          <p:cNvPr id="163" name="942584926"/>
          <p:cNvSpPr txBox="1">
            <a:spLocks noChangeArrowheads="1"/>
          </p:cNvSpPr>
          <p:nvPr/>
        </p:nvSpPr>
        <p:spPr bwMode="auto">
          <a:xfrm>
            <a:off x="327489" y="2584971"/>
            <a:ext cx="2001723" cy="461665"/>
          </a:xfrm>
          <a:prstGeom prst="rect">
            <a:avLst/>
          </a:prstGeom>
          <a:noFill/>
          <a:ln w="9525" algn="ctr">
            <a:noFill/>
            <a:miter lim="800000"/>
            <a:headEnd/>
            <a:tailEnd/>
          </a:ln>
          <a:effectLst/>
        </p:spPr>
        <p:txBody>
          <a:bodyPr wrap="square">
            <a:spAutoFit/>
          </a:bodyPr>
          <a:lstStyle/>
          <a:p>
            <a:pPr algn="ctr" fontAlgn="ctr">
              <a:spcBef>
                <a:spcPct val="50000"/>
              </a:spcBef>
            </a:pPr>
            <a:r>
              <a:rPr kumimoji="1" lang="en-US" altLang="zh-CN" sz="1200" dirty="0">
                <a:solidFill>
                  <a:schemeClr val="bg1"/>
                </a:solidFill>
                <a:sym typeface="Arial"/>
              </a:rPr>
              <a:t>Aula de </a:t>
            </a:r>
            <a:r>
              <a:rPr kumimoji="1" lang="en-US" altLang="zh-CN" sz="1200" dirty="0" err="1">
                <a:solidFill>
                  <a:schemeClr val="bg1"/>
                </a:solidFill>
                <a:sym typeface="Arial"/>
              </a:rPr>
              <a:t>Enseñanza</a:t>
            </a:r>
            <a:r>
              <a:rPr kumimoji="1" lang="en-US" altLang="zh-CN" sz="1200" dirty="0">
                <a:solidFill>
                  <a:schemeClr val="bg1"/>
                </a:solidFill>
                <a:sym typeface="Arial"/>
              </a:rPr>
              <a:t> </a:t>
            </a:r>
            <a:r>
              <a:rPr kumimoji="1" lang="en-US" altLang="zh-CN" sz="1200" dirty="0" err="1">
                <a:solidFill>
                  <a:schemeClr val="bg1"/>
                </a:solidFill>
                <a:sym typeface="Arial"/>
              </a:rPr>
              <a:t>Remota</a:t>
            </a:r>
            <a:r>
              <a:rPr kumimoji="1" lang="en-US" altLang="zh-CN" sz="1200" dirty="0">
                <a:solidFill>
                  <a:schemeClr val="bg1"/>
                </a:solidFill>
                <a:sym typeface="Arial"/>
              </a:rPr>
              <a:t>: </a:t>
            </a:r>
            <a:br>
              <a:rPr kumimoji="1" lang="en-US" altLang="zh-CN" sz="1200" dirty="0">
                <a:solidFill>
                  <a:schemeClr val="bg1"/>
                </a:solidFill>
                <a:sym typeface="Arial"/>
              </a:rPr>
            </a:br>
            <a:r>
              <a:rPr kumimoji="1" lang="en-US" altLang="zh-CN" sz="1200" dirty="0">
                <a:solidFill>
                  <a:schemeClr val="bg1"/>
                </a:solidFill>
                <a:sym typeface="Arial"/>
              </a:rPr>
              <a:t>Live </a:t>
            </a:r>
            <a:r>
              <a:rPr kumimoji="1" lang="en-US" altLang="zh-CN" sz="1200" dirty="0" err="1">
                <a:solidFill>
                  <a:schemeClr val="bg1"/>
                </a:solidFill>
                <a:sym typeface="Arial"/>
              </a:rPr>
              <a:t>eClassroom</a:t>
            </a:r>
            <a:endParaRPr kumimoji="1" lang="en-US" altLang="zh-CN" sz="1200" dirty="0">
              <a:solidFill>
                <a:schemeClr val="bg1"/>
              </a:solidFill>
              <a:sym typeface="Arial"/>
            </a:endParaRPr>
          </a:p>
        </p:txBody>
      </p:sp>
      <p:cxnSp>
        <p:nvCxnSpPr>
          <p:cNvPr id="164" name="530287115"/>
          <p:cNvCxnSpPr>
            <a:cxnSpLocks noChangeAspect="1"/>
          </p:cNvCxnSpPr>
          <p:nvPr/>
        </p:nvCxnSpPr>
        <p:spPr bwMode="auto">
          <a:xfrm flipH="1" flipV="1">
            <a:off x="2173943" y="1911310"/>
            <a:ext cx="1197893" cy="492038"/>
          </a:xfrm>
          <a:prstGeom prst="line">
            <a:avLst/>
          </a:prstGeom>
          <a:noFill/>
          <a:ln w="19050">
            <a:solidFill>
              <a:srgbClr val="4E6C8A"/>
            </a:solidFill>
            <a:round/>
            <a:headEnd/>
            <a:tailEnd/>
          </a:ln>
          <a:effectLst/>
        </p:spPr>
      </p:cxnSp>
      <p:pic>
        <p:nvPicPr>
          <p:cNvPr id="165" name="306976937" descr="D:\文档资料\常用文档模板\胶片制作材料\图标素材\EverywareCloud-Dark.png"/>
          <p:cNvPicPr>
            <a:picLocks noChangeAspect="1" noChangeArrowheads="1"/>
          </p:cNvPicPr>
          <p:nvPr/>
        </p:nvPicPr>
        <p:blipFill>
          <a:blip r:embed="rId4" cstate="screen">
            <a:duotone>
              <a:srgbClr val="B2B2B2">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2496005" y="1952264"/>
            <a:ext cx="697471" cy="424899"/>
          </a:xfrm>
          <a:prstGeom prst="rect">
            <a:avLst/>
          </a:prstGeom>
          <a:noFill/>
        </p:spPr>
      </p:pic>
      <p:sp>
        <p:nvSpPr>
          <p:cNvPr id="166" name="294920203"/>
          <p:cNvSpPr txBox="1"/>
          <p:nvPr/>
        </p:nvSpPr>
        <p:spPr>
          <a:xfrm>
            <a:off x="2616473" y="2059018"/>
            <a:ext cx="455574" cy="246221"/>
          </a:xfrm>
          <a:prstGeom prst="rect">
            <a:avLst/>
          </a:prstGeom>
          <a:noFill/>
        </p:spPr>
        <p:txBody>
          <a:bodyPr wrap="none" rtlCol="0">
            <a:spAutoFit/>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fontAlgn="ctr"/>
            <a:r>
              <a:rPr lang="en-US" altLang="zh-CN" sz="1000" dirty="0">
                <a:solidFill>
                  <a:schemeClr val="tx1">
                    <a:lumMod val="75000"/>
                    <a:lumOff val="25000"/>
                  </a:schemeClr>
                </a:solidFill>
                <a:latin typeface="Calibri" panose="020F0502020204030204" pitchFamily="34" charset="0"/>
              </a:rPr>
              <a:t>WAN</a:t>
            </a:r>
          </a:p>
        </p:txBody>
      </p:sp>
      <p:pic>
        <p:nvPicPr>
          <p:cNvPr id="167" name="1698078784"/>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720468" y="4178982"/>
            <a:ext cx="1767755" cy="1256194"/>
          </a:xfrm>
          <a:prstGeom prst="roundRect">
            <a:avLst>
              <a:gd name="adj" fmla="val 8594"/>
            </a:avLst>
          </a:prstGeom>
          <a:solidFill>
            <a:srgbClr val="FFFFFF">
              <a:shade val="85000"/>
            </a:srgbClr>
          </a:solidFill>
          <a:ln>
            <a:noFill/>
          </a:ln>
          <a:effectLst/>
        </p:spPr>
      </p:pic>
      <p:pic>
        <p:nvPicPr>
          <p:cNvPr id="169" name="616386334"/>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48261" y="1645590"/>
            <a:ext cx="1335682" cy="912997"/>
          </a:xfrm>
          <a:prstGeom prst="roundRect">
            <a:avLst>
              <a:gd name="adj" fmla="val 4887"/>
            </a:avLst>
          </a:prstGeom>
          <a:noFill/>
          <a:ln>
            <a:noFill/>
          </a:ln>
          <a:extLst>
            <a:ext uri="{909E8E84-426E-40DD-AFC4-6F175D3DCCD1}">
              <a14:hiddenFill xmlns:a14="http://schemas.microsoft.com/office/drawing/2010/main">
                <a:solidFill>
                  <a:srgbClr val="FFFFFF"/>
                </a:solidFill>
              </a14:hiddenFill>
            </a:ext>
          </a:extLst>
        </p:spPr>
      </p:pic>
      <p:pic>
        <p:nvPicPr>
          <p:cNvPr id="172" name="1324529662"/>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480757" y="4213810"/>
            <a:ext cx="1741093" cy="1219553"/>
          </a:xfrm>
          <a:prstGeom prst="roundRect">
            <a:avLst>
              <a:gd name="adj" fmla="val 8594"/>
            </a:avLst>
          </a:prstGeom>
          <a:solidFill>
            <a:srgbClr val="FFFFFF">
              <a:shade val="85000"/>
            </a:srgbClr>
          </a:solidFill>
          <a:ln>
            <a:noFill/>
          </a:ln>
          <a:effectLst/>
        </p:spPr>
      </p:pic>
      <p:sp>
        <p:nvSpPr>
          <p:cNvPr id="179" name="1920623690"/>
          <p:cNvSpPr txBox="1">
            <a:spLocks noChangeArrowheads="1"/>
          </p:cNvSpPr>
          <p:nvPr/>
        </p:nvSpPr>
        <p:spPr bwMode="auto">
          <a:xfrm>
            <a:off x="5955513" y="5443471"/>
            <a:ext cx="1297663" cy="492186"/>
          </a:xfrm>
          <a:prstGeom prst="rect">
            <a:avLst/>
          </a:prstGeom>
          <a:noFill/>
          <a:ln w="9525" algn="ctr">
            <a:noFill/>
            <a:miter lim="800000"/>
            <a:headEnd/>
            <a:tailEnd/>
          </a:ln>
          <a:effectLst/>
        </p:spPr>
        <p:txBody>
          <a:bodyPr wrap="none">
            <a:spAutoFit/>
          </a:bodyPr>
          <a:lstStyle/>
          <a:p>
            <a:pPr algn="ctr" fontAlgn="ctr"/>
            <a:r>
              <a:rPr kumimoji="1" lang="en-US" altLang="zh-CN" sz="1299" dirty="0">
                <a:solidFill>
                  <a:schemeClr val="bg1"/>
                </a:solidFill>
                <a:latin typeface="Calibri" panose="020F0502020204030204" pitchFamily="34" charset="0"/>
                <a:sym typeface="Arial"/>
              </a:rPr>
              <a:t>Cloud classroom</a:t>
            </a:r>
          </a:p>
          <a:p>
            <a:pPr algn="ctr" fontAlgn="ctr"/>
            <a:r>
              <a:rPr kumimoji="1" lang="en-US" altLang="zh-CN" sz="1299" dirty="0">
                <a:solidFill>
                  <a:schemeClr val="bg1"/>
                </a:solidFill>
                <a:latin typeface="Calibri" panose="020F0502020204030204" pitchFamily="34" charset="0"/>
                <a:sym typeface="Arial"/>
              </a:rPr>
              <a:t>Virtual Desktop</a:t>
            </a:r>
          </a:p>
        </p:txBody>
      </p:sp>
      <p:cxnSp>
        <p:nvCxnSpPr>
          <p:cNvPr id="180" name="1046207095"/>
          <p:cNvCxnSpPr/>
          <p:nvPr/>
        </p:nvCxnSpPr>
        <p:spPr bwMode="auto">
          <a:xfrm flipV="1">
            <a:off x="6528111" y="3332676"/>
            <a:ext cx="0" cy="431887"/>
          </a:xfrm>
          <a:prstGeom prst="line">
            <a:avLst/>
          </a:prstGeom>
          <a:noFill/>
          <a:ln w="19050">
            <a:solidFill>
              <a:srgbClr val="4E6C8A"/>
            </a:solidFill>
            <a:round/>
            <a:headEnd/>
            <a:tailEnd/>
          </a:ln>
          <a:effectLst/>
        </p:spPr>
      </p:cxnSp>
      <p:cxnSp>
        <p:nvCxnSpPr>
          <p:cNvPr id="181" name="2024196448"/>
          <p:cNvCxnSpPr/>
          <p:nvPr/>
        </p:nvCxnSpPr>
        <p:spPr bwMode="auto">
          <a:xfrm rot="5400000" flipV="1">
            <a:off x="4290878" y="1094739"/>
            <a:ext cx="0" cy="4456221"/>
          </a:xfrm>
          <a:prstGeom prst="line">
            <a:avLst/>
          </a:prstGeom>
          <a:noFill/>
          <a:ln w="19050">
            <a:solidFill>
              <a:srgbClr val="4E6C8A"/>
            </a:solidFill>
            <a:round/>
            <a:headEnd/>
            <a:tailEnd/>
          </a:ln>
          <a:effectLst/>
        </p:spPr>
      </p:cxnSp>
      <p:sp>
        <p:nvSpPr>
          <p:cNvPr id="190" name="1742574603"/>
          <p:cNvSpPr txBox="1"/>
          <p:nvPr/>
        </p:nvSpPr>
        <p:spPr>
          <a:xfrm>
            <a:off x="4676458" y="3706820"/>
            <a:ext cx="1803117" cy="276999"/>
          </a:xfrm>
          <a:prstGeom prst="rect">
            <a:avLst/>
          </a:prstGeom>
          <a:noFill/>
        </p:spPr>
        <p:txBody>
          <a:bodyPr wrap="square" rtlCol="0">
            <a:spAutoFit/>
          </a:bodyPr>
          <a:lstStyle/>
          <a:p>
            <a:pPr fontAlgn="ctr"/>
            <a:r>
              <a:rPr lang="en-US" altLang="zh-CN" sz="1200" dirty="0">
                <a:solidFill>
                  <a:schemeClr val="bg1"/>
                </a:solidFill>
                <a:latin typeface="Calibri" panose="020F0502020204030204" pitchFamily="34" charset="0"/>
                <a:ea typeface="微软雅黑" pitchFamily="34" charset="-122"/>
              </a:rPr>
              <a:t>Aula </a:t>
            </a:r>
            <a:r>
              <a:rPr lang="en-US" altLang="zh-CN" sz="1200" dirty="0" err="1">
                <a:solidFill>
                  <a:schemeClr val="bg1"/>
                </a:solidFill>
                <a:latin typeface="Calibri" panose="020F0502020204030204" pitchFamily="34" charset="0"/>
                <a:ea typeface="微软雅黑" pitchFamily="34" charset="-122"/>
              </a:rPr>
              <a:t>Virtualizada</a:t>
            </a:r>
            <a:endParaRPr lang="en-US" altLang="zh-CN" sz="1200" dirty="0">
              <a:solidFill>
                <a:schemeClr val="bg1"/>
              </a:solidFill>
              <a:latin typeface="Calibri" panose="020F0502020204030204" pitchFamily="34" charset="0"/>
              <a:ea typeface="微软雅黑" pitchFamily="34" charset="-122"/>
            </a:endParaRPr>
          </a:p>
        </p:txBody>
      </p:sp>
      <p:sp>
        <p:nvSpPr>
          <p:cNvPr id="192" name="1045837896"/>
          <p:cNvSpPr>
            <a:spLocks noChangeAspect="1" noEditPoints="1"/>
          </p:cNvSpPr>
          <p:nvPr/>
        </p:nvSpPr>
        <p:spPr bwMode="auto">
          <a:xfrm>
            <a:off x="6258007" y="3779845"/>
            <a:ext cx="620719" cy="179953"/>
          </a:xfrm>
          <a:custGeom>
            <a:avLst/>
            <a:gdLst/>
            <a:ahLst/>
            <a:cxnLst>
              <a:cxn ang="0">
                <a:pos x="16441" y="270"/>
              </a:cxn>
              <a:cxn ang="0">
                <a:pos x="15870" y="2835"/>
              </a:cxn>
              <a:cxn ang="0">
                <a:pos x="16008" y="3646"/>
              </a:cxn>
              <a:cxn ang="0">
                <a:pos x="16292" y="4426"/>
              </a:cxn>
              <a:cxn ang="0">
                <a:pos x="14815" y="94"/>
              </a:cxn>
              <a:cxn ang="0">
                <a:pos x="14835" y="4356"/>
              </a:cxn>
              <a:cxn ang="0">
                <a:pos x="1677" y="4417"/>
              </a:cxn>
              <a:cxn ang="0">
                <a:pos x="1576" y="167"/>
              </a:cxn>
              <a:cxn ang="0">
                <a:pos x="3638" y="3191"/>
              </a:cxn>
              <a:cxn ang="0">
                <a:pos x="3781" y="683"/>
              </a:cxn>
              <a:cxn ang="0">
                <a:pos x="3477" y="513"/>
              </a:cxn>
              <a:cxn ang="0">
                <a:pos x="3291" y="2997"/>
              </a:cxn>
              <a:cxn ang="0">
                <a:pos x="3553" y="3968"/>
              </a:cxn>
              <a:cxn ang="0">
                <a:pos x="3801" y="3707"/>
              </a:cxn>
              <a:cxn ang="0">
                <a:pos x="3553" y="3447"/>
              </a:cxn>
              <a:cxn ang="0">
                <a:pos x="3282" y="3680"/>
              </a:cxn>
              <a:cxn ang="0">
                <a:pos x="3501" y="3964"/>
              </a:cxn>
              <a:cxn ang="0">
                <a:pos x="5657" y="3021"/>
              </a:cxn>
              <a:cxn ang="0">
                <a:pos x="5500" y="520"/>
              </a:cxn>
              <a:cxn ang="0">
                <a:pos x="5180" y="659"/>
              </a:cxn>
              <a:cxn ang="0">
                <a:pos x="5293" y="3181"/>
              </a:cxn>
              <a:cxn ang="0">
                <a:pos x="5629" y="3852"/>
              </a:cxn>
              <a:cxn ang="0">
                <a:pos x="5569" y="3498"/>
              </a:cxn>
              <a:cxn ang="0">
                <a:pos x="5212" y="3541"/>
              </a:cxn>
              <a:cxn ang="0">
                <a:pos x="5239" y="3900"/>
              </a:cxn>
              <a:cxn ang="0">
                <a:pos x="7456" y="3146"/>
              </a:cxn>
              <a:cxn ang="0">
                <a:pos x="7489" y="606"/>
              </a:cxn>
              <a:cxn ang="0">
                <a:pos x="7145" y="548"/>
              </a:cxn>
              <a:cxn ang="0">
                <a:pos x="7064" y="3079"/>
              </a:cxn>
              <a:cxn ang="0">
                <a:pos x="7387" y="3947"/>
              </a:cxn>
              <a:cxn ang="0">
                <a:pos x="7531" y="3618"/>
              </a:cxn>
              <a:cxn ang="0">
                <a:pos x="7209" y="3458"/>
              </a:cxn>
              <a:cxn ang="0">
                <a:pos x="7034" y="3772"/>
              </a:cxn>
              <a:cxn ang="0">
                <a:pos x="9197" y="3209"/>
              </a:cxn>
              <a:cxn ang="0">
                <a:pos x="9411" y="744"/>
              </a:cxn>
              <a:cxn ang="0">
                <a:pos x="9159" y="504"/>
              </a:cxn>
              <a:cxn ang="0">
                <a:pos x="8907" y="744"/>
              </a:cxn>
              <a:cxn ang="0">
                <a:pos x="9121" y="3209"/>
              </a:cxn>
              <a:cxn ang="0">
                <a:pos x="9411" y="3772"/>
              </a:cxn>
              <a:cxn ang="0">
                <a:pos x="9236" y="3458"/>
              </a:cxn>
              <a:cxn ang="0">
                <a:pos x="8914" y="3618"/>
              </a:cxn>
              <a:cxn ang="0">
                <a:pos x="9058" y="3947"/>
              </a:cxn>
              <a:cxn ang="0">
                <a:pos x="11254" y="3079"/>
              </a:cxn>
              <a:cxn ang="0">
                <a:pos x="11172" y="548"/>
              </a:cxn>
              <a:cxn ang="0">
                <a:pos x="10830" y="606"/>
              </a:cxn>
              <a:cxn ang="0">
                <a:pos x="10862" y="3146"/>
              </a:cxn>
              <a:cxn ang="0">
                <a:pos x="11206" y="3900"/>
              </a:cxn>
              <a:cxn ang="0">
                <a:pos x="11233" y="3541"/>
              </a:cxn>
              <a:cxn ang="0">
                <a:pos x="10876" y="3498"/>
              </a:cxn>
              <a:cxn ang="0">
                <a:pos x="10816" y="3852"/>
              </a:cxn>
              <a:cxn ang="0">
                <a:pos x="13024" y="3181"/>
              </a:cxn>
              <a:cxn ang="0">
                <a:pos x="13137" y="659"/>
              </a:cxn>
              <a:cxn ang="0">
                <a:pos x="12818" y="520"/>
              </a:cxn>
              <a:cxn ang="0">
                <a:pos x="12661" y="3021"/>
              </a:cxn>
              <a:cxn ang="0">
                <a:pos x="12944" y="3964"/>
              </a:cxn>
              <a:cxn ang="0">
                <a:pos x="13163" y="3680"/>
              </a:cxn>
              <a:cxn ang="0">
                <a:pos x="12892" y="3447"/>
              </a:cxn>
              <a:cxn ang="0">
                <a:pos x="12644" y="3707"/>
              </a:cxn>
              <a:cxn ang="0">
                <a:pos x="12892" y="3968"/>
              </a:cxn>
              <a:cxn ang="0">
                <a:pos x="6" y="254"/>
              </a:cxn>
              <a:cxn ang="0">
                <a:pos x="570" y="2824"/>
              </a:cxn>
              <a:cxn ang="0">
                <a:pos x="447" y="3641"/>
              </a:cxn>
              <a:cxn ang="0">
                <a:pos x="140" y="4417"/>
              </a:cxn>
            </a:cxnLst>
            <a:rect l="0" t="0" r="r" b="b"/>
            <a:pathLst>
              <a:path w="16445" h="4472">
                <a:moveTo>
                  <a:pt x="15250" y="0"/>
                </a:moveTo>
                <a:lnTo>
                  <a:pt x="16127" y="0"/>
                </a:lnTo>
                <a:lnTo>
                  <a:pt x="16144" y="0"/>
                </a:lnTo>
                <a:lnTo>
                  <a:pt x="16160" y="2"/>
                </a:lnTo>
                <a:lnTo>
                  <a:pt x="16176" y="4"/>
                </a:lnTo>
                <a:lnTo>
                  <a:pt x="16191" y="6"/>
                </a:lnTo>
                <a:lnTo>
                  <a:pt x="16207" y="10"/>
                </a:lnTo>
                <a:lnTo>
                  <a:pt x="16222" y="14"/>
                </a:lnTo>
                <a:lnTo>
                  <a:pt x="16236" y="20"/>
                </a:lnTo>
                <a:lnTo>
                  <a:pt x="16251" y="25"/>
                </a:lnTo>
                <a:lnTo>
                  <a:pt x="16265" y="32"/>
                </a:lnTo>
                <a:lnTo>
                  <a:pt x="16278" y="38"/>
                </a:lnTo>
                <a:lnTo>
                  <a:pt x="16292" y="46"/>
                </a:lnTo>
                <a:lnTo>
                  <a:pt x="16305" y="55"/>
                </a:lnTo>
                <a:lnTo>
                  <a:pt x="16318" y="64"/>
                </a:lnTo>
                <a:lnTo>
                  <a:pt x="16329" y="73"/>
                </a:lnTo>
                <a:lnTo>
                  <a:pt x="16341" y="82"/>
                </a:lnTo>
                <a:lnTo>
                  <a:pt x="16351" y="94"/>
                </a:lnTo>
                <a:lnTo>
                  <a:pt x="16363" y="104"/>
                </a:lnTo>
                <a:lnTo>
                  <a:pt x="16372" y="116"/>
                </a:lnTo>
                <a:lnTo>
                  <a:pt x="16381" y="128"/>
                </a:lnTo>
                <a:lnTo>
                  <a:pt x="16391" y="140"/>
                </a:lnTo>
                <a:lnTo>
                  <a:pt x="16399" y="153"/>
                </a:lnTo>
                <a:lnTo>
                  <a:pt x="16407" y="167"/>
                </a:lnTo>
                <a:lnTo>
                  <a:pt x="16413" y="180"/>
                </a:lnTo>
                <a:lnTo>
                  <a:pt x="16420" y="195"/>
                </a:lnTo>
                <a:lnTo>
                  <a:pt x="16425" y="209"/>
                </a:lnTo>
                <a:lnTo>
                  <a:pt x="16431" y="223"/>
                </a:lnTo>
                <a:lnTo>
                  <a:pt x="16435" y="239"/>
                </a:lnTo>
                <a:lnTo>
                  <a:pt x="16439" y="254"/>
                </a:lnTo>
                <a:lnTo>
                  <a:pt x="16441" y="270"/>
                </a:lnTo>
                <a:lnTo>
                  <a:pt x="16443" y="285"/>
                </a:lnTo>
                <a:lnTo>
                  <a:pt x="16445" y="302"/>
                </a:lnTo>
                <a:lnTo>
                  <a:pt x="16445" y="318"/>
                </a:lnTo>
                <a:lnTo>
                  <a:pt x="16445" y="2663"/>
                </a:lnTo>
                <a:lnTo>
                  <a:pt x="16104" y="2663"/>
                </a:lnTo>
                <a:lnTo>
                  <a:pt x="16090" y="2664"/>
                </a:lnTo>
                <a:lnTo>
                  <a:pt x="16078" y="2665"/>
                </a:lnTo>
                <a:lnTo>
                  <a:pt x="16067" y="2666"/>
                </a:lnTo>
                <a:lnTo>
                  <a:pt x="16054" y="2668"/>
                </a:lnTo>
                <a:lnTo>
                  <a:pt x="16042" y="2671"/>
                </a:lnTo>
                <a:lnTo>
                  <a:pt x="16031" y="2675"/>
                </a:lnTo>
                <a:lnTo>
                  <a:pt x="16019" y="2679"/>
                </a:lnTo>
                <a:lnTo>
                  <a:pt x="16008" y="2683"/>
                </a:lnTo>
                <a:lnTo>
                  <a:pt x="15998" y="2688"/>
                </a:lnTo>
                <a:lnTo>
                  <a:pt x="15988" y="2693"/>
                </a:lnTo>
                <a:lnTo>
                  <a:pt x="15977" y="2699"/>
                </a:lnTo>
                <a:lnTo>
                  <a:pt x="15967" y="2705"/>
                </a:lnTo>
                <a:lnTo>
                  <a:pt x="15958" y="2713"/>
                </a:lnTo>
                <a:lnTo>
                  <a:pt x="15949" y="2720"/>
                </a:lnTo>
                <a:lnTo>
                  <a:pt x="15939" y="2727"/>
                </a:lnTo>
                <a:lnTo>
                  <a:pt x="15931" y="2735"/>
                </a:lnTo>
                <a:lnTo>
                  <a:pt x="15923" y="2744"/>
                </a:lnTo>
                <a:lnTo>
                  <a:pt x="15916" y="2753"/>
                </a:lnTo>
                <a:lnTo>
                  <a:pt x="15908" y="2762"/>
                </a:lnTo>
                <a:lnTo>
                  <a:pt x="15901" y="2771"/>
                </a:lnTo>
                <a:lnTo>
                  <a:pt x="15895" y="2782"/>
                </a:lnTo>
                <a:lnTo>
                  <a:pt x="15889" y="2792"/>
                </a:lnTo>
                <a:lnTo>
                  <a:pt x="15884" y="2802"/>
                </a:lnTo>
                <a:lnTo>
                  <a:pt x="15879" y="2814"/>
                </a:lnTo>
                <a:lnTo>
                  <a:pt x="15875" y="2824"/>
                </a:lnTo>
                <a:lnTo>
                  <a:pt x="15870" y="2835"/>
                </a:lnTo>
                <a:lnTo>
                  <a:pt x="15867" y="2848"/>
                </a:lnTo>
                <a:lnTo>
                  <a:pt x="15864" y="2859"/>
                </a:lnTo>
                <a:lnTo>
                  <a:pt x="15862" y="2871"/>
                </a:lnTo>
                <a:lnTo>
                  <a:pt x="15860" y="2884"/>
                </a:lnTo>
                <a:lnTo>
                  <a:pt x="15860" y="2896"/>
                </a:lnTo>
                <a:lnTo>
                  <a:pt x="15859" y="2908"/>
                </a:lnTo>
                <a:lnTo>
                  <a:pt x="15859" y="3421"/>
                </a:lnTo>
                <a:lnTo>
                  <a:pt x="15860" y="3433"/>
                </a:lnTo>
                <a:lnTo>
                  <a:pt x="15860" y="3447"/>
                </a:lnTo>
                <a:lnTo>
                  <a:pt x="15862" y="3458"/>
                </a:lnTo>
                <a:lnTo>
                  <a:pt x="15864" y="3470"/>
                </a:lnTo>
                <a:lnTo>
                  <a:pt x="15867" y="3482"/>
                </a:lnTo>
                <a:lnTo>
                  <a:pt x="15870" y="3494"/>
                </a:lnTo>
                <a:lnTo>
                  <a:pt x="15875" y="3505"/>
                </a:lnTo>
                <a:lnTo>
                  <a:pt x="15879" y="3516"/>
                </a:lnTo>
                <a:lnTo>
                  <a:pt x="15884" y="3527"/>
                </a:lnTo>
                <a:lnTo>
                  <a:pt x="15889" y="3537"/>
                </a:lnTo>
                <a:lnTo>
                  <a:pt x="15895" y="3548"/>
                </a:lnTo>
                <a:lnTo>
                  <a:pt x="15901" y="3558"/>
                </a:lnTo>
                <a:lnTo>
                  <a:pt x="15908" y="3567"/>
                </a:lnTo>
                <a:lnTo>
                  <a:pt x="15916" y="3576"/>
                </a:lnTo>
                <a:lnTo>
                  <a:pt x="15923" y="3586"/>
                </a:lnTo>
                <a:lnTo>
                  <a:pt x="15931" y="3594"/>
                </a:lnTo>
                <a:lnTo>
                  <a:pt x="15939" y="3602"/>
                </a:lnTo>
                <a:lnTo>
                  <a:pt x="15949" y="3609"/>
                </a:lnTo>
                <a:lnTo>
                  <a:pt x="15958" y="3617"/>
                </a:lnTo>
                <a:lnTo>
                  <a:pt x="15967" y="3624"/>
                </a:lnTo>
                <a:lnTo>
                  <a:pt x="15977" y="3630"/>
                </a:lnTo>
                <a:lnTo>
                  <a:pt x="15988" y="3636"/>
                </a:lnTo>
                <a:lnTo>
                  <a:pt x="15998" y="3641"/>
                </a:lnTo>
                <a:lnTo>
                  <a:pt x="16008" y="3646"/>
                </a:lnTo>
                <a:lnTo>
                  <a:pt x="16019" y="3650"/>
                </a:lnTo>
                <a:lnTo>
                  <a:pt x="16031" y="3655"/>
                </a:lnTo>
                <a:lnTo>
                  <a:pt x="16042" y="3658"/>
                </a:lnTo>
                <a:lnTo>
                  <a:pt x="16054" y="3661"/>
                </a:lnTo>
                <a:lnTo>
                  <a:pt x="16067" y="3663"/>
                </a:lnTo>
                <a:lnTo>
                  <a:pt x="16078" y="3664"/>
                </a:lnTo>
                <a:lnTo>
                  <a:pt x="16090" y="3665"/>
                </a:lnTo>
                <a:lnTo>
                  <a:pt x="16104" y="3666"/>
                </a:lnTo>
                <a:lnTo>
                  <a:pt x="16445" y="3666"/>
                </a:lnTo>
                <a:lnTo>
                  <a:pt x="16445" y="4154"/>
                </a:lnTo>
                <a:lnTo>
                  <a:pt x="16445" y="4170"/>
                </a:lnTo>
                <a:lnTo>
                  <a:pt x="16443" y="4187"/>
                </a:lnTo>
                <a:lnTo>
                  <a:pt x="16441" y="4202"/>
                </a:lnTo>
                <a:lnTo>
                  <a:pt x="16439" y="4218"/>
                </a:lnTo>
                <a:lnTo>
                  <a:pt x="16435" y="4233"/>
                </a:lnTo>
                <a:lnTo>
                  <a:pt x="16431" y="4249"/>
                </a:lnTo>
                <a:lnTo>
                  <a:pt x="16425" y="4263"/>
                </a:lnTo>
                <a:lnTo>
                  <a:pt x="16420" y="4277"/>
                </a:lnTo>
                <a:lnTo>
                  <a:pt x="16413" y="4292"/>
                </a:lnTo>
                <a:lnTo>
                  <a:pt x="16407" y="4305"/>
                </a:lnTo>
                <a:lnTo>
                  <a:pt x="16399" y="4319"/>
                </a:lnTo>
                <a:lnTo>
                  <a:pt x="16391" y="4332"/>
                </a:lnTo>
                <a:lnTo>
                  <a:pt x="16381" y="4344"/>
                </a:lnTo>
                <a:lnTo>
                  <a:pt x="16372" y="4356"/>
                </a:lnTo>
                <a:lnTo>
                  <a:pt x="16363" y="4368"/>
                </a:lnTo>
                <a:lnTo>
                  <a:pt x="16351" y="4378"/>
                </a:lnTo>
                <a:lnTo>
                  <a:pt x="16341" y="4390"/>
                </a:lnTo>
                <a:lnTo>
                  <a:pt x="16329" y="4399"/>
                </a:lnTo>
                <a:lnTo>
                  <a:pt x="16318" y="4409"/>
                </a:lnTo>
                <a:lnTo>
                  <a:pt x="16305" y="4417"/>
                </a:lnTo>
                <a:lnTo>
                  <a:pt x="16292" y="4426"/>
                </a:lnTo>
                <a:lnTo>
                  <a:pt x="16278" y="4434"/>
                </a:lnTo>
                <a:lnTo>
                  <a:pt x="16265" y="4441"/>
                </a:lnTo>
                <a:lnTo>
                  <a:pt x="16251" y="4447"/>
                </a:lnTo>
                <a:lnTo>
                  <a:pt x="16236" y="4452"/>
                </a:lnTo>
                <a:lnTo>
                  <a:pt x="16222" y="4458"/>
                </a:lnTo>
                <a:lnTo>
                  <a:pt x="16207" y="4462"/>
                </a:lnTo>
                <a:lnTo>
                  <a:pt x="16191" y="4466"/>
                </a:lnTo>
                <a:lnTo>
                  <a:pt x="16176" y="4468"/>
                </a:lnTo>
                <a:lnTo>
                  <a:pt x="16160" y="4470"/>
                </a:lnTo>
                <a:lnTo>
                  <a:pt x="16144" y="4472"/>
                </a:lnTo>
                <a:lnTo>
                  <a:pt x="16127" y="4472"/>
                </a:lnTo>
                <a:lnTo>
                  <a:pt x="15250" y="4472"/>
                </a:lnTo>
                <a:lnTo>
                  <a:pt x="15250" y="0"/>
                </a:lnTo>
                <a:close/>
                <a:moveTo>
                  <a:pt x="1854" y="0"/>
                </a:moveTo>
                <a:lnTo>
                  <a:pt x="14591" y="0"/>
                </a:lnTo>
                <a:lnTo>
                  <a:pt x="14607" y="0"/>
                </a:lnTo>
                <a:lnTo>
                  <a:pt x="14623" y="2"/>
                </a:lnTo>
                <a:lnTo>
                  <a:pt x="14639" y="4"/>
                </a:lnTo>
                <a:lnTo>
                  <a:pt x="14655" y="6"/>
                </a:lnTo>
                <a:lnTo>
                  <a:pt x="14670" y="10"/>
                </a:lnTo>
                <a:lnTo>
                  <a:pt x="14684" y="14"/>
                </a:lnTo>
                <a:lnTo>
                  <a:pt x="14700" y="20"/>
                </a:lnTo>
                <a:lnTo>
                  <a:pt x="14714" y="25"/>
                </a:lnTo>
                <a:lnTo>
                  <a:pt x="14728" y="32"/>
                </a:lnTo>
                <a:lnTo>
                  <a:pt x="14742" y="38"/>
                </a:lnTo>
                <a:lnTo>
                  <a:pt x="14754" y="46"/>
                </a:lnTo>
                <a:lnTo>
                  <a:pt x="14768" y="55"/>
                </a:lnTo>
                <a:lnTo>
                  <a:pt x="14780" y="64"/>
                </a:lnTo>
                <a:lnTo>
                  <a:pt x="14792" y="73"/>
                </a:lnTo>
                <a:lnTo>
                  <a:pt x="14804" y="82"/>
                </a:lnTo>
                <a:lnTo>
                  <a:pt x="14815" y="94"/>
                </a:lnTo>
                <a:lnTo>
                  <a:pt x="14825" y="104"/>
                </a:lnTo>
                <a:lnTo>
                  <a:pt x="14835" y="116"/>
                </a:lnTo>
                <a:lnTo>
                  <a:pt x="14845" y="128"/>
                </a:lnTo>
                <a:lnTo>
                  <a:pt x="14854" y="140"/>
                </a:lnTo>
                <a:lnTo>
                  <a:pt x="14862" y="153"/>
                </a:lnTo>
                <a:lnTo>
                  <a:pt x="14869" y="167"/>
                </a:lnTo>
                <a:lnTo>
                  <a:pt x="14877" y="180"/>
                </a:lnTo>
                <a:lnTo>
                  <a:pt x="14883" y="195"/>
                </a:lnTo>
                <a:lnTo>
                  <a:pt x="14889" y="209"/>
                </a:lnTo>
                <a:lnTo>
                  <a:pt x="14893" y="223"/>
                </a:lnTo>
                <a:lnTo>
                  <a:pt x="14898" y="239"/>
                </a:lnTo>
                <a:lnTo>
                  <a:pt x="14901" y="254"/>
                </a:lnTo>
                <a:lnTo>
                  <a:pt x="14904" y="270"/>
                </a:lnTo>
                <a:lnTo>
                  <a:pt x="14906" y="285"/>
                </a:lnTo>
                <a:lnTo>
                  <a:pt x="14907" y="302"/>
                </a:lnTo>
                <a:lnTo>
                  <a:pt x="14907" y="318"/>
                </a:lnTo>
                <a:lnTo>
                  <a:pt x="14907" y="4154"/>
                </a:lnTo>
                <a:lnTo>
                  <a:pt x="14907" y="4170"/>
                </a:lnTo>
                <a:lnTo>
                  <a:pt x="14906" y="4187"/>
                </a:lnTo>
                <a:lnTo>
                  <a:pt x="14904" y="4202"/>
                </a:lnTo>
                <a:lnTo>
                  <a:pt x="14901" y="4218"/>
                </a:lnTo>
                <a:lnTo>
                  <a:pt x="14898" y="4233"/>
                </a:lnTo>
                <a:lnTo>
                  <a:pt x="14893" y="4249"/>
                </a:lnTo>
                <a:lnTo>
                  <a:pt x="14889" y="4263"/>
                </a:lnTo>
                <a:lnTo>
                  <a:pt x="14883" y="4277"/>
                </a:lnTo>
                <a:lnTo>
                  <a:pt x="14877" y="4292"/>
                </a:lnTo>
                <a:lnTo>
                  <a:pt x="14869" y="4305"/>
                </a:lnTo>
                <a:lnTo>
                  <a:pt x="14862" y="4319"/>
                </a:lnTo>
                <a:lnTo>
                  <a:pt x="14854" y="4332"/>
                </a:lnTo>
                <a:lnTo>
                  <a:pt x="14845" y="4344"/>
                </a:lnTo>
                <a:lnTo>
                  <a:pt x="14835" y="4356"/>
                </a:lnTo>
                <a:lnTo>
                  <a:pt x="14825" y="4368"/>
                </a:lnTo>
                <a:lnTo>
                  <a:pt x="14815" y="4378"/>
                </a:lnTo>
                <a:lnTo>
                  <a:pt x="14804" y="4390"/>
                </a:lnTo>
                <a:lnTo>
                  <a:pt x="14792" y="4399"/>
                </a:lnTo>
                <a:lnTo>
                  <a:pt x="14780" y="4409"/>
                </a:lnTo>
                <a:lnTo>
                  <a:pt x="14768" y="4417"/>
                </a:lnTo>
                <a:lnTo>
                  <a:pt x="14754" y="4426"/>
                </a:lnTo>
                <a:lnTo>
                  <a:pt x="14742" y="4434"/>
                </a:lnTo>
                <a:lnTo>
                  <a:pt x="14728" y="4441"/>
                </a:lnTo>
                <a:lnTo>
                  <a:pt x="14714" y="4447"/>
                </a:lnTo>
                <a:lnTo>
                  <a:pt x="14700" y="4452"/>
                </a:lnTo>
                <a:lnTo>
                  <a:pt x="14684" y="4458"/>
                </a:lnTo>
                <a:lnTo>
                  <a:pt x="14670" y="4462"/>
                </a:lnTo>
                <a:lnTo>
                  <a:pt x="14655" y="4466"/>
                </a:lnTo>
                <a:lnTo>
                  <a:pt x="14639" y="4468"/>
                </a:lnTo>
                <a:lnTo>
                  <a:pt x="14623" y="4470"/>
                </a:lnTo>
                <a:lnTo>
                  <a:pt x="14607" y="4472"/>
                </a:lnTo>
                <a:lnTo>
                  <a:pt x="14591" y="4472"/>
                </a:lnTo>
                <a:lnTo>
                  <a:pt x="1854" y="4472"/>
                </a:lnTo>
                <a:lnTo>
                  <a:pt x="1838" y="4472"/>
                </a:lnTo>
                <a:lnTo>
                  <a:pt x="1822" y="4470"/>
                </a:lnTo>
                <a:lnTo>
                  <a:pt x="1806" y="4468"/>
                </a:lnTo>
                <a:lnTo>
                  <a:pt x="1790" y="4466"/>
                </a:lnTo>
                <a:lnTo>
                  <a:pt x="1775" y="4462"/>
                </a:lnTo>
                <a:lnTo>
                  <a:pt x="1761" y="4458"/>
                </a:lnTo>
                <a:lnTo>
                  <a:pt x="1745" y="4452"/>
                </a:lnTo>
                <a:lnTo>
                  <a:pt x="1731" y="4447"/>
                </a:lnTo>
                <a:lnTo>
                  <a:pt x="1717" y="4441"/>
                </a:lnTo>
                <a:lnTo>
                  <a:pt x="1703" y="4434"/>
                </a:lnTo>
                <a:lnTo>
                  <a:pt x="1690" y="4426"/>
                </a:lnTo>
                <a:lnTo>
                  <a:pt x="1677" y="4417"/>
                </a:lnTo>
                <a:lnTo>
                  <a:pt x="1665" y="4409"/>
                </a:lnTo>
                <a:lnTo>
                  <a:pt x="1653" y="4399"/>
                </a:lnTo>
                <a:lnTo>
                  <a:pt x="1641" y="4390"/>
                </a:lnTo>
                <a:lnTo>
                  <a:pt x="1630" y="4378"/>
                </a:lnTo>
                <a:lnTo>
                  <a:pt x="1620" y="4368"/>
                </a:lnTo>
                <a:lnTo>
                  <a:pt x="1610" y="4356"/>
                </a:lnTo>
                <a:lnTo>
                  <a:pt x="1600" y="4344"/>
                </a:lnTo>
                <a:lnTo>
                  <a:pt x="1591" y="4332"/>
                </a:lnTo>
                <a:lnTo>
                  <a:pt x="1583" y="4319"/>
                </a:lnTo>
                <a:lnTo>
                  <a:pt x="1576" y="4305"/>
                </a:lnTo>
                <a:lnTo>
                  <a:pt x="1568" y="4292"/>
                </a:lnTo>
                <a:lnTo>
                  <a:pt x="1562" y="4277"/>
                </a:lnTo>
                <a:lnTo>
                  <a:pt x="1556" y="4263"/>
                </a:lnTo>
                <a:lnTo>
                  <a:pt x="1551" y="4249"/>
                </a:lnTo>
                <a:lnTo>
                  <a:pt x="1547" y="4233"/>
                </a:lnTo>
                <a:lnTo>
                  <a:pt x="1544" y="4218"/>
                </a:lnTo>
                <a:lnTo>
                  <a:pt x="1541" y="4202"/>
                </a:lnTo>
                <a:lnTo>
                  <a:pt x="1539" y="4187"/>
                </a:lnTo>
                <a:lnTo>
                  <a:pt x="1538" y="4170"/>
                </a:lnTo>
                <a:lnTo>
                  <a:pt x="1538" y="4154"/>
                </a:lnTo>
                <a:lnTo>
                  <a:pt x="1538" y="318"/>
                </a:lnTo>
                <a:lnTo>
                  <a:pt x="1538" y="302"/>
                </a:lnTo>
                <a:lnTo>
                  <a:pt x="1539" y="285"/>
                </a:lnTo>
                <a:lnTo>
                  <a:pt x="1541" y="270"/>
                </a:lnTo>
                <a:lnTo>
                  <a:pt x="1544" y="254"/>
                </a:lnTo>
                <a:lnTo>
                  <a:pt x="1547" y="239"/>
                </a:lnTo>
                <a:lnTo>
                  <a:pt x="1551" y="223"/>
                </a:lnTo>
                <a:lnTo>
                  <a:pt x="1556" y="209"/>
                </a:lnTo>
                <a:lnTo>
                  <a:pt x="1562" y="195"/>
                </a:lnTo>
                <a:lnTo>
                  <a:pt x="1568" y="180"/>
                </a:lnTo>
                <a:lnTo>
                  <a:pt x="1576" y="167"/>
                </a:lnTo>
                <a:lnTo>
                  <a:pt x="1583" y="153"/>
                </a:lnTo>
                <a:lnTo>
                  <a:pt x="1591" y="140"/>
                </a:lnTo>
                <a:lnTo>
                  <a:pt x="1600" y="128"/>
                </a:lnTo>
                <a:lnTo>
                  <a:pt x="1610" y="116"/>
                </a:lnTo>
                <a:lnTo>
                  <a:pt x="1620" y="104"/>
                </a:lnTo>
                <a:lnTo>
                  <a:pt x="1630" y="94"/>
                </a:lnTo>
                <a:lnTo>
                  <a:pt x="1641" y="82"/>
                </a:lnTo>
                <a:lnTo>
                  <a:pt x="1653" y="73"/>
                </a:lnTo>
                <a:lnTo>
                  <a:pt x="1665" y="64"/>
                </a:lnTo>
                <a:lnTo>
                  <a:pt x="1677" y="55"/>
                </a:lnTo>
                <a:lnTo>
                  <a:pt x="1690" y="46"/>
                </a:lnTo>
                <a:lnTo>
                  <a:pt x="1703" y="38"/>
                </a:lnTo>
                <a:lnTo>
                  <a:pt x="1717" y="32"/>
                </a:lnTo>
                <a:lnTo>
                  <a:pt x="1731" y="25"/>
                </a:lnTo>
                <a:lnTo>
                  <a:pt x="1745" y="20"/>
                </a:lnTo>
                <a:lnTo>
                  <a:pt x="1761" y="14"/>
                </a:lnTo>
                <a:lnTo>
                  <a:pt x="1775" y="10"/>
                </a:lnTo>
                <a:lnTo>
                  <a:pt x="1790" y="6"/>
                </a:lnTo>
                <a:lnTo>
                  <a:pt x="1806" y="4"/>
                </a:lnTo>
                <a:lnTo>
                  <a:pt x="1822" y="2"/>
                </a:lnTo>
                <a:lnTo>
                  <a:pt x="1838" y="0"/>
                </a:lnTo>
                <a:lnTo>
                  <a:pt x="1854" y="0"/>
                </a:lnTo>
                <a:close/>
                <a:moveTo>
                  <a:pt x="3540" y="3211"/>
                </a:moveTo>
                <a:lnTo>
                  <a:pt x="3553" y="3211"/>
                </a:lnTo>
                <a:lnTo>
                  <a:pt x="3565" y="3210"/>
                </a:lnTo>
                <a:lnTo>
                  <a:pt x="3579" y="3209"/>
                </a:lnTo>
                <a:lnTo>
                  <a:pt x="3591" y="3206"/>
                </a:lnTo>
                <a:lnTo>
                  <a:pt x="3604" y="3204"/>
                </a:lnTo>
                <a:lnTo>
                  <a:pt x="3615" y="3200"/>
                </a:lnTo>
                <a:lnTo>
                  <a:pt x="3627" y="3196"/>
                </a:lnTo>
                <a:lnTo>
                  <a:pt x="3638" y="3191"/>
                </a:lnTo>
                <a:lnTo>
                  <a:pt x="3650" y="3186"/>
                </a:lnTo>
                <a:lnTo>
                  <a:pt x="3660" y="3181"/>
                </a:lnTo>
                <a:lnTo>
                  <a:pt x="3671" y="3175"/>
                </a:lnTo>
                <a:lnTo>
                  <a:pt x="3682" y="3168"/>
                </a:lnTo>
                <a:lnTo>
                  <a:pt x="3691" y="3161"/>
                </a:lnTo>
                <a:lnTo>
                  <a:pt x="3700" y="3153"/>
                </a:lnTo>
                <a:lnTo>
                  <a:pt x="3709" y="3146"/>
                </a:lnTo>
                <a:lnTo>
                  <a:pt x="3719" y="3137"/>
                </a:lnTo>
                <a:lnTo>
                  <a:pt x="3727" y="3129"/>
                </a:lnTo>
                <a:lnTo>
                  <a:pt x="3735" y="3119"/>
                </a:lnTo>
                <a:lnTo>
                  <a:pt x="3742" y="3110"/>
                </a:lnTo>
                <a:lnTo>
                  <a:pt x="3749" y="3100"/>
                </a:lnTo>
                <a:lnTo>
                  <a:pt x="3756" y="3089"/>
                </a:lnTo>
                <a:lnTo>
                  <a:pt x="3762" y="3079"/>
                </a:lnTo>
                <a:lnTo>
                  <a:pt x="3768" y="3068"/>
                </a:lnTo>
                <a:lnTo>
                  <a:pt x="3773" y="3056"/>
                </a:lnTo>
                <a:lnTo>
                  <a:pt x="3777" y="3045"/>
                </a:lnTo>
                <a:lnTo>
                  <a:pt x="3781" y="3034"/>
                </a:lnTo>
                <a:lnTo>
                  <a:pt x="3784" y="3021"/>
                </a:lnTo>
                <a:lnTo>
                  <a:pt x="3787" y="3009"/>
                </a:lnTo>
                <a:lnTo>
                  <a:pt x="3790" y="2997"/>
                </a:lnTo>
                <a:lnTo>
                  <a:pt x="3792" y="2984"/>
                </a:lnTo>
                <a:lnTo>
                  <a:pt x="3793" y="2971"/>
                </a:lnTo>
                <a:lnTo>
                  <a:pt x="3793" y="2959"/>
                </a:lnTo>
                <a:lnTo>
                  <a:pt x="3793" y="757"/>
                </a:lnTo>
                <a:lnTo>
                  <a:pt x="3793" y="744"/>
                </a:lnTo>
                <a:lnTo>
                  <a:pt x="3792" y="731"/>
                </a:lnTo>
                <a:lnTo>
                  <a:pt x="3790" y="719"/>
                </a:lnTo>
                <a:lnTo>
                  <a:pt x="3787" y="706"/>
                </a:lnTo>
                <a:lnTo>
                  <a:pt x="3784" y="694"/>
                </a:lnTo>
                <a:lnTo>
                  <a:pt x="3781" y="683"/>
                </a:lnTo>
                <a:lnTo>
                  <a:pt x="3777" y="670"/>
                </a:lnTo>
                <a:lnTo>
                  <a:pt x="3773" y="659"/>
                </a:lnTo>
                <a:lnTo>
                  <a:pt x="3768" y="648"/>
                </a:lnTo>
                <a:lnTo>
                  <a:pt x="3762" y="637"/>
                </a:lnTo>
                <a:lnTo>
                  <a:pt x="3756" y="626"/>
                </a:lnTo>
                <a:lnTo>
                  <a:pt x="3749" y="616"/>
                </a:lnTo>
                <a:lnTo>
                  <a:pt x="3742" y="606"/>
                </a:lnTo>
                <a:lnTo>
                  <a:pt x="3735" y="596"/>
                </a:lnTo>
                <a:lnTo>
                  <a:pt x="3727" y="587"/>
                </a:lnTo>
                <a:lnTo>
                  <a:pt x="3719" y="579"/>
                </a:lnTo>
                <a:lnTo>
                  <a:pt x="3709" y="570"/>
                </a:lnTo>
                <a:lnTo>
                  <a:pt x="3700" y="562"/>
                </a:lnTo>
                <a:lnTo>
                  <a:pt x="3691" y="555"/>
                </a:lnTo>
                <a:lnTo>
                  <a:pt x="3682" y="548"/>
                </a:lnTo>
                <a:lnTo>
                  <a:pt x="3671" y="540"/>
                </a:lnTo>
                <a:lnTo>
                  <a:pt x="3660" y="535"/>
                </a:lnTo>
                <a:lnTo>
                  <a:pt x="3650" y="529"/>
                </a:lnTo>
                <a:lnTo>
                  <a:pt x="3638" y="524"/>
                </a:lnTo>
                <a:lnTo>
                  <a:pt x="3627" y="520"/>
                </a:lnTo>
                <a:lnTo>
                  <a:pt x="3615" y="516"/>
                </a:lnTo>
                <a:lnTo>
                  <a:pt x="3604" y="513"/>
                </a:lnTo>
                <a:lnTo>
                  <a:pt x="3591" y="510"/>
                </a:lnTo>
                <a:lnTo>
                  <a:pt x="3579" y="508"/>
                </a:lnTo>
                <a:lnTo>
                  <a:pt x="3565" y="505"/>
                </a:lnTo>
                <a:lnTo>
                  <a:pt x="3553" y="504"/>
                </a:lnTo>
                <a:lnTo>
                  <a:pt x="3540" y="504"/>
                </a:lnTo>
                <a:lnTo>
                  <a:pt x="3527" y="504"/>
                </a:lnTo>
                <a:lnTo>
                  <a:pt x="3514" y="505"/>
                </a:lnTo>
                <a:lnTo>
                  <a:pt x="3502" y="508"/>
                </a:lnTo>
                <a:lnTo>
                  <a:pt x="3489" y="510"/>
                </a:lnTo>
                <a:lnTo>
                  <a:pt x="3477" y="513"/>
                </a:lnTo>
                <a:lnTo>
                  <a:pt x="3466" y="516"/>
                </a:lnTo>
                <a:lnTo>
                  <a:pt x="3453" y="520"/>
                </a:lnTo>
                <a:lnTo>
                  <a:pt x="3442" y="524"/>
                </a:lnTo>
                <a:lnTo>
                  <a:pt x="3431" y="529"/>
                </a:lnTo>
                <a:lnTo>
                  <a:pt x="3421" y="535"/>
                </a:lnTo>
                <a:lnTo>
                  <a:pt x="3409" y="540"/>
                </a:lnTo>
                <a:lnTo>
                  <a:pt x="3399" y="548"/>
                </a:lnTo>
                <a:lnTo>
                  <a:pt x="3390" y="555"/>
                </a:lnTo>
                <a:lnTo>
                  <a:pt x="3379" y="562"/>
                </a:lnTo>
                <a:lnTo>
                  <a:pt x="3370" y="570"/>
                </a:lnTo>
                <a:lnTo>
                  <a:pt x="3362" y="579"/>
                </a:lnTo>
                <a:lnTo>
                  <a:pt x="3354" y="587"/>
                </a:lnTo>
                <a:lnTo>
                  <a:pt x="3346" y="596"/>
                </a:lnTo>
                <a:lnTo>
                  <a:pt x="3338" y="606"/>
                </a:lnTo>
                <a:lnTo>
                  <a:pt x="3331" y="616"/>
                </a:lnTo>
                <a:lnTo>
                  <a:pt x="3324" y="626"/>
                </a:lnTo>
                <a:lnTo>
                  <a:pt x="3319" y="637"/>
                </a:lnTo>
                <a:lnTo>
                  <a:pt x="3313" y="648"/>
                </a:lnTo>
                <a:lnTo>
                  <a:pt x="3308" y="659"/>
                </a:lnTo>
                <a:lnTo>
                  <a:pt x="3303" y="670"/>
                </a:lnTo>
                <a:lnTo>
                  <a:pt x="3299" y="683"/>
                </a:lnTo>
                <a:lnTo>
                  <a:pt x="3296" y="694"/>
                </a:lnTo>
                <a:lnTo>
                  <a:pt x="3293" y="706"/>
                </a:lnTo>
                <a:lnTo>
                  <a:pt x="3291" y="719"/>
                </a:lnTo>
                <a:lnTo>
                  <a:pt x="3289" y="731"/>
                </a:lnTo>
                <a:lnTo>
                  <a:pt x="3288" y="744"/>
                </a:lnTo>
                <a:lnTo>
                  <a:pt x="3288" y="757"/>
                </a:lnTo>
                <a:lnTo>
                  <a:pt x="3288" y="2959"/>
                </a:lnTo>
                <a:lnTo>
                  <a:pt x="3288" y="2971"/>
                </a:lnTo>
                <a:lnTo>
                  <a:pt x="3289" y="2984"/>
                </a:lnTo>
                <a:lnTo>
                  <a:pt x="3291" y="2997"/>
                </a:lnTo>
                <a:lnTo>
                  <a:pt x="3293" y="3009"/>
                </a:lnTo>
                <a:lnTo>
                  <a:pt x="3296" y="3021"/>
                </a:lnTo>
                <a:lnTo>
                  <a:pt x="3299" y="3034"/>
                </a:lnTo>
                <a:lnTo>
                  <a:pt x="3303" y="3045"/>
                </a:lnTo>
                <a:lnTo>
                  <a:pt x="3308" y="3056"/>
                </a:lnTo>
                <a:lnTo>
                  <a:pt x="3313" y="3068"/>
                </a:lnTo>
                <a:lnTo>
                  <a:pt x="3319" y="3079"/>
                </a:lnTo>
                <a:lnTo>
                  <a:pt x="3324" y="3089"/>
                </a:lnTo>
                <a:lnTo>
                  <a:pt x="3331" y="3100"/>
                </a:lnTo>
                <a:lnTo>
                  <a:pt x="3338" y="3110"/>
                </a:lnTo>
                <a:lnTo>
                  <a:pt x="3346" y="3119"/>
                </a:lnTo>
                <a:lnTo>
                  <a:pt x="3354" y="3129"/>
                </a:lnTo>
                <a:lnTo>
                  <a:pt x="3362" y="3137"/>
                </a:lnTo>
                <a:lnTo>
                  <a:pt x="3370" y="3146"/>
                </a:lnTo>
                <a:lnTo>
                  <a:pt x="3379" y="3153"/>
                </a:lnTo>
                <a:lnTo>
                  <a:pt x="3390" y="3161"/>
                </a:lnTo>
                <a:lnTo>
                  <a:pt x="3399" y="3168"/>
                </a:lnTo>
                <a:lnTo>
                  <a:pt x="3409" y="3175"/>
                </a:lnTo>
                <a:lnTo>
                  <a:pt x="3421" y="3181"/>
                </a:lnTo>
                <a:lnTo>
                  <a:pt x="3431" y="3186"/>
                </a:lnTo>
                <a:lnTo>
                  <a:pt x="3442" y="3191"/>
                </a:lnTo>
                <a:lnTo>
                  <a:pt x="3453" y="3196"/>
                </a:lnTo>
                <a:lnTo>
                  <a:pt x="3466" y="3200"/>
                </a:lnTo>
                <a:lnTo>
                  <a:pt x="3477" y="3204"/>
                </a:lnTo>
                <a:lnTo>
                  <a:pt x="3489" y="3206"/>
                </a:lnTo>
                <a:lnTo>
                  <a:pt x="3502" y="3209"/>
                </a:lnTo>
                <a:lnTo>
                  <a:pt x="3514" y="3210"/>
                </a:lnTo>
                <a:lnTo>
                  <a:pt x="3527" y="3211"/>
                </a:lnTo>
                <a:lnTo>
                  <a:pt x="3540" y="3211"/>
                </a:lnTo>
                <a:close/>
                <a:moveTo>
                  <a:pt x="3540" y="3968"/>
                </a:moveTo>
                <a:lnTo>
                  <a:pt x="3553" y="3968"/>
                </a:lnTo>
                <a:lnTo>
                  <a:pt x="3567" y="3967"/>
                </a:lnTo>
                <a:lnTo>
                  <a:pt x="3580" y="3964"/>
                </a:lnTo>
                <a:lnTo>
                  <a:pt x="3592" y="3962"/>
                </a:lnTo>
                <a:lnTo>
                  <a:pt x="3606" y="3959"/>
                </a:lnTo>
                <a:lnTo>
                  <a:pt x="3618" y="3956"/>
                </a:lnTo>
                <a:lnTo>
                  <a:pt x="3629" y="3952"/>
                </a:lnTo>
                <a:lnTo>
                  <a:pt x="3642" y="3947"/>
                </a:lnTo>
                <a:lnTo>
                  <a:pt x="3653" y="3942"/>
                </a:lnTo>
                <a:lnTo>
                  <a:pt x="3664" y="3937"/>
                </a:lnTo>
                <a:lnTo>
                  <a:pt x="3675" y="3931"/>
                </a:lnTo>
                <a:lnTo>
                  <a:pt x="3686" y="3923"/>
                </a:lnTo>
                <a:lnTo>
                  <a:pt x="3696" y="3916"/>
                </a:lnTo>
                <a:lnTo>
                  <a:pt x="3705" y="3908"/>
                </a:lnTo>
                <a:lnTo>
                  <a:pt x="3716" y="3900"/>
                </a:lnTo>
                <a:lnTo>
                  <a:pt x="3724" y="3891"/>
                </a:lnTo>
                <a:lnTo>
                  <a:pt x="3733" y="3882"/>
                </a:lnTo>
                <a:lnTo>
                  <a:pt x="3741" y="3873"/>
                </a:lnTo>
                <a:lnTo>
                  <a:pt x="3748" y="3863"/>
                </a:lnTo>
                <a:lnTo>
                  <a:pt x="3756" y="3852"/>
                </a:lnTo>
                <a:lnTo>
                  <a:pt x="3763" y="3842"/>
                </a:lnTo>
                <a:lnTo>
                  <a:pt x="3769" y="3832"/>
                </a:lnTo>
                <a:lnTo>
                  <a:pt x="3775" y="3820"/>
                </a:lnTo>
                <a:lnTo>
                  <a:pt x="3780" y="3808"/>
                </a:lnTo>
                <a:lnTo>
                  <a:pt x="3784" y="3797"/>
                </a:lnTo>
                <a:lnTo>
                  <a:pt x="3789" y="3784"/>
                </a:lnTo>
                <a:lnTo>
                  <a:pt x="3793" y="3772"/>
                </a:lnTo>
                <a:lnTo>
                  <a:pt x="3796" y="3760"/>
                </a:lnTo>
                <a:lnTo>
                  <a:pt x="3798" y="3747"/>
                </a:lnTo>
                <a:lnTo>
                  <a:pt x="3799" y="3734"/>
                </a:lnTo>
                <a:lnTo>
                  <a:pt x="3800" y="3720"/>
                </a:lnTo>
                <a:lnTo>
                  <a:pt x="3801" y="3707"/>
                </a:lnTo>
                <a:lnTo>
                  <a:pt x="3800" y="3694"/>
                </a:lnTo>
                <a:lnTo>
                  <a:pt x="3799" y="3680"/>
                </a:lnTo>
                <a:lnTo>
                  <a:pt x="3798" y="3668"/>
                </a:lnTo>
                <a:lnTo>
                  <a:pt x="3796" y="3655"/>
                </a:lnTo>
                <a:lnTo>
                  <a:pt x="3793" y="3642"/>
                </a:lnTo>
                <a:lnTo>
                  <a:pt x="3789" y="3630"/>
                </a:lnTo>
                <a:lnTo>
                  <a:pt x="3784" y="3618"/>
                </a:lnTo>
                <a:lnTo>
                  <a:pt x="3780" y="3606"/>
                </a:lnTo>
                <a:lnTo>
                  <a:pt x="3775" y="3595"/>
                </a:lnTo>
                <a:lnTo>
                  <a:pt x="3769" y="3584"/>
                </a:lnTo>
                <a:lnTo>
                  <a:pt x="3763" y="3572"/>
                </a:lnTo>
                <a:lnTo>
                  <a:pt x="3756" y="3562"/>
                </a:lnTo>
                <a:lnTo>
                  <a:pt x="3748" y="3552"/>
                </a:lnTo>
                <a:lnTo>
                  <a:pt x="3741" y="3541"/>
                </a:lnTo>
                <a:lnTo>
                  <a:pt x="3733" y="3532"/>
                </a:lnTo>
                <a:lnTo>
                  <a:pt x="3724" y="3523"/>
                </a:lnTo>
                <a:lnTo>
                  <a:pt x="3716" y="3515"/>
                </a:lnTo>
                <a:lnTo>
                  <a:pt x="3705" y="3506"/>
                </a:lnTo>
                <a:lnTo>
                  <a:pt x="3696" y="3498"/>
                </a:lnTo>
                <a:lnTo>
                  <a:pt x="3686" y="3491"/>
                </a:lnTo>
                <a:lnTo>
                  <a:pt x="3675" y="3485"/>
                </a:lnTo>
                <a:lnTo>
                  <a:pt x="3664" y="3479"/>
                </a:lnTo>
                <a:lnTo>
                  <a:pt x="3653" y="3472"/>
                </a:lnTo>
                <a:lnTo>
                  <a:pt x="3642" y="3467"/>
                </a:lnTo>
                <a:lnTo>
                  <a:pt x="3629" y="3462"/>
                </a:lnTo>
                <a:lnTo>
                  <a:pt x="3618" y="3458"/>
                </a:lnTo>
                <a:lnTo>
                  <a:pt x="3606" y="3455"/>
                </a:lnTo>
                <a:lnTo>
                  <a:pt x="3592" y="3452"/>
                </a:lnTo>
                <a:lnTo>
                  <a:pt x="3580" y="3450"/>
                </a:lnTo>
                <a:lnTo>
                  <a:pt x="3567" y="3448"/>
                </a:lnTo>
                <a:lnTo>
                  <a:pt x="3553" y="3447"/>
                </a:lnTo>
                <a:lnTo>
                  <a:pt x="3540" y="3447"/>
                </a:lnTo>
                <a:lnTo>
                  <a:pt x="3526" y="3447"/>
                </a:lnTo>
                <a:lnTo>
                  <a:pt x="3514" y="3448"/>
                </a:lnTo>
                <a:lnTo>
                  <a:pt x="3501" y="3450"/>
                </a:lnTo>
                <a:lnTo>
                  <a:pt x="3488" y="3452"/>
                </a:lnTo>
                <a:lnTo>
                  <a:pt x="3475" y="3455"/>
                </a:lnTo>
                <a:lnTo>
                  <a:pt x="3463" y="3458"/>
                </a:lnTo>
                <a:lnTo>
                  <a:pt x="3451" y="3462"/>
                </a:lnTo>
                <a:lnTo>
                  <a:pt x="3439" y="3467"/>
                </a:lnTo>
                <a:lnTo>
                  <a:pt x="3428" y="3472"/>
                </a:lnTo>
                <a:lnTo>
                  <a:pt x="3416" y="3479"/>
                </a:lnTo>
                <a:lnTo>
                  <a:pt x="3405" y="3485"/>
                </a:lnTo>
                <a:lnTo>
                  <a:pt x="3395" y="3491"/>
                </a:lnTo>
                <a:lnTo>
                  <a:pt x="3385" y="3498"/>
                </a:lnTo>
                <a:lnTo>
                  <a:pt x="3375" y="3506"/>
                </a:lnTo>
                <a:lnTo>
                  <a:pt x="3365" y="3515"/>
                </a:lnTo>
                <a:lnTo>
                  <a:pt x="3357" y="3523"/>
                </a:lnTo>
                <a:lnTo>
                  <a:pt x="3348" y="3532"/>
                </a:lnTo>
                <a:lnTo>
                  <a:pt x="3339" y="3541"/>
                </a:lnTo>
                <a:lnTo>
                  <a:pt x="3332" y="3552"/>
                </a:lnTo>
                <a:lnTo>
                  <a:pt x="3325" y="3562"/>
                </a:lnTo>
                <a:lnTo>
                  <a:pt x="3318" y="3572"/>
                </a:lnTo>
                <a:lnTo>
                  <a:pt x="3312" y="3584"/>
                </a:lnTo>
                <a:lnTo>
                  <a:pt x="3305" y="3595"/>
                </a:lnTo>
                <a:lnTo>
                  <a:pt x="3300" y="3606"/>
                </a:lnTo>
                <a:lnTo>
                  <a:pt x="3296" y="3618"/>
                </a:lnTo>
                <a:lnTo>
                  <a:pt x="3292" y="3630"/>
                </a:lnTo>
                <a:lnTo>
                  <a:pt x="3288" y="3642"/>
                </a:lnTo>
                <a:lnTo>
                  <a:pt x="3285" y="3655"/>
                </a:lnTo>
                <a:lnTo>
                  <a:pt x="3283" y="3668"/>
                </a:lnTo>
                <a:lnTo>
                  <a:pt x="3282" y="3680"/>
                </a:lnTo>
                <a:lnTo>
                  <a:pt x="3281" y="3694"/>
                </a:lnTo>
                <a:lnTo>
                  <a:pt x="3280" y="3707"/>
                </a:lnTo>
                <a:lnTo>
                  <a:pt x="3281" y="3720"/>
                </a:lnTo>
                <a:lnTo>
                  <a:pt x="3282" y="3734"/>
                </a:lnTo>
                <a:lnTo>
                  <a:pt x="3283" y="3747"/>
                </a:lnTo>
                <a:lnTo>
                  <a:pt x="3285" y="3760"/>
                </a:lnTo>
                <a:lnTo>
                  <a:pt x="3288" y="3772"/>
                </a:lnTo>
                <a:lnTo>
                  <a:pt x="3292" y="3784"/>
                </a:lnTo>
                <a:lnTo>
                  <a:pt x="3296" y="3797"/>
                </a:lnTo>
                <a:lnTo>
                  <a:pt x="3300" y="3808"/>
                </a:lnTo>
                <a:lnTo>
                  <a:pt x="3305" y="3820"/>
                </a:lnTo>
                <a:lnTo>
                  <a:pt x="3312" y="3832"/>
                </a:lnTo>
                <a:lnTo>
                  <a:pt x="3318" y="3842"/>
                </a:lnTo>
                <a:lnTo>
                  <a:pt x="3325" y="3852"/>
                </a:lnTo>
                <a:lnTo>
                  <a:pt x="3332" y="3863"/>
                </a:lnTo>
                <a:lnTo>
                  <a:pt x="3339" y="3873"/>
                </a:lnTo>
                <a:lnTo>
                  <a:pt x="3348" y="3882"/>
                </a:lnTo>
                <a:lnTo>
                  <a:pt x="3357" y="3891"/>
                </a:lnTo>
                <a:lnTo>
                  <a:pt x="3365" y="3900"/>
                </a:lnTo>
                <a:lnTo>
                  <a:pt x="3375" y="3908"/>
                </a:lnTo>
                <a:lnTo>
                  <a:pt x="3385" y="3916"/>
                </a:lnTo>
                <a:lnTo>
                  <a:pt x="3395" y="3923"/>
                </a:lnTo>
                <a:lnTo>
                  <a:pt x="3405" y="3931"/>
                </a:lnTo>
                <a:lnTo>
                  <a:pt x="3416" y="3937"/>
                </a:lnTo>
                <a:lnTo>
                  <a:pt x="3428" y="3942"/>
                </a:lnTo>
                <a:lnTo>
                  <a:pt x="3439" y="3947"/>
                </a:lnTo>
                <a:lnTo>
                  <a:pt x="3451" y="3952"/>
                </a:lnTo>
                <a:lnTo>
                  <a:pt x="3463" y="3956"/>
                </a:lnTo>
                <a:lnTo>
                  <a:pt x="3475" y="3959"/>
                </a:lnTo>
                <a:lnTo>
                  <a:pt x="3488" y="3962"/>
                </a:lnTo>
                <a:lnTo>
                  <a:pt x="3501" y="3964"/>
                </a:lnTo>
                <a:lnTo>
                  <a:pt x="3514" y="3967"/>
                </a:lnTo>
                <a:lnTo>
                  <a:pt x="3526" y="3968"/>
                </a:lnTo>
                <a:lnTo>
                  <a:pt x="3540" y="3968"/>
                </a:lnTo>
                <a:close/>
                <a:moveTo>
                  <a:pt x="5413" y="3211"/>
                </a:moveTo>
                <a:lnTo>
                  <a:pt x="5426" y="3211"/>
                </a:lnTo>
                <a:lnTo>
                  <a:pt x="5439" y="3210"/>
                </a:lnTo>
                <a:lnTo>
                  <a:pt x="5452" y="3209"/>
                </a:lnTo>
                <a:lnTo>
                  <a:pt x="5464" y="3206"/>
                </a:lnTo>
                <a:lnTo>
                  <a:pt x="5476" y="3204"/>
                </a:lnTo>
                <a:lnTo>
                  <a:pt x="5487" y="3200"/>
                </a:lnTo>
                <a:lnTo>
                  <a:pt x="5500" y="3196"/>
                </a:lnTo>
                <a:lnTo>
                  <a:pt x="5511" y="3191"/>
                </a:lnTo>
                <a:lnTo>
                  <a:pt x="5522" y="3186"/>
                </a:lnTo>
                <a:lnTo>
                  <a:pt x="5533" y="3181"/>
                </a:lnTo>
                <a:lnTo>
                  <a:pt x="5544" y="3175"/>
                </a:lnTo>
                <a:lnTo>
                  <a:pt x="5554" y="3168"/>
                </a:lnTo>
                <a:lnTo>
                  <a:pt x="5564" y="3161"/>
                </a:lnTo>
                <a:lnTo>
                  <a:pt x="5574" y="3153"/>
                </a:lnTo>
                <a:lnTo>
                  <a:pt x="5583" y="3146"/>
                </a:lnTo>
                <a:lnTo>
                  <a:pt x="5591" y="3137"/>
                </a:lnTo>
                <a:lnTo>
                  <a:pt x="5600" y="3129"/>
                </a:lnTo>
                <a:lnTo>
                  <a:pt x="5608" y="3119"/>
                </a:lnTo>
                <a:lnTo>
                  <a:pt x="5615" y="3110"/>
                </a:lnTo>
                <a:lnTo>
                  <a:pt x="5622" y="3100"/>
                </a:lnTo>
                <a:lnTo>
                  <a:pt x="5629" y="3089"/>
                </a:lnTo>
                <a:lnTo>
                  <a:pt x="5635" y="3079"/>
                </a:lnTo>
                <a:lnTo>
                  <a:pt x="5641" y="3068"/>
                </a:lnTo>
                <a:lnTo>
                  <a:pt x="5646" y="3056"/>
                </a:lnTo>
                <a:lnTo>
                  <a:pt x="5650" y="3045"/>
                </a:lnTo>
                <a:lnTo>
                  <a:pt x="5654" y="3034"/>
                </a:lnTo>
                <a:lnTo>
                  <a:pt x="5657" y="3021"/>
                </a:lnTo>
                <a:lnTo>
                  <a:pt x="5660" y="3009"/>
                </a:lnTo>
                <a:lnTo>
                  <a:pt x="5662" y="2997"/>
                </a:lnTo>
                <a:lnTo>
                  <a:pt x="5664" y="2984"/>
                </a:lnTo>
                <a:lnTo>
                  <a:pt x="5665" y="2971"/>
                </a:lnTo>
                <a:lnTo>
                  <a:pt x="5665" y="2959"/>
                </a:lnTo>
                <a:lnTo>
                  <a:pt x="5665" y="757"/>
                </a:lnTo>
                <a:lnTo>
                  <a:pt x="5665" y="744"/>
                </a:lnTo>
                <a:lnTo>
                  <a:pt x="5664" y="731"/>
                </a:lnTo>
                <a:lnTo>
                  <a:pt x="5662" y="719"/>
                </a:lnTo>
                <a:lnTo>
                  <a:pt x="5660" y="706"/>
                </a:lnTo>
                <a:lnTo>
                  <a:pt x="5657" y="694"/>
                </a:lnTo>
                <a:lnTo>
                  <a:pt x="5654" y="683"/>
                </a:lnTo>
                <a:lnTo>
                  <a:pt x="5650" y="670"/>
                </a:lnTo>
                <a:lnTo>
                  <a:pt x="5646" y="659"/>
                </a:lnTo>
                <a:lnTo>
                  <a:pt x="5641" y="648"/>
                </a:lnTo>
                <a:lnTo>
                  <a:pt x="5635" y="637"/>
                </a:lnTo>
                <a:lnTo>
                  <a:pt x="5629" y="626"/>
                </a:lnTo>
                <a:lnTo>
                  <a:pt x="5622" y="616"/>
                </a:lnTo>
                <a:lnTo>
                  <a:pt x="5615" y="606"/>
                </a:lnTo>
                <a:lnTo>
                  <a:pt x="5608" y="596"/>
                </a:lnTo>
                <a:lnTo>
                  <a:pt x="5600" y="587"/>
                </a:lnTo>
                <a:lnTo>
                  <a:pt x="5591" y="579"/>
                </a:lnTo>
                <a:lnTo>
                  <a:pt x="5583" y="570"/>
                </a:lnTo>
                <a:lnTo>
                  <a:pt x="5574" y="562"/>
                </a:lnTo>
                <a:lnTo>
                  <a:pt x="5564" y="555"/>
                </a:lnTo>
                <a:lnTo>
                  <a:pt x="5554" y="548"/>
                </a:lnTo>
                <a:lnTo>
                  <a:pt x="5544" y="540"/>
                </a:lnTo>
                <a:lnTo>
                  <a:pt x="5533" y="535"/>
                </a:lnTo>
                <a:lnTo>
                  <a:pt x="5522" y="529"/>
                </a:lnTo>
                <a:lnTo>
                  <a:pt x="5511" y="524"/>
                </a:lnTo>
                <a:lnTo>
                  <a:pt x="5500" y="520"/>
                </a:lnTo>
                <a:lnTo>
                  <a:pt x="5487" y="516"/>
                </a:lnTo>
                <a:lnTo>
                  <a:pt x="5476" y="513"/>
                </a:lnTo>
                <a:lnTo>
                  <a:pt x="5464" y="510"/>
                </a:lnTo>
                <a:lnTo>
                  <a:pt x="5452" y="508"/>
                </a:lnTo>
                <a:lnTo>
                  <a:pt x="5439" y="505"/>
                </a:lnTo>
                <a:lnTo>
                  <a:pt x="5426" y="504"/>
                </a:lnTo>
                <a:lnTo>
                  <a:pt x="5413" y="504"/>
                </a:lnTo>
                <a:lnTo>
                  <a:pt x="5400" y="504"/>
                </a:lnTo>
                <a:lnTo>
                  <a:pt x="5388" y="505"/>
                </a:lnTo>
                <a:lnTo>
                  <a:pt x="5374" y="508"/>
                </a:lnTo>
                <a:lnTo>
                  <a:pt x="5362" y="510"/>
                </a:lnTo>
                <a:lnTo>
                  <a:pt x="5350" y="513"/>
                </a:lnTo>
                <a:lnTo>
                  <a:pt x="5338" y="516"/>
                </a:lnTo>
                <a:lnTo>
                  <a:pt x="5326" y="520"/>
                </a:lnTo>
                <a:lnTo>
                  <a:pt x="5315" y="524"/>
                </a:lnTo>
                <a:lnTo>
                  <a:pt x="5304" y="529"/>
                </a:lnTo>
                <a:lnTo>
                  <a:pt x="5293" y="535"/>
                </a:lnTo>
                <a:lnTo>
                  <a:pt x="5282" y="540"/>
                </a:lnTo>
                <a:lnTo>
                  <a:pt x="5273" y="548"/>
                </a:lnTo>
                <a:lnTo>
                  <a:pt x="5262" y="555"/>
                </a:lnTo>
                <a:lnTo>
                  <a:pt x="5253" y="562"/>
                </a:lnTo>
                <a:lnTo>
                  <a:pt x="5244" y="570"/>
                </a:lnTo>
                <a:lnTo>
                  <a:pt x="5235" y="579"/>
                </a:lnTo>
                <a:lnTo>
                  <a:pt x="5226" y="587"/>
                </a:lnTo>
                <a:lnTo>
                  <a:pt x="5218" y="596"/>
                </a:lnTo>
                <a:lnTo>
                  <a:pt x="5211" y="606"/>
                </a:lnTo>
                <a:lnTo>
                  <a:pt x="5204" y="616"/>
                </a:lnTo>
                <a:lnTo>
                  <a:pt x="5198" y="626"/>
                </a:lnTo>
                <a:lnTo>
                  <a:pt x="5191" y="637"/>
                </a:lnTo>
                <a:lnTo>
                  <a:pt x="5185" y="648"/>
                </a:lnTo>
                <a:lnTo>
                  <a:pt x="5180" y="659"/>
                </a:lnTo>
                <a:lnTo>
                  <a:pt x="5176" y="670"/>
                </a:lnTo>
                <a:lnTo>
                  <a:pt x="5172" y="683"/>
                </a:lnTo>
                <a:lnTo>
                  <a:pt x="5169" y="694"/>
                </a:lnTo>
                <a:lnTo>
                  <a:pt x="5166" y="706"/>
                </a:lnTo>
                <a:lnTo>
                  <a:pt x="5164" y="719"/>
                </a:lnTo>
                <a:lnTo>
                  <a:pt x="5162" y="731"/>
                </a:lnTo>
                <a:lnTo>
                  <a:pt x="5161" y="744"/>
                </a:lnTo>
                <a:lnTo>
                  <a:pt x="5161" y="757"/>
                </a:lnTo>
                <a:lnTo>
                  <a:pt x="5161" y="2959"/>
                </a:lnTo>
                <a:lnTo>
                  <a:pt x="5161" y="2971"/>
                </a:lnTo>
                <a:lnTo>
                  <a:pt x="5162" y="2984"/>
                </a:lnTo>
                <a:lnTo>
                  <a:pt x="5164" y="2997"/>
                </a:lnTo>
                <a:lnTo>
                  <a:pt x="5166" y="3009"/>
                </a:lnTo>
                <a:lnTo>
                  <a:pt x="5169" y="3021"/>
                </a:lnTo>
                <a:lnTo>
                  <a:pt x="5172" y="3034"/>
                </a:lnTo>
                <a:lnTo>
                  <a:pt x="5176" y="3045"/>
                </a:lnTo>
                <a:lnTo>
                  <a:pt x="5180" y="3056"/>
                </a:lnTo>
                <a:lnTo>
                  <a:pt x="5185" y="3068"/>
                </a:lnTo>
                <a:lnTo>
                  <a:pt x="5191" y="3079"/>
                </a:lnTo>
                <a:lnTo>
                  <a:pt x="5198" y="3089"/>
                </a:lnTo>
                <a:lnTo>
                  <a:pt x="5204" y="3100"/>
                </a:lnTo>
                <a:lnTo>
                  <a:pt x="5211" y="3110"/>
                </a:lnTo>
                <a:lnTo>
                  <a:pt x="5218" y="3119"/>
                </a:lnTo>
                <a:lnTo>
                  <a:pt x="5226" y="3129"/>
                </a:lnTo>
                <a:lnTo>
                  <a:pt x="5235" y="3137"/>
                </a:lnTo>
                <a:lnTo>
                  <a:pt x="5244" y="3146"/>
                </a:lnTo>
                <a:lnTo>
                  <a:pt x="5253" y="3153"/>
                </a:lnTo>
                <a:lnTo>
                  <a:pt x="5262" y="3161"/>
                </a:lnTo>
                <a:lnTo>
                  <a:pt x="5273" y="3168"/>
                </a:lnTo>
                <a:lnTo>
                  <a:pt x="5282" y="3175"/>
                </a:lnTo>
                <a:lnTo>
                  <a:pt x="5293" y="3181"/>
                </a:lnTo>
                <a:lnTo>
                  <a:pt x="5304" y="3186"/>
                </a:lnTo>
                <a:lnTo>
                  <a:pt x="5315" y="3191"/>
                </a:lnTo>
                <a:lnTo>
                  <a:pt x="5326" y="3196"/>
                </a:lnTo>
                <a:lnTo>
                  <a:pt x="5338" y="3200"/>
                </a:lnTo>
                <a:lnTo>
                  <a:pt x="5350" y="3204"/>
                </a:lnTo>
                <a:lnTo>
                  <a:pt x="5362" y="3206"/>
                </a:lnTo>
                <a:lnTo>
                  <a:pt x="5374" y="3209"/>
                </a:lnTo>
                <a:lnTo>
                  <a:pt x="5388" y="3210"/>
                </a:lnTo>
                <a:lnTo>
                  <a:pt x="5400" y="3211"/>
                </a:lnTo>
                <a:lnTo>
                  <a:pt x="5413" y="3211"/>
                </a:lnTo>
                <a:close/>
                <a:moveTo>
                  <a:pt x="5413" y="3968"/>
                </a:moveTo>
                <a:lnTo>
                  <a:pt x="5427" y="3968"/>
                </a:lnTo>
                <a:lnTo>
                  <a:pt x="5439" y="3967"/>
                </a:lnTo>
                <a:lnTo>
                  <a:pt x="5453" y="3964"/>
                </a:lnTo>
                <a:lnTo>
                  <a:pt x="5466" y="3962"/>
                </a:lnTo>
                <a:lnTo>
                  <a:pt x="5478" y="3959"/>
                </a:lnTo>
                <a:lnTo>
                  <a:pt x="5491" y="3956"/>
                </a:lnTo>
                <a:lnTo>
                  <a:pt x="5503" y="3952"/>
                </a:lnTo>
                <a:lnTo>
                  <a:pt x="5514" y="3947"/>
                </a:lnTo>
                <a:lnTo>
                  <a:pt x="5526" y="3942"/>
                </a:lnTo>
                <a:lnTo>
                  <a:pt x="5537" y="3937"/>
                </a:lnTo>
                <a:lnTo>
                  <a:pt x="5548" y="3931"/>
                </a:lnTo>
                <a:lnTo>
                  <a:pt x="5558" y="3923"/>
                </a:lnTo>
                <a:lnTo>
                  <a:pt x="5569" y="3916"/>
                </a:lnTo>
                <a:lnTo>
                  <a:pt x="5579" y="3908"/>
                </a:lnTo>
                <a:lnTo>
                  <a:pt x="5588" y="3900"/>
                </a:lnTo>
                <a:lnTo>
                  <a:pt x="5597" y="3891"/>
                </a:lnTo>
                <a:lnTo>
                  <a:pt x="5606" y="3882"/>
                </a:lnTo>
                <a:lnTo>
                  <a:pt x="5614" y="3873"/>
                </a:lnTo>
                <a:lnTo>
                  <a:pt x="5621" y="3863"/>
                </a:lnTo>
                <a:lnTo>
                  <a:pt x="5629" y="3852"/>
                </a:lnTo>
                <a:lnTo>
                  <a:pt x="5635" y="3842"/>
                </a:lnTo>
                <a:lnTo>
                  <a:pt x="5642" y="3832"/>
                </a:lnTo>
                <a:lnTo>
                  <a:pt x="5648" y="3820"/>
                </a:lnTo>
                <a:lnTo>
                  <a:pt x="5653" y="3808"/>
                </a:lnTo>
                <a:lnTo>
                  <a:pt x="5657" y="3797"/>
                </a:lnTo>
                <a:lnTo>
                  <a:pt x="5661" y="3784"/>
                </a:lnTo>
                <a:lnTo>
                  <a:pt x="5665" y="3772"/>
                </a:lnTo>
                <a:lnTo>
                  <a:pt x="5668" y="3760"/>
                </a:lnTo>
                <a:lnTo>
                  <a:pt x="5670" y="3747"/>
                </a:lnTo>
                <a:lnTo>
                  <a:pt x="5672" y="3734"/>
                </a:lnTo>
                <a:lnTo>
                  <a:pt x="5674" y="3720"/>
                </a:lnTo>
                <a:lnTo>
                  <a:pt x="5674" y="3707"/>
                </a:lnTo>
                <a:lnTo>
                  <a:pt x="5674" y="3694"/>
                </a:lnTo>
                <a:lnTo>
                  <a:pt x="5672" y="3680"/>
                </a:lnTo>
                <a:lnTo>
                  <a:pt x="5670" y="3668"/>
                </a:lnTo>
                <a:lnTo>
                  <a:pt x="5668" y="3655"/>
                </a:lnTo>
                <a:lnTo>
                  <a:pt x="5665" y="3642"/>
                </a:lnTo>
                <a:lnTo>
                  <a:pt x="5661" y="3630"/>
                </a:lnTo>
                <a:lnTo>
                  <a:pt x="5657" y="3618"/>
                </a:lnTo>
                <a:lnTo>
                  <a:pt x="5653" y="3606"/>
                </a:lnTo>
                <a:lnTo>
                  <a:pt x="5648" y="3595"/>
                </a:lnTo>
                <a:lnTo>
                  <a:pt x="5642" y="3584"/>
                </a:lnTo>
                <a:lnTo>
                  <a:pt x="5635" y="3572"/>
                </a:lnTo>
                <a:lnTo>
                  <a:pt x="5629" y="3562"/>
                </a:lnTo>
                <a:lnTo>
                  <a:pt x="5621" y="3552"/>
                </a:lnTo>
                <a:lnTo>
                  <a:pt x="5614" y="3541"/>
                </a:lnTo>
                <a:lnTo>
                  <a:pt x="5606" y="3532"/>
                </a:lnTo>
                <a:lnTo>
                  <a:pt x="5597" y="3523"/>
                </a:lnTo>
                <a:lnTo>
                  <a:pt x="5588" y="3515"/>
                </a:lnTo>
                <a:lnTo>
                  <a:pt x="5579" y="3506"/>
                </a:lnTo>
                <a:lnTo>
                  <a:pt x="5569" y="3498"/>
                </a:lnTo>
                <a:lnTo>
                  <a:pt x="5558" y="3491"/>
                </a:lnTo>
                <a:lnTo>
                  <a:pt x="5548" y="3485"/>
                </a:lnTo>
                <a:lnTo>
                  <a:pt x="5537" y="3479"/>
                </a:lnTo>
                <a:lnTo>
                  <a:pt x="5526" y="3472"/>
                </a:lnTo>
                <a:lnTo>
                  <a:pt x="5514" y="3467"/>
                </a:lnTo>
                <a:lnTo>
                  <a:pt x="5503" y="3462"/>
                </a:lnTo>
                <a:lnTo>
                  <a:pt x="5491" y="3458"/>
                </a:lnTo>
                <a:lnTo>
                  <a:pt x="5478" y="3455"/>
                </a:lnTo>
                <a:lnTo>
                  <a:pt x="5466" y="3452"/>
                </a:lnTo>
                <a:lnTo>
                  <a:pt x="5453" y="3450"/>
                </a:lnTo>
                <a:lnTo>
                  <a:pt x="5439" y="3448"/>
                </a:lnTo>
                <a:lnTo>
                  <a:pt x="5427" y="3447"/>
                </a:lnTo>
                <a:lnTo>
                  <a:pt x="5413" y="3447"/>
                </a:lnTo>
                <a:lnTo>
                  <a:pt x="5400" y="3447"/>
                </a:lnTo>
                <a:lnTo>
                  <a:pt x="5387" y="3448"/>
                </a:lnTo>
                <a:lnTo>
                  <a:pt x="5373" y="3450"/>
                </a:lnTo>
                <a:lnTo>
                  <a:pt x="5361" y="3452"/>
                </a:lnTo>
                <a:lnTo>
                  <a:pt x="5349" y="3455"/>
                </a:lnTo>
                <a:lnTo>
                  <a:pt x="5336" y="3458"/>
                </a:lnTo>
                <a:lnTo>
                  <a:pt x="5324" y="3462"/>
                </a:lnTo>
                <a:lnTo>
                  <a:pt x="5312" y="3467"/>
                </a:lnTo>
                <a:lnTo>
                  <a:pt x="5300" y="3472"/>
                </a:lnTo>
                <a:lnTo>
                  <a:pt x="5289" y="3479"/>
                </a:lnTo>
                <a:lnTo>
                  <a:pt x="5279" y="3485"/>
                </a:lnTo>
                <a:lnTo>
                  <a:pt x="5268" y="3491"/>
                </a:lnTo>
                <a:lnTo>
                  <a:pt x="5257" y="3498"/>
                </a:lnTo>
                <a:lnTo>
                  <a:pt x="5248" y="3506"/>
                </a:lnTo>
                <a:lnTo>
                  <a:pt x="5239" y="3515"/>
                </a:lnTo>
                <a:lnTo>
                  <a:pt x="5230" y="3523"/>
                </a:lnTo>
                <a:lnTo>
                  <a:pt x="5220" y="3532"/>
                </a:lnTo>
                <a:lnTo>
                  <a:pt x="5212" y="3541"/>
                </a:lnTo>
                <a:lnTo>
                  <a:pt x="5205" y="3552"/>
                </a:lnTo>
                <a:lnTo>
                  <a:pt x="5198" y="3562"/>
                </a:lnTo>
                <a:lnTo>
                  <a:pt x="5190" y="3572"/>
                </a:lnTo>
                <a:lnTo>
                  <a:pt x="5184" y="3584"/>
                </a:lnTo>
                <a:lnTo>
                  <a:pt x="5178" y="3595"/>
                </a:lnTo>
                <a:lnTo>
                  <a:pt x="5173" y="3606"/>
                </a:lnTo>
                <a:lnTo>
                  <a:pt x="5169" y="3618"/>
                </a:lnTo>
                <a:lnTo>
                  <a:pt x="5165" y="3630"/>
                </a:lnTo>
                <a:lnTo>
                  <a:pt x="5161" y="3642"/>
                </a:lnTo>
                <a:lnTo>
                  <a:pt x="5159" y="3655"/>
                </a:lnTo>
                <a:lnTo>
                  <a:pt x="5156" y="3668"/>
                </a:lnTo>
                <a:lnTo>
                  <a:pt x="5154" y="3680"/>
                </a:lnTo>
                <a:lnTo>
                  <a:pt x="5153" y="3694"/>
                </a:lnTo>
                <a:lnTo>
                  <a:pt x="5152" y="3707"/>
                </a:lnTo>
                <a:lnTo>
                  <a:pt x="5153" y="3720"/>
                </a:lnTo>
                <a:lnTo>
                  <a:pt x="5154" y="3734"/>
                </a:lnTo>
                <a:lnTo>
                  <a:pt x="5156" y="3747"/>
                </a:lnTo>
                <a:lnTo>
                  <a:pt x="5159" y="3760"/>
                </a:lnTo>
                <a:lnTo>
                  <a:pt x="5161" y="3772"/>
                </a:lnTo>
                <a:lnTo>
                  <a:pt x="5165" y="3784"/>
                </a:lnTo>
                <a:lnTo>
                  <a:pt x="5169" y="3797"/>
                </a:lnTo>
                <a:lnTo>
                  <a:pt x="5173" y="3808"/>
                </a:lnTo>
                <a:lnTo>
                  <a:pt x="5178" y="3820"/>
                </a:lnTo>
                <a:lnTo>
                  <a:pt x="5184" y="3832"/>
                </a:lnTo>
                <a:lnTo>
                  <a:pt x="5190" y="3842"/>
                </a:lnTo>
                <a:lnTo>
                  <a:pt x="5198" y="3852"/>
                </a:lnTo>
                <a:lnTo>
                  <a:pt x="5205" y="3863"/>
                </a:lnTo>
                <a:lnTo>
                  <a:pt x="5212" y="3873"/>
                </a:lnTo>
                <a:lnTo>
                  <a:pt x="5220" y="3882"/>
                </a:lnTo>
                <a:lnTo>
                  <a:pt x="5230" y="3891"/>
                </a:lnTo>
                <a:lnTo>
                  <a:pt x="5239" y="3900"/>
                </a:lnTo>
                <a:lnTo>
                  <a:pt x="5248" y="3908"/>
                </a:lnTo>
                <a:lnTo>
                  <a:pt x="5257" y="3916"/>
                </a:lnTo>
                <a:lnTo>
                  <a:pt x="5268" y="3923"/>
                </a:lnTo>
                <a:lnTo>
                  <a:pt x="5279" y="3931"/>
                </a:lnTo>
                <a:lnTo>
                  <a:pt x="5289" y="3937"/>
                </a:lnTo>
                <a:lnTo>
                  <a:pt x="5300" y="3942"/>
                </a:lnTo>
                <a:lnTo>
                  <a:pt x="5312" y="3947"/>
                </a:lnTo>
                <a:lnTo>
                  <a:pt x="5324" y="3952"/>
                </a:lnTo>
                <a:lnTo>
                  <a:pt x="5336" y="3956"/>
                </a:lnTo>
                <a:lnTo>
                  <a:pt x="5349" y="3959"/>
                </a:lnTo>
                <a:lnTo>
                  <a:pt x="5361" y="3962"/>
                </a:lnTo>
                <a:lnTo>
                  <a:pt x="5373" y="3964"/>
                </a:lnTo>
                <a:lnTo>
                  <a:pt x="5387" y="3967"/>
                </a:lnTo>
                <a:lnTo>
                  <a:pt x="5400" y="3968"/>
                </a:lnTo>
                <a:lnTo>
                  <a:pt x="5413" y="3968"/>
                </a:lnTo>
                <a:close/>
                <a:moveTo>
                  <a:pt x="7286" y="3211"/>
                </a:moveTo>
                <a:lnTo>
                  <a:pt x="7298" y="3211"/>
                </a:lnTo>
                <a:lnTo>
                  <a:pt x="7312" y="3210"/>
                </a:lnTo>
                <a:lnTo>
                  <a:pt x="7324" y="3209"/>
                </a:lnTo>
                <a:lnTo>
                  <a:pt x="7337" y="3206"/>
                </a:lnTo>
                <a:lnTo>
                  <a:pt x="7349" y="3204"/>
                </a:lnTo>
                <a:lnTo>
                  <a:pt x="7361" y="3200"/>
                </a:lnTo>
                <a:lnTo>
                  <a:pt x="7372" y="3196"/>
                </a:lnTo>
                <a:lnTo>
                  <a:pt x="7384" y="3191"/>
                </a:lnTo>
                <a:lnTo>
                  <a:pt x="7395" y="3186"/>
                </a:lnTo>
                <a:lnTo>
                  <a:pt x="7406" y="3181"/>
                </a:lnTo>
                <a:lnTo>
                  <a:pt x="7417" y="3175"/>
                </a:lnTo>
                <a:lnTo>
                  <a:pt x="7427" y="3168"/>
                </a:lnTo>
                <a:lnTo>
                  <a:pt x="7437" y="3161"/>
                </a:lnTo>
                <a:lnTo>
                  <a:pt x="7447" y="3153"/>
                </a:lnTo>
                <a:lnTo>
                  <a:pt x="7456" y="3146"/>
                </a:lnTo>
                <a:lnTo>
                  <a:pt x="7464" y="3137"/>
                </a:lnTo>
                <a:lnTo>
                  <a:pt x="7472" y="3129"/>
                </a:lnTo>
                <a:lnTo>
                  <a:pt x="7480" y="3119"/>
                </a:lnTo>
                <a:lnTo>
                  <a:pt x="7489" y="3110"/>
                </a:lnTo>
                <a:lnTo>
                  <a:pt x="7495" y="3100"/>
                </a:lnTo>
                <a:lnTo>
                  <a:pt x="7502" y="3089"/>
                </a:lnTo>
                <a:lnTo>
                  <a:pt x="7508" y="3079"/>
                </a:lnTo>
                <a:lnTo>
                  <a:pt x="7513" y="3068"/>
                </a:lnTo>
                <a:lnTo>
                  <a:pt x="7518" y="3056"/>
                </a:lnTo>
                <a:lnTo>
                  <a:pt x="7524" y="3045"/>
                </a:lnTo>
                <a:lnTo>
                  <a:pt x="7527" y="3034"/>
                </a:lnTo>
                <a:lnTo>
                  <a:pt x="7531" y="3021"/>
                </a:lnTo>
                <a:lnTo>
                  <a:pt x="7533" y="3009"/>
                </a:lnTo>
                <a:lnTo>
                  <a:pt x="7536" y="2997"/>
                </a:lnTo>
                <a:lnTo>
                  <a:pt x="7537" y="2984"/>
                </a:lnTo>
                <a:lnTo>
                  <a:pt x="7538" y="2971"/>
                </a:lnTo>
                <a:lnTo>
                  <a:pt x="7539" y="2959"/>
                </a:lnTo>
                <a:lnTo>
                  <a:pt x="7539" y="757"/>
                </a:lnTo>
                <a:lnTo>
                  <a:pt x="7538" y="744"/>
                </a:lnTo>
                <a:lnTo>
                  <a:pt x="7537" y="731"/>
                </a:lnTo>
                <a:lnTo>
                  <a:pt x="7536" y="719"/>
                </a:lnTo>
                <a:lnTo>
                  <a:pt x="7533" y="706"/>
                </a:lnTo>
                <a:lnTo>
                  <a:pt x="7531" y="694"/>
                </a:lnTo>
                <a:lnTo>
                  <a:pt x="7527" y="683"/>
                </a:lnTo>
                <a:lnTo>
                  <a:pt x="7524" y="670"/>
                </a:lnTo>
                <a:lnTo>
                  <a:pt x="7518" y="659"/>
                </a:lnTo>
                <a:lnTo>
                  <a:pt x="7513" y="648"/>
                </a:lnTo>
                <a:lnTo>
                  <a:pt x="7508" y="637"/>
                </a:lnTo>
                <a:lnTo>
                  <a:pt x="7502" y="626"/>
                </a:lnTo>
                <a:lnTo>
                  <a:pt x="7495" y="616"/>
                </a:lnTo>
                <a:lnTo>
                  <a:pt x="7489" y="606"/>
                </a:lnTo>
                <a:lnTo>
                  <a:pt x="7480" y="596"/>
                </a:lnTo>
                <a:lnTo>
                  <a:pt x="7472" y="587"/>
                </a:lnTo>
                <a:lnTo>
                  <a:pt x="7464" y="579"/>
                </a:lnTo>
                <a:lnTo>
                  <a:pt x="7456" y="570"/>
                </a:lnTo>
                <a:lnTo>
                  <a:pt x="7447" y="562"/>
                </a:lnTo>
                <a:lnTo>
                  <a:pt x="7437" y="555"/>
                </a:lnTo>
                <a:lnTo>
                  <a:pt x="7427" y="548"/>
                </a:lnTo>
                <a:lnTo>
                  <a:pt x="7417" y="540"/>
                </a:lnTo>
                <a:lnTo>
                  <a:pt x="7406" y="535"/>
                </a:lnTo>
                <a:lnTo>
                  <a:pt x="7395" y="529"/>
                </a:lnTo>
                <a:lnTo>
                  <a:pt x="7384" y="524"/>
                </a:lnTo>
                <a:lnTo>
                  <a:pt x="7372" y="520"/>
                </a:lnTo>
                <a:lnTo>
                  <a:pt x="7361" y="516"/>
                </a:lnTo>
                <a:lnTo>
                  <a:pt x="7349" y="513"/>
                </a:lnTo>
                <a:lnTo>
                  <a:pt x="7337" y="510"/>
                </a:lnTo>
                <a:lnTo>
                  <a:pt x="7324" y="508"/>
                </a:lnTo>
                <a:lnTo>
                  <a:pt x="7312" y="505"/>
                </a:lnTo>
                <a:lnTo>
                  <a:pt x="7298" y="504"/>
                </a:lnTo>
                <a:lnTo>
                  <a:pt x="7286" y="504"/>
                </a:lnTo>
                <a:lnTo>
                  <a:pt x="7273" y="504"/>
                </a:lnTo>
                <a:lnTo>
                  <a:pt x="7260" y="505"/>
                </a:lnTo>
                <a:lnTo>
                  <a:pt x="7248" y="508"/>
                </a:lnTo>
                <a:lnTo>
                  <a:pt x="7235" y="510"/>
                </a:lnTo>
                <a:lnTo>
                  <a:pt x="7223" y="513"/>
                </a:lnTo>
                <a:lnTo>
                  <a:pt x="7211" y="516"/>
                </a:lnTo>
                <a:lnTo>
                  <a:pt x="7200" y="520"/>
                </a:lnTo>
                <a:lnTo>
                  <a:pt x="7187" y="524"/>
                </a:lnTo>
                <a:lnTo>
                  <a:pt x="7177" y="529"/>
                </a:lnTo>
                <a:lnTo>
                  <a:pt x="7166" y="535"/>
                </a:lnTo>
                <a:lnTo>
                  <a:pt x="7156" y="540"/>
                </a:lnTo>
                <a:lnTo>
                  <a:pt x="7145" y="548"/>
                </a:lnTo>
                <a:lnTo>
                  <a:pt x="7135" y="555"/>
                </a:lnTo>
                <a:lnTo>
                  <a:pt x="7126" y="562"/>
                </a:lnTo>
                <a:lnTo>
                  <a:pt x="7117" y="570"/>
                </a:lnTo>
                <a:lnTo>
                  <a:pt x="7107" y="579"/>
                </a:lnTo>
                <a:lnTo>
                  <a:pt x="7099" y="587"/>
                </a:lnTo>
                <a:lnTo>
                  <a:pt x="7091" y="596"/>
                </a:lnTo>
                <a:lnTo>
                  <a:pt x="7084" y="606"/>
                </a:lnTo>
                <a:lnTo>
                  <a:pt x="7076" y="616"/>
                </a:lnTo>
                <a:lnTo>
                  <a:pt x="7070" y="626"/>
                </a:lnTo>
                <a:lnTo>
                  <a:pt x="7064" y="637"/>
                </a:lnTo>
                <a:lnTo>
                  <a:pt x="7059" y="648"/>
                </a:lnTo>
                <a:lnTo>
                  <a:pt x="7054" y="659"/>
                </a:lnTo>
                <a:lnTo>
                  <a:pt x="7049" y="670"/>
                </a:lnTo>
                <a:lnTo>
                  <a:pt x="7045" y="683"/>
                </a:lnTo>
                <a:lnTo>
                  <a:pt x="7042" y="694"/>
                </a:lnTo>
                <a:lnTo>
                  <a:pt x="7038" y="706"/>
                </a:lnTo>
                <a:lnTo>
                  <a:pt x="7036" y="719"/>
                </a:lnTo>
                <a:lnTo>
                  <a:pt x="7035" y="731"/>
                </a:lnTo>
                <a:lnTo>
                  <a:pt x="7034" y="744"/>
                </a:lnTo>
                <a:lnTo>
                  <a:pt x="7033" y="757"/>
                </a:lnTo>
                <a:lnTo>
                  <a:pt x="7033" y="2959"/>
                </a:lnTo>
                <a:lnTo>
                  <a:pt x="7034" y="2971"/>
                </a:lnTo>
                <a:lnTo>
                  <a:pt x="7035" y="2984"/>
                </a:lnTo>
                <a:lnTo>
                  <a:pt x="7036" y="2997"/>
                </a:lnTo>
                <a:lnTo>
                  <a:pt x="7038" y="3009"/>
                </a:lnTo>
                <a:lnTo>
                  <a:pt x="7042" y="3021"/>
                </a:lnTo>
                <a:lnTo>
                  <a:pt x="7045" y="3034"/>
                </a:lnTo>
                <a:lnTo>
                  <a:pt x="7049" y="3045"/>
                </a:lnTo>
                <a:lnTo>
                  <a:pt x="7054" y="3056"/>
                </a:lnTo>
                <a:lnTo>
                  <a:pt x="7059" y="3068"/>
                </a:lnTo>
                <a:lnTo>
                  <a:pt x="7064" y="3079"/>
                </a:lnTo>
                <a:lnTo>
                  <a:pt x="7070" y="3089"/>
                </a:lnTo>
                <a:lnTo>
                  <a:pt x="7076" y="3100"/>
                </a:lnTo>
                <a:lnTo>
                  <a:pt x="7084" y="3110"/>
                </a:lnTo>
                <a:lnTo>
                  <a:pt x="7091" y="3119"/>
                </a:lnTo>
                <a:lnTo>
                  <a:pt x="7099" y="3129"/>
                </a:lnTo>
                <a:lnTo>
                  <a:pt x="7107" y="3137"/>
                </a:lnTo>
                <a:lnTo>
                  <a:pt x="7117" y="3146"/>
                </a:lnTo>
                <a:lnTo>
                  <a:pt x="7126" y="3153"/>
                </a:lnTo>
                <a:lnTo>
                  <a:pt x="7135" y="3161"/>
                </a:lnTo>
                <a:lnTo>
                  <a:pt x="7145" y="3168"/>
                </a:lnTo>
                <a:lnTo>
                  <a:pt x="7156" y="3175"/>
                </a:lnTo>
                <a:lnTo>
                  <a:pt x="7166" y="3181"/>
                </a:lnTo>
                <a:lnTo>
                  <a:pt x="7177" y="3186"/>
                </a:lnTo>
                <a:lnTo>
                  <a:pt x="7187" y="3191"/>
                </a:lnTo>
                <a:lnTo>
                  <a:pt x="7200" y="3196"/>
                </a:lnTo>
                <a:lnTo>
                  <a:pt x="7211" y="3200"/>
                </a:lnTo>
                <a:lnTo>
                  <a:pt x="7223" y="3204"/>
                </a:lnTo>
                <a:lnTo>
                  <a:pt x="7235" y="3206"/>
                </a:lnTo>
                <a:lnTo>
                  <a:pt x="7248" y="3209"/>
                </a:lnTo>
                <a:lnTo>
                  <a:pt x="7260" y="3210"/>
                </a:lnTo>
                <a:lnTo>
                  <a:pt x="7273" y="3211"/>
                </a:lnTo>
                <a:lnTo>
                  <a:pt x="7286" y="3211"/>
                </a:lnTo>
                <a:close/>
                <a:moveTo>
                  <a:pt x="7286" y="3968"/>
                </a:moveTo>
                <a:lnTo>
                  <a:pt x="7300" y="3968"/>
                </a:lnTo>
                <a:lnTo>
                  <a:pt x="7313" y="3967"/>
                </a:lnTo>
                <a:lnTo>
                  <a:pt x="7325" y="3964"/>
                </a:lnTo>
                <a:lnTo>
                  <a:pt x="7339" y="3962"/>
                </a:lnTo>
                <a:lnTo>
                  <a:pt x="7351" y="3959"/>
                </a:lnTo>
                <a:lnTo>
                  <a:pt x="7363" y="3956"/>
                </a:lnTo>
                <a:lnTo>
                  <a:pt x="7376" y="3952"/>
                </a:lnTo>
                <a:lnTo>
                  <a:pt x="7387" y="3947"/>
                </a:lnTo>
                <a:lnTo>
                  <a:pt x="7398" y="3942"/>
                </a:lnTo>
                <a:lnTo>
                  <a:pt x="7410" y="3937"/>
                </a:lnTo>
                <a:lnTo>
                  <a:pt x="7421" y="3931"/>
                </a:lnTo>
                <a:lnTo>
                  <a:pt x="7431" y="3923"/>
                </a:lnTo>
                <a:lnTo>
                  <a:pt x="7441" y="3916"/>
                </a:lnTo>
                <a:lnTo>
                  <a:pt x="7452" y="3908"/>
                </a:lnTo>
                <a:lnTo>
                  <a:pt x="7461" y="3900"/>
                </a:lnTo>
                <a:lnTo>
                  <a:pt x="7470" y="3891"/>
                </a:lnTo>
                <a:lnTo>
                  <a:pt x="7478" y="3882"/>
                </a:lnTo>
                <a:lnTo>
                  <a:pt x="7487" y="3873"/>
                </a:lnTo>
                <a:lnTo>
                  <a:pt x="7495" y="3863"/>
                </a:lnTo>
                <a:lnTo>
                  <a:pt x="7502" y="3852"/>
                </a:lnTo>
                <a:lnTo>
                  <a:pt x="7508" y="3842"/>
                </a:lnTo>
                <a:lnTo>
                  <a:pt x="7514" y="3832"/>
                </a:lnTo>
                <a:lnTo>
                  <a:pt x="7521" y="3820"/>
                </a:lnTo>
                <a:lnTo>
                  <a:pt x="7526" y="3808"/>
                </a:lnTo>
                <a:lnTo>
                  <a:pt x="7531" y="3797"/>
                </a:lnTo>
                <a:lnTo>
                  <a:pt x="7535" y="3784"/>
                </a:lnTo>
                <a:lnTo>
                  <a:pt x="7538" y="3772"/>
                </a:lnTo>
                <a:lnTo>
                  <a:pt x="7541" y="3760"/>
                </a:lnTo>
                <a:lnTo>
                  <a:pt x="7543" y="3747"/>
                </a:lnTo>
                <a:lnTo>
                  <a:pt x="7545" y="3734"/>
                </a:lnTo>
                <a:lnTo>
                  <a:pt x="7546" y="3720"/>
                </a:lnTo>
                <a:lnTo>
                  <a:pt x="7546" y="3707"/>
                </a:lnTo>
                <a:lnTo>
                  <a:pt x="7546" y="3694"/>
                </a:lnTo>
                <a:lnTo>
                  <a:pt x="7545" y="3680"/>
                </a:lnTo>
                <a:lnTo>
                  <a:pt x="7543" y="3668"/>
                </a:lnTo>
                <a:lnTo>
                  <a:pt x="7541" y="3655"/>
                </a:lnTo>
                <a:lnTo>
                  <a:pt x="7538" y="3642"/>
                </a:lnTo>
                <a:lnTo>
                  <a:pt x="7535" y="3630"/>
                </a:lnTo>
                <a:lnTo>
                  <a:pt x="7531" y="3618"/>
                </a:lnTo>
                <a:lnTo>
                  <a:pt x="7526" y="3606"/>
                </a:lnTo>
                <a:lnTo>
                  <a:pt x="7521" y="3595"/>
                </a:lnTo>
                <a:lnTo>
                  <a:pt x="7514" y="3584"/>
                </a:lnTo>
                <a:lnTo>
                  <a:pt x="7508" y="3572"/>
                </a:lnTo>
                <a:lnTo>
                  <a:pt x="7502" y="3562"/>
                </a:lnTo>
                <a:lnTo>
                  <a:pt x="7495" y="3552"/>
                </a:lnTo>
                <a:lnTo>
                  <a:pt x="7487" y="3541"/>
                </a:lnTo>
                <a:lnTo>
                  <a:pt x="7478" y="3532"/>
                </a:lnTo>
                <a:lnTo>
                  <a:pt x="7470" y="3523"/>
                </a:lnTo>
                <a:lnTo>
                  <a:pt x="7461" y="3515"/>
                </a:lnTo>
                <a:lnTo>
                  <a:pt x="7452" y="3506"/>
                </a:lnTo>
                <a:lnTo>
                  <a:pt x="7441" y="3498"/>
                </a:lnTo>
                <a:lnTo>
                  <a:pt x="7431" y="3491"/>
                </a:lnTo>
                <a:lnTo>
                  <a:pt x="7421" y="3485"/>
                </a:lnTo>
                <a:lnTo>
                  <a:pt x="7410" y="3479"/>
                </a:lnTo>
                <a:lnTo>
                  <a:pt x="7398" y="3472"/>
                </a:lnTo>
                <a:lnTo>
                  <a:pt x="7387" y="3467"/>
                </a:lnTo>
                <a:lnTo>
                  <a:pt x="7376" y="3462"/>
                </a:lnTo>
                <a:lnTo>
                  <a:pt x="7363" y="3458"/>
                </a:lnTo>
                <a:lnTo>
                  <a:pt x="7351" y="3455"/>
                </a:lnTo>
                <a:lnTo>
                  <a:pt x="7339" y="3452"/>
                </a:lnTo>
                <a:lnTo>
                  <a:pt x="7325" y="3450"/>
                </a:lnTo>
                <a:lnTo>
                  <a:pt x="7313" y="3448"/>
                </a:lnTo>
                <a:lnTo>
                  <a:pt x="7300" y="3447"/>
                </a:lnTo>
                <a:lnTo>
                  <a:pt x="7286" y="3447"/>
                </a:lnTo>
                <a:lnTo>
                  <a:pt x="7273" y="3447"/>
                </a:lnTo>
                <a:lnTo>
                  <a:pt x="7259" y="3448"/>
                </a:lnTo>
                <a:lnTo>
                  <a:pt x="7246" y="3450"/>
                </a:lnTo>
                <a:lnTo>
                  <a:pt x="7234" y="3452"/>
                </a:lnTo>
                <a:lnTo>
                  <a:pt x="7221" y="3455"/>
                </a:lnTo>
                <a:lnTo>
                  <a:pt x="7209" y="3458"/>
                </a:lnTo>
                <a:lnTo>
                  <a:pt x="7197" y="3462"/>
                </a:lnTo>
                <a:lnTo>
                  <a:pt x="7184" y="3467"/>
                </a:lnTo>
                <a:lnTo>
                  <a:pt x="7173" y="3472"/>
                </a:lnTo>
                <a:lnTo>
                  <a:pt x="7162" y="3479"/>
                </a:lnTo>
                <a:lnTo>
                  <a:pt x="7152" y="3485"/>
                </a:lnTo>
                <a:lnTo>
                  <a:pt x="7140" y="3491"/>
                </a:lnTo>
                <a:lnTo>
                  <a:pt x="7131" y="3498"/>
                </a:lnTo>
                <a:lnTo>
                  <a:pt x="7121" y="3506"/>
                </a:lnTo>
                <a:lnTo>
                  <a:pt x="7111" y="3515"/>
                </a:lnTo>
                <a:lnTo>
                  <a:pt x="7102" y="3523"/>
                </a:lnTo>
                <a:lnTo>
                  <a:pt x="7094" y="3532"/>
                </a:lnTo>
                <a:lnTo>
                  <a:pt x="7086" y="3541"/>
                </a:lnTo>
                <a:lnTo>
                  <a:pt x="7078" y="3552"/>
                </a:lnTo>
                <a:lnTo>
                  <a:pt x="7070" y="3562"/>
                </a:lnTo>
                <a:lnTo>
                  <a:pt x="7063" y="3572"/>
                </a:lnTo>
                <a:lnTo>
                  <a:pt x="7057" y="3584"/>
                </a:lnTo>
                <a:lnTo>
                  <a:pt x="7052" y="3595"/>
                </a:lnTo>
                <a:lnTo>
                  <a:pt x="7047" y="3606"/>
                </a:lnTo>
                <a:lnTo>
                  <a:pt x="7042" y="3618"/>
                </a:lnTo>
                <a:lnTo>
                  <a:pt x="7037" y="3630"/>
                </a:lnTo>
                <a:lnTo>
                  <a:pt x="7034" y="3642"/>
                </a:lnTo>
                <a:lnTo>
                  <a:pt x="7031" y="3655"/>
                </a:lnTo>
                <a:lnTo>
                  <a:pt x="7029" y="3668"/>
                </a:lnTo>
                <a:lnTo>
                  <a:pt x="7027" y="3680"/>
                </a:lnTo>
                <a:lnTo>
                  <a:pt x="7026" y="3694"/>
                </a:lnTo>
                <a:lnTo>
                  <a:pt x="7026" y="3707"/>
                </a:lnTo>
                <a:lnTo>
                  <a:pt x="7026" y="3720"/>
                </a:lnTo>
                <a:lnTo>
                  <a:pt x="7027" y="3734"/>
                </a:lnTo>
                <a:lnTo>
                  <a:pt x="7029" y="3747"/>
                </a:lnTo>
                <a:lnTo>
                  <a:pt x="7031" y="3760"/>
                </a:lnTo>
                <a:lnTo>
                  <a:pt x="7034" y="3772"/>
                </a:lnTo>
                <a:lnTo>
                  <a:pt x="7037" y="3784"/>
                </a:lnTo>
                <a:lnTo>
                  <a:pt x="7042" y="3797"/>
                </a:lnTo>
                <a:lnTo>
                  <a:pt x="7047" y="3808"/>
                </a:lnTo>
                <a:lnTo>
                  <a:pt x="7052" y="3820"/>
                </a:lnTo>
                <a:lnTo>
                  <a:pt x="7057" y="3832"/>
                </a:lnTo>
                <a:lnTo>
                  <a:pt x="7063" y="3842"/>
                </a:lnTo>
                <a:lnTo>
                  <a:pt x="7070" y="3852"/>
                </a:lnTo>
                <a:lnTo>
                  <a:pt x="7078" y="3863"/>
                </a:lnTo>
                <a:lnTo>
                  <a:pt x="7086" y="3873"/>
                </a:lnTo>
                <a:lnTo>
                  <a:pt x="7094" y="3882"/>
                </a:lnTo>
                <a:lnTo>
                  <a:pt x="7102" y="3891"/>
                </a:lnTo>
                <a:lnTo>
                  <a:pt x="7111" y="3900"/>
                </a:lnTo>
                <a:lnTo>
                  <a:pt x="7121" y="3908"/>
                </a:lnTo>
                <a:lnTo>
                  <a:pt x="7131" y="3916"/>
                </a:lnTo>
                <a:lnTo>
                  <a:pt x="7140" y="3923"/>
                </a:lnTo>
                <a:lnTo>
                  <a:pt x="7152" y="3931"/>
                </a:lnTo>
                <a:lnTo>
                  <a:pt x="7162" y="3937"/>
                </a:lnTo>
                <a:lnTo>
                  <a:pt x="7173" y="3942"/>
                </a:lnTo>
                <a:lnTo>
                  <a:pt x="7184" y="3947"/>
                </a:lnTo>
                <a:lnTo>
                  <a:pt x="7197" y="3952"/>
                </a:lnTo>
                <a:lnTo>
                  <a:pt x="7209" y="3956"/>
                </a:lnTo>
                <a:lnTo>
                  <a:pt x="7221" y="3959"/>
                </a:lnTo>
                <a:lnTo>
                  <a:pt x="7234" y="3962"/>
                </a:lnTo>
                <a:lnTo>
                  <a:pt x="7246" y="3964"/>
                </a:lnTo>
                <a:lnTo>
                  <a:pt x="7259" y="3967"/>
                </a:lnTo>
                <a:lnTo>
                  <a:pt x="7273" y="3968"/>
                </a:lnTo>
                <a:lnTo>
                  <a:pt x="7286" y="3968"/>
                </a:lnTo>
                <a:close/>
                <a:moveTo>
                  <a:pt x="9159" y="3211"/>
                </a:moveTo>
                <a:lnTo>
                  <a:pt x="9172" y="3211"/>
                </a:lnTo>
                <a:lnTo>
                  <a:pt x="9185" y="3210"/>
                </a:lnTo>
                <a:lnTo>
                  <a:pt x="9197" y="3209"/>
                </a:lnTo>
                <a:lnTo>
                  <a:pt x="9209" y="3206"/>
                </a:lnTo>
                <a:lnTo>
                  <a:pt x="9222" y="3204"/>
                </a:lnTo>
                <a:lnTo>
                  <a:pt x="9234" y="3200"/>
                </a:lnTo>
                <a:lnTo>
                  <a:pt x="9245" y="3196"/>
                </a:lnTo>
                <a:lnTo>
                  <a:pt x="9256" y="3191"/>
                </a:lnTo>
                <a:lnTo>
                  <a:pt x="9268" y="3186"/>
                </a:lnTo>
                <a:lnTo>
                  <a:pt x="9279" y="3181"/>
                </a:lnTo>
                <a:lnTo>
                  <a:pt x="9289" y="3175"/>
                </a:lnTo>
                <a:lnTo>
                  <a:pt x="9300" y="3168"/>
                </a:lnTo>
                <a:lnTo>
                  <a:pt x="9310" y="3161"/>
                </a:lnTo>
                <a:lnTo>
                  <a:pt x="9319" y="3153"/>
                </a:lnTo>
                <a:lnTo>
                  <a:pt x="9328" y="3146"/>
                </a:lnTo>
                <a:lnTo>
                  <a:pt x="9338" y="3137"/>
                </a:lnTo>
                <a:lnTo>
                  <a:pt x="9346" y="3129"/>
                </a:lnTo>
                <a:lnTo>
                  <a:pt x="9353" y="3119"/>
                </a:lnTo>
                <a:lnTo>
                  <a:pt x="9361" y="3110"/>
                </a:lnTo>
                <a:lnTo>
                  <a:pt x="9369" y="3100"/>
                </a:lnTo>
                <a:lnTo>
                  <a:pt x="9375" y="3089"/>
                </a:lnTo>
                <a:lnTo>
                  <a:pt x="9381" y="3079"/>
                </a:lnTo>
                <a:lnTo>
                  <a:pt x="9386" y="3068"/>
                </a:lnTo>
                <a:lnTo>
                  <a:pt x="9391" y="3056"/>
                </a:lnTo>
                <a:lnTo>
                  <a:pt x="9396" y="3045"/>
                </a:lnTo>
                <a:lnTo>
                  <a:pt x="9400" y="3034"/>
                </a:lnTo>
                <a:lnTo>
                  <a:pt x="9403" y="3021"/>
                </a:lnTo>
                <a:lnTo>
                  <a:pt x="9407" y="3009"/>
                </a:lnTo>
                <a:lnTo>
                  <a:pt x="9409" y="2997"/>
                </a:lnTo>
                <a:lnTo>
                  <a:pt x="9410" y="2984"/>
                </a:lnTo>
                <a:lnTo>
                  <a:pt x="9411" y="2971"/>
                </a:lnTo>
                <a:lnTo>
                  <a:pt x="9412" y="2959"/>
                </a:lnTo>
                <a:lnTo>
                  <a:pt x="9412" y="757"/>
                </a:lnTo>
                <a:lnTo>
                  <a:pt x="9411" y="744"/>
                </a:lnTo>
                <a:lnTo>
                  <a:pt x="9410" y="731"/>
                </a:lnTo>
                <a:lnTo>
                  <a:pt x="9409" y="719"/>
                </a:lnTo>
                <a:lnTo>
                  <a:pt x="9407" y="706"/>
                </a:lnTo>
                <a:lnTo>
                  <a:pt x="9403" y="694"/>
                </a:lnTo>
                <a:lnTo>
                  <a:pt x="9400" y="683"/>
                </a:lnTo>
                <a:lnTo>
                  <a:pt x="9396" y="670"/>
                </a:lnTo>
                <a:lnTo>
                  <a:pt x="9391" y="659"/>
                </a:lnTo>
                <a:lnTo>
                  <a:pt x="9386" y="648"/>
                </a:lnTo>
                <a:lnTo>
                  <a:pt x="9381" y="637"/>
                </a:lnTo>
                <a:lnTo>
                  <a:pt x="9375" y="626"/>
                </a:lnTo>
                <a:lnTo>
                  <a:pt x="9369" y="616"/>
                </a:lnTo>
                <a:lnTo>
                  <a:pt x="9361" y="606"/>
                </a:lnTo>
                <a:lnTo>
                  <a:pt x="9353" y="596"/>
                </a:lnTo>
                <a:lnTo>
                  <a:pt x="9346" y="587"/>
                </a:lnTo>
                <a:lnTo>
                  <a:pt x="9338" y="579"/>
                </a:lnTo>
                <a:lnTo>
                  <a:pt x="9328" y="570"/>
                </a:lnTo>
                <a:lnTo>
                  <a:pt x="9319" y="562"/>
                </a:lnTo>
                <a:lnTo>
                  <a:pt x="9310" y="555"/>
                </a:lnTo>
                <a:lnTo>
                  <a:pt x="9300" y="548"/>
                </a:lnTo>
                <a:lnTo>
                  <a:pt x="9289" y="540"/>
                </a:lnTo>
                <a:lnTo>
                  <a:pt x="9279" y="535"/>
                </a:lnTo>
                <a:lnTo>
                  <a:pt x="9268" y="529"/>
                </a:lnTo>
                <a:lnTo>
                  <a:pt x="9256" y="524"/>
                </a:lnTo>
                <a:lnTo>
                  <a:pt x="9245" y="520"/>
                </a:lnTo>
                <a:lnTo>
                  <a:pt x="9234" y="516"/>
                </a:lnTo>
                <a:lnTo>
                  <a:pt x="9222" y="513"/>
                </a:lnTo>
                <a:lnTo>
                  <a:pt x="9209" y="510"/>
                </a:lnTo>
                <a:lnTo>
                  <a:pt x="9197" y="508"/>
                </a:lnTo>
                <a:lnTo>
                  <a:pt x="9185" y="505"/>
                </a:lnTo>
                <a:lnTo>
                  <a:pt x="9172" y="504"/>
                </a:lnTo>
                <a:lnTo>
                  <a:pt x="9159" y="504"/>
                </a:lnTo>
                <a:lnTo>
                  <a:pt x="9145" y="504"/>
                </a:lnTo>
                <a:lnTo>
                  <a:pt x="9133" y="505"/>
                </a:lnTo>
                <a:lnTo>
                  <a:pt x="9121" y="508"/>
                </a:lnTo>
                <a:lnTo>
                  <a:pt x="9108" y="510"/>
                </a:lnTo>
                <a:lnTo>
                  <a:pt x="9096" y="513"/>
                </a:lnTo>
                <a:lnTo>
                  <a:pt x="9084" y="516"/>
                </a:lnTo>
                <a:lnTo>
                  <a:pt x="9073" y="520"/>
                </a:lnTo>
                <a:lnTo>
                  <a:pt x="9061" y="524"/>
                </a:lnTo>
                <a:lnTo>
                  <a:pt x="9050" y="529"/>
                </a:lnTo>
                <a:lnTo>
                  <a:pt x="9039" y="535"/>
                </a:lnTo>
                <a:lnTo>
                  <a:pt x="9028" y="540"/>
                </a:lnTo>
                <a:lnTo>
                  <a:pt x="9018" y="548"/>
                </a:lnTo>
                <a:lnTo>
                  <a:pt x="9008" y="555"/>
                </a:lnTo>
                <a:lnTo>
                  <a:pt x="8998" y="562"/>
                </a:lnTo>
                <a:lnTo>
                  <a:pt x="8989" y="570"/>
                </a:lnTo>
                <a:lnTo>
                  <a:pt x="8981" y="579"/>
                </a:lnTo>
                <a:lnTo>
                  <a:pt x="8972" y="587"/>
                </a:lnTo>
                <a:lnTo>
                  <a:pt x="8965" y="596"/>
                </a:lnTo>
                <a:lnTo>
                  <a:pt x="8956" y="606"/>
                </a:lnTo>
                <a:lnTo>
                  <a:pt x="8949" y="616"/>
                </a:lnTo>
                <a:lnTo>
                  <a:pt x="8943" y="626"/>
                </a:lnTo>
                <a:lnTo>
                  <a:pt x="8937" y="637"/>
                </a:lnTo>
                <a:lnTo>
                  <a:pt x="8932" y="648"/>
                </a:lnTo>
                <a:lnTo>
                  <a:pt x="8927" y="659"/>
                </a:lnTo>
                <a:lnTo>
                  <a:pt x="8921" y="670"/>
                </a:lnTo>
                <a:lnTo>
                  <a:pt x="8918" y="683"/>
                </a:lnTo>
                <a:lnTo>
                  <a:pt x="8914" y="694"/>
                </a:lnTo>
                <a:lnTo>
                  <a:pt x="8911" y="706"/>
                </a:lnTo>
                <a:lnTo>
                  <a:pt x="8909" y="719"/>
                </a:lnTo>
                <a:lnTo>
                  <a:pt x="8908" y="731"/>
                </a:lnTo>
                <a:lnTo>
                  <a:pt x="8907" y="744"/>
                </a:lnTo>
                <a:lnTo>
                  <a:pt x="8906" y="757"/>
                </a:lnTo>
                <a:lnTo>
                  <a:pt x="8906" y="2959"/>
                </a:lnTo>
                <a:lnTo>
                  <a:pt x="8907" y="2971"/>
                </a:lnTo>
                <a:lnTo>
                  <a:pt x="8908" y="2984"/>
                </a:lnTo>
                <a:lnTo>
                  <a:pt x="8909" y="2997"/>
                </a:lnTo>
                <a:lnTo>
                  <a:pt x="8911" y="3009"/>
                </a:lnTo>
                <a:lnTo>
                  <a:pt x="8914" y="3021"/>
                </a:lnTo>
                <a:lnTo>
                  <a:pt x="8918" y="3034"/>
                </a:lnTo>
                <a:lnTo>
                  <a:pt x="8921" y="3045"/>
                </a:lnTo>
                <a:lnTo>
                  <a:pt x="8927" y="3056"/>
                </a:lnTo>
                <a:lnTo>
                  <a:pt x="8932" y="3068"/>
                </a:lnTo>
                <a:lnTo>
                  <a:pt x="8937" y="3079"/>
                </a:lnTo>
                <a:lnTo>
                  <a:pt x="8943" y="3089"/>
                </a:lnTo>
                <a:lnTo>
                  <a:pt x="8949" y="3100"/>
                </a:lnTo>
                <a:lnTo>
                  <a:pt x="8956" y="3110"/>
                </a:lnTo>
                <a:lnTo>
                  <a:pt x="8965" y="3119"/>
                </a:lnTo>
                <a:lnTo>
                  <a:pt x="8972" y="3129"/>
                </a:lnTo>
                <a:lnTo>
                  <a:pt x="8981" y="3137"/>
                </a:lnTo>
                <a:lnTo>
                  <a:pt x="8989" y="3146"/>
                </a:lnTo>
                <a:lnTo>
                  <a:pt x="8998" y="3153"/>
                </a:lnTo>
                <a:lnTo>
                  <a:pt x="9008" y="3161"/>
                </a:lnTo>
                <a:lnTo>
                  <a:pt x="9018" y="3168"/>
                </a:lnTo>
                <a:lnTo>
                  <a:pt x="9028" y="3175"/>
                </a:lnTo>
                <a:lnTo>
                  <a:pt x="9039" y="3181"/>
                </a:lnTo>
                <a:lnTo>
                  <a:pt x="9050" y="3186"/>
                </a:lnTo>
                <a:lnTo>
                  <a:pt x="9061" y="3191"/>
                </a:lnTo>
                <a:lnTo>
                  <a:pt x="9073" y="3196"/>
                </a:lnTo>
                <a:lnTo>
                  <a:pt x="9084" y="3200"/>
                </a:lnTo>
                <a:lnTo>
                  <a:pt x="9096" y="3204"/>
                </a:lnTo>
                <a:lnTo>
                  <a:pt x="9108" y="3206"/>
                </a:lnTo>
                <a:lnTo>
                  <a:pt x="9121" y="3209"/>
                </a:lnTo>
                <a:lnTo>
                  <a:pt x="9133" y="3210"/>
                </a:lnTo>
                <a:lnTo>
                  <a:pt x="9145" y="3211"/>
                </a:lnTo>
                <a:lnTo>
                  <a:pt x="9159" y="3211"/>
                </a:lnTo>
                <a:close/>
                <a:moveTo>
                  <a:pt x="9159" y="3968"/>
                </a:moveTo>
                <a:lnTo>
                  <a:pt x="9172" y="3968"/>
                </a:lnTo>
                <a:lnTo>
                  <a:pt x="9186" y="3967"/>
                </a:lnTo>
                <a:lnTo>
                  <a:pt x="9199" y="3964"/>
                </a:lnTo>
                <a:lnTo>
                  <a:pt x="9211" y="3962"/>
                </a:lnTo>
                <a:lnTo>
                  <a:pt x="9224" y="3959"/>
                </a:lnTo>
                <a:lnTo>
                  <a:pt x="9236" y="3956"/>
                </a:lnTo>
                <a:lnTo>
                  <a:pt x="9248" y="3952"/>
                </a:lnTo>
                <a:lnTo>
                  <a:pt x="9261" y="3947"/>
                </a:lnTo>
                <a:lnTo>
                  <a:pt x="9272" y="3942"/>
                </a:lnTo>
                <a:lnTo>
                  <a:pt x="9283" y="3937"/>
                </a:lnTo>
                <a:lnTo>
                  <a:pt x="9293" y="3931"/>
                </a:lnTo>
                <a:lnTo>
                  <a:pt x="9305" y="3923"/>
                </a:lnTo>
                <a:lnTo>
                  <a:pt x="9314" y="3916"/>
                </a:lnTo>
                <a:lnTo>
                  <a:pt x="9324" y="3908"/>
                </a:lnTo>
                <a:lnTo>
                  <a:pt x="9334" y="3900"/>
                </a:lnTo>
                <a:lnTo>
                  <a:pt x="9343" y="3891"/>
                </a:lnTo>
                <a:lnTo>
                  <a:pt x="9351" y="3882"/>
                </a:lnTo>
                <a:lnTo>
                  <a:pt x="9359" y="3873"/>
                </a:lnTo>
                <a:lnTo>
                  <a:pt x="9367" y="3863"/>
                </a:lnTo>
                <a:lnTo>
                  <a:pt x="9375" y="3852"/>
                </a:lnTo>
                <a:lnTo>
                  <a:pt x="9382" y="3842"/>
                </a:lnTo>
                <a:lnTo>
                  <a:pt x="9388" y="3832"/>
                </a:lnTo>
                <a:lnTo>
                  <a:pt x="9393" y="3820"/>
                </a:lnTo>
                <a:lnTo>
                  <a:pt x="9398" y="3808"/>
                </a:lnTo>
                <a:lnTo>
                  <a:pt x="9403" y="3797"/>
                </a:lnTo>
                <a:lnTo>
                  <a:pt x="9408" y="3784"/>
                </a:lnTo>
                <a:lnTo>
                  <a:pt x="9411" y="3772"/>
                </a:lnTo>
                <a:lnTo>
                  <a:pt x="9414" y="3760"/>
                </a:lnTo>
                <a:lnTo>
                  <a:pt x="9416" y="3747"/>
                </a:lnTo>
                <a:lnTo>
                  <a:pt x="9418" y="3734"/>
                </a:lnTo>
                <a:lnTo>
                  <a:pt x="9419" y="3720"/>
                </a:lnTo>
                <a:lnTo>
                  <a:pt x="9419" y="3707"/>
                </a:lnTo>
                <a:lnTo>
                  <a:pt x="9419" y="3694"/>
                </a:lnTo>
                <a:lnTo>
                  <a:pt x="9418" y="3680"/>
                </a:lnTo>
                <a:lnTo>
                  <a:pt x="9416" y="3668"/>
                </a:lnTo>
                <a:lnTo>
                  <a:pt x="9414" y="3655"/>
                </a:lnTo>
                <a:lnTo>
                  <a:pt x="9411" y="3642"/>
                </a:lnTo>
                <a:lnTo>
                  <a:pt x="9408" y="3630"/>
                </a:lnTo>
                <a:lnTo>
                  <a:pt x="9403" y="3618"/>
                </a:lnTo>
                <a:lnTo>
                  <a:pt x="9398" y="3606"/>
                </a:lnTo>
                <a:lnTo>
                  <a:pt x="9393" y="3595"/>
                </a:lnTo>
                <a:lnTo>
                  <a:pt x="9388" y="3584"/>
                </a:lnTo>
                <a:lnTo>
                  <a:pt x="9382" y="3572"/>
                </a:lnTo>
                <a:lnTo>
                  <a:pt x="9375" y="3562"/>
                </a:lnTo>
                <a:lnTo>
                  <a:pt x="9367" y="3552"/>
                </a:lnTo>
                <a:lnTo>
                  <a:pt x="9359" y="3541"/>
                </a:lnTo>
                <a:lnTo>
                  <a:pt x="9351" y="3532"/>
                </a:lnTo>
                <a:lnTo>
                  <a:pt x="9343" y="3523"/>
                </a:lnTo>
                <a:lnTo>
                  <a:pt x="9334" y="3515"/>
                </a:lnTo>
                <a:lnTo>
                  <a:pt x="9324" y="3506"/>
                </a:lnTo>
                <a:lnTo>
                  <a:pt x="9314" y="3498"/>
                </a:lnTo>
                <a:lnTo>
                  <a:pt x="9305" y="3491"/>
                </a:lnTo>
                <a:lnTo>
                  <a:pt x="9293" y="3485"/>
                </a:lnTo>
                <a:lnTo>
                  <a:pt x="9283" y="3479"/>
                </a:lnTo>
                <a:lnTo>
                  <a:pt x="9272" y="3472"/>
                </a:lnTo>
                <a:lnTo>
                  <a:pt x="9261" y="3467"/>
                </a:lnTo>
                <a:lnTo>
                  <a:pt x="9248" y="3462"/>
                </a:lnTo>
                <a:lnTo>
                  <a:pt x="9236" y="3458"/>
                </a:lnTo>
                <a:lnTo>
                  <a:pt x="9224" y="3455"/>
                </a:lnTo>
                <a:lnTo>
                  <a:pt x="9211" y="3452"/>
                </a:lnTo>
                <a:lnTo>
                  <a:pt x="9199" y="3450"/>
                </a:lnTo>
                <a:lnTo>
                  <a:pt x="9186" y="3448"/>
                </a:lnTo>
                <a:lnTo>
                  <a:pt x="9172" y="3447"/>
                </a:lnTo>
                <a:lnTo>
                  <a:pt x="9159" y="3447"/>
                </a:lnTo>
                <a:lnTo>
                  <a:pt x="9145" y="3447"/>
                </a:lnTo>
                <a:lnTo>
                  <a:pt x="9132" y="3448"/>
                </a:lnTo>
                <a:lnTo>
                  <a:pt x="9120" y="3450"/>
                </a:lnTo>
                <a:lnTo>
                  <a:pt x="9106" y="3452"/>
                </a:lnTo>
                <a:lnTo>
                  <a:pt x="9094" y="3455"/>
                </a:lnTo>
                <a:lnTo>
                  <a:pt x="9082" y="3458"/>
                </a:lnTo>
                <a:lnTo>
                  <a:pt x="9069" y="3462"/>
                </a:lnTo>
                <a:lnTo>
                  <a:pt x="9058" y="3467"/>
                </a:lnTo>
                <a:lnTo>
                  <a:pt x="9046" y="3472"/>
                </a:lnTo>
                <a:lnTo>
                  <a:pt x="9035" y="3479"/>
                </a:lnTo>
                <a:lnTo>
                  <a:pt x="9024" y="3485"/>
                </a:lnTo>
                <a:lnTo>
                  <a:pt x="9014" y="3491"/>
                </a:lnTo>
                <a:lnTo>
                  <a:pt x="9004" y="3498"/>
                </a:lnTo>
                <a:lnTo>
                  <a:pt x="8993" y="3506"/>
                </a:lnTo>
                <a:lnTo>
                  <a:pt x="8984" y="3515"/>
                </a:lnTo>
                <a:lnTo>
                  <a:pt x="8975" y="3523"/>
                </a:lnTo>
                <a:lnTo>
                  <a:pt x="8967" y="3532"/>
                </a:lnTo>
                <a:lnTo>
                  <a:pt x="8958" y="3541"/>
                </a:lnTo>
                <a:lnTo>
                  <a:pt x="8950" y="3552"/>
                </a:lnTo>
                <a:lnTo>
                  <a:pt x="8943" y="3562"/>
                </a:lnTo>
                <a:lnTo>
                  <a:pt x="8937" y="3572"/>
                </a:lnTo>
                <a:lnTo>
                  <a:pt x="8931" y="3584"/>
                </a:lnTo>
                <a:lnTo>
                  <a:pt x="8924" y="3595"/>
                </a:lnTo>
                <a:lnTo>
                  <a:pt x="8919" y="3606"/>
                </a:lnTo>
                <a:lnTo>
                  <a:pt x="8914" y="3618"/>
                </a:lnTo>
                <a:lnTo>
                  <a:pt x="8910" y="3630"/>
                </a:lnTo>
                <a:lnTo>
                  <a:pt x="8907" y="3642"/>
                </a:lnTo>
                <a:lnTo>
                  <a:pt x="8904" y="3655"/>
                </a:lnTo>
                <a:lnTo>
                  <a:pt x="8902" y="3668"/>
                </a:lnTo>
                <a:lnTo>
                  <a:pt x="8900" y="3680"/>
                </a:lnTo>
                <a:lnTo>
                  <a:pt x="8899" y="3694"/>
                </a:lnTo>
                <a:lnTo>
                  <a:pt x="8899" y="3707"/>
                </a:lnTo>
                <a:lnTo>
                  <a:pt x="8899" y="3720"/>
                </a:lnTo>
                <a:lnTo>
                  <a:pt x="8900" y="3734"/>
                </a:lnTo>
                <a:lnTo>
                  <a:pt x="8902" y="3747"/>
                </a:lnTo>
                <a:lnTo>
                  <a:pt x="8904" y="3760"/>
                </a:lnTo>
                <a:lnTo>
                  <a:pt x="8907" y="3772"/>
                </a:lnTo>
                <a:lnTo>
                  <a:pt x="8910" y="3784"/>
                </a:lnTo>
                <a:lnTo>
                  <a:pt x="8914" y="3797"/>
                </a:lnTo>
                <a:lnTo>
                  <a:pt x="8919" y="3808"/>
                </a:lnTo>
                <a:lnTo>
                  <a:pt x="8924" y="3820"/>
                </a:lnTo>
                <a:lnTo>
                  <a:pt x="8931" y="3832"/>
                </a:lnTo>
                <a:lnTo>
                  <a:pt x="8937" y="3842"/>
                </a:lnTo>
                <a:lnTo>
                  <a:pt x="8943" y="3852"/>
                </a:lnTo>
                <a:lnTo>
                  <a:pt x="8950" y="3863"/>
                </a:lnTo>
                <a:lnTo>
                  <a:pt x="8958" y="3873"/>
                </a:lnTo>
                <a:lnTo>
                  <a:pt x="8967" y="3882"/>
                </a:lnTo>
                <a:lnTo>
                  <a:pt x="8975" y="3891"/>
                </a:lnTo>
                <a:lnTo>
                  <a:pt x="8984" y="3900"/>
                </a:lnTo>
                <a:lnTo>
                  <a:pt x="8993" y="3908"/>
                </a:lnTo>
                <a:lnTo>
                  <a:pt x="9004" y="3916"/>
                </a:lnTo>
                <a:lnTo>
                  <a:pt x="9014" y="3923"/>
                </a:lnTo>
                <a:lnTo>
                  <a:pt x="9024" y="3931"/>
                </a:lnTo>
                <a:lnTo>
                  <a:pt x="9035" y="3937"/>
                </a:lnTo>
                <a:lnTo>
                  <a:pt x="9046" y="3942"/>
                </a:lnTo>
                <a:lnTo>
                  <a:pt x="9058" y="3947"/>
                </a:lnTo>
                <a:lnTo>
                  <a:pt x="9069" y="3952"/>
                </a:lnTo>
                <a:lnTo>
                  <a:pt x="9082" y="3956"/>
                </a:lnTo>
                <a:lnTo>
                  <a:pt x="9094" y="3959"/>
                </a:lnTo>
                <a:lnTo>
                  <a:pt x="9106" y="3962"/>
                </a:lnTo>
                <a:lnTo>
                  <a:pt x="9120" y="3964"/>
                </a:lnTo>
                <a:lnTo>
                  <a:pt x="9132" y="3967"/>
                </a:lnTo>
                <a:lnTo>
                  <a:pt x="9145" y="3968"/>
                </a:lnTo>
                <a:lnTo>
                  <a:pt x="9159" y="3968"/>
                </a:lnTo>
                <a:close/>
                <a:moveTo>
                  <a:pt x="11032" y="3211"/>
                </a:moveTo>
                <a:lnTo>
                  <a:pt x="11045" y="3211"/>
                </a:lnTo>
                <a:lnTo>
                  <a:pt x="11057" y="3210"/>
                </a:lnTo>
                <a:lnTo>
                  <a:pt x="11071" y="3209"/>
                </a:lnTo>
                <a:lnTo>
                  <a:pt x="11083" y="3206"/>
                </a:lnTo>
                <a:lnTo>
                  <a:pt x="11094" y="3204"/>
                </a:lnTo>
                <a:lnTo>
                  <a:pt x="11107" y="3200"/>
                </a:lnTo>
                <a:lnTo>
                  <a:pt x="11119" y="3196"/>
                </a:lnTo>
                <a:lnTo>
                  <a:pt x="11130" y="3191"/>
                </a:lnTo>
                <a:lnTo>
                  <a:pt x="11141" y="3186"/>
                </a:lnTo>
                <a:lnTo>
                  <a:pt x="11152" y="3181"/>
                </a:lnTo>
                <a:lnTo>
                  <a:pt x="11162" y="3175"/>
                </a:lnTo>
                <a:lnTo>
                  <a:pt x="11172" y="3168"/>
                </a:lnTo>
                <a:lnTo>
                  <a:pt x="11183" y="3161"/>
                </a:lnTo>
                <a:lnTo>
                  <a:pt x="11192" y="3153"/>
                </a:lnTo>
                <a:lnTo>
                  <a:pt x="11201" y="3146"/>
                </a:lnTo>
                <a:lnTo>
                  <a:pt x="11210" y="3137"/>
                </a:lnTo>
                <a:lnTo>
                  <a:pt x="11219" y="3129"/>
                </a:lnTo>
                <a:lnTo>
                  <a:pt x="11227" y="3119"/>
                </a:lnTo>
                <a:lnTo>
                  <a:pt x="11234" y="3110"/>
                </a:lnTo>
                <a:lnTo>
                  <a:pt x="11241" y="3100"/>
                </a:lnTo>
                <a:lnTo>
                  <a:pt x="11247" y="3089"/>
                </a:lnTo>
                <a:lnTo>
                  <a:pt x="11254" y="3079"/>
                </a:lnTo>
                <a:lnTo>
                  <a:pt x="11260" y="3068"/>
                </a:lnTo>
                <a:lnTo>
                  <a:pt x="11265" y="3056"/>
                </a:lnTo>
                <a:lnTo>
                  <a:pt x="11269" y="3045"/>
                </a:lnTo>
                <a:lnTo>
                  <a:pt x="11273" y="3034"/>
                </a:lnTo>
                <a:lnTo>
                  <a:pt x="11276" y="3021"/>
                </a:lnTo>
                <a:lnTo>
                  <a:pt x="11279" y="3009"/>
                </a:lnTo>
                <a:lnTo>
                  <a:pt x="11281" y="2997"/>
                </a:lnTo>
                <a:lnTo>
                  <a:pt x="11283" y="2984"/>
                </a:lnTo>
                <a:lnTo>
                  <a:pt x="11284" y="2971"/>
                </a:lnTo>
                <a:lnTo>
                  <a:pt x="11284" y="2959"/>
                </a:lnTo>
                <a:lnTo>
                  <a:pt x="11284" y="757"/>
                </a:lnTo>
                <a:lnTo>
                  <a:pt x="11284" y="744"/>
                </a:lnTo>
                <a:lnTo>
                  <a:pt x="11283" y="731"/>
                </a:lnTo>
                <a:lnTo>
                  <a:pt x="11281" y="719"/>
                </a:lnTo>
                <a:lnTo>
                  <a:pt x="11279" y="706"/>
                </a:lnTo>
                <a:lnTo>
                  <a:pt x="11276" y="694"/>
                </a:lnTo>
                <a:lnTo>
                  <a:pt x="11273" y="683"/>
                </a:lnTo>
                <a:lnTo>
                  <a:pt x="11269" y="670"/>
                </a:lnTo>
                <a:lnTo>
                  <a:pt x="11265" y="659"/>
                </a:lnTo>
                <a:lnTo>
                  <a:pt x="11260" y="648"/>
                </a:lnTo>
                <a:lnTo>
                  <a:pt x="11254" y="637"/>
                </a:lnTo>
                <a:lnTo>
                  <a:pt x="11247" y="626"/>
                </a:lnTo>
                <a:lnTo>
                  <a:pt x="11241" y="616"/>
                </a:lnTo>
                <a:lnTo>
                  <a:pt x="11234" y="606"/>
                </a:lnTo>
                <a:lnTo>
                  <a:pt x="11227" y="596"/>
                </a:lnTo>
                <a:lnTo>
                  <a:pt x="11219" y="587"/>
                </a:lnTo>
                <a:lnTo>
                  <a:pt x="11210" y="579"/>
                </a:lnTo>
                <a:lnTo>
                  <a:pt x="11201" y="570"/>
                </a:lnTo>
                <a:lnTo>
                  <a:pt x="11192" y="562"/>
                </a:lnTo>
                <a:lnTo>
                  <a:pt x="11183" y="555"/>
                </a:lnTo>
                <a:lnTo>
                  <a:pt x="11172" y="548"/>
                </a:lnTo>
                <a:lnTo>
                  <a:pt x="11162" y="540"/>
                </a:lnTo>
                <a:lnTo>
                  <a:pt x="11152" y="535"/>
                </a:lnTo>
                <a:lnTo>
                  <a:pt x="11141" y="529"/>
                </a:lnTo>
                <a:lnTo>
                  <a:pt x="11130" y="524"/>
                </a:lnTo>
                <a:lnTo>
                  <a:pt x="11119" y="520"/>
                </a:lnTo>
                <a:lnTo>
                  <a:pt x="11107" y="516"/>
                </a:lnTo>
                <a:lnTo>
                  <a:pt x="11094" y="513"/>
                </a:lnTo>
                <a:lnTo>
                  <a:pt x="11083" y="510"/>
                </a:lnTo>
                <a:lnTo>
                  <a:pt x="11071" y="508"/>
                </a:lnTo>
                <a:lnTo>
                  <a:pt x="11057" y="505"/>
                </a:lnTo>
                <a:lnTo>
                  <a:pt x="11045" y="504"/>
                </a:lnTo>
                <a:lnTo>
                  <a:pt x="11032" y="504"/>
                </a:lnTo>
                <a:lnTo>
                  <a:pt x="11019" y="504"/>
                </a:lnTo>
                <a:lnTo>
                  <a:pt x="11006" y="505"/>
                </a:lnTo>
                <a:lnTo>
                  <a:pt x="10993" y="508"/>
                </a:lnTo>
                <a:lnTo>
                  <a:pt x="10981" y="510"/>
                </a:lnTo>
                <a:lnTo>
                  <a:pt x="10969" y="513"/>
                </a:lnTo>
                <a:lnTo>
                  <a:pt x="10956" y="516"/>
                </a:lnTo>
                <a:lnTo>
                  <a:pt x="10945" y="520"/>
                </a:lnTo>
                <a:lnTo>
                  <a:pt x="10934" y="524"/>
                </a:lnTo>
                <a:lnTo>
                  <a:pt x="10923" y="529"/>
                </a:lnTo>
                <a:lnTo>
                  <a:pt x="10911" y="535"/>
                </a:lnTo>
                <a:lnTo>
                  <a:pt x="10901" y="540"/>
                </a:lnTo>
                <a:lnTo>
                  <a:pt x="10891" y="548"/>
                </a:lnTo>
                <a:lnTo>
                  <a:pt x="10881" y="555"/>
                </a:lnTo>
                <a:lnTo>
                  <a:pt x="10871" y="562"/>
                </a:lnTo>
                <a:lnTo>
                  <a:pt x="10862" y="570"/>
                </a:lnTo>
                <a:lnTo>
                  <a:pt x="10854" y="579"/>
                </a:lnTo>
                <a:lnTo>
                  <a:pt x="10845" y="587"/>
                </a:lnTo>
                <a:lnTo>
                  <a:pt x="10837" y="596"/>
                </a:lnTo>
                <a:lnTo>
                  <a:pt x="10830" y="606"/>
                </a:lnTo>
                <a:lnTo>
                  <a:pt x="10823" y="616"/>
                </a:lnTo>
                <a:lnTo>
                  <a:pt x="10816" y="626"/>
                </a:lnTo>
                <a:lnTo>
                  <a:pt x="10810" y="637"/>
                </a:lnTo>
                <a:lnTo>
                  <a:pt x="10804" y="648"/>
                </a:lnTo>
                <a:lnTo>
                  <a:pt x="10799" y="659"/>
                </a:lnTo>
                <a:lnTo>
                  <a:pt x="10795" y="670"/>
                </a:lnTo>
                <a:lnTo>
                  <a:pt x="10791" y="683"/>
                </a:lnTo>
                <a:lnTo>
                  <a:pt x="10787" y="694"/>
                </a:lnTo>
                <a:lnTo>
                  <a:pt x="10785" y="706"/>
                </a:lnTo>
                <a:lnTo>
                  <a:pt x="10782" y="719"/>
                </a:lnTo>
                <a:lnTo>
                  <a:pt x="10781" y="731"/>
                </a:lnTo>
                <a:lnTo>
                  <a:pt x="10780" y="744"/>
                </a:lnTo>
                <a:lnTo>
                  <a:pt x="10780" y="757"/>
                </a:lnTo>
                <a:lnTo>
                  <a:pt x="10780" y="2959"/>
                </a:lnTo>
                <a:lnTo>
                  <a:pt x="10780" y="2971"/>
                </a:lnTo>
                <a:lnTo>
                  <a:pt x="10781" y="2984"/>
                </a:lnTo>
                <a:lnTo>
                  <a:pt x="10782" y="2997"/>
                </a:lnTo>
                <a:lnTo>
                  <a:pt x="10785" y="3009"/>
                </a:lnTo>
                <a:lnTo>
                  <a:pt x="10787" y="3021"/>
                </a:lnTo>
                <a:lnTo>
                  <a:pt x="10791" y="3034"/>
                </a:lnTo>
                <a:lnTo>
                  <a:pt x="10795" y="3045"/>
                </a:lnTo>
                <a:lnTo>
                  <a:pt x="10799" y="3056"/>
                </a:lnTo>
                <a:lnTo>
                  <a:pt x="10804" y="3068"/>
                </a:lnTo>
                <a:lnTo>
                  <a:pt x="10810" y="3079"/>
                </a:lnTo>
                <a:lnTo>
                  <a:pt x="10816" y="3089"/>
                </a:lnTo>
                <a:lnTo>
                  <a:pt x="10823" y="3100"/>
                </a:lnTo>
                <a:lnTo>
                  <a:pt x="10830" y="3110"/>
                </a:lnTo>
                <a:lnTo>
                  <a:pt x="10837" y="3119"/>
                </a:lnTo>
                <a:lnTo>
                  <a:pt x="10845" y="3129"/>
                </a:lnTo>
                <a:lnTo>
                  <a:pt x="10854" y="3137"/>
                </a:lnTo>
                <a:lnTo>
                  <a:pt x="10862" y="3146"/>
                </a:lnTo>
                <a:lnTo>
                  <a:pt x="10871" y="3153"/>
                </a:lnTo>
                <a:lnTo>
                  <a:pt x="10881" y="3161"/>
                </a:lnTo>
                <a:lnTo>
                  <a:pt x="10891" y="3168"/>
                </a:lnTo>
                <a:lnTo>
                  <a:pt x="10901" y="3175"/>
                </a:lnTo>
                <a:lnTo>
                  <a:pt x="10911" y="3181"/>
                </a:lnTo>
                <a:lnTo>
                  <a:pt x="10923" y="3186"/>
                </a:lnTo>
                <a:lnTo>
                  <a:pt x="10934" y="3191"/>
                </a:lnTo>
                <a:lnTo>
                  <a:pt x="10945" y="3196"/>
                </a:lnTo>
                <a:lnTo>
                  <a:pt x="10956" y="3200"/>
                </a:lnTo>
                <a:lnTo>
                  <a:pt x="10969" y="3204"/>
                </a:lnTo>
                <a:lnTo>
                  <a:pt x="10981" y="3206"/>
                </a:lnTo>
                <a:lnTo>
                  <a:pt x="10993" y="3209"/>
                </a:lnTo>
                <a:lnTo>
                  <a:pt x="11006" y="3210"/>
                </a:lnTo>
                <a:lnTo>
                  <a:pt x="11019" y="3211"/>
                </a:lnTo>
                <a:lnTo>
                  <a:pt x="11032" y="3211"/>
                </a:lnTo>
                <a:close/>
                <a:moveTo>
                  <a:pt x="11032" y="3968"/>
                </a:moveTo>
                <a:lnTo>
                  <a:pt x="11045" y="3968"/>
                </a:lnTo>
                <a:lnTo>
                  <a:pt x="11058" y="3967"/>
                </a:lnTo>
                <a:lnTo>
                  <a:pt x="11072" y="3964"/>
                </a:lnTo>
                <a:lnTo>
                  <a:pt x="11084" y="3962"/>
                </a:lnTo>
                <a:lnTo>
                  <a:pt x="11096" y="3959"/>
                </a:lnTo>
                <a:lnTo>
                  <a:pt x="11109" y="3956"/>
                </a:lnTo>
                <a:lnTo>
                  <a:pt x="11121" y="3952"/>
                </a:lnTo>
                <a:lnTo>
                  <a:pt x="11133" y="3947"/>
                </a:lnTo>
                <a:lnTo>
                  <a:pt x="11145" y="3942"/>
                </a:lnTo>
                <a:lnTo>
                  <a:pt x="11156" y="3937"/>
                </a:lnTo>
                <a:lnTo>
                  <a:pt x="11166" y="3931"/>
                </a:lnTo>
                <a:lnTo>
                  <a:pt x="11177" y="3923"/>
                </a:lnTo>
                <a:lnTo>
                  <a:pt x="11188" y="3916"/>
                </a:lnTo>
                <a:lnTo>
                  <a:pt x="11197" y="3908"/>
                </a:lnTo>
                <a:lnTo>
                  <a:pt x="11206" y="3900"/>
                </a:lnTo>
                <a:lnTo>
                  <a:pt x="11215" y="3891"/>
                </a:lnTo>
                <a:lnTo>
                  <a:pt x="11225" y="3882"/>
                </a:lnTo>
                <a:lnTo>
                  <a:pt x="11233" y="3873"/>
                </a:lnTo>
                <a:lnTo>
                  <a:pt x="11240" y="3863"/>
                </a:lnTo>
                <a:lnTo>
                  <a:pt x="11247" y="3852"/>
                </a:lnTo>
                <a:lnTo>
                  <a:pt x="11255" y="3842"/>
                </a:lnTo>
                <a:lnTo>
                  <a:pt x="11261" y="3832"/>
                </a:lnTo>
                <a:lnTo>
                  <a:pt x="11266" y="3820"/>
                </a:lnTo>
                <a:lnTo>
                  <a:pt x="11272" y="3808"/>
                </a:lnTo>
                <a:lnTo>
                  <a:pt x="11276" y="3797"/>
                </a:lnTo>
                <a:lnTo>
                  <a:pt x="11280" y="3784"/>
                </a:lnTo>
                <a:lnTo>
                  <a:pt x="11284" y="3772"/>
                </a:lnTo>
                <a:lnTo>
                  <a:pt x="11286" y="3760"/>
                </a:lnTo>
                <a:lnTo>
                  <a:pt x="11289" y="3747"/>
                </a:lnTo>
                <a:lnTo>
                  <a:pt x="11291" y="3734"/>
                </a:lnTo>
                <a:lnTo>
                  <a:pt x="11292" y="3720"/>
                </a:lnTo>
                <a:lnTo>
                  <a:pt x="11293" y="3707"/>
                </a:lnTo>
                <a:lnTo>
                  <a:pt x="11292" y="3694"/>
                </a:lnTo>
                <a:lnTo>
                  <a:pt x="11291" y="3680"/>
                </a:lnTo>
                <a:lnTo>
                  <a:pt x="11289" y="3668"/>
                </a:lnTo>
                <a:lnTo>
                  <a:pt x="11286" y="3655"/>
                </a:lnTo>
                <a:lnTo>
                  <a:pt x="11284" y="3642"/>
                </a:lnTo>
                <a:lnTo>
                  <a:pt x="11280" y="3630"/>
                </a:lnTo>
                <a:lnTo>
                  <a:pt x="11276" y="3618"/>
                </a:lnTo>
                <a:lnTo>
                  <a:pt x="11272" y="3606"/>
                </a:lnTo>
                <a:lnTo>
                  <a:pt x="11266" y="3595"/>
                </a:lnTo>
                <a:lnTo>
                  <a:pt x="11261" y="3584"/>
                </a:lnTo>
                <a:lnTo>
                  <a:pt x="11255" y="3572"/>
                </a:lnTo>
                <a:lnTo>
                  <a:pt x="11247" y="3562"/>
                </a:lnTo>
                <a:lnTo>
                  <a:pt x="11240" y="3552"/>
                </a:lnTo>
                <a:lnTo>
                  <a:pt x="11233" y="3541"/>
                </a:lnTo>
                <a:lnTo>
                  <a:pt x="11225" y="3532"/>
                </a:lnTo>
                <a:lnTo>
                  <a:pt x="11215" y="3523"/>
                </a:lnTo>
                <a:lnTo>
                  <a:pt x="11206" y="3515"/>
                </a:lnTo>
                <a:lnTo>
                  <a:pt x="11197" y="3506"/>
                </a:lnTo>
                <a:lnTo>
                  <a:pt x="11188" y="3498"/>
                </a:lnTo>
                <a:lnTo>
                  <a:pt x="11177" y="3491"/>
                </a:lnTo>
                <a:lnTo>
                  <a:pt x="11166" y="3485"/>
                </a:lnTo>
                <a:lnTo>
                  <a:pt x="11156" y="3479"/>
                </a:lnTo>
                <a:lnTo>
                  <a:pt x="11145" y="3472"/>
                </a:lnTo>
                <a:lnTo>
                  <a:pt x="11133" y="3467"/>
                </a:lnTo>
                <a:lnTo>
                  <a:pt x="11121" y="3462"/>
                </a:lnTo>
                <a:lnTo>
                  <a:pt x="11109" y="3458"/>
                </a:lnTo>
                <a:lnTo>
                  <a:pt x="11096" y="3455"/>
                </a:lnTo>
                <a:lnTo>
                  <a:pt x="11084" y="3452"/>
                </a:lnTo>
                <a:lnTo>
                  <a:pt x="11072" y="3450"/>
                </a:lnTo>
                <a:lnTo>
                  <a:pt x="11058" y="3448"/>
                </a:lnTo>
                <a:lnTo>
                  <a:pt x="11045" y="3447"/>
                </a:lnTo>
                <a:lnTo>
                  <a:pt x="11032" y="3447"/>
                </a:lnTo>
                <a:lnTo>
                  <a:pt x="11018" y="3447"/>
                </a:lnTo>
                <a:lnTo>
                  <a:pt x="11005" y="3448"/>
                </a:lnTo>
                <a:lnTo>
                  <a:pt x="10992" y="3450"/>
                </a:lnTo>
                <a:lnTo>
                  <a:pt x="10979" y="3452"/>
                </a:lnTo>
                <a:lnTo>
                  <a:pt x="10967" y="3455"/>
                </a:lnTo>
                <a:lnTo>
                  <a:pt x="10954" y="3458"/>
                </a:lnTo>
                <a:lnTo>
                  <a:pt x="10942" y="3462"/>
                </a:lnTo>
                <a:lnTo>
                  <a:pt x="10931" y="3467"/>
                </a:lnTo>
                <a:lnTo>
                  <a:pt x="10919" y="3472"/>
                </a:lnTo>
                <a:lnTo>
                  <a:pt x="10908" y="3479"/>
                </a:lnTo>
                <a:lnTo>
                  <a:pt x="10897" y="3485"/>
                </a:lnTo>
                <a:lnTo>
                  <a:pt x="10887" y="3491"/>
                </a:lnTo>
                <a:lnTo>
                  <a:pt x="10876" y="3498"/>
                </a:lnTo>
                <a:lnTo>
                  <a:pt x="10866" y="3506"/>
                </a:lnTo>
                <a:lnTo>
                  <a:pt x="10857" y="3515"/>
                </a:lnTo>
                <a:lnTo>
                  <a:pt x="10848" y="3523"/>
                </a:lnTo>
                <a:lnTo>
                  <a:pt x="10839" y="3532"/>
                </a:lnTo>
                <a:lnTo>
                  <a:pt x="10831" y="3541"/>
                </a:lnTo>
                <a:lnTo>
                  <a:pt x="10824" y="3552"/>
                </a:lnTo>
                <a:lnTo>
                  <a:pt x="10816" y="3562"/>
                </a:lnTo>
                <a:lnTo>
                  <a:pt x="10810" y="3572"/>
                </a:lnTo>
                <a:lnTo>
                  <a:pt x="10803" y="3584"/>
                </a:lnTo>
                <a:lnTo>
                  <a:pt x="10797" y="3595"/>
                </a:lnTo>
                <a:lnTo>
                  <a:pt x="10792" y="3606"/>
                </a:lnTo>
                <a:lnTo>
                  <a:pt x="10788" y="3618"/>
                </a:lnTo>
                <a:lnTo>
                  <a:pt x="10784" y="3630"/>
                </a:lnTo>
                <a:lnTo>
                  <a:pt x="10780" y="3642"/>
                </a:lnTo>
                <a:lnTo>
                  <a:pt x="10777" y="3655"/>
                </a:lnTo>
                <a:lnTo>
                  <a:pt x="10775" y="3668"/>
                </a:lnTo>
                <a:lnTo>
                  <a:pt x="10773" y="3680"/>
                </a:lnTo>
                <a:lnTo>
                  <a:pt x="10771" y="3694"/>
                </a:lnTo>
                <a:lnTo>
                  <a:pt x="10771" y="3707"/>
                </a:lnTo>
                <a:lnTo>
                  <a:pt x="10771" y="3720"/>
                </a:lnTo>
                <a:lnTo>
                  <a:pt x="10773" y="3734"/>
                </a:lnTo>
                <a:lnTo>
                  <a:pt x="10775" y="3747"/>
                </a:lnTo>
                <a:lnTo>
                  <a:pt x="10777" y="3760"/>
                </a:lnTo>
                <a:lnTo>
                  <a:pt x="10780" y="3772"/>
                </a:lnTo>
                <a:lnTo>
                  <a:pt x="10784" y="3784"/>
                </a:lnTo>
                <a:lnTo>
                  <a:pt x="10788" y="3797"/>
                </a:lnTo>
                <a:lnTo>
                  <a:pt x="10792" y="3808"/>
                </a:lnTo>
                <a:lnTo>
                  <a:pt x="10797" y="3820"/>
                </a:lnTo>
                <a:lnTo>
                  <a:pt x="10803" y="3832"/>
                </a:lnTo>
                <a:lnTo>
                  <a:pt x="10810" y="3842"/>
                </a:lnTo>
                <a:lnTo>
                  <a:pt x="10816" y="3852"/>
                </a:lnTo>
                <a:lnTo>
                  <a:pt x="10824" y="3863"/>
                </a:lnTo>
                <a:lnTo>
                  <a:pt x="10831" y="3873"/>
                </a:lnTo>
                <a:lnTo>
                  <a:pt x="10839" y="3882"/>
                </a:lnTo>
                <a:lnTo>
                  <a:pt x="10848" y="3891"/>
                </a:lnTo>
                <a:lnTo>
                  <a:pt x="10857" y="3900"/>
                </a:lnTo>
                <a:lnTo>
                  <a:pt x="10866" y="3908"/>
                </a:lnTo>
                <a:lnTo>
                  <a:pt x="10876" y="3916"/>
                </a:lnTo>
                <a:lnTo>
                  <a:pt x="10887" y="3923"/>
                </a:lnTo>
                <a:lnTo>
                  <a:pt x="10897" y="3931"/>
                </a:lnTo>
                <a:lnTo>
                  <a:pt x="10908" y="3937"/>
                </a:lnTo>
                <a:lnTo>
                  <a:pt x="10919" y="3942"/>
                </a:lnTo>
                <a:lnTo>
                  <a:pt x="10931" y="3947"/>
                </a:lnTo>
                <a:lnTo>
                  <a:pt x="10942" y="3952"/>
                </a:lnTo>
                <a:lnTo>
                  <a:pt x="10954" y="3956"/>
                </a:lnTo>
                <a:lnTo>
                  <a:pt x="10967" y="3959"/>
                </a:lnTo>
                <a:lnTo>
                  <a:pt x="10979" y="3962"/>
                </a:lnTo>
                <a:lnTo>
                  <a:pt x="10992" y="3964"/>
                </a:lnTo>
                <a:lnTo>
                  <a:pt x="11005" y="3967"/>
                </a:lnTo>
                <a:lnTo>
                  <a:pt x="11018" y="3968"/>
                </a:lnTo>
                <a:lnTo>
                  <a:pt x="11032" y="3968"/>
                </a:lnTo>
                <a:close/>
                <a:moveTo>
                  <a:pt x="12905" y="3211"/>
                </a:moveTo>
                <a:lnTo>
                  <a:pt x="12918" y="3211"/>
                </a:lnTo>
                <a:lnTo>
                  <a:pt x="12931" y="3210"/>
                </a:lnTo>
                <a:lnTo>
                  <a:pt x="12943" y="3209"/>
                </a:lnTo>
                <a:lnTo>
                  <a:pt x="12956" y="3206"/>
                </a:lnTo>
                <a:lnTo>
                  <a:pt x="12968" y="3204"/>
                </a:lnTo>
                <a:lnTo>
                  <a:pt x="12979" y="3200"/>
                </a:lnTo>
                <a:lnTo>
                  <a:pt x="12992" y="3196"/>
                </a:lnTo>
                <a:lnTo>
                  <a:pt x="13003" y="3191"/>
                </a:lnTo>
                <a:lnTo>
                  <a:pt x="13014" y="3186"/>
                </a:lnTo>
                <a:lnTo>
                  <a:pt x="13024" y="3181"/>
                </a:lnTo>
                <a:lnTo>
                  <a:pt x="13036" y="3175"/>
                </a:lnTo>
                <a:lnTo>
                  <a:pt x="13046" y="3168"/>
                </a:lnTo>
                <a:lnTo>
                  <a:pt x="13055" y="3161"/>
                </a:lnTo>
                <a:lnTo>
                  <a:pt x="13066" y="3153"/>
                </a:lnTo>
                <a:lnTo>
                  <a:pt x="13074" y="3146"/>
                </a:lnTo>
                <a:lnTo>
                  <a:pt x="13083" y="3137"/>
                </a:lnTo>
                <a:lnTo>
                  <a:pt x="13091" y="3129"/>
                </a:lnTo>
                <a:lnTo>
                  <a:pt x="13099" y="3119"/>
                </a:lnTo>
                <a:lnTo>
                  <a:pt x="13107" y="3110"/>
                </a:lnTo>
                <a:lnTo>
                  <a:pt x="13114" y="3100"/>
                </a:lnTo>
                <a:lnTo>
                  <a:pt x="13120" y="3089"/>
                </a:lnTo>
                <a:lnTo>
                  <a:pt x="13126" y="3079"/>
                </a:lnTo>
                <a:lnTo>
                  <a:pt x="13132" y="3068"/>
                </a:lnTo>
                <a:lnTo>
                  <a:pt x="13137" y="3056"/>
                </a:lnTo>
                <a:lnTo>
                  <a:pt x="13142" y="3045"/>
                </a:lnTo>
                <a:lnTo>
                  <a:pt x="13146" y="3034"/>
                </a:lnTo>
                <a:lnTo>
                  <a:pt x="13149" y="3021"/>
                </a:lnTo>
                <a:lnTo>
                  <a:pt x="13152" y="3009"/>
                </a:lnTo>
                <a:lnTo>
                  <a:pt x="13154" y="2997"/>
                </a:lnTo>
                <a:lnTo>
                  <a:pt x="13156" y="2984"/>
                </a:lnTo>
                <a:lnTo>
                  <a:pt x="13157" y="2971"/>
                </a:lnTo>
                <a:lnTo>
                  <a:pt x="13157" y="2959"/>
                </a:lnTo>
                <a:lnTo>
                  <a:pt x="13157" y="757"/>
                </a:lnTo>
                <a:lnTo>
                  <a:pt x="13157" y="744"/>
                </a:lnTo>
                <a:lnTo>
                  <a:pt x="13156" y="731"/>
                </a:lnTo>
                <a:lnTo>
                  <a:pt x="13154" y="719"/>
                </a:lnTo>
                <a:lnTo>
                  <a:pt x="13152" y="706"/>
                </a:lnTo>
                <a:lnTo>
                  <a:pt x="13149" y="694"/>
                </a:lnTo>
                <a:lnTo>
                  <a:pt x="13146" y="683"/>
                </a:lnTo>
                <a:lnTo>
                  <a:pt x="13142" y="670"/>
                </a:lnTo>
                <a:lnTo>
                  <a:pt x="13137" y="659"/>
                </a:lnTo>
                <a:lnTo>
                  <a:pt x="13132" y="648"/>
                </a:lnTo>
                <a:lnTo>
                  <a:pt x="13126" y="637"/>
                </a:lnTo>
                <a:lnTo>
                  <a:pt x="13120" y="626"/>
                </a:lnTo>
                <a:lnTo>
                  <a:pt x="13114" y="616"/>
                </a:lnTo>
                <a:lnTo>
                  <a:pt x="13107" y="606"/>
                </a:lnTo>
                <a:lnTo>
                  <a:pt x="13099" y="596"/>
                </a:lnTo>
                <a:lnTo>
                  <a:pt x="13091" y="587"/>
                </a:lnTo>
                <a:lnTo>
                  <a:pt x="13083" y="579"/>
                </a:lnTo>
                <a:lnTo>
                  <a:pt x="13074" y="570"/>
                </a:lnTo>
                <a:lnTo>
                  <a:pt x="13066" y="562"/>
                </a:lnTo>
                <a:lnTo>
                  <a:pt x="13055" y="555"/>
                </a:lnTo>
                <a:lnTo>
                  <a:pt x="13046" y="548"/>
                </a:lnTo>
                <a:lnTo>
                  <a:pt x="13036" y="540"/>
                </a:lnTo>
                <a:lnTo>
                  <a:pt x="13024" y="535"/>
                </a:lnTo>
                <a:lnTo>
                  <a:pt x="13014" y="529"/>
                </a:lnTo>
                <a:lnTo>
                  <a:pt x="13003" y="524"/>
                </a:lnTo>
                <a:lnTo>
                  <a:pt x="12992" y="520"/>
                </a:lnTo>
                <a:lnTo>
                  <a:pt x="12979" y="516"/>
                </a:lnTo>
                <a:lnTo>
                  <a:pt x="12968" y="513"/>
                </a:lnTo>
                <a:lnTo>
                  <a:pt x="12956" y="510"/>
                </a:lnTo>
                <a:lnTo>
                  <a:pt x="12943" y="508"/>
                </a:lnTo>
                <a:lnTo>
                  <a:pt x="12931" y="505"/>
                </a:lnTo>
                <a:lnTo>
                  <a:pt x="12918" y="504"/>
                </a:lnTo>
                <a:lnTo>
                  <a:pt x="12905" y="504"/>
                </a:lnTo>
                <a:lnTo>
                  <a:pt x="12892" y="504"/>
                </a:lnTo>
                <a:lnTo>
                  <a:pt x="12878" y="505"/>
                </a:lnTo>
                <a:lnTo>
                  <a:pt x="12866" y="508"/>
                </a:lnTo>
                <a:lnTo>
                  <a:pt x="12854" y="510"/>
                </a:lnTo>
                <a:lnTo>
                  <a:pt x="12841" y="513"/>
                </a:lnTo>
                <a:lnTo>
                  <a:pt x="12830" y="516"/>
                </a:lnTo>
                <a:lnTo>
                  <a:pt x="12818" y="520"/>
                </a:lnTo>
                <a:lnTo>
                  <a:pt x="12807" y="524"/>
                </a:lnTo>
                <a:lnTo>
                  <a:pt x="12795" y="529"/>
                </a:lnTo>
                <a:lnTo>
                  <a:pt x="12785" y="535"/>
                </a:lnTo>
                <a:lnTo>
                  <a:pt x="12774" y="540"/>
                </a:lnTo>
                <a:lnTo>
                  <a:pt x="12763" y="548"/>
                </a:lnTo>
                <a:lnTo>
                  <a:pt x="12754" y="555"/>
                </a:lnTo>
                <a:lnTo>
                  <a:pt x="12744" y="562"/>
                </a:lnTo>
                <a:lnTo>
                  <a:pt x="12736" y="570"/>
                </a:lnTo>
                <a:lnTo>
                  <a:pt x="12726" y="579"/>
                </a:lnTo>
                <a:lnTo>
                  <a:pt x="12718" y="587"/>
                </a:lnTo>
                <a:lnTo>
                  <a:pt x="12710" y="596"/>
                </a:lnTo>
                <a:lnTo>
                  <a:pt x="12703" y="606"/>
                </a:lnTo>
                <a:lnTo>
                  <a:pt x="12696" y="616"/>
                </a:lnTo>
                <a:lnTo>
                  <a:pt x="12689" y="626"/>
                </a:lnTo>
                <a:lnTo>
                  <a:pt x="12683" y="637"/>
                </a:lnTo>
                <a:lnTo>
                  <a:pt x="12677" y="648"/>
                </a:lnTo>
                <a:lnTo>
                  <a:pt x="12672" y="659"/>
                </a:lnTo>
                <a:lnTo>
                  <a:pt x="12668" y="670"/>
                </a:lnTo>
                <a:lnTo>
                  <a:pt x="12664" y="683"/>
                </a:lnTo>
                <a:lnTo>
                  <a:pt x="12661" y="694"/>
                </a:lnTo>
                <a:lnTo>
                  <a:pt x="12658" y="706"/>
                </a:lnTo>
                <a:lnTo>
                  <a:pt x="12655" y="719"/>
                </a:lnTo>
                <a:lnTo>
                  <a:pt x="12653" y="731"/>
                </a:lnTo>
                <a:lnTo>
                  <a:pt x="12652" y="744"/>
                </a:lnTo>
                <a:lnTo>
                  <a:pt x="12652" y="757"/>
                </a:lnTo>
                <a:lnTo>
                  <a:pt x="12652" y="2959"/>
                </a:lnTo>
                <a:lnTo>
                  <a:pt x="12652" y="2971"/>
                </a:lnTo>
                <a:lnTo>
                  <a:pt x="12653" y="2984"/>
                </a:lnTo>
                <a:lnTo>
                  <a:pt x="12655" y="2997"/>
                </a:lnTo>
                <a:lnTo>
                  <a:pt x="12658" y="3009"/>
                </a:lnTo>
                <a:lnTo>
                  <a:pt x="12661" y="3021"/>
                </a:lnTo>
                <a:lnTo>
                  <a:pt x="12664" y="3034"/>
                </a:lnTo>
                <a:lnTo>
                  <a:pt x="12668" y="3045"/>
                </a:lnTo>
                <a:lnTo>
                  <a:pt x="12672" y="3056"/>
                </a:lnTo>
                <a:lnTo>
                  <a:pt x="12677" y="3068"/>
                </a:lnTo>
                <a:lnTo>
                  <a:pt x="12683" y="3079"/>
                </a:lnTo>
                <a:lnTo>
                  <a:pt x="12689" y="3089"/>
                </a:lnTo>
                <a:lnTo>
                  <a:pt x="12696" y="3100"/>
                </a:lnTo>
                <a:lnTo>
                  <a:pt x="12703" y="3110"/>
                </a:lnTo>
                <a:lnTo>
                  <a:pt x="12710" y="3119"/>
                </a:lnTo>
                <a:lnTo>
                  <a:pt x="12718" y="3129"/>
                </a:lnTo>
                <a:lnTo>
                  <a:pt x="12726" y="3137"/>
                </a:lnTo>
                <a:lnTo>
                  <a:pt x="12736" y="3146"/>
                </a:lnTo>
                <a:lnTo>
                  <a:pt x="12744" y="3153"/>
                </a:lnTo>
                <a:lnTo>
                  <a:pt x="12754" y="3161"/>
                </a:lnTo>
                <a:lnTo>
                  <a:pt x="12763" y="3168"/>
                </a:lnTo>
                <a:lnTo>
                  <a:pt x="12774" y="3175"/>
                </a:lnTo>
                <a:lnTo>
                  <a:pt x="12785" y="3181"/>
                </a:lnTo>
                <a:lnTo>
                  <a:pt x="12795" y="3186"/>
                </a:lnTo>
                <a:lnTo>
                  <a:pt x="12807" y="3191"/>
                </a:lnTo>
                <a:lnTo>
                  <a:pt x="12818" y="3196"/>
                </a:lnTo>
                <a:lnTo>
                  <a:pt x="12830" y="3200"/>
                </a:lnTo>
                <a:lnTo>
                  <a:pt x="12841" y="3204"/>
                </a:lnTo>
                <a:lnTo>
                  <a:pt x="12854" y="3206"/>
                </a:lnTo>
                <a:lnTo>
                  <a:pt x="12866" y="3209"/>
                </a:lnTo>
                <a:lnTo>
                  <a:pt x="12878" y="3210"/>
                </a:lnTo>
                <a:lnTo>
                  <a:pt x="12892" y="3211"/>
                </a:lnTo>
                <a:lnTo>
                  <a:pt x="12905" y="3211"/>
                </a:lnTo>
                <a:close/>
                <a:moveTo>
                  <a:pt x="12905" y="3968"/>
                </a:moveTo>
                <a:lnTo>
                  <a:pt x="12919" y="3968"/>
                </a:lnTo>
                <a:lnTo>
                  <a:pt x="12931" y="3967"/>
                </a:lnTo>
                <a:lnTo>
                  <a:pt x="12944" y="3964"/>
                </a:lnTo>
                <a:lnTo>
                  <a:pt x="12957" y="3962"/>
                </a:lnTo>
                <a:lnTo>
                  <a:pt x="12970" y="3959"/>
                </a:lnTo>
                <a:lnTo>
                  <a:pt x="12982" y="3956"/>
                </a:lnTo>
                <a:lnTo>
                  <a:pt x="12994" y="3952"/>
                </a:lnTo>
                <a:lnTo>
                  <a:pt x="13006" y="3947"/>
                </a:lnTo>
                <a:lnTo>
                  <a:pt x="13017" y="3942"/>
                </a:lnTo>
                <a:lnTo>
                  <a:pt x="13029" y="3937"/>
                </a:lnTo>
                <a:lnTo>
                  <a:pt x="13040" y="3931"/>
                </a:lnTo>
                <a:lnTo>
                  <a:pt x="13050" y="3923"/>
                </a:lnTo>
                <a:lnTo>
                  <a:pt x="13060" y="3916"/>
                </a:lnTo>
                <a:lnTo>
                  <a:pt x="13070" y="3908"/>
                </a:lnTo>
                <a:lnTo>
                  <a:pt x="13080" y="3900"/>
                </a:lnTo>
                <a:lnTo>
                  <a:pt x="13088" y="3891"/>
                </a:lnTo>
                <a:lnTo>
                  <a:pt x="13097" y="3882"/>
                </a:lnTo>
                <a:lnTo>
                  <a:pt x="13106" y="3873"/>
                </a:lnTo>
                <a:lnTo>
                  <a:pt x="13113" y="3863"/>
                </a:lnTo>
                <a:lnTo>
                  <a:pt x="13120" y="3852"/>
                </a:lnTo>
                <a:lnTo>
                  <a:pt x="13127" y="3842"/>
                </a:lnTo>
                <a:lnTo>
                  <a:pt x="13133" y="3832"/>
                </a:lnTo>
                <a:lnTo>
                  <a:pt x="13140" y="3820"/>
                </a:lnTo>
                <a:lnTo>
                  <a:pt x="13145" y="3808"/>
                </a:lnTo>
                <a:lnTo>
                  <a:pt x="13149" y="3797"/>
                </a:lnTo>
                <a:lnTo>
                  <a:pt x="13153" y="3784"/>
                </a:lnTo>
                <a:lnTo>
                  <a:pt x="13157" y="3772"/>
                </a:lnTo>
                <a:lnTo>
                  <a:pt x="13160" y="3760"/>
                </a:lnTo>
                <a:lnTo>
                  <a:pt x="13162" y="3747"/>
                </a:lnTo>
                <a:lnTo>
                  <a:pt x="13163" y="3734"/>
                </a:lnTo>
                <a:lnTo>
                  <a:pt x="13164" y="3720"/>
                </a:lnTo>
                <a:lnTo>
                  <a:pt x="13165" y="3707"/>
                </a:lnTo>
                <a:lnTo>
                  <a:pt x="13164" y="3694"/>
                </a:lnTo>
                <a:lnTo>
                  <a:pt x="13163" y="3680"/>
                </a:lnTo>
                <a:lnTo>
                  <a:pt x="13162" y="3668"/>
                </a:lnTo>
                <a:lnTo>
                  <a:pt x="13160" y="3655"/>
                </a:lnTo>
                <a:lnTo>
                  <a:pt x="13157" y="3642"/>
                </a:lnTo>
                <a:lnTo>
                  <a:pt x="13153" y="3630"/>
                </a:lnTo>
                <a:lnTo>
                  <a:pt x="13149" y="3618"/>
                </a:lnTo>
                <a:lnTo>
                  <a:pt x="13145" y="3606"/>
                </a:lnTo>
                <a:lnTo>
                  <a:pt x="13140" y="3595"/>
                </a:lnTo>
                <a:lnTo>
                  <a:pt x="13133" y="3584"/>
                </a:lnTo>
                <a:lnTo>
                  <a:pt x="13127" y="3572"/>
                </a:lnTo>
                <a:lnTo>
                  <a:pt x="13120" y="3562"/>
                </a:lnTo>
                <a:lnTo>
                  <a:pt x="13113" y="3552"/>
                </a:lnTo>
                <a:lnTo>
                  <a:pt x="13106" y="3541"/>
                </a:lnTo>
                <a:lnTo>
                  <a:pt x="13097" y="3532"/>
                </a:lnTo>
                <a:lnTo>
                  <a:pt x="13088" y="3523"/>
                </a:lnTo>
                <a:lnTo>
                  <a:pt x="13080" y="3515"/>
                </a:lnTo>
                <a:lnTo>
                  <a:pt x="13070" y="3506"/>
                </a:lnTo>
                <a:lnTo>
                  <a:pt x="13060" y="3498"/>
                </a:lnTo>
                <a:lnTo>
                  <a:pt x="13050" y="3491"/>
                </a:lnTo>
                <a:lnTo>
                  <a:pt x="13040" y="3485"/>
                </a:lnTo>
                <a:lnTo>
                  <a:pt x="13029" y="3479"/>
                </a:lnTo>
                <a:lnTo>
                  <a:pt x="13017" y="3472"/>
                </a:lnTo>
                <a:lnTo>
                  <a:pt x="13006" y="3467"/>
                </a:lnTo>
                <a:lnTo>
                  <a:pt x="12994" y="3462"/>
                </a:lnTo>
                <a:lnTo>
                  <a:pt x="12982" y="3458"/>
                </a:lnTo>
                <a:lnTo>
                  <a:pt x="12970" y="3455"/>
                </a:lnTo>
                <a:lnTo>
                  <a:pt x="12957" y="3452"/>
                </a:lnTo>
                <a:lnTo>
                  <a:pt x="12944" y="3450"/>
                </a:lnTo>
                <a:lnTo>
                  <a:pt x="12931" y="3448"/>
                </a:lnTo>
                <a:lnTo>
                  <a:pt x="12919" y="3447"/>
                </a:lnTo>
                <a:lnTo>
                  <a:pt x="12905" y="3447"/>
                </a:lnTo>
                <a:lnTo>
                  <a:pt x="12892" y="3447"/>
                </a:lnTo>
                <a:lnTo>
                  <a:pt x="12878" y="3448"/>
                </a:lnTo>
                <a:lnTo>
                  <a:pt x="12865" y="3450"/>
                </a:lnTo>
                <a:lnTo>
                  <a:pt x="12853" y="3452"/>
                </a:lnTo>
                <a:lnTo>
                  <a:pt x="12839" y="3455"/>
                </a:lnTo>
                <a:lnTo>
                  <a:pt x="12827" y="3458"/>
                </a:lnTo>
                <a:lnTo>
                  <a:pt x="12816" y="3462"/>
                </a:lnTo>
                <a:lnTo>
                  <a:pt x="12803" y="3467"/>
                </a:lnTo>
                <a:lnTo>
                  <a:pt x="12792" y="3472"/>
                </a:lnTo>
                <a:lnTo>
                  <a:pt x="12781" y="3479"/>
                </a:lnTo>
                <a:lnTo>
                  <a:pt x="12770" y="3485"/>
                </a:lnTo>
                <a:lnTo>
                  <a:pt x="12759" y="3491"/>
                </a:lnTo>
                <a:lnTo>
                  <a:pt x="12749" y="3498"/>
                </a:lnTo>
                <a:lnTo>
                  <a:pt x="12740" y="3506"/>
                </a:lnTo>
                <a:lnTo>
                  <a:pt x="12729" y="3515"/>
                </a:lnTo>
                <a:lnTo>
                  <a:pt x="12721" y="3523"/>
                </a:lnTo>
                <a:lnTo>
                  <a:pt x="12712" y="3532"/>
                </a:lnTo>
                <a:lnTo>
                  <a:pt x="12704" y="3541"/>
                </a:lnTo>
                <a:lnTo>
                  <a:pt x="12697" y="3552"/>
                </a:lnTo>
                <a:lnTo>
                  <a:pt x="12689" y="3562"/>
                </a:lnTo>
                <a:lnTo>
                  <a:pt x="12682" y="3572"/>
                </a:lnTo>
                <a:lnTo>
                  <a:pt x="12676" y="3584"/>
                </a:lnTo>
                <a:lnTo>
                  <a:pt x="12670" y="3595"/>
                </a:lnTo>
                <a:lnTo>
                  <a:pt x="12665" y="3606"/>
                </a:lnTo>
                <a:lnTo>
                  <a:pt x="12661" y="3618"/>
                </a:lnTo>
                <a:lnTo>
                  <a:pt x="12656" y="3630"/>
                </a:lnTo>
                <a:lnTo>
                  <a:pt x="12652" y="3642"/>
                </a:lnTo>
                <a:lnTo>
                  <a:pt x="12649" y="3655"/>
                </a:lnTo>
                <a:lnTo>
                  <a:pt x="12647" y="3668"/>
                </a:lnTo>
                <a:lnTo>
                  <a:pt x="12646" y="3680"/>
                </a:lnTo>
                <a:lnTo>
                  <a:pt x="12645" y="3694"/>
                </a:lnTo>
                <a:lnTo>
                  <a:pt x="12644" y="3707"/>
                </a:lnTo>
                <a:lnTo>
                  <a:pt x="12645" y="3720"/>
                </a:lnTo>
                <a:lnTo>
                  <a:pt x="12646" y="3734"/>
                </a:lnTo>
                <a:lnTo>
                  <a:pt x="12647" y="3747"/>
                </a:lnTo>
                <a:lnTo>
                  <a:pt x="12649" y="3760"/>
                </a:lnTo>
                <a:lnTo>
                  <a:pt x="12652" y="3772"/>
                </a:lnTo>
                <a:lnTo>
                  <a:pt x="12656" y="3784"/>
                </a:lnTo>
                <a:lnTo>
                  <a:pt x="12661" y="3797"/>
                </a:lnTo>
                <a:lnTo>
                  <a:pt x="12665" y="3808"/>
                </a:lnTo>
                <a:lnTo>
                  <a:pt x="12670" y="3820"/>
                </a:lnTo>
                <a:lnTo>
                  <a:pt x="12676" y="3832"/>
                </a:lnTo>
                <a:lnTo>
                  <a:pt x="12682" y="3842"/>
                </a:lnTo>
                <a:lnTo>
                  <a:pt x="12689" y="3852"/>
                </a:lnTo>
                <a:lnTo>
                  <a:pt x="12697" y="3863"/>
                </a:lnTo>
                <a:lnTo>
                  <a:pt x="12704" y="3873"/>
                </a:lnTo>
                <a:lnTo>
                  <a:pt x="12712" y="3882"/>
                </a:lnTo>
                <a:lnTo>
                  <a:pt x="12721" y="3891"/>
                </a:lnTo>
                <a:lnTo>
                  <a:pt x="12729" y="3900"/>
                </a:lnTo>
                <a:lnTo>
                  <a:pt x="12740" y="3908"/>
                </a:lnTo>
                <a:lnTo>
                  <a:pt x="12749" y="3916"/>
                </a:lnTo>
                <a:lnTo>
                  <a:pt x="12759" y="3923"/>
                </a:lnTo>
                <a:lnTo>
                  <a:pt x="12770" y="3931"/>
                </a:lnTo>
                <a:lnTo>
                  <a:pt x="12781" y="3937"/>
                </a:lnTo>
                <a:lnTo>
                  <a:pt x="12792" y="3942"/>
                </a:lnTo>
                <a:lnTo>
                  <a:pt x="12803" y="3947"/>
                </a:lnTo>
                <a:lnTo>
                  <a:pt x="12816" y="3952"/>
                </a:lnTo>
                <a:lnTo>
                  <a:pt x="12827" y="3956"/>
                </a:lnTo>
                <a:lnTo>
                  <a:pt x="12839" y="3959"/>
                </a:lnTo>
                <a:lnTo>
                  <a:pt x="12853" y="3962"/>
                </a:lnTo>
                <a:lnTo>
                  <a:pt x="12865" y="3964"/>
                </a:lnTo>
                <a:lnTo>
                  <a:pt x="12878" y="3967"/>
                </a:lnTo>
                <a:lnTo>
                  <a:pt x="12892" y="3968"/>
                </a:lnTo>
                <a:lnTo>
                  <a:pt x="12905" y="3968"/>
                </a:lnTo>
                <a:close/>
                <a:moveTo>
                  <a:pt x="1195" y="0"/>
                </a:moveTo>
                <a:lnTo>
                  <a:pt x="318" y="0"/>
                </a:lnTo>
                <a:lnTo>
                  <a:pt x="301" y="0"/>
                </a:lnTo>
                <a:lnTo>
                  <a:pt x="285" y="2"/>
                </a:lnTo>
                <a:lnTo>
                  <a:pt x="269" y="4"/>
                </a:lnTo>
                <a:lnTo>
                  <a:pt x="254" y="6"/>
                </a:lnTo>
                <a:lnTo>
                  <a:pt x="238" y="10"/>
                </a:lnTo>
                <a:lnTo>
                  <a:pt x="223" y="14"/>
                </a:lnTo>
                <a:lnTo>
                  <a:pt x="209" y="20"/>
                </a:lnTo>
                <a:lnTo>
                  <a:pt x="194" y="25"/>
                </a:lnTo>
                <a:lnTo>
                  <a:pt x="180" y="32"/>
                </a:lnTo>
                <a:lnTo>
                  <a:pt x="167" y="38"/>
                </a:lnTo>
                <a:lnTo>
                  <a:pt x="153" y="46"/>
                </a:lnTo>
                <a:lnTo>
                  <a:pt x="140" y="55"/>
                </a:lnTo>
                <a:lnTo>
                  <a:pt x="127" y="64"/>
                </a:lnTo>
                <a:lnTo>
                  <a:pt x="116" y="73"/>
                </a:lnTo>
                <a:lnTo>
                  <a:pt x="104" y="82"/>
                </a:lnTo>
                <a:lnTo>
                  <a:pt x="94" y="94"/>
                </a:lnTo>
                <a:lnTo>
                  <a:pt x="82" y="104"/>
                </a:lnTo>
                <a:lnTo>
                  <a:pt x="73" y="116"/>
                </a:lnTo>
                <a:lnTo>
                  <a:pt x="63" y="128"/>
                </a:lnTo>
                <a:lnTo>
                  <a:pt x="54" y="140"/>
                </a:lnTo>
                <a:lnTo>
                  <a:pt x="46" y="153"/>
                </a:lnTo>
                <a:lnTo>
                  <a:pt x="38" y="167"/>
                </a:lnTo>
                <a:lnTo>
                  <a:pt x="31" y="180"/>
                </a:lnTo>
                <a:lnTo>
                  <a:pt x="25" y="195"/>
                </a:lnTo>
                <a:lnTo>
                  <a:pt x="20" y="209"/>
                </a:lnTo>
                <a:lnTo>
                  <a:pt x="14" y="223"/>
                </a:lnTo>
                <a:lnTo>
                  <a:pt x="10" y="239"/>
                </a:lnTo>
                <a:lnTo>
                  <a:pt x="6" y="254"/>
                </a:lnTo>
                <a:lnTo>
                  <a:pt x="4" y="270"/>
                </a:lnTo>
                <a:lnTo>
                  <a:pt x="2" y="285"/>
                </a:lnTo>
                <a:lnTo>
                  <a:pt x="0" y="302"/>
                </a:lnTo>
                <a:lnTo>
                  <a:pt x="0" y="318"/>
                </a:lnTo>
                <a:lnTo>
                  <a:pt x="0" y="2663"/>
                </a:lnTo>
                <a:lnTo>
                  <a:pt x="341" y="2663"/>
                </a:lnTo>
                <a:lnTo>
                  <a:pt x="354" y="2664"/>
                </a:lnTo>
                <a:lnTo>
                  <a:pt x="366" y="2665"/>
                </a:lnTo>
                <a:lnTo>
                  <a:pt x="378" y="2666"/>
                </a:lnTo>
                <a:lnTo>
                  <a:pt x="391" y="2668"/>
                </a:lnTo>
                <a:lnTo>
                  <a:pt x="402" y="2671"/>
                </a:lnTo>
                <a:lnTo>
                  <a:pt x="414" y="2675"/>
                </a:lnTo>
                <a:lnTo>
                  <a:pt x="426" y="2679"/>
                </a:lnTo>
                <a:lnTo>
                  <a:pt x="436" y="2683"/>
                </a:lnTo>
                <a:lnTo>
                  <a:pt x="447" y="2688"/>
                </a:lnTo>
                <a:lnTo>
                  <a:pt x="457" y="2693"/>
                </a:lnTo>
                <a:lnTo>
                  <a:pt x="468" y="2699"/>
                </a:lnTo>
                <a:lnTo>
                  <a:pt x="478" y="2705"/>
                </a:lnTo>
                <a:lnTo>
                  <a:pt x="487" y="2713"/>
                </a:lnTo>
                <a:lnTo>
                  <a:pt x="496" y="2720"/>
                </a:lnTo>
                <a:lnTo>
                  <a:pt x="506" y="2727"/>
                </a:lnTo>
                <a:lnTo>
                  <a:pt x="514" y="2735"/>
                </a:lnTo>
                <a:lnTo>
                  <a:pt x="522" y="2744"/>
                </a:lnTo>
                <a:lnTo>
                  <a:pt x="529" y="2753"/>
                </a:lnTo>
                <a:lnTo>
                  <a:pt x="537" y="2762"/>
                </a:lnTo>
                <a:lnTo>
                  <a:pt x="544" y="2771"/>
                </a:lnTo>
                <a:lnTo>
                  <a:pt x="550" y="2782"/>
                </a:lnTo>
                <a:lnTo>
                  <a:pt x="556" y="2792"/>
                </a:lnTo>
                <a:lnTo>
                  <a:pt x="561" y="2802"/>
                </a:lnTo>
                <a:lnTo>
                  <a:pt x="566" y="2814"/>
                </a:lnTo>
                <a:lnTo>
                  <a:pt x="570" y="2824"/>
                </a:lnTo>
                <a:lnTo>
                  <a:pt x="575" y="2835"/>
                </a:lnTo>
                <a:lnTo>
                  <a:pt x="578" y="2848"/>
                </a:lnTo>
                <a:lnTo>
                  <a:pt x="581" y="2859"/>
                </a:lnTo>
                <a:lnTo>
                  <a:pt x="583" y="2871"/>
                </a:lnTo>
                <a:lnTo>
                  <a:pt x="584" y="2884"/>
                </a:lnTo>
                <a:lnTo>
                  <a:pt x="585" y="2896"/>
                </a:lnTo>
                <a:lnTo>
                  <a:pt x="586" y="2908"/>
                </a:lnTo>
                <a:lnTo>
                  <a:pt x="586" y="3421"/>
                </a:lnTo>
                <a:lnTo>
                  <a:pt x="585" y="3433"/>
                </a:lnTo>
                <a:lnTo>
                  <a:pt x="584" y="3447"/>
                </a:lnTo>
                <a:lnTo>
                  <a:pt x="583" y="3458"/>
                </a:lnTo>
                <a:lnTo>
                  <a:pt x="581" y="3470"/>
                </a:lnTo>
                <a:lnTo>
                  <a:pt x="578" y="3482"/>
                </a:lnTo>
                <a:lnTo>
                  <a:pt x="575" y="3494"/>
                </a:lnTo>
                <a:lnTo>
                  <a:pt x="570" y="3505"/>
                </a:lnTo>
                <a:lnTo>
                  <a:pt x="566" y="3516"/>
                </a:lnTo>
                <a:lnTo>
                  <a:pt x="561" y="3527"/>
                </a:lnTo>
                <a:lnTo>
                  <a:pt x="556" y="3537"/>
                </a:lnTo>
                <a:lnTo>
                  <a:pt x="550" y="3548"/>
                </a:lnTo>
                <a:lnTo>
                  <a:pt x="544" y="3558"/>
                </a:lnTo>
                <a:lnTo>
                  <a:pt x="537" y="3567"/>
                </a:lnTo>
                <a:lnTo>
                  <a:pt x="529" y="3576"/>
                </a:lnTo>
                <a:lnTo>
                  <a:pt x="522" y="3586"/>
                </a:lnTo>
                <a:lnTo>
                  <a:pt x="514" y="3594"/>
                </a:lnTo>
                <a:lnTo>
                  <a:pt x="506" y="3602"/>
                </a:lnTo>
                <a:lnTo>
                  <a:pt x="496" y="3609"/>
                </a:lnTo>
                <a:lnTo>
                  <a:pt x="487" y="3617"/>
                </a:lnTo>
                <a:lnTo>
                  <a:pt x="478" y="3624"/>
                </a:lnTo>
                <a:lnTo>
                  <a:pt x="468" y="3630"/>
                </a:lnTo>
                <a:lnTo>
                  <a:pt x="457" y="3636"/>
                </a:lnTo>
                <a:lnTo>
                  <a:pt x="447" y="3641"/>
                </a:lnTo>
                <a:lnTo>
                  <a:pt x="436" y="3646"/>
                </a:lnTo>
                <a:lnTo>
                  <a:pt x="426" y="3650"/>
                </a:lnTo>
                <a:lnTo>
                  <a:pt x="414" y="3655"/>
                </a:lnTo>
                <a:lnTo>
                  <a:pt x="402" y="3658"/>
                </a:lnTo>
                <a:lnTo>
                  <a:pt x="391" y="3661"/>
                </a:lnTo>
                <a:lnTo>
                  <a:pt x="378" y="3663"/>
                </a:lnTo>
                <a:lnTo>
                  <a:pt x="366" y="3664"/>
                </a:lnTo>
                <a:lnTo>
                  <a:pt x="354" y="3665"/>
                </a:lnTo>
                <a:lnTo>
                  <a:pt x="341" y="3666"/>
                </a:lnTo>
                <a:lnTo>
                  <a:pt x="0" y="3666"/>
                </a:lnTo>
                <a:lnTo>
                  <a:pt x="0" y="4154"/>
                </a:lnTo>
                <a:lnTo>
                  <a:pt x="0" y="4170"/>
                </a:lnTo>
                <a:lnTo>
                  <a:pt x="2" y="4187"/>
                </a:lnTo>
                <a:lnTo>
                  <a:pt x="4" y="4202"/>
                </a:lnTo>
                <a:lnTo>
                  <a:pt x="6" y="4218"/>
                </a:lnTo>
                <a:lnTo>
                  <a:pt x="10" y="4233"/>
                </a:lnTo>
                <a:lnTo>
                  <a:pt x="14" y="4249"/>
                </a:lnTo>
                <a:lnTo>
                  <a:pt x="20" y="4263"/>
                </a:lnTo>
                <a:lnTo>
                  <a:pt x="25" y="4277"/>
                </a:lnTo>
                <a:lnTo>
                  <a:pt x="31" y="4292"/>
                </a:lnTo>
                <a:lnTo>
                  <a:pt x="38" y="4305"/>
                </a:lnTo>
                <a:lnTo>
                  <a:pt x="46" y="4319"/>
                </a:lnTo>
                <a:lnTo>
                  <a:pt x="54" y="4332"/>
                </a:lnTo>
                <a:lnTo>
                  <a:pt x="63" y="4344"/>
                </a:lnTo>
                <a:lnTo>
                  <a:pt x="73" y="4356"/>
                </a:lnTo>
                <a:lnTo>
                  <a:pt x="82" y="4368"/>
                </a:lnTo>
                <a:lnTo>
                  <a:pt x="94" y="4378"/>
                </a:lnTo>
                <a:lnTo>
                  <a:pt x="104" y="4390"/>
                </a:lnTo>
                <a:lnTo>
                  <a:pt x="116" y="4399"/>
                </a:lnTo>
                <a:lnTo>
                  <a:pt x="127" y="4409"/>
                </a:lnTo>
                <a:lnTo>
                  <a:pt x="140" y="4417"/>
                </a:lnTo>
                <a:lnTo>
                  <a:pt x="153" y="4426"/>
                </a:lnTo>
                <a:lnTo>
                  <a:pt x="167" y="4434"/>
                </a:lnTo>
                <a:lnTo>
                  <a:pt x="180" y="4441"/>
                </a:lnTo>
                <a:lnTo>
                  <a:pt x="194" y="4447"/>
                </a:lnTo>
                <a:lnTo>
                  <a:pt x="209" y="4452"/>
                </a:lnTo>
                <a:lnTo>
                  <a:pt x="223" y="4458"/>
                </a:lnTo>
                <a:lnTo>
                  <a:pt x="238" y="4462"/>
                </a:lnTo>
                <a:lnTo>
                  <a:pt x="254" y="4466"/>
                </a:lnTo>
                <a:lnTo>
                  <a:pt x="269" y="4468"/>
                </a:lnTo>
                <a:lnTo>
                  <a:pt x="285" y="4470"/>
                </a:lnTo>
                <a:lnTo>
                  <a:pt x="301" y="4472"/>
                </a:lnTo>
                <a:lnTo>
                  <a:pt x="318" y="4472"/>
                </a:lnTo>
                <a:lnTo>
                  <a:pt x="1195" y="4472"/>
                </a:lnTo>
                <a:lnTo>
                  <a:pt x="1195" y="0"/>
                </a:lnTo>
                <a:close/>
              </a:path>
            </a:pathLst>
          </a:custGeom>
          <a:solidFill>
            <a:schemeClr val="tx1"/>
          </a:solidFill>
          <a:ln>
            <a:noFill/>
          </a:ln>
          <a:effectLst/>
        </p:spPr>
        <p:txBody>
          <a:bodyPr vert="horz" wrap="square" lIns="91416" tIns="45708" rIns="91416" bIns="45708" numCol="1" rtlCol="0" anchor="t" anchorCtr="0" compatLnSpc="1">
            <a:prstTxWarp prst="textNoShape">
              <a:avLst/>
            </a:prstTxWarp>
          </a:bodyPr>
          <a:lstStyle/>
          <a:p>
            <a:pPr fontAlgn="ctr">
              <a:buClr>
                <a:srgbClr val="CC9900"/>
              </a:buClr>
              <a:buFont typeface="Wingdings" pitchFamily="2" charset="2"/>
              <a:buChar char="n"/>
            </a:pPr>
            <a:endParaRPr lang="en-US" altLang="zh-CN" sz="1799" dirty="0">
              <a:solidFill>
                <a:schemeClr val="bg1"/>
              </a:solidFill>
            </a:endParaRPr>
          </a:p>
        </p:txBody>
      </p:sp>
      <p:sp>
        <p:nvSpPr>
          <p:cNvPr id="195" name="1623325355"/>
          <p:cNvSpPr>
            <a:spLocks/>
          </p:cNvSpPr>
          <p:nvPr/>
        </p:nvSpPr>
        <p:spPr bwMode="auto">
          <a:xfrm>
            <a:off x="7006732" y="1719618"/>
            <a:ext cx="398969" cy="179341"/>
          </a:xfrm>
          <a:custGeom>
            <a:avLst/>
            <a:gdLst/>
            <a:ahLst/>
            <a:cxnLst>
              <a:cxn ang="0">
                <a:pos x="3889" y="0"/>
              </a:cxn>
              <a:cxn ang="0">
                <a:pos x="5834" y="1637"/>
              </a:cxn>
              <a:cxn ang="0">
                <a:pos x="7779" y="3274"/>
              </a:cxn>
              <a:cxn ang="0">
                <a:pos x="3889" y="3274"/>
              </a:cxn>
              <a:cxn ang="0">
                <a:pos x="0" y="3274"/>
              </a:cxn>
              <a:cxn ang="0">
                <a:pos x="1944" y="1637"/>
              </a:cxn>
              <a:cxn ang="0">
                <a:pos x="3889" y="0"/>
              </a:cxn>
            </a:cxnLst>
            <a:rect l="0" t="0" r="r" b="b"/>
            <a:pathLst>
              <a:path w="7779" h="3274">
                <a:moveTo>
                  <a:pt x="3889" y="0"/>
                </a:moveTo>
                <a:lnTo>
                  <a:pt x="5834" y="1637"/>
                </a:lnTo>
                <a:lnTo>
                  <a:pt x="7779" y="3274"/>
                </a:lnTo>
                <a:lnTo>
                  <a:pt x="3889" y="3274"/>
                </a:lnTo>
                <a:lnTo>
                  <a:pt x="0" y="3274"/>
                </a:lnTo>
                <a:lnTo>
                  <a:pt x="1944" y="1637"/>
                </a:lnTo>
                <a:lnTo>
                  <a:pt x="3889" y="0"/>
                </a:lnTo>
                <a:close/>
              </a:path>
            </a:pathLst>
          </a:custGeom>
          <a:solidFill>
            <a:schemeClr val="tx1"/>
          </a:solidFill>
          <a:ln w="9525">
            <a:noFill/>
            <a:round/>
            <a:headEnd/>
            <a:tailEnd/>
          </a:ln>
        </p:spPr>
        <p:txBody>
          <a:bodyPr vert="horz" wrap="square" lIns="91416" tIns="45708" rIns="91416" bIns="45708" numCol="1" anchor="t" anchorCtr="0" compatLnSpc="1">
            <a:prstTxWarp prst="textNoShape">
              <a:avLst/>
            </a:prstTxWarp>
          </a:bodyPr>
          <a:lstStyle/>
          <a:p>
            <a:pPr fontAlgn="ctr"/>
            <a:endParaRPr lang="en-US" altLang="zh-CN" sz="1799">
              <a:solidFill>
                <a:schemeClr val="bg1"/>
              </a:solidFill>
            </a:endParaRPr>
          </a:p>
        </p:txBody>
      </p:sp>
      <p:sp>
        <p:nvSpPr>
          <p:cNvPr id="196" name="1391659059"/>
          <p:cNvSpPr>
            <a:spLocks noEditPoints="1"/>
          </p:cNvSpPr>
          <p:nvPr/>
        </p:nvSpPr>
        <p:spPr bwMode="auto">
          <a:xfrm>
            <a:off x="7040036" y="1911937"/>
            <a:ext cx="365665" cy="548497"/>
          </a:xfrm>
          <a:custGeom>
            <a:avLst/>
            <a:gdLst/>
            <a:ahLst/>
            <a:cxnLst>
              <a:cxn ang="0">
                <a:pos x="7792" y="0"/>
              </a:cxn>
              <a:cxn ang="0">
                <a:pos x="0" y="12190"/>
              </a:cxn>
              <a:cxn ang="0">
                <a:pos x="687" y="690"/>
              </a:cxn>
              <a:cxn ang="0">
                <a:pos x="2079" y="2084"/>
              </a:cxn>
              <a:cxn ang="0">
                <a:pos x="687" y="690"/>
              </a:cxn>
              <a:cxn ang="0">
                <a:pos x="2079" y="10165"/>
              </a:cxn>
              <a:cxn ang="0">
                <a:pos x="687" y="11558"/>
              </a:cxn>
              <a:cxn ang="0">
                <a:pos x="2363" y="10165"/>
              </a:cxn>
              <a:cxn ang="0">
                <a:pos x="3755" y="11558"/>
              </a:cxn>
              <a:cxn ang="0">
                <a:pos x="2363" y="10165"/>
              </a:cxn>
              <a:cxn ang="0">
                <a:pos x="5431" y="10165"/>
              </a:cxn>
              <a:cxn ang="0">
                <a:pos x="4037" y="11558"/>
              </a:cxn>
              <a:cxn ang="0">
                <a:pos x="5713" y="10165"/>
              </a:cxn>
              <a:cxn ang="0">
                <a:pos x="7105" y="11558"/>
              </a:cxn>
              <a:cxn ang="0">
                <a:pos x="5713" y="10165"/>
              </a:cxn>
              <a:cxn ang="0">
                <a:pos x="2079" y="8270"/>
              </a:cxn>
              <a:cxn ang="0">
                <a:pos x="687" y="9663"/>
              </a:cxn>
              <a:cxn ang="0">
                <a:pos x="2363" y="8270"/>
              </a:cxn>
              <a:cxn ang="0">
                <a:pos x="3755" y="9663"/>
              </a:cxn>
              <a:cxn ang="0">
                <a:pos x="2363" y="8270"/>
              </a:cxn>
              <a:cxn ang="0">
                <a:pos x="5431" y="8270"/>
              </a:cxn>
              <a:cxn ang="0">
                <a:pos x="4037" y="9663"/>
              </a:cxn>
              <a:cxn ang="0">
                <a:pos x="5713" y="8270"/>
              </a:cxn>
              <a:cxn ang="0">
                <a:pos x="7105" y="9663"/>
              </a:cxn>
              <a:cxn ang="0">
                <a:pos x="5713" y="8270"/>
              </a:cxn>
              <a:cxn ang="0">
                <a:pos x="2079" y="6376"/>
              </a:cxn>
              <a:cxn ang="0">
                <a:pos x="687" y="7768"/>
              </a:cxn>
              <a:cxn ang="0">
                <a:pos x="2363" y="6376"/>
              </a:cxn>
              <a:cxn ang="0">
                <a:pos x="3755" y="7768"/>
              </a:cxn>
              <a:cxn ang="0">
                <a:pos x="2363" y="6376"/>
              </a:cxn>
              <a:cxn ang="0">
                <a:pos x="5431" y="6376"/>
              </a:cxn>
              <a:cxn ang="0">
                <a:pos x="4037" y="7768"/>
              </a:cxn>
              <a:cxn ang="0">
                <a:pos x="5713" y="6376"/>
              </a:cxn>
              <a:cxn ang="0">
                <a:pos x="7105" y="7768"/>
              </a:cxn>
              <a:cxn ang="0">
                <a:pos x="5713" y="6376"/>
              </a:cxn>
              <a:cxn ang="0">
                <a:pos x="2079" y="4481"/>
              </a:cxn>
              <a:cxn ang="0">
                <a:pos x="687" y="5874"/>
              </a:cxn>
              <a:cxn ang="0">
                <a:pos x="2363" y="4481"/>
              </a:cxn>
              <a:cxn ang="0">
                <a:pos x="3755" y="5874"/>
              </a:cxn>
              <a:cxn ang="0">
                <a:pos x="2363" y="4481"/>
              </a:cxn>
              <a:cxn ang="0">
                <a:pos x="5431" y="4481"/>
              </a:cxn>
              <a:cxn ang="0">
                <a:pos x="4037" y="5874"/>
              </a:cxn>
              <a:cxn ang="0">
                <a:pos x="5713" y="4481"/>
              </a:cxn>
              <a:cxn ang="0">
                <a:pos x="7105" y="5874"/>
              </a:cxn>
              <a:cxn ang="0">
                <a:pos x="5713" y="4481"/>
              </a:cxn>
              <a:cxn ang="0">
                <a:pos x="2079" y="2585"/>
              </a:cxn>
              <a:cxn ang="0">
                <a:pos x="687" y="3979"/>
              </a:cxn>
              <a:cxn ang="0">
                <a:pos x="2363" y="2585"/>
              </a:cxn>
              <a:cxn ang="0">
                <a:pos x="3755" y="3979"/>
              </a:cxn>
              <a:cxn ang="0">
                <a:pos x="2363" y="2585"/>
              </a:cxn>
              <a:cxn ang="0">
                <a:pos x="5431" y="2585"/>
              </a:cxn>
              <a:cxn ang="0">
                <a:pos x="4037" y="3979"/>
              </a:cxn>
              <a:cxn ang="0">
                <a:pos x="2363" y="690"/>
              </a:cxn>
              <a:cxn ang="0">
                <a:pos x="3755" y="2084"/>
              </a:cxn>
              <a:cxn ang="0">
                <a:pos x="2363" y="690"/>
              </a:cxn>
              <a:cxn ang="0">
                <a:pos x="5431" y="690"/>
              </a:cxn>
              <a:cxn ang="0">
                <a:pos x="4037" y="2084"/>
              </a:cxn>
              <a:cxn ang="0">
                <a:pos x="5713" y="690"/>
              </a:cxn>
              <a:cxn ang="0">
                <a:pos x="7105" y="2084"/>
              </a:cxn>
              <a:cxn ang="0">
                <a:pos x="5713" y="690"/>
              </a:cxn>
              <a:cxn ang="0">
                <a:pos x="7105" y="2585"/>
              </a:cxn>
              <a:cxn ang="0">
                <a:pos x="5713" y="3979"/>
              </a:cxn>
            </a:cxnLst>
            <a:rect l="0" t="0" r="r" b="b"/>
            <a:pathLst>
              <a:path w="7792" h="12190">
                <a:moveTo>
                  <a:pt x="0" y="0"/>
                </a:moveTo>
                <a:lnTo>
                  <a:pt x="7792" y="0"/>
                </a:lnTo>
                <a:lnTo>
                  <a:pt x="7792" y="12190"/>
                </a:lnTo>
                <a:lnTo>
                  <a:pt x="0" y="12190"/>
                </a:lnTo>
                <a:lnTo>
                  <a:pt x="0" y="0"/>
                </a:lnTo>
                <a:close/>
                <a:moveTo>
                  <a:pt x="687" y="690"/>
                </a:moveTo>
                <a:lnTo>
                  <a:pt x="2079" y="690"/>
                </a:lnTo>
                <a:lnTo>
                  <a:pt x="2079" y="2084"/>
                </a:lnTo>
                <a:lnTo>
                  <a:pt x="687" y="2084"/>
                </a:lnTo>
                <a:lnTo>
                  <a:pt x="687" y="690"/>
                </a:lnTo>
                <a:close/>
                <a:moveTo>
                  <a:pt x="687" y="10165"/>
                </a:moveTo>
                <a:lnTo>
                  <a:pt x="2079" y="10165"/>
                </a:lnTo>
                <a:lnTo>
                  <a:pt x="2079" y="11558"/>
                </a:lnTo>
                <a:lnTo>
                  <a:pt x="687" y="11558"/>
                </a:lnTo>
                <a:lnTo>
                  <a:pt x="687" y="10165"/>
                </a:lnTo>
                <a:close/>
                <a:moveTo>
                  <a:pt x="2363" y="10165"/>
                </a:moveTo>
                <a:lnTo>
                  <a:pt x="3755" y="10165"/>
                </a:lnTo>
                <a:lnTo>
                  <a:pt x="3755" y="11558"/>
                </a:lnTo>
                <a:lnTo>
                  <a:pt x="2363" y="11558"/>
                </a:lnTo>
                <a:lnTo>
                  <a:pt x="2363" y="10165"/>
                </a:lnTo>
                <a:close/>
                <a:moveTo>
                  <a:pt x="4037" y="10165"/>
                </a:moveTo>
                <a:lnTo>
                  <a:pt x="5431" y="10165"/>
                </a:lnTo>
                <a:lnTo>
                  <a:pt x="5431" y="11558"/>
                </a:lnTo>
                <a:lnTo>
                  <a:pt x="4037" y="11558"/>
                </a:lnTo>
                <a:lnTo>
                  <a:pt x="4037" y="10165"/>
                </a:lnTo>
                <a:close/>
                <a:moveTo>
                  <a:pt x="5713" y="10165"/>
                </a:moveTo>
                <a:lnTo>
                  <a:pt x="7105" y="10165"/>
                </a:lnTo>
                <a:lnTo>
                  <a:pt x="7105" y="11558"/>
                </a:lnTo>
                <a:lnTo>
                  <a:pt x="5713" y="11558"/>
                </a:lnTo>
                <a:lnTo>
                  <a:pt x="5713" y="10165"/>
                </a:lnTo>
                <a:close/>
                <a:moveTo>
                  <a:pt x="687" y="8270"/>
                </a:moveTo>
                <a:lnTo>
                  <a:pt x="2079" y="8270"/>
                </a:lnTo>
                <a:lnTo>
                  <a:pt x="2079" y="9663"/>
                </a:lnTo>
                <a:lnTo>
                  <a:pt x="687" y="9663"/>
                </a:lnTo>
                <a:lnTo>
                  <a:pt x="687" y="8270"/>
                </a:lnTo>
                <a:close/>
                <a:moveTo>
                  <a:pt x="2363" y="8270"/>
                </a:moveTo>
                <a:lnTo>
                  <a:pt x="3755" y="8270"/>
                </a:lnTo>
                <a:lnTo>
                  <a:pt x="3755" y="9663"/>
                </a:lnTo>
                <a:lnTo>
                  <a:pt x="2363" y="9663"/>
                </a:lnTo>
                <a:lnTo>
                  <a:pt x="2363" y="8270"/>
                </a:lnTo>
                <a:close/>
                <a:moveTo>
                  <a:pt x="4037" y="8270"/>
                </a:moveTo>
                <a:lnTo>
                  <a:pt x="5431" y="8270"/>
                </a:lnTo>
                <a:lnTo>
                  <a:pt x="5431" y="9663"/>
                </a:lnTo>
                <a:lnTo>
                  <a:pt x="4037" y="9663"/>
                </a:lnTo>
                <a:lnTo>
                  <a:pt x="4037" y="8270"/>
                </a:lnTo>
                <a:close/>
                <a:moveTo>
                  <a:pt x="5713" y="8270"/>
                </a:moveTo>
                <a:lnTo>
                  <a:pt x="7105" y="8270"/>
                </a:lnTo>
                <a:lnTo>
                  <a:pt x="7105" y="9663"/>
                </a:lnTo>
                <a:lnTo>
                  <a:pt x="5713" y="9663"/>
                </a:lnTo>
                <a:lnTo>
                  <a:pt x="5713" y="8270"/>
                </a:lnTo>
                <a:close/>
                <a:moveTo>
                  <a:pt x="687" y="6376"/>
                </a:moveTo>
                <a:lnTo>
                  <a:pt x="2079" y="6376"/>
                </a:lnTo>
                <a:lnTo>
                  <a:pt x="2079" y="7768"/>
                </a:lnTo>
                <a:lnTo>
                  <a:pt x="687" y="7768"/>
                </a:lnTo>
                <a:lnTo>
                  <a:pt x="687" y="6376"/>
                </a:lnTo>
                <a:close/>
                <a:moveTo>
                  <a:pt x="2363" y="6376"/>
                </a:moveTo>
                <a:lnTo>
                  <a:pt x="3755" y="6376"/>
                </a:lnTo>
                <a:lnTo>
                  <a:pt x="3755" y="7768"/>
                </a:lnTo>
                <a:lnTo>
                  <a:pt x="2363" y="7768"/>
                </a:lnTo>
                <a:lnTo>
                  <a:pt x="2363" y="6376"/>
                </a:lnTo>
                <a:close/>
                <a:moveTo>
                  <a:pt x="4037" y="6376"/>
                </a:moveTo>
                <a:lnTo>
                  <a:pt x="5431" y="6376"/>
                </a:lnTo>
                <a:lnTo>
                  <a:pt x="5431" y="7768"/>
                </a:lnTo>
                <a:lnTo>
                  <a:pt x="4037" y="7768"/>
                </a:lnTo>
                <a:lnTo>
                  <a:pt x="4037" y="6376"/>
                </a:lnTo>
                <a:close/>
                <a:moveTo>
                  <a:pt x="5713" y="6376"/>
                </a:moveTo>
                <a:lnTo>
                  <a:pt x="7105" y="6376"/>
                </a:lnTo>
                <a:lnTo>
                  <a:pt x="7105" y="7768"/>
                </a:lnTo>
                <a:lnTo>
                  <a:pt x="5713" y="7768"/>
                </a:lnTo>
                <a:lnTo>
                  <a:pt x="5713" y="6376"/>
                </a:lnTo>
                <a:close/>
                <a:moveTo>
                  <a:pt x="687" y="4481"/>
                </a:moveTo>
                <a:lnTo>
                  <a:pt x="2079" y="4481"/>
                </a:lnTo>
                <a:lnTo>
                  <a:pt x="2079" y="5874"/>
                </a:lnTo>
                <a:lnTo>
                  <a:pt x="687" y="5874"/>
                </a:lnTo>
                <a:lnTo>
                  <a:pt x="687" y="4481"/>
                </a:lnTo>
                <a:close/>
                <a:moveTo>
                  <a:pt x="2363" y="4481"/>
                </a:moveTo>
                <a:lnTo>
                  <a:pt x="3755" y="4481"/>
                </a:lnTo>
                <a:lnTo>
                  <a:pt x="3755" y="5874"/>
                </a:lnTo>
                <a:lnTo>
                  <a:pt x="2363" y="5874"/>
                </a:lnTo>
                <a:lnTo>
                  <a:pt x="2363" y="4481"/>
                </a:lnTo>
                <a:close/>
                <a:moveTo>
                  <a:pt x="4037" y="4481"/>
                </a:moveTo>
                <a:lnTo>
                  <a:pt x="5431" y="4481"/>
                </a:lnTo>
                <a:lnTo>
                  <a:pt x="5431" y="5874"/>
                </a:lnTo>
                <a:lnTo>
                  <a:pt x="4037" y="5874"/>
                </a:lnTo>
                <a:lnTo>
                  <a:pt x="4037" y="4481"/>
                </a:lnTo>
                <a:close/>
                <a:moveTo>
                  <a:pt x="5713" y="4481"/>
                </a:moveTo>
                <a:lnTo>
                  <a:pt x="7105" y="4481"/>
                </a:lnTo>
                <a:lnTo>
                  <a:pt x="7105" y="5874"/>
                </a:lnTo>
                <a:lnTo>
                  <a:pt x="5713" y="5874"/>
                </a:lnTo>
                <a:lnTo>
                  <a:pt x="5713" y="4481"/>
                </a:lnTo>
                <a:close/>
                <a:moveTo>
                  <a:pt x="687" y="2585"/>
                </a:moveTo>
                <a:lnTo>
                  <a:pt x="2079" y="2585"/>
                </a:lnTo>
                <a:lnTo>
                  <a:pt x="2079" y="3979"/>
                </a:lnTo>
                <a:lnTo>
                  <a:pt x="687" y="3979"/>
                </a:lnTo>
                <a:lnTo>
                  <a:pt x="687" y="2585"/>
                </a:lnTo>
                <a:close/>
                <a:moveTo>
                  <a:pt x="2363" y="2585"/>
                </a:moveTo>
                <a:lnTo>
                  <a:pt x="3755" y="2585"/>
                </a:lnTo>
                <a:lnTo>
                  <a:pt x="3755" y="3979"/>
                </a:lnTo>
                <a:lnTo>
                  <a:pt x="2363" y="3979"/>
                </a:lnTo>
                <a:lnTo>
                  <a:pt x="2363" y="2585"/>
                </a:lnTo>
                <a:close/>
                <a:moveTo>
                  <a:pt x="4037" y="2585"/>
                </a:moveTo>
                <a:lnTo>
                  <a:pt x="5431" y="2585"/>
                </a:lnTo>
                <a:lnTo>
                  <a:pt x="5431" y="3979"/>
                </a:lnTo>
                <a:lnTo>
                  <a:pt x="4037" y="3979"/>
                </a:lnTo>
                <a:lnTo>
                  <a:pt x="4037" y="2585"/>
                </a:lnTo>
                <a:close/>
                <a:moveTo>
                  <a:pt x="2363" y="690"/>
                </a:moveTo>
                <a:lnTo>
                  <a:pt x="3755" y="690"/>
                </a:lnTo>
                <a:lnTo>
                  <a:pt x="3755" y="2084"/>
                </a:lnTo>
                <a:lnTo>
                  <a:pt x="2363" y="2084"/>
                </a:lnTo>
                <a:lnTo>
                  <a:pt x="2363" y="690"/>
                </a:lnTo>
                <a:close/>
                <a:moveTo>
                  <a:pt x="4037" y="690"/>
                </a:moveTo>
                <a:lnTo>
                  <a:pt x="5431" y="690"/>
                </a:lnTo>
                <a:lnTo>
                  <a:pt x="5431" y="2084"/>
                </a:lnTo>
                <a:lnTo>
                  <a:pt x="4037" y="2084"/>
                </a:lnTo>
                <a:lnTo>
                  <a:pt x="4037" y="690"/>
                </a:lnTo>
                <a:close/>
                <a:moveTo>
                  <a:pt x="5713" y="690"/>
                </a:moveTo>
                <a:lnTo>
                  <a:pt x="7105" y="690"/>
                </a:lnTo>
                <a:lnTo>
                  <a:pt x="7105" y="2084"/>
                </a:lnTo>
                <a:lnTo>
                  <a:pt x="5713" y="2084"/>
                </a:lnTo>
                <a:lnTo>
                  <a:pt x="5713" y="690"/>
                </a:lnTo>
                <a:close/>
                <a:moveTo>
                  <a:pt x="5713" y="2585"/>
                </a:moveTo>
                <a:lnTo>
                  <a:pt x="7105" y="2585"/>
                </a:lnTo>
                <a:lnTo>
                  <a:pt x="7105" y="3979"/>
                </a:lnTo>
                <a:lnTo>
                  <a:pt x="5713" y="3979"/>
                </a:lnTo>
                <a:lnTo>
                  <a:pt x="5713" y="2585"/>
                </a:lnTo>
                <a:close/>
              </a:path>
            </a:pathLst>
          </a:custGeom>
          <a:solidFill>
            <a:schemeClr val="tx1"/>
          </a:solidFill>
          <a:ln w="9525">
            <a:noFill/>
            <a:round/>
            <a:headEnd/>
            <a:tailEnd/>
          </a:ln>
        </p:spPr>
        <p:txBody>
          <a:bodyPr vert="horz" wrap="square" lIns="91416" tIns="45708" rIns="91416" bIns="45708" numCol="1" anchor="t" anchorCtr="0" compatLnSpc="1">
            <a:prstTxWarp prst="textNoShape">
              <a:avLst/>
            </a:prstTxWarp>
          </a:bodyPr>
          <a:lstStyle/>
          <a:p>
            <a:pPr fontAlgn="ctr"/>
            <a:endParaRPr lang="en-US" altLang="zh-CN" sz="1799">
              <a:solidFill>
                <a:schemeClr val="bg1"/>
              </a:solidFill>
            </a:endParaRPr>
          </a:p>
        </p:txBody>
      </p:sp>
      <p:sp>
        <p:nvSpPr>
          <p:cNvPr id="197" name="1942079535"/>
          <p:cNvSpPr>
            <a:spLocks noEditPoints="1"/>
          </p:cNvSpPr>
          <p:nvPr/>
        </p:nvSpPr>
        <p:spPr bwMode="auto">
          <a:xfrm>
            <a:off x="6612390" y="1979259"/>
            <a:ext cx="427645" cy="481176"/>
          </a:xfrm>
          <a:custGeom>
            <a:avLst/>
            <a:gdLst/>
            <a:ahLst/>
            <a:cxnLst>
              <a:cxn ang="0">
                <a:pos x="391" y="7288"/>
              </a:cxn>
              <a:cxn ang="0">
                <a:pos x="13792" y="12965"/>
              </a:cxn>
              <a:cxn ang="0">
                <a:pos x="13245" y="13213"/>
              </a:cxn>
              <a:cxn ang="0">
                <a:pos x="12490" y="13411"/>
              </a:cxn>
              <a:cxn ang="0">
                <a:pos x="11310" y="13607"/>
              </a:cxn>
              <a:cxn ang="0">
                <a:pos x="10102" y="13737"/>
              </a:cxn>
              <a:cxn ang="0">
                <a:pos x="9765" y="13625"/>
              </a:cxn>
              <a:cxn ang="0">
                <a:pos x="9327" y="13338"/>
              </a:cxn>
              <a:cxn ang="0">
                <a:pos x="9113" y="12822"/>
              </a:cxn>
              <a:cxn ang="0">
                <a:pos x="9383" y="12393"/>
              </a:cxn>
              <a:cxn ang="0">
                <a:pos x="9949" y="12210"/>
              </a:cxn>
              <a:cxn ang="0">
                <a:pos x="10630" y="12169"/>
              </a:cxn>
              <a:cxn ang="0">
                <a:pos x="12049" y="12134"/>
              </a:cxn>
              <a:cxn ang="0">
                <a:pos x="12551" y="12105"/>
              </a:cxn>
              <a:cxn ang="0">
                <a:pos x="13123" y="11940"/>
              </a:cxn>
              <a:cxn ang="0">
                <a:pos x="13706" y="11450"/>
              </a:cxn>
              <a:cxn ang="0">
                <a:pos x="14007" y="10312"/>
              </a:cxn>
              <a:cxn ang="0">
                <a:pos x="14572" y="7703"/>
              </a:cxn>
              <a:cxn ang="0">
                <a:pos x="14727" y="7230"/>
              </a:cxn>
              <a:cxn ang="0">
                <a:pos x="14994" y="6843"/>
              </a:cxn>
              <a:cxn ang="0">
                <a:pos x="15429" y="6611"/>
              </a:cxn>
              <a:cxn ang="0">
                <a:pos x="15803" y="6766"/>
              </a:cxn>
              <a:cxn ang="0">
                <a:pos x="15891" y="7203"/>
              </a:cxn>
              <a:cxn ang="0">
                <a:pos x="15859" y="7947"/>
              </a:cxn>
              <a:cxn ang="0">
                <a:pos x="15662" y="9073"/>
              </a:cxn>
              <a:cxn ang="0">
                <a:pos x="15078" y="11556"/>
              </a:cxn>
              <a:cxn ang="0">
                <a:pos x="14970" y="11842"/>
              </a:cxn>
              <a:cxn ang="0">
                <a:pos x="14699" y="12227"/>
              </a:cxn>
              <a:cxn ang="0">
                <a:pos x="13153" y="4420"/>
              </a:cxn>
              <a:cxn ang="0">
                <a:pos x="12907" y="10857"/>
              </a:cxn>
              <a:cxn ang="0">
                <a:pos x="12413" y="11409"/>
              </a:cxn>
              <a:cxn ang="0">
                <a:pos x="11601" y="11647"/>
              </a:cxn>
              <a:cxn ang="0">
                <a:pos x="9374" y="11647"/>
              </a:cxn>
              <a:cxn ang="0">
                <a:pos x="9589" y="7083"/>
              </a:cxn>
              <a:cxn ang="0">
                <a:pos x="9370" y="7220"/>
              </a:cxn>
              <a:cxn ang="0">
                <a:pos x="8999" y="7317"/>
              </a:cxn>
              <a:cxn ang="0">
                <a:pos x="8401" y="7307"/>
              </a:cxn>
              <a:cxn ang="0">
                <a:pos x="6475" y="7315"/>
              </a:cxn>
              <a:cxn ang="0">
                <a:pos x="6013" y="7169"/>
              </a:cxn>
              <a:cxn ang="0">
                <a:pos x="5848" y="6899"/>
              </a:cxn>
              <a:cxn ang="0">
                <a:pos x="5796" y="6532"/>
              </a:cxn>
              <a:cxn ang="0">
                <a:pos x="6013" y="6285"/>
              </a:cxn>
              <a:cxn ang="0">
                <a:pos x="6390" y="6187"/>
              </a:cxn>
              <a:cxn ang="0">
                <a:pos x="11009" y="4005"/>
              </a:cxn>
              <a:cxn ang="0">
                <a:pos x="11406" y="3863"/>
              </a:cxn>
              <a:cxn ang="0">
                <a:pos x="12047" y="3830"/>
              </a:cxn>
              <a:cxn ang="0">
                <a:pos x="12712" y="4000"/>
              </a:cxn>
              <a:cxn ang="0">
                <a:pos x="13042" y="4235"/>
              </a:cxn>
              <a:cxn ang="0">
                <a:pos x="13153" y="4420"/>
              </a:cxn>
              <a:cxn ang="0">
                <a:pos x="12929" y="155"/>
              </a:cxn>
              <a:cxn ang="0">
                <a:pos x="13505" y="631"/>
              </a:cxn>
              <a:cxn ang="0">
                <a:pos x="13800" y="1331"/>
              </a:cxn>
              <a:cxn ang="0">
                <a:pos x="13723" y="2107"/>
              </a:cxn>
              <a:cxn ang="0">
                <a:pos x="13303" y="2729"/>
              </a:cxn>
              <a:cxn ang="0">
                <a:pos x="12640" y="3088"/>
              </a:cxn>
              <a:cxn ang="0">
                <a:pos x="11859" y="3088"/>
              </a:cxn>
              <a:cxn ang="0">
                <a:pos x="11197" y="2729"/>
              </a:cxn>
              <a:cxn ang="0">
                <a:pos x="10777" y="2107"/>
              </a:cxn>
              <a:cxn ang="0">
                <a:pos x="10701" y="1331"/>
              </a:cxn>
              <a:cxn ang="0">
                <a:pos x="10994" y="631"/>
              </a:cxn>
              <a:cxn ang="0">
                <a:pos x="11571" y="155"/>
              </a:cxn>
            </a:cxnLst>
            <a:rect l="0" t="0" r="r" b="b"/>
            <a:pathLst>
              <a:path w="16432" h="16784">
                <a:moveTo>
                  <a:pt x="0" y="7972"/>
                </a:moveTo>
                <a:lnTo>
                  <a:pt x="7829" y="7972"/>
                </a:lnTo>
                <a:lnTo>
                  <a:pt x="7829" y="16784"/>
                </a:lnTo>
                <a:lnTo>
                  <a:pt x="0" y="16784"/>
                </a:lnTo>
                <a:lnTo>
                  <a:pt x="0" y="7972"/>
                </a:lnTo>
                <a:close/>
                <a:moveTo>
                  <a:pt x="695" y="6789"/>
                </a:moveTo>
                <a:lnTo>
                  <a:pt x="4866" y="6789"/>
                </a:lnTo>
                <a:lnTo>
                  <a:pt x="4866" y="7288"/>
                </a:lnTo>
                <a:lnTo>
                  <a:pt x="695" y="7288"/>
                </a:lnTo>
                <a:lnTo>
                  <a:pt x="391" y="7288"/>
                </a:lnTo>
                <a:lnTo>
                  <a:pt x="196" y="7288"/>
                </a:lnTo>
                <a:lnTo>
                  <a:pt x="196" y="2812"/>
                </a:lnTo>
                <a:lnTo>
                  <a:pt x="696" y="2811"/>
                </a:lnTo>
                <a:lnTo>
                  <a:pt x="695" y="6789"/>
                </a:lnTo>
                <a:close/>
                <a:moveTo>
                  <a:pt x="14433" y="12499"/>
                </a:moveTo>
                <a:lnTo>
                  <a:pt x="16432" y="16543"/>
                </a:lnTo>
                <a:lnTo>
                  <a:pt x="15575" y="16543"/>
                </a:lnTo>
                <a:lnTo>
                  <a:pt x="13886" y="12908"/>
                </a:lnTo>
                <a:lnTo>
                  <a:pt x="13839" y="12936"/>
                </a:lnTo>
                <a:lnTo>
                  <a:pt x="13792" y="12965"/>
                </a:lnTo>
                <a:lnTo>
                  <a:pt x="13742" y="12992"/>
                </a:lnTo>
                <a:lnTo>
                  <a:pt x="13693" y="13018"/>
                </a:lnTo>
                <a:lnTo>
                  <a:pt x="13643" y="13045"/>
                </a:lnTo>
                <a:lnTo>
                  <a:pt x="13591" y="13071"/>
                </a:lnTo>
                <a:lnTo>
                  <a:pt x="13539" y="13096"/>
                </a:lnTo>
                <a:lnTo>
                  <a:pt x="13486" y="13120"/>
                </a:lnTo>
                <a:lnTo>
                  <a:pt x="13430" y="13145"/>
                </a:lnTo>
                <a:lnTo>
                  <a:pt x="13371" y="13168"/>
                </a:lnTo>
                <a:lnTo>
                  <a:pt x="13309" y="13191"/>
                </a:lnTo>
                <a:lnTo>
                  <a:pt x="13245" y="13213"/>
                </a:lnTo>
                <a:lnTo>
                  <a:pt x="13179" y="13236"/>
                </a:lnTo>
                <a:lnTo>
                  <a:pt x="13110" y="13257"/>
                </a:lnTo>
                <a:lnTo>
                  <a:pt x="13039" y="13278"/>
                </a:lnTo>
                <a:lnTo>
                  <a:pt x="12965" y="13299"/>
                </a:lnTo>
                <a:lnTo>
                  <a:pt x="12890" y="13319"/>
                </a:lnTo>
                <a:lnTo>
                  <a:pt x="12812" y="13338"/>
                </a:lnTo>
                <a:lnTo>
                  <a:pt x="12734" y="13358"/>
                </a:lnTo>
                <a:lnTo>
                  <a:pt x="12654" y="13376"/>
                </a:lnTo>
                <a:lnTo>
                  <a:pt x="12572" y="13394"/>
                </a:lnTo>
                <a:lnTo>
                  <a:pt x="12490" y="13411"/>
                </a:lnTo>
                <a:lnTo>
                  <a:pt x="12407" y="13428"/>
                </a:lnTo>
                <a:lnTo>
                  <a:pt x="12323" y="13445"/>
                </a:lnTo>
                <a:lnTo>
                  <a:pt x="12238" y="13461"/>
                </a:lnTo>
                <a:lnTo>
                  <a:pt x="12153" y="13477"/>
                </a:lnTo>
                <a:lnTo>
                  <a:pt x="12067" y="13492"/>
                </a:lnTo>
                <a:lnTo>
                  <a:pt x="11982" y="13507"/>
                </a:lnTo>
                <a:lnTo>
                  <a:pt x="11810" y="13534"/>
                </a:lnTo>
                <a:lnTo>
                  <a:pt x="11640" y="13560"/>
                </a:lnTo>
                <a:lnTo>
                  <a:pt x="11473" y="13585"/>
                </a:lnTo>
                <a:lnTo>
                  <a:pt x="11310" y="13607"/>
                </a:lnTo>
                <a:lnTo>
                  <a:pt x="11151" y="13628"/>
                </a:lnTo>
                <a:lnTo>
                  <a:pt x="10999" y="13645"/>
                </a:lnTo>
                <a:lnTo>
                  <a:pt x="9637" y="16543"/>
                </a:lnTo>
                <a:lnTo>
                  <a:pt x="8877" y="16543"/>
                </a:lnTo>
                <a:lnTo>
                  <a:pt x="10243" y="13726"/>
                </a:lnTo>
                <a:lnTo>
                  <a:pt x="10187" y="13731"/>
                </a:lnTo>
                <a:lnTo>
                  <a:pt x="10146" y="13736"/>
                </a:lnTo>
                <a:lnTo>
                  <a:pt x="10121" y="13738"/>
                </a:lnTo>
                <a:lnTo>
                  <a:pt x="10112" y="13739"/>
                </a:lnTo>
                <a:lnTo>
                  <a:pt x="10102" y="13737"/>
                </a:lnTo>
                <a:lnTo>
                  <a:pt x="10071" y="13729"/>
                </a:lnTo>
                <a:lnTo>
                  <a:pt x="10049" y="13724"/>
                </a:lnTo>
                <a:lnTo>
                  <a:pt x="10024" y="13717"/>
                </a:lnTo>
                <a:lnTo>
                  <a:pt x="9995" y="13708"/>
                </a:lnTo>
                <a:lnTo>
                  <a:pt x="9962" y="13698"/>
                </a:lnTo>
                <a:lnTo>
                  <a:pt x="9928" y="13687"/>
                </a:lnTo>
                <a:lnTo>
                  <a:pt x="9890" y="13674"/>
                </a:lnTo>
                <a:lnTo>
                  <a:pt x="9850" y="13660"/>
                </a:lnTo>
                <a:lnTo>
                  <a:pt x="9808" y="13643"/>
                </a:lnTo>
                <a:lnTo>
                  <a:pt x="9765" y="13625"/>
                </a:lnTo>
                <a:lnTo>
                  <a:pt x="9721" y="13606"/>
                </a:lnTo>
                <a:lnTo>
                  <a:pt x="9676" y="13585"/>
                </a:lnTo>
                <a:lnTo>
                  <a:pt x="9631" y="13560"/>
                </a:lnTo>
                <a:lnTo>
                  <a:pt x="9585" y="13535"/>
                </a:lnTo>
                <a:lnTo>
                  <a:pt x="9540" y="13508"/>
                </a:lnTo>
                <a:lnTo>
                  <a:pt x="9495" y="13479"/>
                </a:lnTo>
                <a:lnTo>
                  <a:pt x="9451" y="13446"/>
                </a:lnTo>
                <a:lnTo>
                  <a:pt x="9408" y="13413"/>
                </a:lnTo>
                <a:lnTo>
                  <a:pt x="9367" y="13377"/>
                </a:lnTo>
                <a:lnTo>
                  <a:pt x="9327" y="13338"/>
                </a:lnTo>
                <a:lnTo>
                  <a:pt x="9290" y="13297"/>
                </a:lnTo>
                <a:lnTo>
                  <a:pt x="9256" y="13255"/>
                </a:lnTo>
                <a:lnTo>
                  <a:pt x="9223" y="13209"/>
                </a:lnTo>
                <a:lnTo>
                  <a:pt x="9195" y="13162"/>
                </a:lnTo>
                <a:lnTo>
                  <a:pt x="9171" y="13110"/>
                </a:lnTo>
                <a:lnTo>
                  <a:pt x="9150" y="13058"/>
                </a:lnTo>
                <a:lnTo>
                  <a:pt x="9133" y="13002"/>
                </a:lnTo>
                <a:lnTo>
                  <a:pt x="9121" y="12944"/>
                </a:lnTo>
                <a:lnTo>
                  <a:pt x="9114" y="12883"/>
                </a:lnTo>
                <a:lnTo>
                  <a:pt x="9113" y="12822"/>
                </a:lnTo>
                <a:lnTo>
                  <a:pt x="9117" y="12765"/>
                </a:lnTo>
                <a:lnTo>
                  <a:pt x="9128" y="12712"/>
                </a:lnTo>
                <a:lnTo>
                  <a:pt x="9145" y="12661"/>
                </a:lnTo>
                <a:lnTo>
                  <a:pt x="9165" y="12614"/>
                </a:lnTo>
                <a:lnTo>
                  <a:pt x="9192" y="12570"/>
                </a:lnTo>
                <a:lnTo>
                  <a:pt x="9222" y="12529"/>
                </a:lnTo>
                <a:lnTo>
                  <a:pt x="9257" y="12490"/>
                </a:lnTo>
                <a:lnTo>
                  <a:pt x="9295" y="12456"/>
                </a:lnTo>
                <a:lnTo>
                  <a:pt x="9337" y="12422"/>
                </a:lnTo>
                <a:lnTo>
                  <a:pt x="9383" y="12393"/>
                </a:lnTo>
                <a:lnTo>
                  <a:pt x="9432" y="12365"/>
                </a:lnTo>
                <a:lnTo>
                  <a:pt x="9482" y="12339"/>
                </a:lnTo>
                <a:lnTo>
                  <a:pt x="9536" y="12316"/>
                </a:lnTo>
                <a:lnTo>
                  <a:pt x="9591" y="12295"/>
                </a:lnTo>
                <a:lnTo>
                  <a:pt x="9649" y="12276"/>
                </a:lnTo>
                <a:lnTo>
                  <a:pt x="9708" y="12260"/>
                </a:lnTo>
                <a:lnTo>
                  <a:pt x="9767" y="12245"/>
                </a:lnTo>
                <a:lnTo>
                  <a:pt x="9827" y="12231"/>
                </a:lnTo>
                <a:lnTo>
                  <a:pt x="9888" y="12220"/>
                </a:lnTo>
                <a:lnTo>
                  <a:pt x="9949" y="12210"/>
                </a:lnTo>
                <a:lnTo>
                  <a:pt x="10010" y="12201"/>
                </a:lnTo>
                <a:lnTo>
                  <a:pt x="10070" y="12194"/>
                </a:lnTo>
                <a:lnTo>
                  <a:pt x="10130" y="12187"/>
                </a:lnTo>
                <a:lnTo>
                  <a:pt x="10188" y="12182"/>
                </a:lnTo>
                <a:lnTo>
                  <a:pt x="10245" y="12179"/>
                </a:lnTo>
                <a:lnTo>
                  <a:pt x="10300" y="12176"/>
                </a:lnTo>
                <a:lnTo>
                  <a:pt x="10353" y="12173"/>
                </a:lnTo>
                <a:lnTo>
                  <a:pt x="10453" y="12170"/>
                </a:lnTo>
                <a:lnTo>
                  <a:pt x="10540" y="12169"/>
                </a:lnTo>
                <a:lnTo>
                  <a:pt x="10630" y="12169"/>
                </a:lnTo>
                <a:lnTo>
                  <a:pt x="10741" y="12167"/>
                </a:lnTo>
                <a:lnTo>
                  <a:pt x="10869" y="12165"/>
                </a:lnTo>
                <a:lnTo>
                  <a:pt x="11010" y="12162"/>
                </a:lnTo>
                <a:lnTo>
                  <a:pt x="11159" y="12159"/>
                </a:lnTo>
                <a:lnTo>
                  <a:pt x="11314" y="12155"/>
                </a:lnTo>
                <a:lnTo>
                  <a:pt x="11470" y="12151"/>
                </a:lnTo>
                <a:lnTo>
                  <a:pt x="11626" y="12146"/>
                </a:lnTo>
                <a:lnTo>
                  <a:pt x="11777" y="12142"/>
                </a:lnTo>
                <a:lnTo>
                  <a:pt x="11919" y="12137"/>
                </a:lnTo>
                <a:lnTo>
                  <a:pt x="12049" y="12134"/>
                </a:lnTo>
                <a:lnTo>
                  <a:pt x="12163" y="12130"/>
                </a:lnTo>
                <a:lnTo>
                  <a:pt x="12259" y="12126"/>
                </a:lnTo>
                <a:lnTo>
                  <a:pt x="12331" y="12124"/>
                </a:lnTo>
                <a:lnTo>
                  <a:pt x="12376" y="12122"/>
                </a:lnTo>
                <a:lnTo>
                  <a:pt x="12393" y="12122"/>
                </a:lnTo>
                <a:lnTo>
                  <a:pt x="12408" y="12121"/>
                </a:lnTo>
                <a:lnTo>
                  <a:pt x="12449" y="12118"/>
                </a:lnTo>
                <a:lnTo>
                  <a:pt x="12478" y="12115"/>
                </a:lnTo>
                <a:lnTo>
                  <a:pt x="12512" y="12111"/>
                </a:lnTo>
                <a:lnTo>
                  <a:pt x="12551" y="12105"/>
                </a:lnTo>
                <a:lnTo>
                  <a:pt x="12596" y="12098"/>
                </a:lnTo>
                <a:lnTo>
                  <a:pt x="12644" y="12090"/>
                </a:lnTo>
                <a:lnTo>
                  <a:pt x="12696" y="12079"/>
                </a:lnTo>
                <a:lnTo>
                  <a:pt x="12751" y="12067"/>
                </a:lnTo>
                <a:lnTo>
                  <a:pt x="12808" y="12052"/>
                </a:lnTo>
                <a:lnTo>
                  <a:pt x="12869" y="12035"/>
                </a:lnTo>
                <a:lnTo>
                  <a:pt x="12931" y="12015"/>
                </a:lnTo>
                <a:lnTo>
                  <a:pt x="12994" y="11993"/>
                </a:lnTo>
                <a:lnTo>
                  <a:pt x="13058" y="11968"/>
                </a:lnTo>
                <a:lnTo>
                  <a:pt x="13123" y="11940"/>
                </a:lnTo>
                <a:lnTo>
                  <a:pt x="13188" y="11908"/>
                </a:lnTo>
                <a:lnTo>
                  <a:pt x="13252" y="11874"/>
                </a:lnTo>
                <a:lnTo>
                  <a:pt x="13316" y="11835"/>
                </a:lnTo>
                <a:lnTo>
                  <a:pt x="13379" y="11793"/>
                </a:lnTo>
                <a:lnTo>
                  <a:pt x="13439" y="11746"/>
                </a:lnTo>
                <a:lnTo>
                  <a:pt x="13498" y="11695"/>
                </a:lnTo>
                <a:lnTo>
                  <a:pt x="13556" y="11641"/>
                </a:lnTo>
                <a:lnTo>
                  <a:pt x="13609" y="11582"/>
                </a:lnTo>
                <a:lnTo>
                  <a:pt x="13659" y="11518"/>
                </a:lnTo>
                <a:lnTo>
                  <a:pt x="13706" y="11450"/>
                </a:lnTo>
                <a:lnTo>
                  <a:pt x="13748" y="11376"/>
                </a:lnTo>
                <a:lnTo>
                  <a:pt x="13785" y="11298"/>
                </a:lnTo>
                <a:lnTo>
                  <a:pt x="13818" y="11214"/>
                </a:lnTo>
                <a:lnTo>
                  <a:pt x="13845" y="11125"/>
                </a:lnTo>
                <a:lnTo>
                  <a:pt x="13866" y="11028"/>
                </a:lnTo>
                <a:lnTo>
                  <a:pt x="13885" y="10926"/>
                </a:lnTo>
                <a:lnTo>
                  <a:pt x="13906" y="10816"/>
                </a:lnTo>
                <a:lnTo>
                  <a:pt x="13928" y="10700"/>
                </a:lnTo>
                <a:lnTo>
                  <a:pt x="13953" y="10575"/>
                </a:lnTo>
                <a:lnTo>
                  <a:pt x="14007" y="10312"/>
                </a:lnTo>
                <a:lnTo>
                  <a:pt x="14064" y="10031"/>
                </a:lnTo>
                <a:lnTo>
                  <a:pt x="14126" y="9739"/>
                </a:lnTo>
                <a:lnTo>
                  <a:pt x="14189" y="9441"/>
                </a:lnTo>
                <a:lnTo>
                  <a:pt x="14254" y="9145"/>
                </a:lnTo>
                <a:lnTo>
                  <a:pt x="14317" y="8854"/>
                </a:lnTo>
                <a:lnTo>
                  <a:pt x="14378" y="8577"/>
                </a:lnTo>
                <a:lnTo>
                  <a:pt x="14436" y="8316"/>
                </a:lnTo>
                <a:lnTo>
                  <a:pt x="14488" y="8080"/>
                </a:lnTo>
                <a:lnTo>
                  <a:pt x="14534" y="7874"/>
                </a:lnTo>
                <a:lnTo>
                  <a:pt x="14572" y="7703"/>
                </a:lnTo>
                <a:lnTo>
                  <a:pt x="14601" y="7574"/>
                </a:lnTo>
                <a:lnTo>
                  <a:pt x="14620" y="7492"/>
                </a:lnTo>
                <a:lnTo>
                  <a:pt x="14626" y="7464"/>
                </a:lnTo>
                <a:lnTo>
                  <a:pt x="14630" y="7454"/>
                </a:lnTo>
                <a:lnTo>
                  <a:pt x="14639" y="7427"/>
                </a:lnTo>
                <a:lnTo>
                  <a:pt x="14656" y="7385"/>
                </a:lnTo>
                <a:lnTo>
                  <a:pt x="14680" y="7329"/>
                </a:lnTo>
                <a:lnTo>
                  <a:pt x="14693" y="7299"/>
                </a:lnTo>
                <a:lnTo>
                  <a:pt x="14709" y="7265"/>
                </a:lnTo>
                <a:lnTo>
                  <a:pt x="14727" y="7230"/>
                </a:lnTo>
                <a:lnTo>
                  <a:pt x="14746" y="7193"/>
                </a:lnTo>
                <a:lnTo>
                  <a:pt x="14767" y="7155"/>
                </a:lnTo>
                <a:lnTo>
                  <a:pt x="14790" y="7115"/>
                </a:lnTo>
                <a:lnTo>
                  <a:pt x="14814" y="7076"/>
                </a:lnTo>
                <a:lnTo>
                  <a:pt x="14840" y="7036"/>
                </a:lnTo>
                <a:lnTo>
                  <a:pt x="14868" y="6996"/>
                </a:lnTo>
                <a:lnTo>
                  <a:pt x="14897" y="6956"/>
                </a:lnTo>
                <a:lnTo>
                  <a:pt x="14927" y="6917"/>
                </a:lnTo>
                <a:lnTo>
                  <a:pt x="14960" y="6878"/>
                </a:lnTo>
                <a:lnTo>
                  <a:pt x="14994" y="6843"/>
                </a:lnTo>
                <a:lnTo>
                  <a:pt x="15030" y="6807"/>
                </a:lnTo>
                <a:lnTo>
                  <a:pt x="15068" y="6773"/>
                </a:lnTo>
                <a:lnTo>
                  <a:pt x="15108" y="6742"/>
                </a:lnTo>
                <a:lnTo>
                  <a:pt x="15148" y="6714"/>
                </a:lnTo>
                <a:lnTo>
                  <a:pt x="15191" y="6687"/>
                </a:lnTo>
                <a:lnTo>
                  <a:pt x="15235" y="6664"/>
                </a:lnTo>
                <a:lnTo>
                  <a:pt x="15281" y="6644"/>
                </a:lnTo>
                <a:lnTo>
                  <a:pt x="15328" y="6629"/>
                </a:lnTo>
                <a:lnTo>
                  <a:pt x="15377" y="6617"/>
                </a:lnTo>
                <a:lnTo>
                  <a:pt x="15429" y="6611"/>
                </a:lnTo>
                <a:lnTo>
                  <a:pt x="15482" y="6608"/>
                </a:lnTo>
                <a:lnTo>
                  <a:pt x="15532" y="6610"/>
                </a:lnTo>
                <a:lnTo>
                  <a:pt x="15580" y="6616"/>
                </a:lnTo>
                <a:lnTo>
                  <a:pt x="15623" y="6628"/>
                </a:lnTo>
                <a:lnTo>
                  <a:pt x="15661" y="6641"/>
                </a:lnTo>
                <a:lnTo>
                  <a:pt x="15697" y="6660"/>
                </a:lnTo>
                <a:lnTo>
                  <a:pt x="15728" y="6681"/>
                </a:lnTo>
                <a:lnTo>
                  <a:pt x="15757" y="6706"/>
                </a:lnTo>
                <a:lnTo>
                  <a:pt x="15781" y="6735"/>
                </a:lnTo>
                <a:lnTo>
                  <a:pt x="15803" y="6766"/>
                </a:lnTo>
                <a:lnTo>
                  <a:pt x="15822" y="6801"/>
                </a:lnTo>
                <a:lnTo>
                  <a:pt x="15839" y="6837"/>
                </a:lnTo>
                <a:lnTo>
                  <a:pt x="15852" y="6876"/>
                </a:lnTo>
                <a:lnTo>
                  <a:pt x="15864" y="6917"/>
                </a:lnTo>
                <a:lnTo>
                  <a:pt x="15873" y="6961"/>
                </a:lnTo>
                <a:lnTo>
                  <a:pt x="15879" y="7006"/>
                </a:lnTo>
                <a:lnTo>
                  <a:pt x="15886" y="7053"/>
                </a:lnTo>
                <a:lnTo>
                  <a:pt x="15889" y="7102"/>
                </a:lnTo>
                <a:lnTo>
                  <a:pt x="15891" y="7152"/>
                </a:lnTo>
                <a:lnTo>
                  <a:pt x="15891" y="7203"/>
                </a:lnTo>
                <a:lnTo>
                  <a:pt x="15891" y="7256"/>
                </a:lnTo>
                <a:lnTo>
                  <a:pt x="15888" y="7362"/>
                </a:lnTo>
                <a:lnTo>
                  <a:pt x="15883" y="7470"/>
                </a:lnTo>
                <a:lnTo>
                  <a:pt x="15875" y="7579"/>
                </a:lnTo>
                <a:lnTo>
                  <a:pt x="15869" y="7686"/>
                </a:lnTo>
                <a:lnTo>
                  <a:pt x="15866" y="7740"/>
                </a:lnTo>
                <a:lnTo>
                  <a:pt x="15864" y="7791"/>
                </a:lnTo>
                <a:lnTo>
                  <a:pt x="15862" y="7841"/>
                </a:lnTo>
                <a:lnTo>
                  <a:pt x="15862" y="7892"/>
                </a:lnTo>
                <a:lnTo>
                  <a:pt x="15859" y="7947"/>
                </a:lnTo>
                <a:lnTo>
                  <a:pt x="15853" y="8016"/>
                </a:lnTo>
                <a:lnTo>
                  <a:pt x="15844" y="8097"/>
                </a:lnTo>
                <a:lnTo>
                  <a:pt x="15830" y="8190"/>
                </a:lnTo>
                <a:lnTo>
                  <a:pt x="15814" y="8292"/>
                </a:lnTo>
                <a:lnTo>
                  <a:pt x="15794" y="8404"/>
                </a:lnTo>
                <a:lnTo>
                  <a:pt x="15772" y="8524"/>
                </a:lnTo>
                <a:lnTo>
                  <a:pt x="15748" y="8652"/>
                </a:lnTo>
                <a:lnTo>
                  <a:pt x="15722" y="8787"/>
                </a:lnTo>
                <a:lnTo>
                  <a:pt x="15693" y="8927"/>
                </a:lnTo>
                <a:lnTo>
                  <a:pt x="15662" y="9073"/>
                </a:lnTo>
                <a:lnTo>
                  <a:pt x="15631" y="9222"/>
                </a:lnTo>
                <a:lnTo>
                  <a:pt x="15564" y="9529"/>
                </a:lnTo>
                <a:lnTo>
                  <a:pt x="15494" y="9841"/>
                </a:lnTo>
                <a:lnTo>
                  <a:pt x="15421" y="10150"/>
                </a:lnTo>
                <a:lnTo>
                  <a:pt x="15351" y="10450"/>
                </a:lnTo>
                <a:lnTo>
                  <a:pt x="15283" y="10733"/>
                </a:lnTo>
                <a:lnTo>
                  <a:pt x="15220" y="10994"/>
                </a:lnTo>
                <a:lnTo>
                  <a:pt x="15163" y="11222"/>
                </a:lnTo>
                <a:lnTo>
                  <a:pt x="15116" y="11411"/>
                </a:lnTo>
                <a:lnTo>
                  <a:pt x="15078" y="11556"/>
                </a:lnTo>
                <a:lnTo>
                  <a:pt x="15054" y="11647"/>
                </a:lnTo>
                <a:lnTo>
                  <a:pt x="15048" y="11666"/>
                </a:lnTo>
                <a:lnTo>
                  <a:pt x="15042" y="11685"/>
                </a:lnTo>
                <a:lnTo>
                  <a:pt x="15033" y="11706"/>
                </a:lnTo>
                <a:lnTo>
                  <a:pt x="15026" y="11727"/>
                </a:lnTo>
                <a:lnTo>
                  <a:pt x="15016" y="11749"/>
                </a:lnTo>
                <a:lnTo>
                  <a:pt x="15006" y="11771"/>
                </a:lnTo>
                <a:lnTo>
                  <a:pt x="14995" y="11794"/>
                </a:lnTo>
                <a:lnTo>
                  <a:pt x="14983" y="11818"/>
                </a:lnTo>
                <a:lnTo>
                  <a:pt x="14970" y="11842"/>
                </a:lnTo>
                <a:lnTo>
                  <a:pt x="14957" y="11866"/>
                </a:lnTo>
                <a:lnTo>
                  <a:pt x="14942" y="11893"/>
                </a:lnTo>
                <a:lnTo>
                  <a:pt x="14926" y="11918"/>
                </a:lnTo>
                <a:lnTo>
                  <a:pt x="14893" y="11970"/>
                </a:lnTo>
                <a:lnTo>
                  <a:pt x="14856" y="12025"/>
                </a:lnTo>
                <a:lnTo>
                  <a:pt x="14815" y="12081"/>
                </a:lnTo>
                <a:lnTo>
                  <a:pt x="14771" y="12139"/>
                </a:lnTo>
                <a:lnTo>
                  <a:pt x="14748" y="12168"/>
                </a:lnTo>
                <a:lnTo>
                  <a:pt x="14724" y="12198"/>
                </a:lnTo>
                <a:lnTo>
                  <a:pt x="14699" y="12227"/>
                </a:lnTo>
                <a:lnTo>
                  <a:pt x="14673" y="12257"/>
                </a:lnTo>
                <a:lnTo>
                  <a:pt x="14645" y="12287"/>
                </a:lnTo>
                <a:lnTo>
                  <a:pt x="14618" y="12317"/>
                </a:lnTo>
                <a:lnTo>
                  <a:pt x="14590" y="12347"/>
                </a:lnTo>
                <a:lnTo>
                  <a:pt x="14559" y="12377"/>
                </a:lnTo>
                <a:lnTo>
                  <a:pt x="14529" y="12409"/>
                </a:lnTo>
                <a:lnTo>
                  <a:pt x="14498" y="12438"/>
                </a:lnTo>
                <a:lnTo>
                  <a:pt x="14466" y="12469"/>
                </a:lnTo>
                <a:lnTo>
                  <a:pt x="14433" y="12499"/>
                </a:lnTo>
                <a:close/>
                <a:moveTo>
                  <a:pt x="13153" y="4420"/>
                </a:moveTo>
                <a:lnTo>
                  <a:pt x="13153" y="10411"/>
                </a:lnTo>
                <a:lnTo>
                  <a:pt x="13147" y="10425"/>
                </a:lnTo>
                <a:lnTo>
                  <a:pt x="13129" y="10465"/>
                </a:lnTo>
                <a:lnTo>
                  <a:pt x="13099" y="10526"/>
                </a:lnTo>
                <a:lnTo>
                  <a:pt x="13058" y="10604"/>
                </a:lnTo>
                <a:lnTo>
                  <a:pt x="13033" y="10649"/>
                </a:lnTo>
                <a:lnTo>
                  <a:pt x="13005" y="10698"/>
                </a:lnTo>
                <a:lnTo>
                  <a:pt x="12975" y="10749"/>
                </a:lnTo>
                <a:lnTo>
                  <a:pt x="12942" y="10803"/>
                </a:lnTo>
                <a:lnTo>
                  <a:pt x="12907" y="10857"/>
                </a:lnTo>
                <a:lnTo>
                  <a:pt x="12869" y="10914"/>
                </a:lnTo>
                <a:lnTo>
                  <a:pt x="12828" y="10971"/>
                </a:lnTo>
                <a:lnTo>
                  <a:pt x="12785" y="11029"/>
                </a:lnTo>
                <a:lnTo>
                  <a:pt x="12739" y="11087"/>
                </a:lnTo>
                <a:lnTo>
                  <a:pt x="12691" y="11145"/>
                </a:lnTo>
                <a:lnTo>
                  <a:pt x="12639" y="11201"/>
                </a:lnTo>
                <a:lnTo>
                  <a:pt x="12587" y="11256"/>
                </a:lnTo>
                <a:lnTo>
                  <a:pt x="12531" y="11309"/>
                </a:lnTo>
                <a:lnTo>
                  <a:pt x="12474" y="11361"/>
                </a:lnTo>
                <a:lnTo>
                  <a:pt x="12413" y="11409"/>
                </a:lnTo>
                <a:lnTo>
                  <a:pt x="12351" y="11454"/>
                </a:lnTo>
                <a:lnTo>
                  <a:pt x="12286" y="11496"/>
                </a:lnTo>
                <a:lnTo>
                  <a:pt x="12220" y="11533"/>
                </a:lnTo>
                <a:lnTo>
                  <a:pt x="12151" y="11566"/>
                </a:lnTo>
                <a:lnTo>
                  <a:pt x="12079" y="11594"/>
                </a:lnTo>
                <a:lnTo>
                  <a:pt x="12007" y="11617"/>
                </a:lnTo>
                <a:lnTo>
                  <a:pt x="11932" y="11633"/>
                </a:lnTo>
                <a:lnTo>
                  <a:pt x="11854" y="11643"/>
                </a:lnTo>
                <a:lnTo>
                  <a:pt x="11775" y="11647"/>
                </a:lnTo>
                <a:lnTo>
                  <a:pt x="11601" y="11647"/>
                </a:lnTo>
                <a:lnTo>
                  <a:pt x="11405" y="11647"/>
                </a:lnTo>
                <a:lnTo>
                  <a:pt x="11189" y="11647"/>
                </a:lnTo>
                <a:lnTo>
                  <a:pt x="10961" y="11647"/>
                </a:lnTo>
                <a:lnTo>
                  <a:pt x="10723" y="11647"/>
                </a:lnTo>
                <a:lnTo>
                  <a:pt x="10481" y="11647"/>
                </a:lnTo>
                <a:lnTo>
                  <a:pt x="10239" y="11647"/>
                </a:lnTo>
                <a:lnTo>
                  <a:pt x="10003" y="11647"/>
                </a:lnTo>
                <a:lnTo>
                  <a:pt x="9777" y="11647"/>
                </a:lnTo>
                <a:lnTo>
                  <a:pt x="9566" y="11647"/>
                </a:lnTo>
                <a:lnTo>
                  <a:pt x="9374" y="11647"/>
                </a:lnTo>
                <a:lnTo>
                  <a:pt x="9206" y="11647"/>
                </a:lnTo>
                <a:lnTo>
                  <a:pt x="9068" y="11647"/>
                </a:lnTo>
                <a:lnTo>
                  <a:pt x="8963" y="11647"/>
                </a:lnTo>
                <a:lnTo>
                  <a:pt x="8896" y="11647"/>
                </a:lnTo>
                <a:lnTo>
                  <a:pt x="8873" y="11647"/>
                </a:lnTo>
                <a:lnTo>
                  <a:pt x="8563" y="11825"/>
                </a:lnTo>
                <a:lnTo>
                  <a:pt x="8563" y="9981"/>
                </a:lnTo>
                <a:lnTo>
                  <a:pt x="10732" y="9981"/>
                </a:lnTo>
                <a:lnTo>
                  <a:pt x="10732" y="5939"/>
                </a:lnTo>
                <a:lnTo>
                  <a:pt x="9589" y="7083"/>
                </a:lnTo>
                <a:lnTo>
                  <a:pt x="9586" y="7086"/>
                </a:lnTo>
                <a:lnTo>
                  <a:pt x="9577" y="7095"/>
                </a:lnTo>
                <a:lnTo>
                  <a:pt x="9559" y="7109"/>
                </a:lnTo>
                <a:lnTo>
                  <a:pt x="9536" y="7127"/>
                </a:lnTo>
                <a:lnTo>
                  <a:pt x="9504" y="7148"/>
                </a:lnTo>
                <a:lnTo>
                  <a:pt x="9466" y="7171"/>
                </a:lnTo>
                <a:lnTo>
                  <a:pt x="9444" y="7184"/>
                </a:lnTo>
                <a:lnTo>
                  <a:pt x="9421" y="7195"/>
                </a:lnTo>
                <a:lnTo>
                  <a:pt x="9396" y="7208"/>
                </a:lnTo>
                <a:lnTo>
                  <a:pt x="9370" y="7220"/>
                </a:lnTo>
                <a:lnTo>
                  <a:pt x="9341" y="7232"/>
                </a:lnTo>
                <a:lnTo>
                  <a:pt x="9310" y="7244"/>
                </a:lnTo>
                <a:lnTo>
                  <a:pt x="9278" y="7256"/>
                </a:lnTo>
                <a:lnTo>
                  <a:pt x="9243" y="7266"/>
                </a:lnTo>
                <a:lnTo>
                  <a:pt x="9207" y="7278"/>
                </a:lnTo>
                <a:lnTo>
                  <a:pt x="9170" y="7287"/>
                </a:lnTo>
                <a:lnTo>
                  <a:pt x="9130" y="7296"/>
                </a:lnTo>
                <a:lnTo>
                  <a:pt x="9088" y="7304"/>
                </a:lnTo>
                <a:lnTo>
                  <a:pt x="9045" y="7312"/>
                </a:lnTo>
                <a:lnTo>
                  <a:pt x="8999" y="7317"/>
                </a:lnTo>
                <a:lnTo>
                  <a:pt x="8952" y="7321"/>
                </a:lnTo>
                <a:lnTo>
                  <a:pt x="8902" y="7324"/>
                </a:lnTo>
                <a:lnTo>
                  <a:pt x="8851" y="7326"/>
                </a:lnTo>
                <a:lnTo>
                  <a:pt x="8798" y="7326"/>
                </a:lnTo>
                <a:lnTo>
                  <a:pt x="8744" y="7324"/>
                </a:lnTo>
                <a:lnTo>
                  <a:pt x="8687" y="7321"/>
                </a:lnTo>
                <a:lnTo>
                  <a:pt x="8625" y="7317"/>
                </a:lnTo>
                <a:lnTo>
                  <a:pt x="8556" y="7314"/>
                </a:lnTo>
                <a:lnTo>
                  <a:pt x="8482" y="7310"/>
                </a:lnTo>
                <a:lnTo>
                  <a:pt x="8401" y="7307"/>
                </a:lnTo>
                <a:lnTo>
                  <a:pt x="8225" y="7303"/>
                </a:lnTo>
                <a:lnTo>
                  <a:pt x="8032" y="7301"/>
                </a:lnTo>
                <a:lnTo>
                  <a:pt x="7829" y="7300"/>
                </a:lnTo>
                <a:lnTo>
                  <a:pt x="7618" y="7300"/>
                </a:lnTo>
                <a:lnTo>
                  <a:pt x="7406" y="7301"/>
                </a:lnTo>
                <a:lnTo>
                  <a:pt x="7196" y="7303"/>
                </a:lnTo>
                <a:lnTo>
                  <a:pt x="6993" y="7306"/>
                </a:lnTo>
                <a:lnTo>
                  <a:pt x="6802" y="7308"/>
                </a:lnTo>
                <a:lnTo>
                  <a:pt x="6628" y="7312"/>
                </a:lnTo>
                <a:lnTo>
                  <a:pt x="6475" y="7315"/>
                </a:lnTo>
                <a:lnTo>
                  <a:pt x="6348" y="7317"/>
                </a:lnTo>
                <a:lnTo>
                  <a:pt x="6252" y="7319"/>
                </a:lnTo>
                <a:lnTo>
                  <a:pt x="6190" y="7321"/>
                </a:lnTo>
                <a:lnTo>
                  <a:pt x="6169" y="7321"/>
                </a:lnTo>
                <a:lnTo>
                  <a:pt x="6152" y="7307"/>
                </a:lnTo>
                <a:lnTo>
                  <a:pt x="6109" y="7270"/>
                </a:lnTo>
                <a:lnTo>
                  <a:pt x="6080" y="7242"/>
                </a:lnTo>
                <a:lnTo>
                  <a:pt x="6048" y="7209"/>
                </a:lnTo>
                <a:lnTo>
                  <a:pt x="6030" y="7190"/>
                </a:lnTo>
                <a:lnTo>
                  <a:pt x="6013" y="7169"/>
                </a:lnTo>
                <a:lnTo>
                  <a:pt x="5996" y="7148"/>
                </a:lnTo>
                <a:lnTo>
                  <a:pt x="5978" y="7125"/>
                </a:lnTo>
                <a:lnTo>
                  <a:pt x="5960" y="7101"/>
                </a:lnTo>
                <a:lnTo>
                  <a:pt x="5942" y="7076"/>
                </a:lnTo>
                <a:lnTo>
                  <a:pt x="5925" y="7049"/>
                </a:lnTo>
                <a:lnTo>
                  <a:pt x="5909" y="7022"/>
                </a:lnTo>
                <a:lnTo>
                  <a:pt x="5892" y="6994"/>
                </a:lnTo>
                <a:lnTo>
                  <a:pt x="5876" y="6963"/>
                </a:lnTo>
                <a:lnTo>
                  <a:pt x="5861" y="6932"/>
                </a:lnTo>
                <a:lnTo>
                  <a:pt x="5848" y="6899"/>
                </a:lnTo>
                <a:lnTo>
                  <a:pt x="5834" y="6867"/>
                </a:lnTo>
                <a:lnTo>
                  <a:pt x="5823" y="6832"/>
                </a:lnTo>
                <a:lnTo>
                  <a:pt x="5813" y="6798"/>
                </a:lnTo>
                <a:lnTo>
                  <a:pt x="5805" y="6762"/>
                </a:lnTo>
                <a:lnTo>
                  <a:pt x="5797" y="6725"/>
                </a:lnTo>
                <a:lnTo>
                  <a:pt x="5792" y="6686"/>
                </a:lnTo>
                <a:lnTo>
                  <a:pt x="5789" y="6648"/>
                </a:lnTo>
                <a:lnTo>
                  <a:pt x="5788" y="6608"/>
                </a:lnTo>
                <a:lnTo>
                  <a:pt x="5790" y="6569"/>
                </a:lnTo>
                <a:lnTo>
                  <a:pt x="5796" y="6532"/>
                </a:lnTo>
                <a:lnTo>
                  <a:pt x="5806" y="6499"/>
                </a:lnTo>
                <a:lnTo>
                  <a:pt x="5818" y="6467"/>
                </a:lnTo>
                <a:lnTo>
                  <a:pt x="5834" y="6438"/>
                </a:lnTo>
                <a:lnTo>
                  <a:pt x="5854" y="6409"/>
                </a:lnTo>
                <a:lnTo>
                  <a:pt x="5875" y="6384"/>
                </a:lnTo>
                <a:lnTo>
                  <a:pt x="5899" y="6360"/>
                </a:lnTo>
                <a:lnTo>
                  <a:pt x="5925" y="6339"/>
                </a:lnTo>
                <a:lnTo>
                  <a:pt x="5954" y="6319"/>
                </a:lnTo>
                <a:lnTo>
                  <a:pt x="5982" y="6301"/>
                </a:lnTo>
                <a:lnTo>
                  <a:pt x="6013" y="6285"/>
                </a:lnTo>
                <a:lnTo>
                  <a:pt x="6045" y="6270"/>
                </a:lnTo>
                <a:lnTo>
                  <a:pt x="6077" y="6256"/>
                </a:lnTo>
                <a:lnTo>
                  <a:pt x="6111" y="6245"/>
                </a:lnTo>
                <a:lnTo>
                  <a:pt x="6145" y="6233"/>
                </a:lnTo>
                <a:lnTo>
                  <a:pt x="6178" y="6224"/>
                </a:lnTo>
                <a:lnTo>
                  <a:pt x="6211" y="6216"/>
                </a:lnTo>
                <a:lnTo>
                  <a:pt x="6243" y="6209"/>
                </a:lnTo>
                <a:lnTo>
                  <a:pt x="6276" y="6203"/>
                </a:lnTo>
                <a:lnTo>
                  <a:pt x="6335" y="6193"/>
                </a:lnTo>
                <a:lnTo>
                  <a:pt x="6390" y="6187"/>
                </a:lnTo>
                <a:lnTo>
                  <a:pt x="6471" y="6181"/>
                </a:lnTo>
                <a:lnTo>
                  <a:pt x="6501" y="6180"/>
                </a:lnTo>
                <a:lnTo>
                  <a:pt x="8639" y="6180"/>
                </a:lnTo>
                <a:lnTo>
                  <a:pt x="10873" y="4088"/>
                </a:lnTo>
                <a:lnTo>
                  <a:pt x="10878" y="4084"/>
                </a:lnTo>
                <a:lnTo>
                  <a:pt x="10895" y="4072"/>
                </a:lnTo>
                <a:lnTo>
                  <a:pt x="10922" y="4054"/>
                </a:lnTo>
                <a:lnTo>
                  <a:pt x="10961" y="4031"/>
                </a:lnTo>
                <a:lnTo>
                  <a:pt x="10983" y="4019"/>
                </a:lnTo>
                <a:lnTo>
                  <a:pt x="11009" y="4005"/>
                </a:lnTo>
                <a:lnTo>
                  <a:pt x="11037" y="3990"/>
                </a:lnTo>
                <a:lnTo>
                  <a:pt x="11068" y="3976"/>
                </a:lnTo>
                <a:lnTo>
                  <a:pt x="11101" y="3961"/>
                </a:lnTo>
                <a:lnTo>
                  <a:pt x="11137" y="3945"/>
                </a:lnTo>
                <a:lnTo>
                  <a:pt x="11176" y="3931"/>
                </a:lnTo>
                <a:lnTo>
                  <a:pt x="11216" y="3916"/>
                </a:lnTo>
                <a:lnTo>
                  <a:pt x="11260" y="3902"/>
                </a:lnTo>
                <a:lnTo>
                  <a:pt x="11307" y="3889"/>
                </a:lnTo>
                <a:lnTo>
                  <a:pt x="11355" y="3875"/>
                </a:lnTo>
                <a:lnTo>
                  <a:pt x="11406" y="3863"/>
                </a:lnTo>
                <a:lnTo>
                  <a:pt x="11459" y="3853"/>
                </a:lnTo>
                <a:lnTo>
                  <a:pt x="11515" y="3842"/>
                </a:lnTo>
                <a:lnTo>
                  <a:pt x="11573" y="3835"/>
                </a:lnTo>
                <a:lnTo>
                  <a:pt x="11634" y="3828"/>
                </a:lnTo>
                <a:lnTo>
                  <a:pt x="11697" y="3823"/>
                </a:lnTo>
                <a:lnTo>
                  <a:pt x="11762" y="3819"/>
                </a:lnTo>
                <a:lnTo>
                  <a:pt x="11830" y="3818"/>
                </a:lnTo>
                <a:lnTo>
                  <a:pt x="11900" y="3820"/>
                </a:lnTo>
                <a:lnTo>
                  <a:pt x="11972" y="3824"/>
                </a:lnTo>
                <a:lnTo>
                  <a:pt x="12047" y="3830"/>
                </a:lnTo>
                <a:lnTo>
                  <a:pt x="12123" y="3839"/>
                </a:lnTo>
                <a:lnTo>
                  <a:pt x="12203" y="3851"/>
                </a:lnTo>
                <a:lnTo>
                  <a:pt x="12281" y="3866"/>
                </a:lnTo>
                <a:lnTo>
                  <a:pt x="12354" y="3880"/>
                </a:lnTo>
                <a:lnTo>
                  <a:pt x="12423" y="3898"/>
                </a:lnTo>
                <a:lnTo>
                  <a:pt x="12489" y="3916"/>
                </a:lnTo>
                <a:lnTo>
                  <a:pt x="12550" y="3936"/>
                </a:lnTo>
                <a:lnTo>
                  <a:pt x="12608" y="3957"/>
                </a:lnTo>
                <a:lnTo>
                  <a:pt x="12661" y="3978"/>
                </a:lnTo>
                <a:lnTo>
                  <a:pt x="12712" y="4000"/>
                </a:lnTo>
                <a:lnTo>
                  <a:pt x="12759" y="4023"/>
                </a:lnTo>
                <a:lnTo>
                  <a:pt x="12802" y="4046"/>
                </a:lnTo>
                <a:lnTo>
                  <a:pt x="12842" y="4070"/>
                </a:lnTo>
                <a:lnTo>
                  <a:pt x="12879" y="4094"/>
                </a:lnTo>
                <a:lnTo>
                  <a:pt x="12913" y="4118"/>
                </a:lnTo>
                <a:lnTo>
                  <a:pt x="12944" y="4143"/>
                </a:lnTo>
                <a:lnTo>
                  <a:pt x="12973" y="4166"/>
                </a:lnTo>
                <a:lnTo>
                  <a:pt x="12999" y="4190"/>
                </a:lnTo>
                <a:lnTo>
                  <a:pt x="13021" y="4213"/>
                </a:lnTo>
                <a:lnTo>
                  <a:pt x="13042" y="4235"/>
                </a:lnTo>
                <a:lnTo>
                  <a:pt x="13061" y="4257"/>
                </a:lnTo>
                <a:lnTo>
                  <a:pt x="13078" y="4279"/>
                </a:lnTo>
                <a:lnTo>
                  <a:pt x="13092" y="4299"/>
                </a:lnTo>
                <a:lnTo>
                  <a:pt x="13105" y="4318"/>
                </a:lnTo>
                <a:lnTo>
                  <a:pt x="13115" y="4336"/>
                </a:lnTo>
                <a:lnTo>
                  <a:pt x="13125" y="4352"/>
                </a:lnTo>
                <a:lnTo>
                  <a:pt x="13138" y="4381"/>
                </a:lnTo>
                <a:lnTo>
                  <a:pt x="13147" y="4403"/>
                </a:lnTo>
                <a:lnTo>
                  <a:pt x="13152" y="4416"/>
                </a:lnTo>
                <a:lnTo>
                  <a:pt x="13153" y="4420"/>
                </a:lnTo>
                <a:close/>
                <a:moveTo>
                  <a:pt x="12250" y="0"/>
                </a:moveTo>
                <a:lnTo>
                  <a:pt x="12331" y="2"/>
                </a:lnTo>
                <a:lnTo>
                  <a:pt x="12410" y="8"/>
                </a:lnTo>
                <a:lnTo>
                  <a:pt x="12488" y="19"/>
                </a:lnTo>
                <a:lnTo>
                  <a:pt x="12565" y="33"/>
                </a:lnTo>
                <a:lnTo>
                  <a:pt x="12640" y="50"/>
                </a:lnTo>
                <a:lnTo>
                  <a:pt x="12715" y="71"/>
                </a:lnTo>
                <a:lnTo>
                  <a:pt x="12788" y="95"/>
                </a:lnTo>
                <a:lnTo>
                  <a:pt x="12860" y="124"/>
                </a:lnTo>
                <a:lnTo>
                  <a:pt x="12929" y="155"/>
                </a:lnTo>
                <a:lnTo>
                  <a:pt x="12996" y="190"/>
                </a:lnTo>
                <a:lnTo>
                  <a:pt x="13062" y="228"/>
                </a:lnTo>
                <a:lnTo>
                  <a:pt x="13126" y="269"/>
                </a:lnTo>
                <a:lnTo>
                  <a:pt x="13187" y="313"/>
                </a:lnTo>
                <a:lnTo>
                  <a:pt x="13246" y="360"/>
                </a:lnTo>
                <a:lnTo>
                  <a:pt x="13303" y="409"/>
                </a:lnTo>
                <a:lnTo>
                  <a:pt x="13359" y="461"/>
                </a:lnTo>
                <a:lnTo>
                  <a:pt x="13410" y="515"/>
                </a:lnTo>
                <a:lnTo>
                  <a:pt x="13459" y="572"/>
                </a:lnTo>
                <a:lnTo>
                  <a:pt x="13505" y="631"/>
                </a:lnTo>
                <a:lnTo>
                  <a:pt x="13550" y="693"/>
                </a:lnTo>
                <a:lnTo>
                  <a:pt x="13590" y="757"/>
                </a:lnTo>
                <a:lnTo>
                  <a:pt x="13628" y="822"/>
                </a:lnTo>
                <a:lnTo>
                  <a:pt x="13663" y="891"/>
                </a:lnTo>
                <a:lnTo>
                  <a:pt x="13694" y="960"/>
                </a:lnTo>
                <a:lnTo>
                  <a:pt x="13723" y="1031"/>
                </a:lnTo>
                <a:lnTo>
                  <a:pt x="13748" y="1104"/>
                </a:lnTo>
                <a:lnTo>
                  <a:pt x="13769" y="1178"/>
                </a:lnTo>
                <a:lnTo>
                  <a:pt x="13786" y="1254"/>
                </a:lnTo>
                <a:lnTo>
                  <a:pt x="13800" y="1331"/>
                </a:lnTo>
                <a:lnTo>
                  <a:pt x="13811" y="1409"/>
                </a:lnTo>
                <a:lnTo>
                  <a:pt x="13816" y="1489"/>
                </a:lnTo>
                <a:lnTo>
                  <a:pt x="13819" y="1568"/>
                </a:lnTo>
                <a:lnTo>
                  <a:pt x="13816" y="1650"/>
                </a:lnTo>
                <a:lnTo>
                  <a:pt x="13811" y="1729"/>
                </a:lnTo>
                <a:lnTo>
                  <a:pt x="13800" y="1807"/>
                </a:lnTo>
                <a:lnTo>
                  <a:pt x="13786" y="1884"/>
                </a:lnTo>
                <a:lnTo>
                  <a:pt x="13769" y="1961"/>
                </a:lnTo>
                <a:lnTo>
                  <a:pt x="13748" y="2035"/>
                </a:lnTo>
                <a:lnTo>
                  <a:pt x="13723" y="2107"/>
                </a:lnTo>
                <a:lnTo>
                  <a:pt x="13694" y="2179"/>
                </a:lnTo>
                <a:lnTo>
                  <a:pt x="13663" y="2248"/>
                </a:lnTo>
                <a:lnTo>
                  <a:pt x="13628" y="2316"/>
                </a:lnTo>
                <a:lnTo>
                  <a:pt x="13590" y="2382"/>
                </a:lnTo>
                <a:lnTo>
                  <a:pt x="13550" y="2445"/>
                </a:lnTo>
                <a:lnTo>
                  <a:pt x="13505" y="2507"/>
                </a:lnTo>
                <a:lnTo>
                  <a:pt x="13459" y="2566"/>
                </a:lnTo>
                <a:lnTo>
                  <a:pt x="13410" y="2623"/>
                </a:lnTo>
                <a:lnTo>
                  <a:pt x="13359" y="2677"/>
                </a:lnTo>
                <a:lnTo>
                  <a:pt x="13303" y="2729"/>
                </a:lnTo>
                <a:lnTo>
                  <a:pt x="13246" y="2779"/>
                </a:lnTo>
                <a:lnTo>
                  <a:pt x="13187" y="2825"/>
                </a:lnTo>
                <a:lnTo>
                  <a:pt x="13126" y="2869"/>
                </a:lnTo>
                <a:lnTo>
                  <a:pt x="13062" y="2910"/>
                </a:lnTo>
                <a:lnTo>
                  <a:pt x="12996" y="2948"/>
                </a:lnTo>
                <a:lnTo>
                  <a:pt x="12929" y="2983"/>
                </a:lnTo>
                <a:lnTo>
                  <a:pt x="12860" y="3014"/>
                </a:lnTo>
                <a:lnTo>
                  <a:pt x="12788" y="3042"/>
                </a:lnTo>
                <a:lnTo>
                  <a:pt x="12715" y="3067"/>
                </a:lnTo>
                <a:lnTo>
                  <a:pt x="12640" y="3088"/>
                </a:lnTo>
                <a:lnTo>
                  <a:pt x="12565" y="3106"/>
                </a:lnTo>
                <a:lnTo>
                  <a:pt x="12488" y="3120"/>
                </a:lnTo>
                <a:lnTo>
                  <a:pt x="12410" y="3129"/>
                </a:lnTo>
                <a:lnTo>
                  <a:pt x="12331" y="3135"/>
                </a:lnTo>
                <a:lnTo>
                  <a:pt x="12250" y="3138"/>
                </a:lnTo>
                <a:lnTo>
                  <a:pt x="12170" y="3135"/>
                </a:lnTo>
                <a:lnTo>
                  <a:pt x="12090" y="3129"/>
                </a:lnTo>
                <a:lnTo>
                  <a:pt x="12011" y="3120"/>
                </a:lnTo>
                <a:lnTo>
                  <a:pt x="11935" y="3106"/>
                </a:lnTo>
                <a:lnTo>
                  <a:pt x="11859" y="3088"/>
                </a:lnTo>
                <a:lnTo>
                  <a:pt x="11785" y="3067"/>
                </a:lnTo>
                <a:lnTo>
                  <a:pt x="11711" y="3042"/>
                </a:lnTo>
                <a:lnTo>
                  <a:pt x="11641" y="3014"/>
                </a:lnTo>
                <a:lnTo>
                  <a:pt x="11571" y="2983"/>
                </a:lnTo>
                <a:lnTo>
                  <a:pt x="11504" y="2948"/>
                </a:lnTo>
                <a:lnTo>
                  <a:pt x="11438" y="2910"/>
                </a:lnTo>
                <a:lnTo>
                  <a:pt x="11375" y="2869"/>
                </a:lnTo>
                <a:lnTo>
                  <a:pt x="11313" y="2825"/>
                </a:lnTo>
                <a:lnTo>
                  <a:pt x="11253" y="2779"/>
                </a:lnTo>
                <a:lnTo>
                  <a:pt x="11197" y="2729"/>
                </a:lnTo>
                <a:lnTo>
                  <a:pt x="11143" y="2677"/>
                </a:lnTo>
                <a:lnTo>
                  <a:pt x="11091" y="2623"/>
                </a:lnTo>
                <a:lnTo>
                  <a:pt x="11041" y="2566"/>
                </a:lnTo>
                <a:lnTo>
                  <a:pt x="10994" y="2507"/>
                </a:lnTo>
                <a:lnTo>
                  <a:pt x="10950" y="2445"/>
                </a:lnTo>
                <a:lnTo>
                  <a:pt x="10909" y="2382"/>
                </a:lnTo>
                <a:lnTo>
                  <a:pt x="10871" y="2316"/>
                </a:lnTo>
                <a:lnTo>
                  <a:pt x="10837" y="2248"/>
                </a:lnTo>
                <a:lnTo>
                  <a:pt x="10805" y="2179"/>
                </a:lnTo>
                <a:lnTo>
                  <a:pt x="10777" y="2107"/>
                </a:lnTo>
                <a:lnTo>
                  <a:pt x="10753" y="2035"/>
                </a:lnTo>
                <a:lnTo>
                  <a:pt x="10731" y="1961"/>
                </a:lnTo>
                <a:lnTo>
                  <a:pt x="10714" y="1884"/>
                </a:lnTo>
                <a:lnTo>
                  <a:pt x="10701" y="1807"/>
                </a:lnTo>
                <a:lnTo>
                  <a:pt x="10690" y="1729"/>
                </a:lnTo>
                <a:lnTo>
                  <a:pt x="10684" y="1650"/>
                </a:lnTo>
                <a:lnTo>
                  <a:pt x="10683" y="1568"/>
                </a:lnTo>
                <a:lnTo>
                  <a:pt x="10684" y="1489"/>
                </a:lnTo>
                <a:lnTo>
                  <a:pt x="10690" y="1409"/>
                </a:lnTo>
                <a:lnTo>
                  <a:pt x="10701" y="1331"/>
                </a:lnTo>
                <a:lnTo>
                  <a:pt x="10714" y="1254"/>
                </a:lnTo>
                <a:lnTo>
                  <a:pt x="10731" y="1178"/>
                </a:lnTo>
                <a:lnTo>
                  <a:pt x="10753" y="1104"/>
                </a:lnTo>
                <a:lnTo>
                  <a:pt x="10777" y="1031"/>
                </a:lnTo>
                <a:lnTo>
                  <a:pt x="10805" y="960"/>
                </a:lnTo>
                <a:lnTo>
                  <a:pt x="10837" y="891"/>
                </a:lnTo>
                <a:lnTo>
                  <a:pt x="10871" y="822"/>
                </a:lnTo>
                <a:lnTo>
                  <a:pt x="10909" y="757"/>
                </a:lnTo>
                <a:lnTo>
                  <a:pt x="10950" y="693"/>
                </a:lnTo>
                <a:lnTo>
                  <a:pt x="10994" y="631"/>
                </a:lnTo>
                <a:lnTo>
                  <a:pt x="11041" y="572"/>
                </a:lnTo>
                <a:lnTo>
                  <a:pt x="11091" y="515"/>
                </a:lnTo>
                <a:lnTo>
                  <a:pt x="11143" y="461"/>
                </a:lnTo>
                <a:lnTo>
                  <a:pt x="11197" y="409"/>
                </a:lnTo>
                <a:lnTo>
                  <a:pt x="11253" y="360"/>
                </a:lnTo>
                <a:lnTo>
                  <a:pt x="11313" y="313"/>
                </a:lnTo>
                <a:lnTo>
                  <a:pt x="11375" y="269"/>
                </a:lnTo>
                <a:lnTo>
                  <a:pt x="11438" y="228"/>
                </a:lnTo>
                <a:lnTo>
                  <a:pt x="11504" y="190"/>
                </a:lnTo>
                <a:lnTo>
                  <a:pt x="11571" y="155"/>
                </a:lnTo>
                <a:lnTo>
                  <a:pt x="11641" y="124"/>
                </a:lnTo>
                <a:lnTo>
                  <a:pt x="11711" y="95"/>
                </a:lnTo>
                <a:lnTo>
                  <a:pt x="11785" y="71"/>
                </a:lnTo>
                <a:lnTo>
                  <a:pt x="11859" y="50"/>
                </a:lnTo>
                <a:lnTo>
                  <a:pt x="11935" y="33"/>
                </a:lnTo>
                <a:lnTo>
                  <a:pt x="12011" y="19"/>
                </a:lnTo>
                <a:lnTo>
                  <a:pt x="12090" y="8"/>
                </a:lnTo>
                <a:lnTo>
                  <a:pt x="12170" y="2"/>
                </a:lnTo>
                <a:lnTo>
                  <a:pt x="12250" y="0"/>
                </a:lnTo>
                <a:close/>
              </a:path>
            </a:pathLst>
          </a:custGeom>
          <a:solidFill>
            <a:schemeClr val="tx1"/>
          </a:solidFill>
          <a:ln w="9525">
            <a:noFill/>
            <a:round/>
            <a:headEnd/>
            <a:tailEnd/>
          </a:ln>
        </p:spPr>
        <p:txBody>
          <a:bodyPr vert="horz" wrap="square" lIns="121916" tIns="60958" rIns="121916" bIns="60958" numCol="1" anchor="t" anchorCtr="0" compatLnSpc="1">
            <a:prstTxWarp prst="textNoShape">
              <a:avLst/>
            </a:prstTxWarp>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fontAlgn="ctr"/>
            <a:endParaRPr lang="en-US" altLang="zh-CN" sz="3200" dirty="0">
              <a:solidFill>
                <a:schemeClr val="bg1"/>
              </a:solidFill>
              <a:latin typeface="Calibri" panose="020F0502020204030204" pitchFamily="34" charset="0"/>
            </a:endParaRPr>
          </a:p>
        </p:txBody>
      </p:sp>
      <p:sp>
        <p:nvSpPr>
          <p:cNvPr id="198" name="1617187685"/>
          <p:cNvSpPr>
            <a:spLocks/>
          </p:cNvSpPr>
          <p:nvPr/>
        </p:nvSpPr>
        <p:spPr bwMode="auto">
          <a:xfrm rot="8896630">
            <a:off x="6752719" y="1998218"/>
            <a:ext cx="33784" cy="127154"/>
          </a:xfrm>
          <a:custGeom>
            <a:avLst/>
            <a:gdLst/>
            <a:ahLst/>
            <a:cxnLst>
              <a:cxn ang="0">
                <a:pos x="16" y="0"/>
              </a:cxn>
              <a:cxn ang="0">
                <a:pos x="16" y="0"/>
              </a:cxn>
              <a:cxn ang="0">
                <a:pos x="10" y="8"/>
              </a:cxn>
              <a:cxn ang="0">
                <a:pos x="4" y="18"/>
              </a:cxn>
              <a:cxn ang="0">
                <a:pos x="2" y="28"/>
              </a:cxn>
              <a:cxn ang="0">
                <a:pos x="0" y="38"/>
              </a:cxn>
              <a:cxn ang="0">
                <a:pos x="0" y="38"/>
              </a:cxn>
              <a:cxn ang="0">
                <a:pos x="2" y="50"/>
              </a:cxn>
              <a:cxn ang="0">
                <a:pos x="6" y="60"/>
              </a:cxn>
              <a:cxn ang="0">
                <a:pos x="12" y="72"/>
              </a:cxn>
              <a:cxn ang="0">
                <a:pos x="18" y="80"/>
              </a:cxn>
              <a:cxn ang="0">
                <a:pos x="18" y="80"/>
              </a:cxn>
              <a:cxn ang="0">
                <a:pos x="22" y="82"/>
              </a:cxn>
              <a:cxn ang="0">
                <a:pos x="24" y="80"/>
              </a:cxn>
              <a:cxn ang="0">
                <a:pos x="24" y="80"/>
              </a:cxn>
              <a:cxn ang="0">
                <a:pos x="24" y="78"/>
              </a:cxn>
              <a:cxn ang="0">
                <a:pos x="24" y="76"/>
              </a:cxn>
              <a:cxn ang="0">
                <a:pos x="24" y="76"/>
              </a:cxn>
              <a:cxn ang="0">
                <a:pos x="16" y="68"/>
              </a:cxn>
              <a:cxn ang="0">
                <a:pos x="12" y="58"/>
              </a:cxn>
              <a:cxn ang="0">
                <a:pos x="8" y="48"/>
              </a:cxn>
              <a:cxn ang="0">
                <a:pos x="8" y="38"/>
              </a:cxn>
              <a:cxn ang="0">
                <a:pos x="8" y="38"/>
              </a:cxn>
              <a:cxn ang="0">
                <a:pos x="8" y="30"/>
              </a:cxn>
              <a:cxn ang="0">
                <a:pos x="12" y="20"/>
              </a:cxn>
              <a:cxn ang="0">
                <a:pos x="16" y="12"/>
              </a:cxn>
              <a:cxn ang="0">
                <a:pos x="22" y="6"/>
              </a:cxn>
              <a:cxn ang="0">
                <a:pos x="22" y="6"/>
              </a:cxn>
              <a:cxn ang="0">
                <a:pos x="22" y="2"/>
              </a:cxn>
              <a:cxn ang="0">
                <a:pos x="22" y="0"/>
              </a:cxn>
              <a:cxn ang="0">
                <a:pos x="22" y="0"/>
              </a:cxn>
              <a:cxn ang="0">
                <a:pos x="18" y="0"/>
              </a:cxn>
              <a:cxn ang="0">
                <a:pos x="16" y="0"/>
              </a:cxn>
              <a:cxn ang="0">
                <a:pos x="16" y="0"/>
              </a:cxn>
            </a:cxnLst>
            <a:rect l="0" t="0" r="r" b="b"/>
            <a:pathLst>
              <a:path w="24" h="82">
                <a:moveTo>
                  <a:pt x="16" y="0"/>
                </a:moveTo>
                <a:lnTo>
                  <a:pt x="16" y="0"/>
                </a:lnTo>
                <a:lnTo>
                  <a:pt x="10" y="8"/>
                </a:lnTo>
                <a:lnTo>
                  <a:pt x="4" y="18"/>
                </a:lnTo>
                <a:lnTo>
                  <a:pt x="2" y="28"/>
                </a:lnTo>
                <a:lnTo>
                  <a:pt x="0" y="38"/>
                </a:lnTo>
                <a:lnTo>
                  <a:pt x="0" y="38"/>
                </a:lnTo>
                <a:lnTo>
                  <a:pt x="2" y="50"/>
                </a:lnTo>
                <a:lnTo>
                  <a:pt x="6" y="60"/>
                </a:lnTo>
                <a:lnTo>
                  <a:pt x="12" y="72"/>
                </a:lnTo>
                <a:lnTo>
                  <a:pt x="18" y="80"/>
                </a:lnTo>
                <a:lnTo>
                  <a:pt x="18" y="80"/>
                </a:lnTo>
                <a:lnTo>
                  <a:pt x="22" y="82"/>
                </a:lnTo>
                <a:lnTo>
                  <a:pt x="24" y="80"/>
                </a:lnTo>
                <a:lnTo>
                  <a:pt x="24" y="80"/>
                </a:lnTo>
                <a:lnTo>
                  <a:pt x="24" y="78"/>
                </a:lnTo>
                <a:lnTo>
                  <a:pt x="24" y="76"/>
                </a:lnTo>
                <a:lnTo>
                  <a:pt x="24" y="76"/>
                </a:lnTo>
                <a:lnTo>
                  <a:pt x="16" y="68"/>
                </a:lnTo>
                <a:lnTo>
                  <a:pt x="12" y="58"/>
                </a:lnTo>
                <a:lnTo>
                  <a:pt x="8" y="48"/>
                </a:lnTo>
                <a:lnTo>
                  <a:pt x="8" y="38"/>
                </a:lnTo>
                <a:lnTo>
                  <a:pt x="8" y="38"/>
                </a:lnTo>
                <a:lnTo>
                  <a:pt x="8" y="30"/>
                </a:lnTo>
                <a:lnTo>
                  <a:pt x="12" y="20"/>
                </a:lnTo>
                <a:lnTo>
                  <a:pt x="16" y="12"/>
                </a:lnTo>
                <a:lnTo>
                  <a:pt x="22" y="6"/>
                </a:lnTo>
                <a:lnTo>
                  <a:pt x="22" y="6"/>
                </a:lnTo>
                <a:lnTo>
                  <a:pt x="22" y="2"/>
                </a:lnTo>
                <a:lnTo>
                  <a:pt x="22" y="0"/>
                </a:lnTo>
                <a:lnTo>
                  <a:pt x="22" y="0"/>
                </a:lnTo>
                <a:lnTo>
                  <a:pt x="18" y="0"/>
                </a:lnTo>
                <a:lnTo>
                  <a:pt x="16" y="0"/>
                </a:lnTo>
                <a:lnTo>
                  <a:pt x="16" y="0"/>
                </a:lnTo>
                <a:close/>
              </a:path>
            </a:pathLst>
          </a:custGeom>
          <a:solidFill>
            <a:schemeClr val="bg1">
              <a:lumMod val="50000"/>
            </a:schemeClr>
          </a:solidFill>
          <a:ln w="9525">
            <a:noFill/>
            <a:round/>
            <a:headEnd/>
            <a:tailEnd/>
          </a:ln>
        </p:spPr>
        <p:txBody>
          <a:bodyPr vert="horz" wrap="square" lIns="121916" tIns="60958" rIns="121916" bIns="60958" numCol="1" anchor="t" anchorCtr="0" compatLnSpc="1">
            <a:prstTxWarp prst="textNoShape">
              <a:avLst/>
            </a:prstTxWarp>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fontAlgn="ctr"/>
            <a:endParaRPr lang="en-US" altLang="zh-CN" sz="3200" dirty="0">
              <a:solidFill>
                <a:schemeClr val="bg1"/>
              </a:solidFill>
              <a:latin typeface="Calibri" panose="020F0502020204030204" pitchFamily="34" charset="0"/>
            </a:endParaRPr>
          </a:p>
        </p:txBody>
      </p:sp>
      <p:sp>
        <p:nvSpPr>
          <p:cNvPr id="199" name="193356680"/>
          <p:cNvSpPr>
            <a:spLocks/>
          </p:cNvSpPr>
          <p:nvPr/>
        </p:nvSpPr>
        <p:spPr bwMode="auto">
          <a:xfrm rot="8896630">
            <a:off x="6728984" y="2024092"/>
            <a:ext cx="30969" cy="108546"/>
          </a:xfrm>
          <a:custGeom>
            <a:avLst/>
            <a:gdLst/>
            <a:ahLst/>
            <a:cxnLst>
              <a:cxn ang="0">
                <a:pos x="14" y="0"/>
              </a:cxn>
              <a:cxn ang="0">
                <a:pos x="14" y="0"/>
              </a:cxn>
              <a:cxn ang="0">
                <a:pos x="8" y="8"/>
              </a:cxn>
              <a:cxn ang="0">
                <a:pos x="4" y="16"/>
              </a:cxn>
              <a:cxn ang="0">
                <a:pos x="0" y="24"/>
              </a:cxn>
              <a:cxn ang="0">
                <a:pos x="0" y="32"/>
              </a:cxn>
              <a:cxn ang="0">
                <a:pos x="0" y="32"/>
              </a:cxn>
              <a:cxn ang="0">
                <a:pos x="2" y="42"/>
              </a:cxn>
              <a:cxn ang="0">
                <a:pos x="4" y="52"/>
              </a:cxn>
              <a:cxn ang="0">
                <a:pos x="8" y="60"/>
              </a:cxn>
              <a:cxn ang="0">
                <a:pos x="16" y="68"/>
              </a:cxn>
              <a:cxn ang="0">
                <a:pos x="16" y="68"/>
              </a:cxn>
              <a:cxn ang="0">
                <a:pos x="18" y="70"/>
              </a:cxn>
              <a:cxn ang="0">
                <a:pos x="20" y="68"/>
              </a:cxn>
              <a:cxn ang="0">
                <a:pos x="20" y="68"/>
              </a:cxn>
              <a:cxn ang="0">
                <a:pos x="22" y="66"/>
              </a:cxn>
              <a:cxn ang="0">
                <a:pos x="20" y="64"/>
              </a:cxn>
              <a:cxn ang="0">
                <a:pos x="20" y="64"/>
              </a:cxn>
              <a:cxn ang="0">
                <a:pos x="14" y="56"/>
              </a:cxn>
              <a:cxn ang="0">
                <a:pos x="10" y="48"/>
              </a:cxn>
              <a:cxn ang="0">
                <a:pos x="8" y="40"/>
              </a:cxn>
              <a:cxn ang="0">
                <a:pos x="8" y="32"/>
              </a:cxn>
              <a:cxn ang="0">
                <a:pos x="8" y="32"/>
              </a:cxn>
              <a:cxn ang="0">
                <a:pos x="8" y="26"/>
              </a:cxn>
              <a:cxn ang="0">
                <a:pos x="10" y="18"/>
              </a:cxn>
              <a:cxn ang="0">
                <a:pos x="14" y="12"/>
              </a:cxn>
              <a:cxn ang="0">
                <a:pos x="18" y="6"/>
              </a:cxn>
              <a:cxn ang="0">
                <a:pos x="18" y="6"/>
              </a:cxn>
              <a:cxn ang="0">
                <a:pos x="20" y="4"/>
              </a:cxn>
              <a:cxn ang="0">
                <a:pos x="18" y="0"/>
              </a:cxn>
              <a:cxn ang="0">
                <a:pos x="18" y="0"/>
              </a:cxn>
              <a:cxn ang="0">
                <a:pos x="16" y="0"/>
              </a:cxn>
              <a:cxn ang="0">
                <a:pos x="14" y="0"/>
              </a:cxn>
              <a:cxn ang="0">
                <a:pos x="14" y="0"/>
              </a:cxn>
            </a:cxnLst>
            <a:rect l="0" t="0" r="r" b="b"/>
            <a:pathLst>
              <a:path w="22" h="70">
                <a:moveTo>
                  <a:pt x="14" y="0"/>
                </a:moveTo>
                <a:lnTo>
                  <a:pt x="14" y="0"/>
                </a:lnTo>
                <a:lnTo>
                  <a:pt x="8" y="8"/>
                </a:lnTo>
                <a:lnTo>
                  <a:pt x="4" y="16"/>
                </a:lnTo>
                <a:lnTo>
                  <a:pt x="0" y="24"/>
                </a:lnTo>
                <a:lnTo>
                  <a:pt x="0" y="32"/>
                </a:lnTo>
                <a:lnTo>
                  <a:pt x="0" y="32"/>
                </a:lnTo>
                <a:lnTo>
                  <a:pt x="2" y="42"/>
                </a:lnTo>
                <a:lnTo>
                  <a:pt x="4" y="52"/>
                </a:lnTo>
                <a:lnTo>
                  <a:pt x="8" y="60"/>
                </a:lnTo>
                <a:lnTo>
                  <a:pt x="16" y="68"/>
                </a:lnTo>
                <a:lnTo>
                  <a:pt x="16" y="68"/>
                </a:lnTo>
                <a:lnTo>
                  <a:pt x="18" y="70"/>
                </a:lnTo>
                <a:lnTo>
                  <a:pt x="20" y="68"/>
                </a:lnTo>
                <a:lnTo>
                  <a:pt x="20" y="68"/>
                </a:lnTo>
                <a:lnTo>
                  <a:pt x="22" y="66"/>
                </a:lnTo>
                <a:lnTo>
                  <a:pt x="20" y="64"/>
                </a:lnTo>
                <a:lnTo>
                  <a:pt x="20" y="64"/>
                </a:lnTo>
                <a:lnTo>
                  <a:pt x="14" y="56"/>
                </a:lnTo>
                <a:lnTo>
                  <a:pt x="10" y="48"/>
                </a:lnTo>
                <a:lnTo>
                  <a:pt x="8" y="40"/>
                </a:lnTo>
                <a:lnTo>
                  <a:pt x="8" y="32"/>
                </a:lnTo>
                <a:lnTo>
                  <a:pt x="8" y="32"/>
                </a:lnTo>
                <a:lnTo>
                  <a:pt x="8" y="26"/>
                </a:lnTo>
                <a:lnTo>
                  <a:pt x="10" y="18"/>
                </a:lnTo>
                <a:lnTo>
                  <a:pt x="14" y="12"/>
                </a:lnTo>
                <a:lnTo>
                  <a:pt x="18" y="6"/>
                </a:lnTo>
                <a:lnTo>
                  <a:pt x="18" y="6"/>
                </a:lnTo>
                <a:lnTo>
                  <a:pt x="20" y="4"/>
                </a:lnTo>
                <a:lnTo>
                  <a:pt x="18" y="0"/>
                </a:lnTo>
                <a:lnTo>
                  <a:pt x="18" y="0"/>
                </a:lnTo>
                <a:lnTo>
                  <a:pt x="16" y="0"/>
                </a:lnTo>
                <a:lnTo>
                  <a:pt x="14" y="0"/>
                </a:lnTo>
                <a:lnTo>
                  <a:pt x="14" y="0"/>
                </a:lnTo>
                <a:close/>
              </a:path>
            </a:pathLst>
          </a:custGeom>
          <a:solidFill>
            <a:schemeClr val="bg1">
              <a:lumMod val="50000"/>
            </a:schemeClr>
          </a:solidFill>
          <a:ln w="9525">
            <a:noFill/>
            <a:round/>
            <a:headEnd/>
            <a:tailEnd/>
          </a:ln>
        </p:spPr>
        <p:txBody>
          <a:bodyPr vert="horz" wrap="square" lIns="121916" tIns="60958" rIns="121916" bIns="60958" numCol="1" anchor="t" anchorCtr="0" compatLnSpc="1">
            <a:prstTxWarp prst="textNoShape">
              <a:avLst/>
            </a:prstTxWarp>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fontAlgn="ctr"/>
            <a:endParaRPr lang="en-US" altLang="zh-CN" sz="3200" dirty="0">
              <a:solidFill>
                <a:schemeClr val="bg1"/>
              </a:solidFill>
              <a:latin typeface="Calibri" panose="020F0502020204030204" pitchFamily="34" charset="0"/>
            </a:endParaRPr>
          </a:p>
        </p:txBody>
      </p:sp>
      <p:sp>
        <p:nvSpPr>
          <p:cNvPr id="200" name="1860716083"/>
          <p:cNvSpPr>
            <a:spLocks/>
          </p:cNvSpPr>
          <p:nvPr/>
        </p:nvSpPr>
        <p:spPr bwMode="auto">
          <a:xfrm rot="8896630">
            <a:off x="6707851" y="2049178"/>
            <a:ext cx="25339" cy="89937"/>
          </a:xfrm>
          <a:custGeom>
            <a:avLst/>
            <a:gdLst/>
            <a:ahLst/>
            <a:cxnLst>
              <a:cxn ang="0">
                <a:pos x="10" y="0"/>
              </a:cxn>
              <a:cxn ang="0">
                <a:pos x="10" y="0"/>
              </a:cxn>
              <a:cxn ang="0">
                <a:pos x="6" y="6"/>
              </a:cxn>
              <a:cxn ang="0">
                <a:pos x="2" y="14"/>
              </a:cxn>
              <a:cxn ang="0">
                <a:pos x="0" y="20"/>
              </a:cxn>
              <a:cxn ang="0">
                <a:pos x="0" y="26"/>
              </a:cxn>
              <a:cxn ang="0">
                <a:pos x="0" y="26"/>
              </a:cxn>
              <a:cxn ang="0">
                <a:pos x="0" y="34"/>
              </a:cxn>
              <a:cxn ang="0">
                <a:pos x="2" y="42"/>
              </a:cxn>
              <a:cxn ang="0">
                <a:pos x="6" y="50"/>
              </a:cxn>
              <a:cxn ang="0">
                <a:pos x="12" y="56"/>
              </a:cxn>
              <a:cxn ang="0">
                <a:pos x="12" y="56"/>
              </a:cxn>
              <a:cxn ang="0">
                <a:pos x="14" y="58"/>
              </a:cxn>
              <a:cxn ang="0">
                <a:pos x="16" y="56"/>
              </a:cxn>
              <a:cxn ang="0">
                <a:pos x="16" y="56"/>
              </a:cxn>
              <a:cxn ang="0">
                <a:pos x="18" y="54"/>
              </a:cxn>
              <a:cxn ang="0">
                <a:pos x="16" y="52"/>
              </a:cxn>
              <a:cxn ang="0">
                <a:pos x="16" y="52"/>
              </a:cxn>
              <a:cxn ang="0">
                <a:pos x="12" y="46"/>
              </a:cxn>
              <a:cxn ang="0">
                <a:pos x="10" y="40"/>
              </a:cxn>
              <a:cxn ang="0">
                <a:pos x="8" y="34"/>
              </a:cxn>
              <a:cxn ang="0">
                <a:pos x="6" y="26"/>
              </a:cxn>
              <a:cxn ang="0">
                <a:pos x="6" y="26"/>
              </a:cxn>
              <a:cxn ang="0">
                <a:pos x="8" y="16"/>
              </a:cxn>
              <a:cxn ang="0">
                <a:pos x="12" y="10"/>
              </a:cxn>
              <a:cxn ang="0">
                <a:pos x="16" y="6"/>
              </a:cxn>
              <a:cxn ang="0">
                <a:pos x="16" y="6"/>
              </a:cxn>
              <a:cxn ang="0">
                <a:pos x="16" y="4"/>
              </a:cxn>
              <a:cxn ang="0">
                <a:pos x="16" y="0"/>
              </a:cxn>
              <a:cxn ang="0">
                <a:pos x="16" y="0"/>
              </a:cxn>
              <a:cxn ang="0">
                <a:pos x="12" y="0"/>
              </a:cxn>
              <a:cxn ang="0">
                <a:pos x="10" y="0"/>
              </a:cxn>
              <a:cxn ang="0">
                <a:pos x="10" y="0"/>
              </a:cxn>
            </a:cxnLst>
            <a:rect l="0" t="0" r="r" b="b"/>
            <a:pathLst>
              <a:path w="18" h="58">
                <a:moveTo>
                  <a:pt x="10" y="0"/>
                </a:moveTo>
                <a:lnTo>
                  <a:pt x="10" y="0"/>
                </a:lnTo>
                <a:lnTo>
                  <a:pt x="6" y="6"/>
                </a:lnTo>
                <a:lnTo>
                  <a:pt x="2" y="14"/>
                </a:lnTo>
                <a:lnTo>
                  <a:pt x="0" y="20"/>
                </a:lnTo>
                <a:lnTo>
                  <a:pt x="0" y="26"/>
                </a:lnTo>
                <a:lnTo>
                  <a:pt x="0" y="26"/>
                </a:lnTo>
                <a:lnTo>
                  <a:pt x="0" y="34"/>
                </a:lnTo>
                <a:lnTo>
                  <a:pt x="2" y="42"/>
                </a:lnTo>
                <a:lnTo>
                  <a:pt x="6" y="50"/>
                </a:lnTo>
                <a:lnTo>
                  <a:pt x="12" y="56"/>
                </a:lnTo>
                <a:lnTo>
                  <a:pt x="12" y="56"/>
                </a:lnTo>
                <a:lnTo>
                  <a:pt x="14" y="58"/>
                </a:lnTo>
                <a:lnTo>
                  <a:pt x="16" y="56"/>
                </a:lnTo>
                <a:lnTo>
                  <a:pt x="16" y="56"/>
                </a:lnTo>
                <a:lnTo>
                  <a:pt x="18" y="54"/>
                </a:lnTo>
                <a:lnTo>
                  <a:pt x="16" y="52"/>
                </a:lnTo>
                <a:lnTo>
                  <a:pt x="16" y="52"/>
                </a:lnTo>
                <a:lnTo>
                  <a:pt x="12" y="46"/>
                </a:lnTo>
                <a:lnTo>
                  <a:pt x="10" y="40"/>
                </a:lnTo>
                <a:lnTo>
                  <a:pt x="8" y="34"/>
                </a:lnTo>
                <a:lnTo>
                  <a:pt x="6" y="26"/>
                </a:lnTo>
                <a:lnTo>
                  <a:pt x="6" y="26"/>
                </a:lnTo>
                <a:lnTo>
                  <a:pt x="8" y="16"/>
                </a:lnTo>
                <a:lnTo>
                  <a:pt x="12" y="10"/>
                </a:lnTo>
                <a:lnTo>
                  <a:pt x="16" y="6"/>
                </a:lnTo>
                <a:lnTo>
                  <a:pt x="16" y="6"/>
                </a:lnTo>
                <a:lnTo>
                  <a:pt x="16" y="4"/>
                </a:lnTo>
                <a:lnTo>
                  <a:pt x="16" y="0"/>
                </a:lnTo>
                <a:lnTo>
                  <a:pt x="16" y="0"/>
                </a:lnTo>
                <a:lnTo>
                  <a:pt x="12" y="0"/>
                </a:lnTo>
                <a:lnTo>
                  <a:pt x="10" y="0"/>
                </a:lnTo>
                <a:lnTo>
                  <a:pt x="10" y="0"/>
                </a:lnTo>
                <a:close/>
              </a:path>
            </a:pathLst>
          </a:custGeom>
          <a:solidFill>
            <a:schemeClr val="bg1">
              <a:lumMod val="50000"/>
            </a:schemeClr>
          </a:solidFill>
          <a:ln w="9525">
            <a:noFill/>
            <a:round/>
            <a:headEnd/>
            <a:tailEnd/>
          </a:ln>
        </p:spPr>
        <p:txBody>
          <a:bodyPr vert="horz" wrap="square" lIns="121916" tIns="60958" rIns="121916" bIns="60958" numCol="1" anchor="t" anchorCtr="0" compatLnSpc="1">
            <a:prstTxWarp prst="textNoShape">
              <a:avLst/>
            </a:prstTxWarp>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fontAlgn="ctr"/>
            <a:endParaRPr lang="en-US" altLang="zh-CN" sz="3200" dirty="0">
              <a:solidFill>
                <a:schemeClr val="bg1"/>
              </a:solidFill>
              <a:latin typeface="Calibri" panose="020F0502020204030204" pitchFamily="34" charset="0"/>
            </a:endParaRPr>
          </a:p>
        </p:txBody>
      </p:sp>
      <p:sp>
        <p:nvSpPr>
          <p:cNvPr id="201" name="1219364578"/>
          <p:cNvSpPr>
            <a:spLocks/>
          </p:cNvSpPr>
          <p:nvPr/>
        </p:nvSpPr>
        <p:spPr bwMode="auto">
          <a:xfrm rot="8896630">
            <a:off x="6673485" y="2092927"/>
            <a:ext cx="36599" cy="40317"/>
          </a:xfrm>
          <a:custGeom>
            <a:avLst/>
            <a:gdLst/>
            <a:ahLst/>
            <a:cxnLst>
              <a:cxn ang="0">
                <a:pos x="14" y="0"/>
              </a:cxn>
              <a:cxn ang="0">
                <a:pos x="14" y="0"/>
              </a:cxn>
              <a:cxn ang="0">
                <a:pos x="18" y="0"/>
              </a:cxn>
              <a:cxn ang="0">
                <a:pos x="22" y="4"/>
              </a:cxn>
              <a:cxn ang="0">
                <a:pos x="24" y="8"/>
              </a:cxn>
              <a:cxn ang="0">
                <a:pos x="26" y="12"/>
              </a:cxn>
              <a:cxn ang="0">
                <a:pos x="26" y="12"/>
              </a:cxn>
              <a:cxn ang="0">
                <a:pos x="24" y="18"/>
              </a:cxn>
              <a:cxn ang="0">
                <a:pos x="22" y="22"/>
              </a:cxn>
              <a:cxn ang="0">
                <a:pos x="18" y="24"/>
              </a:cxn>
              <a:cxn ang="0">
                <a:pos x="14" y="26"/>
              </a:cxn>
              <a:cxn ang="0">
                <a:pos x="14" y="26"/>
              </a:cxn>
              <a:cxn ang="0">
                <a:pos x="8" y="24"/>
              </a:cxn>
              <a:cxn ang="0">
                <a:pos x="4" y="22"/>
              </a:cxn>
              <a:cxn ang="0">
                <a:pos x="2" y="18"/>
              </a:cxn>
              <a:cxn ang="0">
                <a:pos x="0" y="12"/>
              </a:cxn>
              <a:cxn ang="0">
                <a:pos x="0" y="12"/>
              </a:cxn>
              <a:cxn ang="0">
                <a:pos x="2" y="8"/>
              </a:cxn>
              <a:cxn ang="0">
                <a:pos x="4" y="4"/>
              </a:cxn>
              <a:cxn ang="0">
                <a:pos x="8" y="0"/>
              </a:cxn>
              <a:cxn ang="0">
                <a:pos x="14" y="0"/>
              </a:cxn>
              <a:cxn ang="0">
                <a:pos x="14" y="0"/>
              </a:cxn>
            </a:cxnLst>
            <a:rect l="0" t="0" r="r" b="b"/>
            <a:pathLst>
              <a:path w="26" h="26">
                <a:moveTo>
                  <a:pt x="14" y="0"/>
                </a:moveTo>
                <a:lnTo>
                  <a:pt x="14" y="0"/>
                </a:lnTo>
                <a:lnTo>
                  <a:pt x="18" y="0"/>
                </a:lnTo>
                <a:lnTo>
                  <a:pt x="22" y="4"/>
                </a:lnTo>
                <a:lnTo>
                  <a:pt x="24" y="8"/>
                </a:lnTo>
                <a:lnTo>
                  <a:pt x="26" y="12"/>
                </a:lnTo>
                <a:lnTo>
                  <a:pt x="26" y="12"/>
                </a:lnTo>
                <a:lnTo>
                  <a:pt x="24" y="18"/>
                </a:lnTo>
                <a:lnTo>
                  <a:pt x="22" y="22"/>
                </a:lnTo>
                <a:lnTo>
                  <a:pt x="18" y="24"/>
                </a:lnTo>
                <a:lnTo>
                  <a:pt x="14" y="26"/>
                </a:lnTo>
                <a:lnTo>
                  <a:pt x="14" y="26"/>
                </a:lnTo>
                <a:lnTo>
                  <a:pt x="8" y="24"/>
                </a:lnTo>
                <a:lnTo>
                  <a:pt x="4" y="22"/>
                </a:lnTo>
                <a:lnTo>
                  <a:pt x="2" y="18"/>
                </a:lnTo>
                <a:lnTo>
                  <a:pt x="0" y="12"/>
                </a:lnTo>
                <a:lnTo>
                  <a:pt x="0" y="12"/>
                </a:lnTo>
                <a:lnTo>
                  <a:pt x="2" y="8"/>
                </a:lnTo>
                <a:lnTo>
                  <a:pt x="4" y="4"/>
                </a:lnTo>
                <a:lnTo>
                  <a:pt x="8" y="0"/>
                </a:lnTo>
                <a:lnTo>
                  <a:pt x="14" y="0"/>
                </a:lnTo>
                <a:lnTo>
                  <a:pt x="14" y="0"/>
                </a:lnTo>
                <a:close/>
              </a:path>
            </a:pathLst>
          </a:custGeom>
          <a:solidFill>
            <a:schemeClr val="bg1">
              <a:lumMod val="50000"/>
            </a:schemeClr>
          </a:solidFill>
          <a:ln w="9525">
            <a:noFill/>
            <a:round/>
            <a:headEnd/>
            <a:tailEnd/>
          </a:ln>
        </p:spPr>
        <p:txBody>
          <a:bodyPr vert="horz" wrap="square" lIns="121916" tIns="60958" rIns="121916" bIns="60958" numCol="1" anchor="t" anchorCtr="0" compatLnSpc="1">
            <a:prstTxWarp prst="textNoShape">
              <a:avLst/>
            </a:prstTxWarp>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fontAlgn="ctr"/>
            <a:endParaRPr lang="en-US" altLang="zh-CN" sz="3200" dirty="0">
              <a:solidFill>
                <a:schemeClr val="bg1"/>
              </a:solidFill>
              <a:latin typeface="Calibri" panose="020F0502020204030204" pitchFamily="34" charset="0"/>
            </a:endParaRPr>
          </a:p>
        </p:txBody>
      </p:sp>
      <p:sp>
        <p:nvSpPr>
          <p:cNvPr id="202" name="561957734"/>
          <p:cNvSpPr>
            <a:spLocks noChangeAspect="1" noEditPoints="1"/>
          </p:cNvSpPr>
          <p:nvPr/>
        </p:nvSpPr>
        <p:spPr bwMode="auto">
          <a:xfrm>
            <a:off x="2039206" y="1645768"/>
            <a:ext cx="496418" cy="359906"/>
          </a:xfrm>
          <a:custGeom>
            <a:avLst/>
            <a:gdLst/>
            <a:ahLst/>
            <a:cxnLst>
              <a:cxn ang="0">
                <a:pos x="867" y="56"/>
              </a:cxn>
              <a:cxn ang="0">
                <a:pos x="1039" y="220"/>
              </a:cxn>
              <a:cxn ang="0">
                <a:pos x="1106" y="455"/>
              </a:cxn>
              <a:cxn ang="0">
                <a:pos x="231" y="278"/>
              </a:cxn>
              <a:cxn ang="0">
                <a:pos x="379" y="91"/>
              </a:cxn>
              <a:cxn ang="0">
                <a:pos x="604" y="2"/>
              </a:cxn>
              <a:cxn ang="0">
                <a:pos x="16444" y="6441"/>
              </a:cxn>
              <a:cxn ang="0">
                <a:pos x="16889" y="6757"/>
              </a:cxn>
              <a:cxn ang="0">
                <a:pos x="17116" y="7260"/>
              </a:cxn>
              <a:cxn ang="0">
                <a:pos x="17065" y="10964"/>
              </a:cxn>
              <a:cxn ang="0">
                <a:pos x="16748" y="11409"/>
              </a:cxn>
              <a:cxn ang="0">
                <a:pos x="16245" y="11636"/>
              </a:cxn>
              <a:cxn ang="0">
                <a:pos x="684" y="11585"/>
              </a:cxn>
              <a:cxn ang="0">
                <a:pos x="239" y="11268"/>
              </a:cxn>
              <a:cxn ang="0">
                <a:pos x="12" y="10765"/>
              </a:cxn>
              <a:cxn ang="0">
                <a:pos x="63" y="7061"/>
              </a:cxn>
              <a:cxn ang="0">
                <a:pos x="380" y="6615"/>
              </a:cxn>
              <a:cxn ang="0">
                <a:pos x="883" y="6389"/>
              </a:cxn>
              <a:cxn ang="0">
                <a:pos x="2717" y="8367"/>
              </a:cxn>
              <a:cxn ang="0">
                <a:pos x="2981" y="8555"/>
              </a:cxn>
              <a:cxn ang="0">
                <a:pos x="3115" y="8853"/>
              </a:cxn>
              <a:cxn ang="0">
                <a:pos x="3073" y="9187"/>
              </a:cxn>
              <a:cxn ang="0">
                <a:pos x="2873" y="9442"/>
              </a:cxn>
              <a:cxn ang="0">
                <a:pos x="2567" y="9562"/>
              </a:cxn>
              <a:cxn ang="0">
                <a:pos x="2236" y="9504"/>
              </a:cxn>
              <a:cxn ang="0">
                <a:pos x="1992" y="9292"/>
              </a:cxn>
              <a:cxn ang="0">
                <a:pos x="1887" y="8980"/>
              </a:cxn>
              <a:cxn ang="0">
                <a:pos x="1961" y="8653"/>
              </a:cxn>
              <a:cxn ang="0">
                <a:pos x="2184" y="8419"/>
              </a:cxn>
              <a:cxn ang="0">
                <a:pos x="2504" y="8330"/>
              </a:cxn>
              <a:cxn ang="0">
                <a:pos x="5335" y="8405"/>
              </a:cxn>
              <a:cxn ang="0">
                <a:pos x="5569" y="8627"/>
              </a:cxn>
              <a:cxn ang="0">
                <a:pos x="5659" y="8947"/>
              </a:cxn>
              <a:cxn ang="0">
                <a:pos x="5569" y="9268"/>
              </a:cxn>
              <a:cxn ang="0">
                <a:pos x="5335" y="9491"/>
              </a:cxn>
              <a:cxn ang="0">
                <a:pos x="5009" y="9565"/>
              </a:cxn>
              <a:cxn ang="0">
                <a:pos x="4695" y="9460"/>
              </a:cxn>
              <a:cxn ang="0">
                <a:pos x="4484" y="9215"/>
              </a:cxn>
              <a:cxn ang="0">
                <a:pos x="4425" y="8884"/>
              </a:cxn>
              <a:cxn ang="0">
                <a:pos x="4545" y="8578"/>
              </a:cxn>
              <a:cxn ang="0">
                <a:pos x="4800" y="8378"/>
              </a:cxn>
              <a:cxn ang="0">
                <a:pos x="15111" y="8526"/>
              </a:cxn>
              <a:cxn ang="0">
                <a:pos x="15325" y="8597"/>
              </a:cxn>
              <a:cxn ang="0">
                <a:pos x="15470" y="8764"/>
              </a:cxn>
              <a:cxn ang="0">
                <a:pos x="15512" y="8969"/>
              </a:cxn>
              <a:cxn ang="0">
                <a:pos x="15440" y="9183"/>
              </a:cxn>
              <a:cxn ang="0">
                <a:pos x="15272" y="9329"/>
              </a:cxn>
              <a:cxn ang="0">
                <a:pos x="8366" y="9370"/>
              </a:cxn>
              <a:cxn ang="0">
                <a:pos x="8152" y="9298"/>
              </a:cxn>
              <a:cxn ang="0">
                <a:pos x="8007" y="9131"/>
              </a:cxn>
              <a:cxn ang="0">
                <a:pos x="7966" y="8926"/>
              </a:cxn>
              <a:cxn ang="0">
                <a:pos x="8037" y="8712"/>
              </a:cxn>
              <a:cxn ang="0">
                <a:pos x="8205" y="8566"/>
              </a:cxn>
              <a:cxn ang="0">
                <a:pos x="16696" y="1"/>
              </a:cxn>
              <a:cxn ang="0">
                <a:pos x="16927" y="78"/>
              </a:cxn>
              <a:cxn ang="0">
                <a:pos x="17083" y="258"/>
              </a:cxn>
              <a:cxn ang="0">
                <a:pos x="16217" y="5856"/>
              </a:cxn>
              <a:cxn ang="0">
                <a:pos x="16273" y="239"/>
              </a:cxn>
              <a:cxn ang="0">
                <a:pos x="16436" y="66"/>
              </a:cxn>
              <a:cxn ang="0">
                <a:pos x="16673" y="0"/>
              </a:cxn>
            </a:cxnLst>
            <a:rect l="0" t="0" r="r" b="b"/>
            <a:pathLst>
              <a:path w="17128" h="11648">
                <a:moveTo>
                  <a:pt x="651" y="0"/>
                </a:moveTo>
                <a:lnTo>
                  <a:pt x="674" y="1"/>
                </a:lnTo>
                <a:lnTo>
                  <a:pt x="697" y="2"/>
                </a:lnTo>
                <a:lnTo>
                  <a:pt x="719" y="5"/>
                </a:lnTo>
                <a:lnTo>
                  <a:pt x="742" y="10"/>
                </a:lnTo>
                <a:lnTo>
                  <a:pt x="764" y="14"/>
                </a:lnTo>
                <a:lnTo>
                  <a:pt x="786" y="20"/>
                </a:lnTo>
                <a:lnTo>
                  <a:pt x="807" y="28"/>
                </a:lnTo>
                <a:lnTo>
                  <a:pt x="827" y="36"/>
                </a:lnTo>
                <a:lnTo>
                  <a:pt x="848" y="45"/>
                </a:lnTo>
                <a:lnTo>
                  <a:pt x="867" y="56"/>
                </a:lnTo>
                <a:lnTo>
                  <a:pt x="886" y="66"/>
                </a:lnTo>
                <a:lnTo>
                  <a:pt x="905" y="78"/>
                </a:lnTo>
                <a:lnTo>
                  <a:pt x="923" y="91"/>
                </a:lnTo>
                <a:lnTo>
                  <a:pt x="940" y="104"/>
                </a:lnTo>
                <a:lnTo>
                  <a:pt x="956" y="119"/>
                </a:lnTo>
                <a:lnTo>
                  <a:pt x="972" y="134"/>
                </a:lnTo>
                <a:lnTo>
                  <a:pt x="987" y="150"/>
                </a:lnTo>
                <a:lnTo>
                  <a:pt x="1002" y="166"/>
                </a:lnTo>
                <a:lnTo>
                  <a:pt x="1015" y="183"/>
                </a:lnTo>
                <a:lnTo>
                  <a:pt x="1028" y="201"/>
                </a:lnTo>
                <a:lnTo>
                  <a:pt x="1039" y="220"/>
                </a:lnTo>
                <a:lnTo>
                  <a:pt x="1051" y="239"/>
                </a:lnTo>
                <a:lnTo>
                  <a:pt x="1061" y="258"/>
                </a:lnTo>
                <a:lnTo>
                  <a:pt x="1071" y="278"/>
                </a:lnTo>
                <a:lnTo>
                  <a:pt x="1078" y="300"/>
                </a:lnTo>
                <a:lnTo>
                  <a:pt x="1085" y="320"/>
                </a:lnTo>
                <a:lnTo>
                  <a:pt x="1092" y="342"/>
                </a:lnTo>
                <a:lnTo>
                  <a:pt x="1096" y="364"/>
                </a:lnTo>
                <a:lnTo>
                  <a:pt x="1100" y="387"/>
                </a:lnTo>
                <a:lnTo>
                  <a:pt x="1104" y="409"/>
                </a:lnTo>
                <a:lnTo>
                  <a:pt x="1106" y="433"/>
                </a:lnTo>
                <a:lnTo>
                  <a:pt x="1106" y="455"/>
                </a:lnTo>
                <a:lnTo>
                  <a:pt x="1106" y="5856"/>
                </a:lnTo>
                <a:lnTo>
                  <a:pt x="195" y="5856"/>
                </a:lnTo>
                <a:lnTo>
                  <a:pt x="195" y="455"/>
                </a:lnTo>
                <a:lnTo>
                  <a:pt x="196" y="433"/>
                </a:lnTo>
                <a:lnTo>
                  <a:pt x="198" y="409"/>
                </a:lnTo>
                <a:lnTo>
                  <a:pt x="200" y="387"/>
                </a:lnTo>
                <a:lnTo>
                  <a:pt x="204" y="364"/>
                </a:lnTo>
                <a:lnTo>
                  <a:pt x="210" y="342"/>
                </a:lnTo>
                <a:lnTo>
                  <a:pt x="215" y="320"/>
                </a:lnTo>
                <a:lnTo>
                  <a:pt x="223" y="300"/>
                </a:lnTo>
                <a:lnTo>
                  <a:pt x="231" y="278"/>
                </a:lnTo>
                <a:lnTo>
                  <a:pt x="240" y="258"/>
                </a:lnTo>
                <a:lnTo>
                  <a:pt x="250" y="239"/>
                </a:lnTo>
                <a:lnTo>
                  <a:pt x="261" y="220"/>
                </a:lnTo>
                <a:lnTo>
                  <a:pt x="273" y="201"/>
                </a:lnTo>
                <a:lnTo>
                  <a:pt x="286" y="183"/>
                </a:lnTo>
                <a:lnTo>
                  <a:pt x="300" y="166"/>
                </a:lnTo>
                <a:lnTo>
                  <a:pt x="314" y="150"/>
                </a:lnTo>
                <a:lnTo>
                  <a:pt x="329" y="134"/>
                </a:lnTo>
                <a:lnTo>
                  <a:pt x="345" y="119"/>
                </a:lnTo>
                <a:lnTo>
                  <a:pt x="361" y="104"/>
                </a:lnTo>
                <a:lnTo>
                  <a:pt x="379" y="91"/>
                </a:lnTo>
                <a:lnTo>
                  <a:pt x="396" y="78"/>
                </a:lnTo>
                <a:lnTo>
                  <a:pt x="415" y="66"/>
                </a:lnTo>
                <a:lnTo>
                  <a:pt x="434" y="56"/>
                </a:lnTo>
                <a:lnTo>
                  <a:pt x="454" y="45"/>
                </a:lnTo>
                <a:lnTo>
                  <a:pt x="474" y="36"/>
                </a:lnTo>
                <a:lnTo>
                  <a:pt x="495" y="28"/>
                </a:lnTo>
                <a:lnTo>
                  <a:pt x="516" y="20"/>
                </a:lnTo>
                <a:lnTo>
                  <a:pt x="537" y="14"/>
                </a:lnTo>
                <a:lnTo>
                  <a:pt x="559" y="10"/>
                </a:lnTo>
                <a:lnTo>
                  <a:pt x="581" y="5"/>
                </a:lnTo>
                <a:lnTo>
                  <a:pt x="604" y="2"/>
                </a:lnTo>
                <a:lnTo>
                  <a:pt x="627" y="1"/>
                </a:lnTo>
                <a:lnTo>
                  <a:pt x="651" y="0"/>
                </a:lnTo>
                <a:close/>
                <a:moveTo>
                  <a:pt x="1041" y="6378"/>
                </a:moveTo>
                <a:lnTo>
                  <a:pt x="16087" y="6378"/>
                </a:lnTo>
                <a:lnTo>
                  <a:pt x="16140" y="6379"/>
                </a:lnTo>
                <a:lnTo>
                  <a:pt x="16193" y="6383"/>
                </a:lnTo>
                <a:lnTo>
                  <a:pt x="16245" y="6389"/>
                </a:lnTo>
                <a:lnTo>
                  <a:pt x="16296" y="6398"/>
                </a:lnTo>
                <a:lnTo>
                  <a:pt x="16347" y="6410"/>
                </a:lnTo>
                <a:lnTo>
                  <a:pt x="16396" y="6425"/>
                </a:lnTo>
                <a:lnTo>
                  <a:pt x="16444" y="6441"/>
                </a:lnTo>
                <a:lnTo>
                  <a:pt x="16491" y="6459"/>
                </a:lnTo>
                <a:lnTo>
                  <a:pt x="16537" y="6480"/>
                </a:lnTo>
                <a:lnTo>
                  <a:pt x="16582" y="6503"/>
                </a:lnTo>
                <a:lnTo>
                  <a:pt x="16626" y="6529"/>
                </a:lnTo>
                <a:lnTo>
                  <a:pt x="16668" y="6555"/>
                </a:lnTo>
                <a:lnTo>
                  <a:pt x="16708" y="6584"/>
                </a:lnTo>
                <a:lnTo>
                  <a:pt x="16748" y="6615"/>
                </a:lnTo>
                <a:lnTo>
                  <a:pt x="16787" y="6649"/>
                </a:lnTo>
                <a:lnTo>
                  <a:pt x="16822" y="6683"/>
                </a:lnTo>
                <a:lnTo>
                  <a:pt x="16857" y="6719"/>
                </a:lnTo>
                <a:lnTo>
                  <a:pt x="16889" y="6757"/>
                </a:lnTo>
                <a:lnTo>
                  <a:pt x="16920" y="6796"/>
                </a:lnTo>
                <a:lnTo>
                  <a:pt x="16949" y="6837"/>
                </a:lnTo>
                <a:lnTo>
                  <a:pt x="16977" y="6880"/>
                </a:lnTo>
                <a:lnTo>
                  <a:pt x="17002" y="6923"/>
                </a:lnTo>
                <a:lnTo>
                  <a:pt x="17025" y="6968"/>
                </a:lnTo>
                <a:lnTo>
                  <a:pt x="17046" y="7014"/>
                </a:lnTo>
                <a:lnTo>
                  <a:pt x="17065" y="7062"/>
                </a:lnTo>
                <a:lnTo>
                  <a:pt x="17081" y="7110"/>
                </a:lnTo>
                <a:lnTo>
                  <a:pt x="17095" y="7159"/>
                </a:lnTo>
                <a:lnTo>
                  <a:pt x="17107" y="7210"/>
                </a:lnTo>
                <a:lnTo>
                  <a:pt x="17116" y="7260"/>
                </a:lnTo>
                <a:lnTo>
                  <a:pt x="17123" y="7312"/>
                </a:lnTo>
                <a:lnTo>
                  <a:pt x="17127" y="7365"/>
                </a:lnTo>
                <a:lnTo>
                  <a:pt x="17128" y="7418"/>
                </a:lnTo>
                <a:lnTo>
                  <a:pt x="17128" y="10607"/>
                </a:lnTo>
                <a:lnTo>
                  <a:pt x="17127" y="10661"/>
                </a:lnTo>
                <a:lnTo>
                  <a:pt x="17123" y="10713"/>
                </a:lnTo>
                <a:lnTo>
                  <a:pt x="17116" y="10765"/>
                </a:lnTo>
                <a:lnTo>
                  <a:pt x="17107" y="10816"/>
                </a:lnTo>
                <a:lnTo>
                  <a:pt x="17095" y="10866"/>
                </a:lnTo>
                <a:lnTo>
                  <a:pt x="17081" y="10916"/>
                </a:lnTo>
                <a:lnTo>
                  <a:pt x="17065" y="10964"/>
                </a:lnTo>
                <a:lnTo>
                  <a:pt x="17046" y="11011"/>
                </a:lnTo>
                <a:lnTo>
                  <a:pt x="17025" y="11057"/>
                </a:lnTo>
                <a:lnTo>
                  <a:pt x="17002" y="11102"/>
                </a:lnTo>
                <a:lnTo>
                  <a:pt x="16977" y="11146"/>
                </a:lnTo>
                <a:lnTo>
                  <a:pt x="16949" y="11188"/>
                </a:lnTo>
                <a:lnTo>
                  <a:pt x="16920" y="11228"/>
                </a:lnTo>
                <a:lnTo>
                  <a:pt x="16889" y="11268"/>
                </a:lnTo>
                <a:lnTo>
                  <a:pt x="16857" y="11306"/>
                </a:lnTo>
                <a:lnTo>
                  <a:pt x="16822" y="11342"/>
                </a:lnTo>
                <a:lnTo>
                  <a:pt x="16785" y="11377"/>
                </a:lnTo>
                <a:lnTo>
                  <a:pt x="16748" y="11409"/>
                </a:lnTo>
                <a:lnTo>
                  <a:pt x="16708" y="11440"/>
                </a:lnTo>
                <a:lnTo>
                  <a:pt x="16668" y="11469"/>
                </a:lnTo>
                <a:lnTo>
                  <a:pt x="16626" y="11497"/>
                </a:lnTo>
                <a:lnTo>
                  <a:pt x="16582" y="11522"/>
                </a:lnTo>
                <a:lnTo>
                  <a:pt x="16537" y="11545"/>
                </a:lnTo>
                <a:lnTo>
                  <a:pt x="16491" y="11566"/>
                </a:lnTo>
                <a:lnTo>
                  <a:pt x="16444" y="11585"/>
                </a:lnTo>
                <a:lnTo>
                  <a:pt x="16396" y="11601"/>
                </a:lnTo>
                <a:lnTo>
                  <a:pt x="16347" y="11615"/>
                </a:lnTo>
                <a:lnTo>
                  <a:pt x="16296" y="11627"/>
                </a:lnTo>
                <a:lnTo>
                  <a:pt x="16245" y="11636"/>
                </a:lnTo>
                <a:lnTo>
                  <a:pt x="16193" y="11643"/>
                </a:lnTo>
                <a:lnTo>
                  <a:pt x="16140" y="11647"/>
                </a:lnTo>
                <a:lnTo>
                  <a:pt x="16087" y="11648"/>
                </a:lnTo>
                <a:lnTo>
                  <a:pt x="1041" y="11648"/>
                </a:lnTo>
                <a:lnTo>
                  <a:pt x="988" y="11647"/>
                </a:lnTo>
                <a:lnTo>
                  <a:pt x="935" y="11643"/>
                </a:lnTo>
                <a:lnTo>
                  <a:pt x="883" y="11636"/>
                </a:lnTo>
                <a:lnTo>
                  <a:pt x="832" y="11627"/>
                </a:lnTo>
                <a:lnTo>
                  <a:pt x="781" y="11615"/>
                </a:lnTo>
                <a:lnTo>
                  <a:pt x="732" y="11601"/>
                </a:lnTo>
                <a:lnTo>
                  <a:pt x="684" y="11585"/>
                </a:lnTo>
                <a:lnTo>
                  <a:pt x="637" y="11566"/>
                </a:lnTo>
                <a:lnTo>
                  <a:pt x="591" y="11545"/>
                </a:lnTo>
                <a:lnTo>
                  <a:pt x="546" y="11522"/>
                </a:lnTo>
                <a:lnTo>
                  <a:pt x="502" y="11497"/>
                </a:lnTo>
                <a:lnTo>
                  <a:pt x="460" y="11469"/>
                </a:lnTo>
                <a:lnTo>
                  <a:pt x="420" y="11440"/>
                </a:lnTo>
                <a:lnTo>
                  <a:pt x="380" y="11409"/>
                </a:lnTo>
                <a:lnTo>
                  <a:pt x="341" y="11377"/>
                </a:lnTo>
                <a:lnTo>
                  <a:pt x="306" y="11342"/>
                </a:lnTo>
                <a:lnTo>
                  <a:pt x="271" y="11306"/>
                </a:lnTo>
                <a:lnTo>
                  <a:pt x="239" y="11268"/>
                </a:lnTo>
                <a:lnTo>
                  <a:pt x="208" y="11229"/>
                </a:lnTo>
                <a:lnTo>
                  <a:pt x="179" y="11188"/>
                </a:lnTo>
                <a:lnTo>
                  <a:pt x="151" y="11146"/>
                </a:lnTo>
                <a:lnTo>
                  <a:pt x="126" y="11102"/>
                </a:lnTo>
                <a:lnTo>
                  <a:pt x="103" y="11057"/>
                </a:lnTo>
                <a:lnTo>
                  <a:pt x="82" y="11011"/>
                </a:lnTo>
                <a:lnTo>
                  <a:pt x="63" y="10964"/>
                </a:lnTo>
                <a:lnTo>
                  <a:pt x="47" y="10916"/>
                </a:lnTo>
                <a:lnTo>
                  <a:pt x="33" y="10866"/>
                </a:lnTo>
                <a:lnTo>
                  <a:pt x="21" y="10816"/>
                </a:lnTo>
                <a:lnTo>
                  <a:pt x="12" y="10765"/>
                </a:lnTo>
                <a:lnTo>
                  <a:pt x="5" y="10713"/>
                </a:lnTo>
                <a:lnTo>
                  <a:pt x="1" y="10661"/>
                </a:lnTo>
                <a:lnTo>
                  <a:pt x="0" y="10607"/>
                </a:lnTo>
                <a:lnTo>
                  <a:pt x="0" y="7418"/>
                </a:lnTo>
                <a:lnTo>
                  <a:pt x="1" y="7365"/>
                </a:lnTo>
                <a:lnTo>
                  <a:pt x="5" y="7312"/>
                </a:lnTo>
                <a:lnTo>
                  <a:pt x="12" y="7260"/>
                </a:lnTo>
                <a:lnTo>
                  <a:pt x="21" y="7210"/>
                </a:lnTo>
                <a:lnTo>
                  <a:pt x="33" y="7159"/>
                </a:lnTo>
                <a:lnTo>
                  <a:pt x="47" y="7110"/>
                </a:lnTo>
                <a:lnTo>
                  <a:pt x="63" y="7061"/>
                </a:lnTo>
                <a:lnTo>
                  <a:pt x="82" y="7014"/>
                </a:lnTo>
                <a:lnTo>
                  <a:pt x="103" y="6968"/>
                </a:lnTo>
                <a:lnTo>
                  <a:pt x="126" y="6923"/>
                </a:lnTo>
                <a:lnTo>
                  <a:pt x="151" y="6880"/>
                </a:lnTo>
                <a:lnTo>
                  <a:pt x="179" y="6837"/>
                </a:lnTo>
                <a:lnTo>
                  <a:pt x="208" y="6796"/>
                </a:lnTo>
                <a:lnTo>
                  <a:pt x="239" y="6757"/>
                </a:lnTo>
                <a:lnTo>
                  <a:pt x="271" y="6719"/>
                </a:lnTo>
                <a:lnTo>
                  <a:pt x="306" y="6683"/>
                </a:lnTo>
                <a:lnTo>
                  <a:pt x="341" y="6649"/>
                </a:lnTo>
                <a:lnTo>
                  <a:pt x="380" y="6615"/>
                </a:lnTo>
                <a:lnTo>
                  <a:pt x="419" y="6584"/>
                </a:lnTo>
                <a:lnTo>
                  <a:pt x="460" y="6555"/>
                </a:lnTo>
                <a:lnTo>
                  <a:pt x="502" y="6529"/>
                </a:lnTo>
                <a:lnTo>
                  <a:pt x="546" y="6503"/>
                </a:lnTo>
                <a:lnTo>
                  <a:pt x="591" y="6480"/>
                </a:lnTo>
                <a:lnTo>
                  <a:pt x="637" y="6459"/>
                </a:lnTo>
                <a:lnTo>
                  <a:pt x="684" y="6441"/>
                </a:lnTo>
                <a:lnTo>
                  <a:pt x="732" y="6425"/>
                </a:lnTo>
                <a:lnTo>
                  <a:pt x="781" y="6410"/>
                </a:lnTo>
                <a:lnTo>
                  <a:pt x="832" y="6398"/>
                </a:lnTo>
                <a:lnTo>
                  <a:pt x="883" y="6389"/>
                </a:lnTo>
                <a:lnTo>
                  <a:pt x="935" y="6383"/>
                </a:lnTo>
                <a:lnTo>
                  <a:pt x="988" y="6379"/>
                </a:lnTo>
                <a:lnTo>
                  <a:pt x="1041" y="6378"/>
                </a:lnTo>
                <a:close/>
                <a:moveTo>
                  <a:pt x="2504" y="8330"/>
                </a:moveTo>
                <a:lnTo>
                  <a:pt x="2536" y="8330"/>
                </a:lnTo>
                <a:lnTo>
                  <a:pt x="2567" y="8333"/>
                </a:lnTo>
                <a:lnTo>
                  <a:pt x="2598" y="8336"/>
                </a:lnTo>
                <a:lnTo>
                  <a:pt x="2629" y="8341"/>
                </a:lnTo>
                <a:lnTo>
                  <a:pt x="2658" y="8349"/>
                </a:lnTo>
                <a:lnTo>
                  <a:pt x="2688" y="8357"/>
                </a:lnTo>
                <a:lnTo>
                  <a:pt x="2717" y="8367"/>
                </a:lnTo>
                <a:lnTo>
                  <a:pt x="2745" y="8378"/>
                </a:lnTo>
                <a:lnTo>
                  <a:pt x="2772" y="8391"/>
                </a:lnTo>
                <a:lnTo>
                  <a:pt x="2798" y="8405"/>
                </a:lnTo>
                <a:lnTo>
                  <a:pt x="2824" y="8419"/>
                </a:lnTo>
                <a:lnTo>
                  <a:pt x="2850" y="8436"/>
                </a:lnTo>
                <a:lnTo>
                  <a:pt x="2873" y="8453"/>
                </a:lnTo>
                <a:lnTo>
                  <a:pt x="2897" y="8471"/>
                </a:lnTo>
                <a:lnTo>
                  <a:pt x="2919" y="8490"/>
                </a:lnTo>
                <a:lnTo>
                  <a:pt x="2941" y="8511"/>
                </a:lnTo>
                <a:lnTo>
                  <a:pt x="2961" y="8532"/>
                </a:lnTo>
                <a:lnTo>
                  <a:pt x="2981" y="8555"/>
                </a:lnTo>
                <a:lnTo>
                  <a:pt x="3000" y="8578"/>
                </a:lnTo>
                <a:lnTo>
                  <a:pt x="3017" y="8603"/>
                </a:lnTo>
                <a:lnTo>
                  <a:pt x="3033" y="8627"/>
                </a:lnTo>
                <a:lnTo>
                  <a:pt x="3048" y="8653"/>
                </a:lnTo>
                <a:lnTo>
                  <a:pt x="3062" y="8680"/>
                </a:lnTo>
                <a:lnTo>
                  <a:pt x="3073" y="8708"/>
                </a:lnTo>
                <a:lnTo>
                  <a:pt x="3085" y="8735"/>
                </a:lnTo>
                <a:lnTo>
                  <a:pt x="3095" y="8764"/>
                </a:lnTo>
                <a:lnTo>
                  <a:pt x="3103" y="8793"/>
                </a:lnTo>
                <a:lnTo>
                  <a:pt x="3110" y="8823"/>
                </a:lnTo>
                <a:lnTo>
                  <a:pt x="3115" y="8853"/>
                </a:lnTo>
                <a:lnTo>
                  <a:pt x="3119" y="8884"/>
                </a:lnTo>
                <a:lnTo>
                  <a:pt x="3122" y="8915"/>
                </a:lnTo>
                <a:lnTo>
                  <a:pt x="3123" y="8947"/>
                </a:lnTo>
                <a:lnTo>
                  <a:pt x="3122" y="8980"/>
                </a:lnTo>
                <a:lnTo>
                  <a:pt x="3119" y="9011"/>
                </a:lnTo>
                <a:lnTo>
                  <a:pt x="3115" y="9042"/>
                </a:lnTo>
                <a:lnTo>
                  <a:pt x="3110" y="9072"/>
                </a:lnTo>
                <a:lnTo>
                  <a:pt x="3103" y="9102"/>
                </a:lnTo>
                <a:lnTo>
                  <a:pt x="3095" y="9131"/>
                </a:lnTo>
                <a:lnTo>
                  <a:pt x="3085" y="9159"/>
                </a:lnTo>
                <a:lnTo>
                  <a:pt x="3073" y="9187"/>
                </a:lnTo>
                <a:lnTo>
                  <a:pt x="3062" y="9215"/>
                </a:lnTo>
                <a:lnTo>
                  <a:pt x="3048" y="9242"/>
                </a:lnTo>
                <a:lnTo>
                  <a:pt x="3033" y="9268"/>
                </a:lnTo>
                <a:lnTo>
                  <a:pt x="3017" y="9292"/>
                </a:lnTo>
                <a:lnTo>
                  <a:pt x="3000" y="9317"/>
                </a:lnTo>
                <a:lnTo>
                  <a:pt x="2981" y="9340"/>
                </a:lnTo>
                <a:lnTo>
                  <a:pt x="2961" y="9363"/>
                </a:lnTo>
                <a:lnTo>
                  <a:pt x="2941" y="9384"/>
                </a:lnTo>
                <a:lnTo>
                  <a:pt x="2919" y="9405"/>
                </a:lnTo>
                <a:lnTo>
                  <a:pt x="2897" y="9424"/>
                </a:lnTo>
                <a:lnTo>
                  <a:pt x="2873" y="9442"/>
                </a:lnTo>
                <a:lnTo>
                  <a:pt x="2850" y="9460"/>
                </a:lnTo>
                <a:lnTo>
                  <a:pt x="2824" y="9476"/>
                </a:lnTo>
                <a:lnTo>
                  <a:pt x="2798" y="9491"/>
                </a:lnTo>
                <a:lnTo>
                  <a:pt x="2772" y="9504"/>
                </a:lnTo>
                <a:lnTo>
                  <a:pt x="2745" y="9517"/>
                </a:lnTo>
                <a:lnTo>
                  <a:pt x="2717" y="9528"/>
                </a:lnTo>
                <a:lnTo>
                  <a:pt x="2688" y="9537"/>
                </a:lnTo>
                <a:lnTo>
                  <a:pt x="2658" y="9546"/>
                </a:lnTo>
                <a:lnTo>
                  <a:pt x="2629" y="9554"/>
                </a:lnTo>
                <a:lnTo>
                  <a:pt x="2598" y="9559"/>
                </a:lnTo>
                <a:lnTo>
                  <a:pt x="2567" y="9562"/>
                </a:lnTo>
                <a:lnTo>
                  <a:pt x="2536" y="9565"/>
                </a:lnTo>
                <a:lnTo>
                  <a:pt x="2504" y="9565"/>
                </a:lnTo>
                <a:lnTo>
                  <a:pt x="2473" y="9565"/>
                </a:lnTo>
                <a:lnTo>
                  <a:pt x="2442" y="9562"/>
                </a:lnTo>
                <a:lnTo>
                  <a:pt x="2411" y="9559"/>
                </a:lnTo>
                <a:lnTo>
                  <a:pt x="2380" y="9554"/>
                </a:lnTo>
                <a:lnTo>
                  <a:pt x="2350" y="9546"/>
                </a:lnTo>
                <a:lnTo>
                  <a:pt x="2321" y="9537"/>
                </a:lnTo>
                <a:lnTo>
                  <a:pt x="2292" y="9528"/>
                </a:lnTo>
                <a:lnTo>
                  <a:pt x="2264" y="9517"/>
                </a:lnTo>
                <a:lnTo>
                  <a:pt x="2236" y="9504"/>
                </a:lnTo>
                <a:lnTo>
                  <a:pt x="2211" y="9491"/>
                </a:lnTo>
                <a:lnTo>
                  <a:pt x="2184" y="9476"/>
                </a:lnTo>
                <a:lnTo>
                  <a:pt x="2159" y="9460"/>
                </a:lnTo>
                <a:lnTo>
                  <a:pt x="2135" y="9442"/>
                </a:lnTo>
                <a:lnTo>
                  <a:pt x="2112" y="9424"/>
                </a:lnTo>
                <a:lnTo>
                  <a:pt x="2090" y="9405"/>
                </a:lnTo>
                <a:lnTo>
                  <a:pt x="2068" y="9384"/>
                </a:lnTo>
                <a:lnTo>
                  <a:pt x="2047" y="9363"/>
                </a:lnTo>
                <a:lnTo>
                  <a:pt x="2028" y="9340"/>
                </a:lnTo>
                <a:lnTo>
                  <a:pt x="2009" y="9317"/>
                </a:lnTo>
                <a:lnTo>
                  <a:pt x="1992" y="9292"/>
                </a:lnTo>
                <a:lnTo>
                  <a:pt x="1976" y="9268"/>
                </a:lnTo>
                <a:lnTo>
                  <a:pt x="1961" y="9242"/>
                </a:lnTo>
                <a:lnTo>
                  <a:pt x="1947" y="9215"/>
                </a:lnTo>
                <a:lnTo>
                  <a:pt x="1935" y="9187"/>
                </a:lnTo>
                <a:lnTo>
                  <a:pt x="1924" y="9159"/>
                </a:lnTo>
                <a:lnTo>
                  <a:pt x="1914" y="9131"/>
                </a:lnTo>
                <a:lnTo>
                  <a:pt x="1905" y="9102"/>
                </a:lnTo>
                <a:lnTo>
                  <a:pt x="1899" y="9072"/>
                </a:lnTo>
                <a:lnTo>
                  <a:pt x="1894" y="9042"/>
                </a:lnTo>
                <a:lnTo>
                  <a:pt x="1889" y="9011"/>
                </a:lnTo>
                <a:lnTo>
                  <a:pt x="1887" y="8980"/>
                </a:lnTo>
                <a:lnTo>
                  <a:pt x="1886" y="8947"/>
                </a:lnTo>
                <a:lnTo>
                  <a:pt x="1887" y="8915"/>
                </a:lnTo>
                <a:lnTo>
                  <a:pt x="1889" y="8884"/>
                </a:lnTo>
                <a:lnTo>
                  <a:pt x="1894" y="8853"/>
                </a:lnTo>
                <a:lnTo>
                  <a:pt x="1899" y="8823"/>
                </a:lnTo>
                <a:lnTo>
                  <a:pt x="1905" y="8793"/>
                </a:lnTo>
                <a:lnTo>
                  <a:pt x="1914" y="8764"/>
                </a:lnTo>
                <a:lnTo>
                  <a:pt x="1924" y="8735"/>
                </a:lnTo>
                <a:lnTo>
                  <a:pt x="1935" y="8708"/>
                </a:lnTo>
                <a:lnTo>
                  <a:pt x="1947" y="8680"/>
                </a:lnTo>
                <a:lnTo>
                  <a:pt x="1961" y="8653"/>
                </a:lnTo>
                <a:lnTo>
                  <a:pt x="1976" y="8627"/>
                </a:lnTo>
                <a:lnTo>
                  <a:pt x="1992" y="8603"/>
                </a:lnTo>
                <a:lnTo>
                  <a:pt x="2009" y="8578"/>
                </a:lnTo>
                <a:lnTo>
                  <a:pt x="2028" y="8555"/>
                </a:lnTo>
                <a:lnTo>
                  <a:pt x="2047" y="8532"/>
                </a:lnTo>
                <a:lnTo>
                  <a:pt x="2068" y="8511"/>
                </a:lnTo>
                <a:lnTo>
                  <a:pt x="2090" y="8490"/>
                </a:lnTo>
                <a:lnTo>
                  <a:pt x="2112" y="8471"/>
                </a:lnTo>
                <a:lnTo>
                  <a:pt x="2135" y="8453"/>
                </a:lnTo>
                <a:lnTo>
                  <a:pt x="2159" y="8436"/>
                </a:lnTo>
                <a:lnTo>
                  <a:pt x="2184" y="8419"/>
                </a:lnTo>
                <a:lnTo>
                  <a:pt x="2211" y="8405"/>
                </a:lnTo>
                <a:lnTo>
                  <a:pt x="2236" y="8391"/>
                </a:lnTo>
                <a:lnTo>
                  <a:pt x="2264" y="8378"/>
                </a:lnTo>
                <a:lnTo>
                  <a:pt x="2292" y="8367"/>
                </a:lnTo>
                <a:lnTo>
                  <a:pt x="2321" y="8357"/>
                </a:lnTo>
                <a:lnTo>
                  <a:pt x="2350" y="8349"/>
                </a:lnTo>
                <a:lnTo>
                  <a:pt x="2380" y="8341"/>
                </a:lnTo>
                <a:lnTo>
                  <a:pt x="2411" y="8336"/>
                </a:lnTo>
                <a:lnTo>
                  <a:pt x="2442" y="8333"/>
                </a:lnTo>
                <a:lnTo>
                  <a:pt x="2473" y="8330"/>
                </a:lnTo>
                <a:lnTo>
                  <a:pt x="2504" y="8330"/>
                </a:lnTo>
                <a:close/>
                <a:moveTo>
                  <a:pt x="5041" y="8330"/>
                </a:moveTo>
                <a:lnTo>
                  <a:pt x="5072" y="8330"/>
                </a:lnTo>
                <a:lnTo>
                  <a:pt x="5104" y="8333"/>
                </a:lnTo>
                <a:lnTo>
                  <a:pt x="5135" y="8336"/>
                </a:lnTo>
                <a:lnTo>
                  <a:pt x="5165" y="8341"/>
                </a:lnTo>
                <a:lnTo>
                  <a:pt x="5195" y="8349"/>
                </a:lnTo>
                <a:lnTo>
                  <a:pt x="5224" y="8357"/>
                </a:lnTo>
                <a:lnTo>
                  <a:pt x="5253" y="8367"/>
                </a:lnTo>
                <a:lnTo>
                  <a:pt x="5281" y="8378"/>
                </a:lnTo>
                <a:lnTo>
                  <a:pt x="5309" y="8391"/>
                </a:lnTo>
                <a:lnTo>
                  <a:pt x="5335" y="8405"/>
                </a:lnTo>
                <a:lnTo>
                  <a:pt x="5361" y="8419"/>
                </a:lnTo>
                <a:lnTo>
                  <a:pt x="5386" y="8436"/>
                </a:lnTo>
                <a:lnTo>
                  <a:pt x="5410" y="8453"/>
                </a:lnTo>
                <a:lnTo>
                  <a:pt x="5434" y="8471"/>
                </a:lnTo>
                <a:lnTo>
                  <a:pt x="5456" y="8490"/>
                </a:lnTo>
                <a:lnTo>
                  <a:pt x="5478" y="8511"/>
                </a:lnTo>
                <a:lnTo>
                  <a:pt x="5498" y="8532"/>
                </a:lnTo>
                <a:lnTo>
                  <a:pt x="5517" y="8555"/>
                </a:lnTo>
                <a:lnTo>
                  <a:pt x="5536" y="8578"/>
                </a:lnTo>
                <a:lnTo>
                  <a:pt x="5553" y="8603"/>
                </a:lnTo>
                <a:lnTo>
                  <a:pt x="5569" y="8627"/>
                </a:lnTo>
                <a:lnTo>
                  <a:pt x="5584" y="8653"/>
                </a:lnTo>
                <a:lnTo>
                  <a:pt x="5598" y="8680"/>
                </a:lnTo>
                <a:lnTo>
                  <a:pt x="5610" y="8708"/>
                </a:lnTo>
                <a:lnTo>
                  <a:pt x="5621" y="8735"/>
                </a:lnTo>
                <a:lnTo>
                  <a:pt x="5631" y="8764"/>
                </a:lnTo>
                <a:lnTo>
                  <a:pt x="5639" y="8793"/>
                </a:lnTo>
                <a:lnTo>
                  <a:pt x="5646" y="8823"/>
                </a:lnTo>
                <a:lnTo>
                  <a:pt x="5652" y="8853"/>
                </a:lnTo>
                <a:lnTo>
                  <a:pt x="5655" y="8884"/>
                </a:lnTo>
                <a:lnTo>
                  <a:pt x="5658" y="8915"/>
                </a:lnTo>
                <a:lnTo>
                  <a:pt x="5659" y="8947"/>
                </a:lnTo>
                <a:lnTo>
                  <a:pt x="5658" y="8980"/>
                </a:lnTo>
                <a:lnTo>
                  <a:pt x="5655" y="9011"/>
                </a:lnTo>
                <a:lnTo>
                  <a:pt x="5652" y="9042"/>
                </a:lnTo>
                <a:lnTo>
                  <a:pt x="5646" y="9072"/>
                </a:lnTo>
                <a:lnTo>
                  <a:pt x="5639" y="9102"/>
                </a:lnTo>
                <a:lnTo>
                  <a:pt x="5631" y="9131"/>
                </a:lnTo>
                <a:lnTo>
                  <a:pt x="5621" y="9159"/>
                </a:lnTo>
                <a:lnTo>
                  <a:pt x="5610" y="9187"/>
                </a:lnTo>
                <a:lnTo>
                  <a:pt x="5598" y="9215"/>
                </a:lnTo>
                <a:lnTo>
                  <a:pt x="5584" y="9242"/>
                </a:lnTo>
                <a:lnTo>
                  <a:pt x="5569" y="9268"/>
                </a:lnTo>
                <a:lnTo>
                  <a:pt x="5553" y="9292"/>
                </a:lnTo>
                <a:lnTo>
                  <a:pt x="5536" y="9317"/>
                </a:lnTo>
                <a:lnTo>
                  <a:pt x="5517" y="9340"/>
                </a:lnTo>
                <a:lnTo>
                  <a:pt x="5498" y="9363"/>
                </a:lnTo>
                <a:lnTo>
                  <a:pt x="5478" y="9384"/>
                </a:lnTo>
                <a:lnTo>
                  <a:pt x="5456" y="9405"/>
                </a:lnTo>
                <a:lnTo>
                  <a:pt x="5434" y="9424"/>
                </a:lnTo>
                <a:lnTo>
                  <a:pt x="5410" y="9442"/>
                </a:lnTo>
                <a:lnTo>
                  <a:pt x="5386" y="9460"/>
                </a:lnTo>
                <a:lnTo>
                  <a:pt x="5361" y="9476"/>
                </a:lnTo>
                <a:lnTo>
                  <a:pt x="5335" y="9491"/>
                </a:lnTo>
                <a:lnTo>
                  <a:pt x="5309" y="9504"/>
                </a:lnTo>
                <a:lnTo>
                  <a:pt x="5281" y="9517"/>
                </a:lnTo>
                <a:lnTo>
                  <a:pt x="5253" y="9528"/>
                </a:lnTo>
                <a:lnTo>
                  <a:pt x="5224" y="9537"/>
                </a:lnTo>
                <a:lnTo>
                  <a:pt x="5195" y="9546"/>
                </a:lnTo>
                <a:lnTo>
                  <a:pt x="5165" y="9554"/>
                </a:lnTo>
                <a:lnTo>
                  <a:pt x="5135" y="9559"/>
                </a:lnTo>
                <a:lnTo>
                  <a:pt x="5104" y="9562"/>
                </a:lnTo>
                <a:lnTo>
                  <a:pt x="5072" y="9565"/>
                </a:lnTo>
                <a:lnTo>
                  <a:pt x="5041" y="9565"/>
                </a:lnTo>
                <a:lnTo>
                  <a:pt x="5009" y="9565"/>
                </a:lnTo>
                <a:lnTo>
                  <a:pt x="4978" y="9562"/>
                </a:lnTo>
                <a:lnTo>
                  <a:pt x="4947" y="9559"/>
                </a:lnTo>
                <a:lnTo>
                  <a:pt x="4917" y="9554"/>
                </a:lnTo>
                <a:lnTo>
                  <a:pt x="4887" y="9546"/>
                </a:lnTo>
                <a:lnTo>
                  <a:pt x="4857" y="9537"/>
                </a:lnTo>
                <a:lnTo>
                  <a:pt x="4829" y="9528"/>
                </a:lnTo>
                <a:lnTo>
                  <a:pt x="4800" y="9517"/>
                </a:lnTo>
                <a:lnTo>
                  <a:pt x="4773" y="9504"/>
                </a:lnTo>
                <a:lnTo>
                  <a:pt x="4747" y="9491"/>
                </a:lnTo>
                <a:lnTo>
                  <a:pt x="4721" y="9476"/>
                </a:lnTo>
                <a:lnTo>
                  <a:pt x="4695" y="9460"/>
                </a:lnTo>
                <a:lnTo>
                  <a:pt x="4672" y="9442"/>
                </a:lnTo>
                <a:lnTo>
                  <a:pt x="4648" y="9424"/>
                </a:lnTo>
                <a:lnTo>
                  <a:pt x="4626" y="9405"/>
                </a:lnTo>
                <a:lnTo>
                  <a:pt x="4604" y="9384"/>
                </a:lnTo>
                <a:lnTo>
                  <a:pt x="4584" y="9363"/>
                </a:lnTo>
                <a:lnTo>
                  <a:pt x="4565" y="9340"/>
                </a:lnTo>
                <a:lnTo>
                  <a:pt x="4545" y="9317"/>
                </a:lnTo>
                <a:lnTo>
                  <a:pt x="4528" y="9292"/>
                </a:lnTo>
                <a:lnTo>
                  <a:pt x="4512" y="9268"/>
                </a:lnTo>
                <a:lnTo>
                  <a:pt x="4497" y="9242"/>
                </a:lnTo>
                <a:lnTo>
                  <a:pt x="4484" y="9215"/>
                </a:lnTo>
                <a:lnTo>
                  <a:pt x="4471" y="9187"/>
                </a:lnTo>
                <a:lnTo>
                  <a:pt x="4461" y="9159"/>
                </a:lnTo>
                <a:lnTo>
                  <a:pt x="4451" y="9131"/>
                </a:lnTo>
                <a:lnTo>
                  <a:pt x="4443" y="9102"/>
                </a:lnTo>
                <a:lnTo>
                  <a:pt x="4435" y="9072"/>
                </a:lnTo>
                <a:lnTo>
                  <a:pt x="4430" y="9042"/>
                </a:lnTo>
                <a:lnTo>
                  <a:pt x="4425" y="9011"/>
                </a:lnTo>
                <a:lnTo>
                  <a:pt x="4423" y="8980"/>
                </a:lnTo>
                <a:lnTo>
                  <a:pt x="4423" y="8947"/>
                </a:lnTo>
                <a:lnTo>
                  <a:pt x="4423" y="8915"/>
                </a:lnTo>
                <a:lnTo>
                  <a:pt x="4425" y="8884"/>
                </a:lnTo>
                <a:lnTo>
                  <a:pt x="4430" y="8853"/>
                </a:lnTo>
                <a:lnTo>
                  <a:pt x="4435" y="8823"/>
                </a:lnTo>
                <a:lnTo>
                  <a:pt x="4443" y="8793"/>
                </a:lnTo>
                <a:lnTo>
                  <a:pt x="4451" y="8764"/>
                </a:lnTo>
                <a:lnTo>
                  <a:pt x="4461" y="8735"/>
                </a:lnTo>
                <a:lnTo>
                  <a:pt x="4471" y="8708"/>
                </a:lnTo>
                <a:lnTo>
                  <a:pt x="4484" y="8680"/>
                </a:lnTo>
                <a:lnTo>
                  <a:pt x="4497" y="8653"/>
                </a:lnTo>
                <a:lnTo>
                  <a:pt x="4512" y="8627"/>
                </a:lnTo>
                <a:lnTo>
                  <a:pt x="4528" y="8603"/>
                </a:lnTo>
                <a:lnTo>
                  <a:pt x="4545" y="8578"/>
                </a:lnTo>
                <a:lnTo>
                  <a:pt x="4565" y="8555"/>
                </a:lnTo>
                <a:lnTo>
                  <a:pt x="4584" y="8532"/>
                </a:lnTo>
                <a:lnTo>
                  <a:pt x="4604" y="8511"/>
                </a:lnTo>
                <a:lnTo>
                  <a:pt x="4626" y="8490"/>
                </a:lnTo>
                <a:lnTo>
                  <a:pt x="4648" y="8471"/>
                </a:lnTo>
                <a:lnTo>
                  <a:pt x="4672" y="8453"/>
                </a:lnTo>
                <a:lnTo>
                  <a:pt x="4695" y="8436"/>
                </a:lnTo>
                <a:lnTo>
                  <a:pt x="4721" y="8419"/>
                </a:lnTo>
                <a:lnTo>
                  <a:pt x="4747" y="8405"/>
                </a:lnTo>
                <a:lnTo>
                  <a:pt x="4773" y="8391"/>
                </a:lnTo>
                <a:lnTo>
                  <a:pt x="4800" y="8378"/>
                </a:lnTo>
                <a:lnTo>
                  <a:pt x="4829" y="8367"/>
                </a:lnTo>
                <a:lnTo>
                  <a:pt x="4857" y="8357"/>
                </a:lnTo>
                <a:lnTo>
                  <a:pt x="4887" y="8349"/>
                </a:lnTo>
                <a:lnTo>
                  <a:pt x="4917" y="8341"/>
                </a:lnTo>
                <a:lnTo>
                  <a:pt x="4947" y="8336"/>
                </a:lnTo>
                <a:lnTo>
                  <a:pt x="4978" y="8333"/>
                </a:lnTo>
                <a:lnTo>
                  <a:pt x="5009" y="8330"/>
                </a:lnTo>
                <a:lnTo>
                  <a:pt x="5041" y="8330"/>
                </a:lnTo>
                <a:close/>
                <a:moveTo>
                  <a:pt x="8388" y="8525"/>
                </a:moveTo>
                <a:lnTo>
                  <a:pt x="15089" y="8525"/>
                </a:lnTo>
                <a:lnTo>
                  <a:pt x="15111" y="8526"/>
                </a:lnTo>
                <a:lnTo>
                  <a:pt x="15133" y="8527"/>
                </a:lnTo>
                <a:lnTo>
                  <a:pt x="15153" y="8530"/>
                </a:lnTo>
                <a:lnTo>
                  <a:pt x="15174" y="8533"/>
                </a:lnTo>
                <a:lnTo>
                  <a:pt x="15195" y="8537"/>
                </a:lnTo>
                <a:lnTo>
                  <a:pt x="15215" y="8544"/>
                </a:lnTo>
                <a:lnTo>
                  <a:pt x="15234" y="8550"/>
                </a:lnTo>
                <a:lnTo>
                  <a:pt x="15254" y="8558"/>
                </a:lnTo>
                <a:lnTo>
                  <a:pt x="15272" y="8566"/>
                </a:lnTo>
                <a:lnTo>
                  <a:pt x="15290" y="8576"/>
                </a:lnTo>
                <a:lnTo>
                  <a:pt x="15308" y="8586"/>
                </a:lnTo>
                <a:lnTo>
                  <a:pt x="15325" y="8597"/>
                </a:lnTo>
                <a:lnTo>
                  <a:pt x="15341" y="8609"/>
                </a:lnTo>
                <a:lnTo>
                  <a:pt x="15357" y="8621"/>
                </a:lnTo>
                <a:lnTo>
                  <a:pt x="15373" y="8635"/>
                </a:lnTo>
                <a:lnTo>
                  <a:pt x="15387" y="8649"/>
                </a:lnTo>
                <a:lnTo>
                  <a:pt x="15402" y="8664"/>
                </a:lnTo>
                <a:lnTo>
                  <a:pt x="15415" y="8679"/>
                </a:lnTo>
                <a:lnTo>
                  <a:pt x="15428" y="8695"/>
                </a:lnTo>
                <a:lnTo>
                  <a:pt x="15440" y="8712"/>
                </a:lnTo>
                <a:lnTo>
                  <a:pt x="15451" y="8729"/>
                </a:lnTo>
                <a:lnTo>
                  <a:pt x="15461" y="8746"/>
                </a:lnTo>
                <a:lnTo>
                  <a:pt x="15470" y="8764"/>
                </a:lnTo>
                <a:lnTo>
                  <a:pt x="15478" y="8784"/>
                </a:lnTo>
                <a:lnTo>
                  <a:pt x="15486" y="8803"/>
                </a:lnTo>
                <a:lnTo>
                  <a:pt x="15493" y="8822"/>
                </a:lnTo>
                <a:lnTo>
                  <a:pt x="15499" y="8843"/>
                </a:lnTo>
                <a:lnTo>
                  <a:pt x="15503" y="8863"/>
                </a:lnTo>
                <a:lnTo>
                  <a:pt x="15507" y="8883"/>
                </a:lnTo>
                <a:lnTo>
                  <a:pt x="15509" y="8905"/>
                </a:lnTo>
                <a:lnTo>
                  <a:pt x="15512" y="8926"/>
                </a:lnTo>
                <a:lnTo>
                  <a:pt x="15512" y="8947"/>
                </a:lnTo>
                <a:lnTo>
                  <a:pt x="15512" y="8947"/>
                </a:lnTo>
                <a:lnTo>
                  <a:pt x="15512" y="8969"/>
                </a:lnTo>
                <a:lnTo>
                  <a:pt x="15509" y="8990"/>
                </a:lnTo>
                <a:lnTo>
                  <a:pt x="15507" y="9012"/>
                </a:lnTo>
                <a:lnTo>
                  <a:pt x="15503" y="9032"/>
                </a:lnTo>
                <a:lnTo>
                  <a:pt x="15499" y="9052"/>
                </a:lnTo>
                <a:lnTo>
                  <a:pt x="15493" y="9073"/>
                </a:lnTo>
                <a:lnTo>
                  <a:pt x="15486" y="9093"/>
                </a:lnTo>
                <a:lnTo>
                  <a:pt x="15478" y="9111"/>
                </a:lnTo>
                <a:lnTo>
                  <a:pt x="15470" y="9131"/>
                </a:lnTo>
                <a:lnTo>
                  <a:pt x="15461" y="9149"/>
                </a:lnTo>
                <a:lnTo>
                  <a:pt x="15451" y="9166"/>
                </a:lnTo>
                <a:lnTo>
                  <a:pt x="15440" y="9183"/>
                </a:lnTo>
                <a:lnTo>
                  <a:pt x="15428" y="9200"/>
                </a:lnTo>
                <a:lnTo>
                  <a:pt x="15415" y="9216"/>
                </a:lnTo>
                <a:lnTo>
                  <a:pt x="15402" y="9231"/>
                </a:lnTo>
                <a:lnTo>
                  <a:pt x="15387" y="9246"/>
                </a:lnTo>
                <a:lnTo>
                  <a:pt x="15373" y="9260"/>
                </a:lnTo>
                <a:lnTo>
                  <a:pt x="15357" y="9274"/>
                </a:lnTo>
                <a:lnTo>
                  <a:pt x="15341" y="9286"/>
                </a:lnTo>
                <a:lnTo>
                  <a:pt x="15325" y="9298"/>
                </a:lnTo>
                <a:lnTo>
                  <a:pt x="15308" y="9309"/>
                </a:lnTo>
                <a:lnTo>
                  <a:pt x="15290" y="9319"/>
                </a:lnTo>
                <a:lnTo>
                  <a:pt x="15272" y="9329"/>
                </a:lnTo>
                <a:lnTo>
                  <a:pt x="15254" y="9337"/>
                </a:lnTo>
                <a:lnTo>
                  <a:pt x="15234" y="9345"/>
                </a:lnTo>
                <a:lnTo>
                  <a:pt x="15215" y="9351"/>
                </a:lnTo>
                <a:lnTo>
                  <a:pt x="15195" y="9358"/>
                </a:lnTo>
                <a:lnTo>
                  <a:pt x="15174" y="9362"/>
                </a:lnTo>
                <a:lnTo>
                  <a:pt x="15153" y="9365"/>
                </a:lnTo>
                <a:lnTo>
                  <a:pt x="15133" y="9368"/>
                </a:lnTo>
                <a:lnTo>
                  <a:pt x="15111" y="9370"/>
                </a:lnTo>
                <a:lnTo>
                  <a:pt x="15089" y="9370"/>
                </a:lnTo>
                <a:lnTo>
                  <a:pt x="8388" y="9370"/>
                </a:lnTo>
                <a:lnTo>
                  <a:pt x="8366" y="9370"/>
                </a:lnTo>
                <a:lnTo>
                  <a:pt x="8346" y="9368"/>
                </a:lnTo>
                <a:lnTo>
                  <a:pt x="8324" y="9365"/>
                </a:lnTo>
                <a:lnTo>
                  <a:pt x="8303" y="9362"/>
                </a:lnTo>
                <a:lnTo>
                  <a:pt x="8282" y="9358"/>
                </a:lnTo>
                <a:lnTo>
                  <a:pt x="8263" y="9351"/>
                </a:lnTo>
                <a:lnTo>
                  <a:pt x="8243" y="9345"/>
                </a:lnTo>
                <a:lnTo>
                  <a:pt x="8224" y="9337"/>
                </a:lnTo>
                <a:lnTo>
                  <a:pt x="8205" y="9329"/>
                </a:lnTo>
                <a:lnTo>
                  <a:pt x="8187" y="9319"/>
                </a:lnTo>
                <a:lnTo>
                  <a:pt x="8169" y="9309"/>
                </a:lnTo>
                <a:lnTo>
                  <a:pt x="8152" y="9298"/>
                </a:lnTo>
                <a:lnTo>
                  <a:pt x="8136" y="9286"/>
                </a:lnTo>
                <a:lnTo>
                  <a:pt x="8120" y="9274"/>
                </a:lnTo>
                <a:lnTo>
                  <a:pt x="8105" y="9260"/>
                </a:lnTo>
                <a:lnTo>
                  <a:pt x="8090" y="9246"/>
                </a:lnTo>
                <a:lnTo>
                  <a:pt x="8076" y="9231"/>
                </a:lnTo>
                <a:lnTo>
                  <a:pt x="8062" y="9216"/>
                </a:lnTo>
                <a:lnTo>
                  <a:pt x="8049" y="9200"/>
                </a:lnTo>
                <a:lnTo>
                  <a:pt x="8037" y="9183"/>
                </a:lnTo>
                <a:lnTo>
                  <a:pt x="8027" y="9166"/>
                </a:lnTo>
                <a:lnTo>
                  <a:pt x="8017" y="9149"/>
                </a:lnTo>
                <a:lnTo>
                  <a:pt x="8007" y="9131"/>
                </a:lnTo>
                <a:lnTo>
                  <a:pt x="7999" y="9111"/>
                </a:lnTo>
                <a:lnTo>
                  <a:pt x="7991" y="9093"/>
                </a:lnTo>
                <a:lnTo>
                  <a:pt x="7985" y="9073"/>
                </a:lnTo>
                <a:lnTo>
                  <a:pt x="7978" y="9052"/>
                </a:lnTo>
                <a:lnTo>
                  <a:pt x="7974" y="9032"/>
                </a:lnTo>
                <a:lnTo>
                  <a:pt x="7970" y="9012"/>
                </a:lnTo>
                <a:lnTo>
                  <a:pt x="7968" y="8990"/>
                </a:lnTo>
                <a:lnTo>
                  <a:pt x="7966" y="8969"/>
                </a:lnTo>
                <a:lnTo>
                  <a:pt x="7966" y="8947"/>
                </a:lnTo>
                <a:lnTo>
                  <a:pt x="7966" y="8947"/>
                </a:lnTo>
                <a:lnTo>
                  <a:pt x="7966" y="8926"/>
                </a:lnTo>
                <a:lnTo>
                  <a:pt x="7968" y="8905"/>
                </a:lnTo>
                <a:lnTo>
                  <a:pt x="7970" y="8883"/>
                </a:lnTo>
                <a:lnTo>
                  <a:pt x="7974" y="8863"/>
                </a:lnTo>
                <a:lnTo>
                  <a:pt x="7978" y="8843"/>
                </a:lnTo>
                <a:lnTo>
                  <a:pt x="7985" y="8822"/>
                </a:lnTo>
                <a:lnTo>
                  <a:pt x="7991" y="8803"/>
                </a:lnTo>
                <a:lnTo>
                  <a:pt x="7999" y="8784"/>
                </a:lnTo>
                <a:lnTo>
                  <a:pt x="8007" y="8764"/>
                </a:lnTo>
                <a:lnTo>
                  <a:pt x="8017" y="8746"/>
                </a:lnTo>
                <a:lnTo>
                  <a:pt x="8027" y="8729"/>
                </a:lnTo>
                <a:lnTo>
                  <a:pt x="8037" y="8712"/>
                </a:lnTo>
                <a:lnTo>
                  <a:pt x="8049" y="8695"/>
                </a:lnTo>
                <a:lnTo>
                  <a:pt x="8062" y="8679"/>
                </a:lnTo>
                <a:lnTo>
                  <a:pt x="8076" y="8664"/>
                </a:lnTo>
                <a:lnTo>
                  <a:pt x="8090" y="8649"/>
                </a:lnTo>
                <a:lnTo>
                  <a:pt x="8105" y="8635"/>
                </a:lnTo>
                <a:lnTo>
                  <a:pt x="8120" y="8621"/>
                </a:lnTo>
                <a:lnTo>
                  <a:pt x="8136" y="8609"/>
                </a:lnTo>
                <a:lnTo>
                  <a:pt x="8152" y="8597"/>
                </a:lnTo>
                <a:lnTo>
                  <a:pt x="8169" y="8586"/>
                </a:lnTo>
                <a:lnTo>
                  <a:pt x="8187" y="8576"/>
                </a:lnTo>
                <a:lnTo>
                  <a:pt x="8205" y="8566"/>
                </a:lnTo>
                <a:lnTo>
                  <a:pt x="8224" y="8558"/>
                </a:lnTo>
                <a:lnTo>
                  <a:pt x="8243" y="8550"/>
                </a:lnTo>
                <a:lnTo>
                  <a:pt x="8263" y="8544"/>
                </a:lnTo>
                <a:lnTo>
                  <a:pt x="8282" y="8537"/>
                </a:lnTo>
                <a:lnTo>
                  <a:pt x="8303" y="8533"/>
                </a:lnTo>
                <a:lnTo>
                  <a:pt x="8324" y="8530"/>
                </a:lnTo>
                <a:lnTo>
                  <a:pt x="8346" y="8527"/>
                </a:lnTo>
                <a:lnTo>
                  <a:pt x="8366" y="8526"/>
                </a:lnTo>
                <a:lnTo>
                  <a:pt x="8388" y="8525"/>
                </a:lnTo>
                <a:close/>
                <a:moveTo>
                  <a:pt x="16673" y="0"/>
                </a:moveTo>
                <a:lnTo>
                  <a:pt x="16696" y="1"/>
                </a:lnTo>
                <a:lnTo>
                  <a:pt x="16719" y="2"/>
                </a:lnTo>
                <a:lnTo>
                  <a:pt x="16742" y="5"/>
                </a:lnTo>
                <a:lnTo>
                  <a:pt x="16764" y="10"/>
                </a:lnTo>
                <a:lnTo>
                  <a:pt x="16787" y="14"/>
                </a:lnTo>
                <a:lnTo>
                  <a:pt x="16808" y="20"/>
                </a:lnTo>
                <a:lnTo>
                  <a:pt x="16828" y="28"/>
                </a:lnTo>
                <a:lnTo>
                  <a:pt x="16850" y="36"/>
                </a:lnTo>
                <a:lnTo>
                  <a:pt x="16870" y="45"/>
                </a:lnTo>
                <a:lnTo>
                  <a:pt x="16889" y="56"/>
                </a:lnTo>
                <a:lnTo>
                  <a:pt x="16909" y="66"/>
                </a:lnTo>
                <a:lnTo>
                  <a:pt x="16927" y="78"/>
                </a:lnTo>
                <a:lnTo>
                  <a:pt x="16945" y="91"/>
                </a:lnTo>
                <a:lnTo>
                  <a:pt x="16962" y="104"/>
                </a:lnTo>
                <a:lnTo>
                  <a:pt x="16978" y="119"/>
                </a:lnTo>
                <a:lnTo>
                  <a:pt x="16994" y="134"/>
                </a:lnTo>
                <a:lnTo>
                  <a:pt x="17009" y="150"/>
                </a:lnTo>
                <a:lnTo>
                  <a:pt x="17024" y="166"/>
                </a:lnTo>
                <a:lnTo>
                  <a:pt x="17037" y="183"/>
                </a:lnTo>
                <a:lnTo>
                  <a:pt x="17050" y="201"/>
                </a:lnTo>
                <a:lnTo>
                  <a:pt x="17062" y="220"/>
                </a:lnTo>
                <a:lnTo>
                  <a:pt x="17072" y="239"/>
                </a:lnTo>
                <a:lnTo>
                  <a:pt x="17083" y="258"/>
                </a:lnTo>
                <a:lnTo>
                  <a:pt x="17092" y="278"/>
                </a:lnTo>
                <a:lnTo>
                  <a:pt x="17100" y="300"/>
                </a:lnTo>
                <a:lnTo>
                  <a:pt x="17108" y="320"/>
                </a:lnTo>
                <a:lnTo>
                  <a:pt x="17114" y="342"/>
                </a:lnTo>
                <a:lnTo>
                  <a:pt x="17118" y="364"/>
                </a:lnTo>
                <a:lnTo>
                  <a:pt x="17123" y="387"/>
                </a:lnTo>
                <a:lnTo>
                  <a:pt x="17126" y="409"/>
                </a:lnTo>
                <a:lnTo>
                  <a:pt x="17127" y="433"/>
                </a:lnTo>
                <a:lnTo>
                  <a:pt x="17128" y="455"/>
                </a:lnTo>
                <a:lnTo>
                  <a:pt x="17128" y="5856"/>
                </a:lnTo>
                <a:lnTo>
                  <a:pt x="16217" y="5856"/>
                </a:lnTo>
                <a:lnTo>
                  <a:pt x="16217" y="455"/>
                </a:lnTo>
                <a:lnTo>
                  <a:pt x="16218" y="433"/>
                </a:lnTo>
                <a:lnTo>
                  <a:pt x="16219" y="409"/>
                </a:lnTo>
                <a:lnTo>
                  <a:pt x="16222" y="387"/>
                </a:lnTo>
                <a:lnTo>
                  <a:pt x="16227" y="364"/>
                </a:lnTo>
                <a:lnTo>
                  <a:pt x="16232" y="342"/>
                </a:lnTo>
                <a:lnTo>
                  <a:pt x="16237" y="320"/>
                </a:lnTo>
                <a:lnTo>
                  <a:pt x="16245" y="300"/>
                </a:lnTo>
                <a:lnTo>
                  <a:pt x="16253" y="278"/>
                </a:lnTo>
                <a:lnTo>
                  <a:pt x="16262" y="258"/>
                </a:lnTo>
                <a:lnTo>
                  <a:pt x="16273" y="239"/>
                </a:lnTo>
                <a:lnTo>
                  <a:pt x="16283" y="220"/>
                </a:lnTo>
                <a:lnTo>
                  <a:pt x="16295" y="201"/>
                </a:lnTo>
                <a:lnTo>
                  <a:pt x="16308" y="183"/>
                </a:lnTo>
                <a:lnTo>
                  <a:pt x="16322" y="166"/>
                </a:lnTo>
                <a:lnTo>
                  <a:pt x="16336" y="150"/>
                </a:lnTo>
                <a:lnTo>
                  <a:pt x="16351" y="134"/>
                </a:lnTo>
                <a:lnTo>
                  <a:pt x="16367" y="119"/>
                </a:lnTo>
                <a:lnTo>
                  <a:pt x="16383" y="104"/>
                </a:lnTo>
                <a:lnTo>
                  <a:pt x="16400" y="91"/>
                </a:lnTo>
                <a:lnTo>
                  <a:pt x="16418" y="78"/>
                </a:lnTo>
                <a:lnTo>
                  <a:pt x="16436" y="66"/>
                </a:lnTo>
                <a:lnTo>
                  <a:pt x="16456" y="56"/>
                </a:lnTo>
                <a:lnTo>
                  <a:pt x="16476" y="45"/>
                </a:lnTo>
                <a:lnTo>
                  <a:pt x="16495" y="36"/>
                </a:lnTo>
                <a:lnTo>
                  <a:pt x="16517" y="28"/>
                </a:lnTo>
                <a:lnTo>
                  <a:pt x="16537" y="20"/>
                </a:lnTo>
                <a:lnTo>
                  <a:pt x="16560" y="14"/>
                </a:lnTo>
                <a:lnTo>
                  <a:pt x="16581" y="10"/>
                </a:lnTo>
                <a:lnTo>
                  <a:pt x="16603" y="5"/>
                </a:lnTo>
                <a:lnTo>
                  <a:pt x="16626" y="2"/>
                </a:lnTo>
                <a:lnTo>
                  <a:pt x="16649" y="1"/>
                </a:lnTo>
                <a:lnTo>
                  <a:pt x="16673" y="0"/>
                </a:lnTo>
                <a:close/>
              </a:path>
            </a:pathLst>
          </a:custGeom>
          <a:solidFill>
            <a:schemeClr val="tx1"/>
          </a:solidFill>
          <a:ln>
            <a:noFill/>
          </a:ln>
          <a:effectLst/>
        </p:spPr>
        <p:txBody>
          <a:bodyPr vert="horz" wrap="square" lIns="91416" tIns="45708" rIns="91416" bIns="45708" numCol="1" rtlCol="0" anchor="t" anchorCtr="0" compatLnSpc="1">
            <a:prstTxWarp prst="textNoShape">
              <a:avLst/>
            </a:prstTxWarp>
          </a:bodyPr>
          <a:lstStyle/>
          <a:p>
            <a:pPr fontAlgn="ctr">
              <a:buClr>
                <a:srgbClr val="CC9900"/>
              </a:buClr>
              <a:buFont typeface="Wingdings" pitchFamily="2" charset="2"/>
              <a:buChar char="n"/>
            </a:pPr>
            <a:endParaRPr lang="en-US" altLang="zh-CN" sz="1799" dirty="0">
              <a:solidFill>
                <a:schemeClr val="bg1"/>
              </a:solidFill>
              <a:latin typeface="Calibri" panose="020F0502020204030204" pitchFamily="34" charset="0"/>
              <a:ea typeface="宋体" charset="-122"/>
            </a:endParaRPr>
          </a:p>
        </p:txBody>
      </p:sp>
      <p:sp>
        <p:nvSpPr>
          <p:cNvPr id="203" name="203869802"/>
          <p:cNvSpPr>
            <a:spLocks noEditPoints="1"/>
          </p:cNvSpPr>
          <p:nvPr/>
        </p:nvSpPr>
        <p:spPr bwMode="auto">
          <a:xfrm>
            <a:off x="4590127" y="2567440"/>
            <a:ext cx="974473" cy="380934"/>
          </a:xfrm>
          <a:custGeom>
            <a:avLst/>
            <a:gdLst/>
            <a:ahLst/>
            <a:cxnLst>
              <a:cxn ang="0">
                <a:pos x="8324" y="38"/>
              </a:cxn>
              <a:cxn ang="0">
                <a:pos x="9087" y="203"/>
              </a:cxn>
              <a:cxn ang="0">
                <a:pos x="9799" y="487"/>
              </a:cxn>
              <a:cxn ang="0">
                <a:pos x="10451" y="880"/>
              </a:cxn>
              <a:cxn ang="0">
                <a:pos x="11031" y="1370"/>
              </a:cxn>
              <a:cxn ang="0">
                <a:pos x="11529" y="1947"/>
              </a:cxn>
              <a:cxn ang="0">
                <a:pos x="11934" y="2598"/>
              </a:cxn>
              <a:cxn ang="0">
                <a:pos x="12234" y="3314"/>
              </a:cxn>
              <a:cxn ang="0">
                <a:pos x="12378" y="3497"/>
              </a:cxn>
              <a:cxn ang="0">
                <a:pos x="12496" y="3494"/>
              </a:cxn>
              <a:cxn ang="0">
                <a:pos x="13119" y="3540"/>
              </a:cxn>
              <a:cxn ang="0">
                <a:pos x="13870" y="3738"/>
              </a:cxn>
              <a:cxn ang="0">
                <a:pos x="14554" y="4074"/>
              </a:cxn>
              <a:cxn ang="0">
                <a:pos x="15156" y="4535"/>
              </a:cxn>
              <a:cxn ang="0">
                <a:pos x="15663" y="5102"/>
              </a:cxn>
              <a:cxn ang="0">
                <a:pos x="16056" y="5761"/>
              </a:cxn>
              <a:cxn ang="0">
                <a:pos x="16320" y="6494"/>
              </a:cxn>
              <a:cxn ang="0">
                <a:pos x="16438" y="7286"/>
              </a:cxn>
              <a:cxn ang="0">
                <a:pos x="16401" y="8075"/>
              </a:cxn>
              <a:cxn ang="0">
                <a:pos x="16222" y="8813"/>
              </a:cxn>
              <a:cxn ang="0">
                <a:pos x="15915" y="9491"/>
              </a:cxn>
              <a:cxn ang="0">
                <a:pos x="15494" y="10093"/>
              </a:cxn>
              <a:cxn ang="0">
                <a:pos x="14974" y="10606"/>
              </a:cxn>
              <a:cxn ang="0">
                <a:pos x="14369" y="11014"/>
              </a:cxn>
              <a:cxn ang="0">
                <a:pos x="13693" y="11305"/>
              </a:cxn>
              <a:cxn ang="0">
                <a:pos x="12960" y="11462"/>
              </a:cxn>
              <a:cxn ang="0">
                <a:pos x="3341" y="11487"/>
              </a:cxn>
              <a:cxn ang="0">
                <a:pos x="2760" y="11436"/>
              </a:cxn>
              <a:cxn ang="0">
                <a:pos x="2156" y="11265"/>
              </a:cxn>
              <a:cxn ang="0">
                <a:pos x="1603" y="10987"/>
              </a:cxn>
              <a:cxn ang="0">
                <a:pos x="1113" y="10615"/>
              </a:cxn>
              <a:cxn ang="0">
                <a:pos x="697" y="10159"/>
              </a:cxn>
              <a:cxn ang="0">
                <a:pos x="368" y="9631"/>
              </a:cxn>
              <a:cxn ang="0">
                <a:pos x="137" y="9044"/>
              </a:cxn>
              <a:cxn ang="0">
                <a:pos x="15" y="8410"/>
              </a:cxn>
              <a:cxn ang="0">
                <a:pos x="15" y="7754"/>
              </a:cxn>
              <a:cxn ang="0">
                <a:pos x="132" y="7132"/>
              </a:cxn>
              <a:cxn ang="0">
                <a:pos x="354" y="6556"/>
              </a:cxn>
              <a:cxn ang="0">
                <a:pos x="671" y="6034"/>
              </a:cxn>
              <a:cxn ang="0">
                <a:pos x="1072" y="5582"/>
              </a:cxn>
              <a:cxn ang="0">
                <a:pos x="1546" y="5208"/>
              </a:cxn>
              <a:cxn ang="0">
                <a:pos x="2082" y="4924"/>
              </a:cxn>
              <a:cxn ang="0">
                <a:pos x="2668" y="4741"/>
              </a:cxn>
              <a:cxn ang="0">
                <a:pos x="3015" y="4212"/>
              </a:cxn>
              <a:cxn ang="0">
                <a:pos x="3225" y="3295"/>
              </a:cxn>
              <a:cxn ang="0">
                <a:pos x="3597" y="2453"/>
              </a:cxn>
              <a:cxn ang="0">
                <a:pos x="4113" y="1704"/>
              </a:cxn>
              <a:cxn ang="0">
                <a:pos x="4754" y="1069"/>
              </a:cxn>
              <a:cxn ang="0">
                <a:pos x="5503" y="565"/>
              </a:cxn>
              <a:cxn ang="0">
                <a:pos x="6342" y="211"/>
              </a:cxn>
              <a:cxn ang="0">
                <a:pos x="7250" y="25"/>
              </a:cxn>
              <a:cxn ang="0">
                <a:pos x="9148" y="9515"/>
              </a:cxn>
              <a:cxn ang="0">
                <a:pos x="9106" y="9484"/>
              </a:cxn>
              <a:cxn ang="0">
                <a:pos x="9023" y="9509"/>
              </a:cxn>
              <a:cxn ang="0">
                <a:pos x="9156" y="9528"/>
              </a:cxn>
              <a:cxn ang="0">
                <a:pos x="6408" y="9503"/>
              </a:cxn>
              <a:cxn ang="0">
                <a:pos x="6368" y="9519"/>
              </a:cxn>
            </a:cxnLst>
            <a:rect l="0" t="0" r="r" b="b"/>
            <a:pathLst>
              <a:path w="16443" h="11487">
                <a:moveTo>
                  <a:pt x="7726" y="0"/>
                </a:moveTo>
                <a:lnTo>
                  <a:pt x="7928" y="4"/>
                </a:lnTo>
                <a:lnTo>
                  <a:pt x="8127" y="17"/>
                </a:lnTo>
                <a:lnTo>
                  <a:pt x="8324" y="38"/>
                </a:lnTo>
                <a:lnTo>
                  <a:pt x="8519" y="68"/>
                </a:lnTo>
                <a:lnTo>
                  <a:pt x="8711" y="105"/>
                </a:lnTo>
                <a:lnTo>
                  <a:pt x="8900" y="150"/>
                </a:lnTo>
                <a:lnTo>
                  <a:pt x="9087" y="203"/>
                </a:lnTo>
                <a:lnTo>
                  <a:pt x="9270" y="263"/>
                </a:lnTo>
                <a:lnTo>
                  <a:pt x="9450" y="331"/>
                </a:lnTo>
                <a:lnTo>
                  <a:pt x="9626" y="406"/>
                </a:lnTo>
                <a:lnTo>
                  <a:pt x="9799" y="487"/>
                </a:lnTo>
                <a:lnTo>
                  <a:pt x="9969" y="576"/>
                </a:lnTo>
                <a:lnTo>
                  <a:pt x="10133" y="670"/>
                </a:lnTo>
                <a:lnTo>
                  <a:pt x="10294" y="772"/>
                </a:lnTo>
                <a:lnTo>
                  <a:pt x="10451" y="880"/>
                </a:lnTo>
                <a:lnTo>
                  <a:pt x="10604" y="994"/>
                </a:lnTo>
                <a:lnTo>
                  <a:pt x="10751" y="1113"/>
                </a:lnTo>
                <a:lnTo>
                  <a:pt x="10893" y="1239"/>
                </a:lnTo>
                <a:lnTo>
                  <a:pt x="11031" y="1370"/>
                </a:lnTo>
                <a:lnTo>
                  <a:pt x="11164" y="1507"/>
                </a:lnTo>
                <a:lnTo>
                  <a:pt x="11291" y="1648"/>
                </a:lnTo>
                <a:lnTo>
                  <a:pt x="11412" y="1795"/>
                </a:lnTo>
                <a:lnTo>
                  <a:pt x="11529" y="1947"/>
                </a:lnTo>
                <a:lnTo>
                  <a:pt x="11640" y="2102"/>
                </a:lnTo>
                <a:lnTo>
                  <a:pt x="11743" y="2264"/>
                </a:lnTo>
                <a:lnTo>
                  <a:pt x="11842" y="2429"/>
                </a:lnTo>
                <a:lnTo>
                  <a:pt x="11934" y="2598"/>
                </a:lnTo>
                <a:lnTo>
                  <a:pt x="12019" y="2772"/>
                </a:lnTo>
                <a:lnTo>
                  <a:pt x="12097" y="2948"/>
                </a:lnTo>
                <a:lnTo>
                  <a:pt x="12169" y="3129"/>
                </a:lnTo>
                <a:lnTo>
                  <a:pt x="12234" y="3314"/>
                </a:lnTo>
                <a:lnTo>
                  <a:pt x="12291" y="3501"/>
                </a:lnTo>
                <a:lnTo>
                  <a:pt x="12320" y="3499"/>
                </a:lnTo>
                <a:lnTo>
                  <a:pt x="12349" y="3498"/>
                </a:lnTo>
                <a:lnTo>
                  <a:pt x="12378" y="3497"/>
                </a:lnTo>
                <a:lnTo>
                  <a:pt x="12407" y="3496"/>
                </a:lnTo>
                <a:lnTo>
                  <a:pt x="12437" y="3495"/>
                </a:lnTo>
                <a:lnTo>
                  <a:pt x="12466" y="3494"/>
                </a:lnTo>
                <a:lnTo>
                  <a:pt x="12496" y="3494"/>
                </a:lnTo>
                <a:lnTo>
                  <a:pt x="12524" y="3494"/>
                </a:lnTo>
                <a:lnTo>
                  <a:pt x="12726" y="3499"/>
                </a:lnTo>
                <a:lnTo>
                  <a:pt x="12924" y="3515"/>
                </a:lnTo>
                <a:lnTo>
                  <a:pt x="13119" y="3540"/>
                </a:lnTo>
                <a:lnTo>
                  <a:pt x="13313" y="3575"/>
                </a:lnTo>
                <a:lnTo>
                  <a:pt x="13502" y="3621"/>
                </a:lnTo>
                <a:lnTo>
                  <a:pt x="13688" y="3674"/>
                </a:lnTo>
                <a:lnTo>
                  <a:pt x="13870" y="3738"/>
                </a:lnTo>
                <a:lnTo>
                  <a:pt x="14047" y="3809"/>
                </a:lnTo>
                <a:lnTo>
                  <a:pt x="14221" y="3889"/>
                </a:lnTo>
                <a:lnTo>
                  <a:pt x="14390" y="3977"/>
                </a:lnTo>
                <a:lnTo>
                  <a:pt x="14554" y="4074"/>
                </a:lnTo>
                <a:lnTo>
                  <a:pt x="14712" y="4179"/>
                </a:lnTo>
                <a:lnTo>
                  <a:pt x="14867" y="4290"/>
                </a:lnTo>
                <a:lnTo>
                  <a:pt x="15015" y="4409"/>
                </a:lnTo>
                <a:lnTo>
                  <a:pt x="15156" y="4535"/>
                </a:lnTo>
                <a:lnTo>
                  <a:pt x="15293" y="4667"/>
                </a:lnTo>
                <a:lnTo>
                  <a:pt x="15423" y="4806"/>
                </a:lnTo>
                <a:lnTo>
                  <a:pt x="15546" y="4951"/>
                </a:lnTo>
                <a:lnTo>
                  <a:pt x="15663" y="5102"/>
                </a:lnTo>
                <a:lnTo>
                  <a:pt x="15772" y="5259"/>
                </a:lnTo>
                <a:lnTo>
                  <a:pt x="15875" y="5421"/>
                </a:lnTo>
                <a:lnTo>
                  <a:pt x="15969" y="5588"/>
                </a:lnTo>
                <a:lnTo>
                  <a:pt x="16056" y="5761"/>
                </a:lnTo>
                <a:lnTo>
                  <a:pt x="16134" y="5938"/>
                </a:lnTo>
                <a:lnTo>
                  <a:pt x="16205" y="6119"/>
                </a:lnTo>
                <a:lnTo>
                  <a:pt x="16266" y="6305"/>
                </a:lnTo>
                <a:lnTo>
                  <a:pt x="16320" y="6494"/>
                </a:lnTo>
                <a:lnTo>
                  <a:pt x="16363" y="6687"/>
                </a:lnTo>
                <a:lnTo>
                  <a:pt x="16398" y="6884"/>
                </a:lnTo>
                <a:lnTo>
                  <a:pt x="16422" y="7083"/>
                </a:lnTo>
                <a:lnTo>
                  <a:pt x="16438" y="7286"/>
                </a:lnTo>
                <a:lnTo>
                  <a:pt x="16443" y="7490"/>
                </a:lnTo>
                <a:lnTo>
                  <a:pt x="16438" y="7688"/>
                </a:lnTo>
                <a:lnTo>
                  <a:pt x="16425" y="7883"/>
                </a:lnTo>
                <a:lnTo>
                  <a:pt x="16401" y="8075"/>
                </a:lnTo>
                <a:lnTo>
                  <a:pt x="16369" y="8264"/>
                </a:lnTo>
                <a:lnTo>
                  <a:pt x="16328" y="8451"/>
                </a:lnTo>
                <a:lnTo>
                  <a:pt x="16280" y="8634"/>
                </a:lnTo>
                <a:lnTo>
                  <a:pt x="16222" y="8813"/>
                </a:lnTo>
                <a:lnTo>
                  <a:pt x="16156" y="8989"/>
                </a:lnTo>
                <a:lnTo>
                  <a:pt x="16083" y="9161"/>
                </a:lnTo>
                <a:lnTo>
                  <a:pt x="16003" y="9328"/>
                </a:lnTo>
                <a:lnTo>
                  <a:pt x="15915" y="9491"/>
                </a:lnTo>
                <a:lnTo>
                  <a:pt x="15820" y="9649"/>
                </a:lnTo>
                <a:lnTo>
                  <a:pt x="15717" y="9802"/>
                </a:lnTo>
                <a:lnTo>
                  <a:pt x="15610" y="9950"/>
                </a:lnTo>
                <a:lnTo>
                  <a:pt x="15494" y="10093"/>
                </a:lnTo>
                <a:lnTo>
                  <a:pt x="15373" y="10230"/>
                </a:lnTo>
                <a:lnTo>
                  <a:pt x="15246" y="10361"/>
                </a:lnTo>
                <a:lnTo>
                  <a:pt x="15113" y="10487"/>
                </a:lnTo>
                <a:lnTo>
                  <a:pt x="14974" y="10606"/>
                </a:lnTo>
                <a:lnTo>
                  <a:pt x="14831" y="10718"/>
                </a:lnTo>
                <a:lnTo>
                  <a:pt x="14682" y="10824"/>
                </a:lnTo>
                <a:lnTo>
                  <a:pt x="14527" y="10923"/>
                </a:lnTo>
                <a:lnTo>
                  <a:pt x="14369" y="11014"/>
                </a:lnTo>
                <a:lnTo>
                  <a:pt x="14206" y="11098"/>
                </a:lnTo>
                <a:lnTo>
                  <a:pt x="14039" y="11176"/>
                </a:lnTo>
                <a:lnTo>
                  <a:pt x="13868" y="11244"/>
                </a:lnTo>
                <a:lnTo>
                  <a:pt x="13693" y="11305"/>
                </a:lnTo>
                <a:lnTo>
                  <a:pt x="13514" y="11357"/>
                </a:lnTo>
                <a:lnTo>
                  <a:pt x="13332" y="11401"/>
                </a:lnTo>
                <a:lnTo>
                  <a:pt x="13147" y="11436"/>
                </a:lnTo>
                <a:lnTo>
                  <a:pt x="12960" y="11462"/>
                </a:lnTo>
                <a:lnTo>
                  <a:pt x="12770" y="11479"/>
                </a:lnTo>
                <a:lnTo>
                  <a:pt x="12770" y="11487"/>
                </a:lnTo>
                <a:lnTo>
                  <a:pt x="12524" y="11487"/>
                </a:lnTo>
                <a:lnTo>
                  <a:pt x="3341" y="11487"/>
                </a:lnTo>
                <a:lnTo>
                  <a:pt x="3079" y="11487"/>
                </a:lnTo>
                <a:lnTo>
                  <a:pt x="3079" y="11477"/>
                </a:lnTo>
                <a:lnTo>
                  <a:pt x="2919" y="11459"/>
                </a:lnTo>
                <a:lnTo>
                  <a:pt x="2760" y="11436"/>
                </a:lnTo>
                <a:lnTo>
                  <a:pt x="2605" y="11404"/>
                </a:lnTo>
                <a:lnTo>
                  <a:pt x="2453" y="11365"/>
                </a:lnTo>
                <a:lnTo>
                  <a:pt x="2303" y="11318"/>
                </a:lnTo>
                <a:lnTo>
                  <a:pt x="2156" y="11265"/>
                </a:lnTo>
                <a:lnTo>
                  <a:pt x="2013" y="11205"/>
                </a:lnTo>
                <a:lnTo>
                  <a:pt x="1872" y="11139"/>
                </a:lnTo>
                <a:lnTo>
                  <a:pt x="1736" y="11067"/>
                </a:lnTo>
                <a:lnTo>
                  <a:pt x="1603" y="10987"/>
                </a:lnTo>
                <a:lnTo>
                  <a:pt x="1474" y="10903"/>
                </a:lnTo>
                <a:lnTo>
                  <a:pt x="1349" y="10813"/>
                </a:lnTo>
                <a:lnTo>
                  <a:pt x="1229" y="10716"/>
                </a:lnTo>
                <a:lnTo>
                  <a:pt x="1113" y="10615"/>
                </a:lnTo>
                <a:lnTo>
                  <a:pt x="1001" y="10508"/>
                </a:lnTo>
                <a:lnTo>
                  <a:pt x="895" y="10396"/>
                </a:lnTo>
                <a:lnTo>
                  <a:pt x="793" y="10280"/>
                </a:lnTo>
                <a:lnTo>
                  <a:pt x="697" y="10159"/>
                </a:lnTo>
                <a:lnTo>
                  <a:pt x="606" y="10033"/>
                </a:lnTo>
                <a:lnTo>
                  <a:pt x="521" y="9903"/>
                </a:lnTo>
                <a:lnTo>
                  <a:pt x="441" y="9769"/>
                </a:lnTo>
                <a:lnTo>
                  <a:pt x="368" y="9631"/>
                </a:lnTo>
                <a:lnTo>
                  <a:pt x="300" y="9490"/>
                </a:lnTo>
                <a:lnTo>
                  <a:pt x="239" y="9345"/>
                </a:lnTo>
                <a:lnTo>
                  <a:pt x="185" y="9197"/>
                </a:lnTo>
                <a:lnTo>
                  <a:pt x="137" y="9044"/>
                </a:lnTo>
                <a:lnTo>
                  <a:pt x="96" y="8890"/>
                </a:lnTo>
                <a:lnTo>
                  <a:pt x="62" y="8733"/>
                </a:lnTo>
                <a:lnTo>
                  <a:pt x="35" y="8573"/>
                </a:lnTo>
                <a:lnTo>
                  <a:pt x="15" y="8410"/>
                </a:lnTo>
                <a:lnTo>
                  <a:pt x="4" y="8246"/>
                </a:lnTo>
                <a:lnTo>
                  <a:pt x="0" y="8079"/>
                </a:lnTo>
                <a:lnTo>
                  <a:pt x="4" y="7916"/>
                </a:lnTo>
                <a:lnTo>
                  <a:pt x="15" y="7754"/>
                </a:lnTo>
                <a:lnTo>
                  <a:pt x="34" y="7596"/>
                </a:lnTo>
                <a:lnTo>
                  <a:pt x="60" y="7439"/>
                </a:lnTo>
                <a:lnTo>
                  <a:pt x="92" y="7284"/>
                </a:lnTo>
                <a:lnTo>
                  <a:pt x="132" y="7132"/>
                </a:lnTo>
                <a:lnTo>
                  <a:pt x="178" y="6983"/>
                </a:lnTo>
                <a:lnTo>
                  <a:pt x="230" y="6837"/>
                </a:lnTo>
                <a:lnTo>
                  <a:pt x="289" y="6694"/>
                </a:lnTo>
                <a:lnTo>
                  <a:pt x="354" y="6556"/>
                </a:lnTo>
                <a:lnTo>
                  <a:pt x="424" y="6420"/>
                </a:lnTo>
                <a:lnTo>
                  <a:pt x="502" y="6287"/>
                </a:lnTo>
                <a:lnTo>
                  <a:pt x="584" y="6159"/>
                </a:lnTo>
                <a:lnTo>
                  <a:pt x="671" y="6034"/>
                </a:lnTo>
                <a:lnTo>
                  <a:pt x="765" y="5914"/>
                </a:lnTo>
                <a:lnTo>
                  <a:pt x="862" y="5799"/>
                </a:lnTo>
                <a:lnTo>
                  <a:pt x="965" y="5688"/>
                </a:lnTo>
                <a:lnTo>
                  <a:pt x="1072" y="5582"/>
                </a:lnTo>
                <a:lnTo>
                  <a:pt x="1184" y="5480"/>
                </a:lnTo>
                <a:lnTo>
                  <a:pt x="1301" y="5384"/>
                </a:lnTo>
                <a:lnTo>
                  <a:pt x="1421" y="5293"/>
                </a:lnTo>
                <a:lnTo>
                  <a:pt x="1546" y="5208"/>
                </a:lnTo>
                <a:lnTo>
                  <a:pt x="1675" y="5128"/>
                </a:lnTo>
                <a:lnTo>
                  <a:pt x="1807" y="5054"/>
                </a:lnTo>
                <a:lnTo>
                  <a:pt x="1942" y="4986"/>
                </a:lnTo>
                <a:lnTo>
                  <a:pt x="2082" y="4924"/>
                </a:lnTo>
                <a:lnTo>
                  <a:pt x="2224" y="4869"/>
                </a:lnTo>
                <a:lnTo>
                  <a:pt x="2369" y="4819"/>
                </a:lnTo>
                <a:lnTo>
                  <a:pt x="2517" y="4777"/>
                </a:lnTo>
                <a:lnTo>
                  <a:pt x="2668" y="4741"/>
                </a:lnTo>
                <a:lnTo>
                  <a:pt x="2821" y="4713"/>
                </a:lnTo>
                <a:lnTo>
                  <a:pt x="2976" y="4692"/>
                </a:lnTo>
                <a:lnTo>
                  <a:pt x="2990" y="4450"/>
                </a:lnTo>
                <a:lnTo>
                  <a:pt x="3015" y="4212"/>
                </a:lnTo>
                <a:lnTo>
                  <a:pt x="3051" y="3976"/>
                </a:lnTo>
                <a:lnTo>
                  <a:pt x="3098" y="3744"/>
                </a:lnTo>
                <a:lnTo>
                  <a:pt x="3156" y="3517"/>
                </a:lnTo>
                <a:lnTo>
                  <a:pt x="3225" y="3295"/>
                </a:lnTo>
                <a:lnTo>
                  <a:pt x="3303" y="3076"/>
                </a:lnTo>
                <a:lnTo>
                  <a:pt x="3391" y="2863"/>
                </a:lnTo>
                <a:lnTo>
                  <a:pt x="3489" y="2655"/>
                </a:lnTo>
                <a:lnTo>
                  <a:pt x="3597" y="2453"/>
                </a:lnTo>
                <a:lnTo>
                  <a:pt x="3713" y="2256"/>
                </a:lnTo>
                <a:lnTo>
                  <a:pt x="3837" y="2065"/>
                </a:lnTo>
                <a:lnTo>
                  <a:pt x="3971" y="1882"/>
                </a:lnTo>
                <a:lnTo>
                  <a:pt x="4113" y="1704"/>
                </a:lnTo>
                <a:lnTo>
                  <a:pt x="4262" y="1535"/>
                </a:lnTo>
                <a:lnTo>
                  <a:pt x="4419" y="1371"/>
                </a:lnTo>
                <a:lnTo>
                  <a:pt x="4583" y="1216"/>
                </a:lnTo>
                <a:lnTo>
                  <a:pt x="4754" y="1069"/>
                </a:lnTo>
                <a:lnTo>
                  <a:pt x="4932" y="930"/>
                </a:lnTo>
                <a:lnTo>
                  <a:pt x="5117" y="800"/>
                </a:lnTo>
                <a:lnTo>
                  <a:pt x="5307" y="677"/>
                </a:lnTo>
                <a:lnTo>
                  <a:pt x="5503" y="565"/>
                </a:lnTo>
                <a:lnTo>
                  <a:pt x="5705" y="462"/>
                </a:lnTo>
                <a:lnTo>
                  <a:pt x="5912" y="368"/>
                </a:lnTo>
                <a:lnTo>
                  <a:pt x="6124" y="284"/>
                </a:lnTo>
                <a:lnTo>
                  <a:pt x="6342" y="211"/>
                </a:lnTo>
                <a:lnTo>
                  <a:pt x="6563" y="147"/>
                </a:lnTo>
                <a:lnTo>
                  <a:pt x="6788" y="95"/>
                </a:lnTo>
                <a:lnTo>
                  <a:pt x="7018" y="54"/>
                </a:lnTo>
                <a:lnTo>
                  <a:pt x="7250" y="25"/>
                </a:lnTo>
                <a:lnTo>
                  <a:pt x="7487" y="6"/>
                </a:lnTo>
                <a:lnTo>
                  <a:pt x="7726" y="0"/>
                </a:lnTo>
                <a:close/>
                <a:moveTo>
                  <a:pt x="9156" y="9528"/>
                </a:moveTo>
                <a:lnTo>
                  <a:pt x="9148" y="9515"/>
                </a:lnTo>
                <a:lnTo>
                  <a:pt x="9141" y="9503"/>
                </a:lnTo>
                <a:lnTo>
                  <a:pt x="9134" y="9491"/>
                </a:lnTo>
                <a:lnTo>
                  <a:pt x="9127" y="9478"/>
                </a:lnTo>
                <a:lnTo>
                  <a:pt x="9106" y="9484"/>
                </a:lnTo>
                <a:lnTo>
                  <a:pt x="9086" y="9491"/>
                </a:lnTo>
                <a:lnTo>
                  <a:pt x="9065" y="9498"/>
                </a:lnTo>
                <a:lnTo>
                  <a:pt x="9045" y="9503"/>
                </a:lnTo>
                <a:lnTo>
                  <a:pt x="9023" y="9509"/>
                </a:lnTo>
                <a:lnTo>
                  <a:pt x="9003" y="9515"/>
                </a:lnTo>
                <a:lnTo>
                  <a:pt x="8982" y="9521"/>
                </a:lnTo>
                <a:lnTo>
                  <a:pt x="8961" y="9528"/>
                </a:lnTo>
                <a:lnTo>
                  <a:pt x="9156" y="9528"/>
                </a:lnTo>
                <a:close/>
                <a:moveTo>
                  <a:pt x="6492" y="9528"/>
                </a:moveTo>
                <a:lnTo>
                  <a:pt x="6464" y="9519"/>
                </a:lnTo>
                <a:lnTo>
                  <a:pt x="6435" y="9511"/>
                </a:lnTo>
                <a:lnTo>
                  <a:pt x="6408" y="9503"/>
                </a:lnTo>
                <a:lnTo>
                  <a:pt x="6379" y="9495"/>
                </a:lnTo>
                <a:lnTo>
                  <a:pt x="6376" y="9503"/>
                </a:lnTo>
                <a:lnTo>
                  <a:pt x="6372" y="9511"/>
                </a:lnTo>
                <a:lnTo>
                  <a:pt x="6368" y="9519"/>
                </a:lnTo>
                <a:lnTo>
                  <a:pt x="6364" y="9528"/>
                </a:lnTo>
                <a:lnTo>
                  <a:pt x="6492" y="9528"/>
                </a:lnTo>
                <a:close/>
              </a:path>
            </a:pathLst>
          </a:custGeom>
          <a:solidFill>
            <a:schemeClr val="bg1">
              <a:lumMod val="75000"/>
            </a:schemeClr>
          </a:solidFill>
          <a:ln>
            <a:noFill/>
          </a:ln>
          <a:effectLst/>
        </p:spPr>
        <p:txBody>
          <a:bodyPr vert="horz" wrap="square" lIns="91416" tIns="45708" rIns="91416" bIns="45708" numCol="1" rtlCol="0" anchor="t" anchorCtr="0" compatLnSpc="1">
            <a:prstTxWarp prst="textNoShape">
              <a:avLst/>
            </a:prstTxWarp>
          </a:bodyPr>
          <a:lstStyle/>
          <a:p>
            <a:pPr fontAlgn="ctr">
              <a:buClr>
                <a:srgbClr val="CC9900"/>
              </a:buClr>
              <a:buFont typeface="Wingdings" pitchFamily="2" charset="2"/>
              <a:buChar char="n"/>
            </a:pPr>
            <a:endParaRPr lang="en-US" altLang="zh-CN" sz="1799" dirty="0">
              <a:solidFill>
                <a:schemeClr val="bg1"/>
              </a:solidFill>
              <a:latin typeface="Calibri" panose="020F0502020204030204" pitchFamily="34" charset="0"/>
              <a:ea typeface="宋体" charset="-122"/>
            </a:endParaRPr>
          </a:p>
        </p:txBody>
      </p:sp>
      <p:sp>
        <p:nvSpPr>
          <p:cNvPr id="204" name="370066640"/>
          <p:cNvSpPr txBox="1">
            <a:spLocks noChangeArrowheads="1"/>
          </p:cNvSpPr>
          <p:nvPr/>
        </p:nvSpPr>
        <p:spPr bwMode="auto">
          <a:xfrm>
            <a:off x="4513910" y="2865338"/>
            <a:ext cx="1129820" cy="295466"/>
          </a:xfrm>
          <a:prstGeom prst="rect">
            <a:avLst/>
          </a:prstGeom>
          <a:noFill/>
          <a:ln w="9525" algn="ctr">
            <a:noFill/>
            <a:miter lim="800000"/>
            <a:headEnd/>
            <a:tailEnd/>
          </a:ln>
          <a:effectLst/>
        </p:spPr>
        <p:txBody>
          <a:bodyPr wrap="square">
            <a:spAutoFit/>
          </a:bodyPr>
          <a:lstStyle/>
          <a:p>
            <a:pPr algn="ctr" fontAlgn="ctr">
              <a:lnSpc>
                <a:spcPct val="120000"/>
              </a:lnSpc>
              <a:spcBef>
                <a:spcPct val="50000"/>
              </a:spcBef>
            </a:pPr>
            <a:r>
              <a:rPr kumimoji="1" lang="en-US" altLang="zh-CN" sz="1100" dirty="0">
                <a:solidFill>
                  <a:schemeClr val="bg1"/>
                </a:solidFill>
                <a:latin typeface="Calibri" panose="020F0502020204030204" pitchFamily="34" charset="0"/>
                <a:sym typeface="Arial"/>
              </a:rPr>
              <a:t>Fusion Access</a:t>
            </a:r>
          </a:p>
        </p:txBody>
      </p:sp>
      <p:sp>
        <p:nvSpPr>
          <p:cNvPr id="205" name="735343116"/>
          <p:cNvSpPr/>
          <p:nvPr/>
        </p:nvSpPr>
        <p:spPr bwMode="auto">
          <a:xfrm>
            <a:off x="4643055" y="2068442"/>
            <a:ext cx="1112791" cy="170229"/>
          </a:xfrm>
          <a:prstGeom prst="round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38" tIns="45672" rIns="91338" bIns="45672" numCol="1" rtlCol="0" anchor="t" anchorCtr="0" compatLnSpc="1">
            <a:prstTxWarp prst="textNoShape">
              <a:avLst/>
            </a:prstTxWarp>
          </a:bodyPr>
          <a:lstStyle/>
          <a:p>
            <a:pPr algn="ctr" defTabSz="685080" fontAlgn="ctr">
              <a:spcBef>
                <a:spcPct val="0"/>
              </a:spcBef>
              <a:spcAft>
                <a:spcPct val="0"/>
              </a:spcAft>
              <a:buClr>
                <a:srgbClr val="CC9900"/>
              </a:buClr>
            </a:pPr>
            <a:r>
              <a:rPr lang="en-US" altLang="zh-CN" sz="1200" kern="0" dirty="0" err="1">
                <a:solidFill>
                  <a:schemeClr val="bg1"/>
                </a:solidFill>
                <a:latin typeface="Calibri" panose="020F0502020204030204" pitchFamily="34" charset="0"/>
              </a:rPr>
              <a:t>Virtualización</a:t>
            </a:r>
            <a:r>
              <a:rPr lang="en-US" altLang="zh-CN" sz="1200" kern="0" dirty="0">
                <a:solidFill>
                  <a:schemeClr val="bg1"/>
                </a:solidFill>
                <a:latin typeface="Calibri" panose="020F0502020204030204" pitchFamily="34" charset="0"/>
              </a:rPr>
              <a:t> de </a:t>
            </a:r>
            <a:r>
              <a:rPr lang="en-US" altLang="zh-CN" sz="1200" kern="0" dirty="0" err="1">
                <a:solidFill>
                  <a:schemeClr val="bg1"/>
                </a:solidFill>
                <a:latin typeface="Calibri" panose="020F0502020204030204" pitchFamily="34" charset="0"/>
              </a:rPr>
              <a:t>Escritorios</a:t>
            </a:r>
            <a:endParaRPr lang="en-US" altLang="zh-CN" sz="1200" dirty="0">
              <a:solidFill>
                <a:schemeClr val="bg1"/>
              </a:solidFill>
              <a:latin typeface="Calibri" panose="020F0502020204030204" pitchFamily="34" charset="0"/>
            </a:endParaRPr>
          </a:p>
        </p:txBody>
      </p:sp>
      <p:sp>
        <p:nvSpPr>
          <p:cNvPr id="206" name="1990638681"/>
          <p:cNvSpPr>
            <a:spLocks noChangeAspect="1" noEditPoints="1"/>
          </p:cNvSpPr>
          <p:nvPr/>
        </p:nvSpPr>
        <p:spPr bwMode="auto">
          <a:xfrm>
            <a:off x="4835576" y="2669521"/>
            <a:ext cx="116731" cy="215944"/>
          </a:xfrm>
          <a:custGeom>
            <a:avLst/>
            <a:gdLst/>
            <a:ahLst/>
            <a:cxnLst>
              <a:cxn ang="0">
                <a:pos x="6958" y="3091"/>
              </a:cxn>
              <a:cxn ang="0">
                <a:pos x="6933" y="3425"/>
              </a:cxn>
              <a:cxn ang="0">
                <a:pos x="6620" y="3545"/>
              </a:cxn>
              <a:cxn ang="0">
                <a:pos x="6381" y="3317"/>
              </a:cxn>
              <a:cxn ang="0">
                <a:pos x="6485" y="2998"/>
              </a:cxn>
              <a:cxn ang="0">
                <a:pos x="8713" y="43"/>
              </a:cxn>
              <a:cxn ang="0">
                <a:pos x="9180" y="644"/>
              </a:cxn>
              <a:cxn ang="0">
                <a:pos x="8867" y="16355"/>
              </a:cxn>
              <a:cxn ang="0">
                <a:pos x="376" y="16391"/>
              </a:cxn>
              <a:cxn ang="0">
                <a:pos x="0" y="717"/>
              </a:cxn>
              <a:cxn ang="0">
                <a:pos x="407" y="71"/>
              </a:cxn>
              <a:cxn ang="0">
                <a:pos x="7621" y="2388"/>
              </a:cxn>
              <a:cxn ang="0">
                <a:pos x="7772" y="3792"/>
              </a:cxn>
              <a:cxn ang="0">
                <a:pos x="7547" y="4080"/>
              </a:cxn>
              <a:cxn ang="0">
                <a:pos x="1523" y="4012"/>
              </a:cxn>
              <a:cxn ang="0">
                <a:pos x="1421" y="2588"/>
              </a:cxn>
              <a:cxn ang="0">
                <a:pos x="1686" y="2336"/>
              </a:cxn>
              <a:cxn ang="0">
                <a:pos x="7683" y="4954"/>
              </a:cxn>
              <a:cxn ang="0">
                <a:pos x="7752" y="6387"/>
              </a:cxn>
              <a:cxn ang="0">
                <a:pos x="7464" y="6612"/>
              </a:cxn>
              <a:cxn ang="0">
                <a:pos x="1470" y="6461"/>
              </a:cxn>
              <a:cxn ang="0">
                <a:pos x="1452" y="5022"/>
              </a:cxn>
              <a:cxn ang="0">
                <a:pos x="1756" y="7352"/>
              </a:cxn>
              <a:cxn ang="0">
                <a:pos x="7732" y="7534"/>
              </a:cxn>
              <a:cxn ang="0">
                <a:pos x="7714" y="8973"/>
              </a:cxn>
              <a:cxn ang="0">
                <a:pos x="1720" y="9124"/>
              </a:cxn>
              <a:cxn ang="0">
                <a:pos x="1432" y="8899"/>
              </a:cxn>
              <a:cxn ang="0">
                <a:pos x="1501" y="7466"/>
              </a:cxn>
              <a:cxn ang="0">
                <a:pos x="7498" y="9871"/>
              </a:cxn>
              <a:cxn ang="0">
                <a:pos x="7763" y="10124"/>
              </a:cxn>
              <a:cxn ang="0">
                <a:pos x="7660" y="11548"/>
              </a:cxn>
              <a:cxn ang="0">
                <a:pos x="1637" y="11617"/>
              </a:cxn>
              <a:cxn ang="0">
                <a:pos x="1412" y="11328"/>
              </a:cxn>
              <a:cxn ang="0">
                <a:pos x="1563" y="9924"/>
              </a:cxn>
              <a:cxn ang="0">
                <a:pos x="7577" y="12410"/>
              </a:cxn>
              <a:cxn ang="0">
                <a:pos x="7774" y="12721"/>
              </a:cxn>
              <a:cxn ang="0">
                <a:pos x="7592" y="14107"/>
              </a:cxn>
              <a:cxn ang="0">
                <a:pos x="1563" y="14091"/>
              </a:cxn>
              <a:cxn ang="0">
                <a:pos x="1412" y="12686"/>
              </a:cxn>
              <a:cxn ang="0">
                <a:pos x="1637" y="12398"/>
              </a:cxn>
              <a:cxn ang="0">
                <a:pos x="6893" y="13032"/>
              </a:cxn>
              <a:cxn ang="0">
                <a:pos x="6982" y="13355"/>
              </a:cxn>
              <a:cxn ang="0">
                <a:pos x="6730" y="13572"/>
              </a:cxn>
              <a:cxn ang="0">
                <a:pos x="6424" y="13437"/>
              </a:cxn>
              <a:cxn ang="0">
                <a:pos x="6416" y="13101"/>
              </a:cxn>
              <a:cxn ang="0">
                <a:pos x="6699" y="10439"/>
              </a:cxn>
              <a:cxn ang="0">
                <a:pos x="6972" y="10629"/>
              </a:cxn>
              <a:cxn ang="0">
                <a:pos x="6915" y="10961"/>
              </a:cxn>
              <a:cxn ang="0">
                <a:pos x="6590" y="11050"/>
              </a:cxn>
              <a:cxn ang="0">
                <a:pos x="6374" y="10798"/>
              </a:cxn>
              <a:cxn ang="0">
                <a:pos x="6508" y="10492"/>
              </a:cxn>
              <a:cxn ang="0">
                <a:pos x="6832" y="7965"/>
              </a:cxn>
              <a:cxn ang="0">
                <a:pos x="6995" y="8255"/>
              </a:cxn>
              <a:cxn ang="0">
                <a:pos x="6804" y="8526"/>
              </a:cxn>
              <a:cxn ang="0">
                <a:pos x="6473" y="8470"/>
              </a:cxn>
              <a:cxn ang="0">
                <a:pos x="6385" y="8146"/>
              </a:cxn>
              <a:cxn ang="0">
                <a:pos x="6635" y="7930"/>
              </a:cxn>
              <a:cxn ang="0">
                <a:pos x="6933" y="5541"/>
              </a:cxn>
              <a:cxn ang="0">
                <a:pos x="6958" y="5875"/>
              </a:cxn>
              <a:cxn ang="0">
                <a:pos x="6667" y="6039"/>
              </a:cxn>
              <a:cxn ang="0">
                <a:pos x="6395" y="5849"/>
              </a:cxn>
              <a:cxn ang="0">
                <a:pos x="6452" y="5517"/>
              </a:cxn>
            </a:cxnLst>
            <a:rect l="0" t="0" r="r" b="b"/>
            <a:pathLst>
              <a:path w="9184" h="16478">
                <a:moveTo>
                  <a:pt x="6683" y="2927"/>
                </a:moveTo>
                <a:lnTo>
                  <a:pt x="6699" y="2927"/>
                </a:lnTo>
                <a:lnTo>
                  <a:pt x="6715" y="2929"/>
                </a:lnTo>
                <a:lnTo>
                  <a:pt x="6730" y="2931"/>
                </a:lnTo>
                <a:lnTo>
                  <a:pt x="6746" y="2933"/>
                </a:lnTo>
                <a:lnTo>
                  <a:pt x="6761" y="2937"/>
                </a:lnTo>
                <a:lnTo>
                  <a:pt x="6776" y="2941"/>
                </a:lnTo>
                <a:lnTo>
                  <a:pt x="6790" y="2946"/>
                </a:lnTo>
                <a:lnTo>
                  <a:pt x="6804" y="2952"/>
                </a:lnTo>
                <a:lnTo>
                  <a:pt x="6819" y="2958"/>
                </a:lnTo>
                <a:lnTo>
                  <a:pt x="6832" y="2965"/>
                </a:lnTo>
                <a:lnTo>
                  <a:pt x="6845" y="2972"/>
                </a:lnTo>
                <a:lnTo>
                  <a:pt x="6858" y="2980"/>
                </a:lnTo>
                <a:lnTo>
                  <a:pt x="6869" y="2989"/>
                </a:lnTo>
                <a:lnTo>
                  <a:pt x="6882" y="2998"/>
                </a:lnTo>
                <a:lnTo>
                  <a:pt x="6893" y="3008"/>
                </a:lnTo>
                <a:lnTo>
                  <a:pt x="6905" y="3019"/>
                </a:lnTo>
                <a:lnTo>
                  <a:pt x="6915" y="3030"/>
                </a:lnTo>
                <a:lnTo>
                  <a:pt x="6924" y="3041"/>
                </a:lnTo>
                <a:lnTo>
                  <a:pt x="6933" y="3053"/>
                </a:lnTo>
                <a:lnTo>
                  <a:pt x="6943" y="3065"/>
                </a:lnTo>
                <a:lnTo>
                  <a:pt x="6950" y="3077"/>
                </a:lnTo>
                <a:lnTo>
                  <a:pt x="6958" y="3091"/>
                </a:lnTo>
                <a:lnTo>
                  <a:pt x="6964" y="3104"/>
                </a:lnTo>
                <a:lnTo>
                  <a:pt x="6972" y="3117"/>
                </a:lnTo>
                <a:lnTo>
                  <a:pt x="6977" y="3132"/>
                </a:lnTo>
                <a:lnTo>
                  <a:pt x="6982" y="3146"/>
                </a:lnTo>
                <a:lnTo>
                  <a:pt x="6986" y="3162"/>
                </a:lnTo>
                <a:lnTo>
                  <a:pt x="6989" y="3176"/>
                </a:lnTo>
                <a:lnTo>
                  <a:pt x="6992" y="3192"/>
                </a:lnTo>
                <a:lnTo>
                  <a:pt x="6994" y="3207"/>
                </a:lnTo>
                <a:lnTo>
                  <a:pt x="6995" y="3224"/>
                </a:lnTo>
                <a:lnTo>
                  <a:pt x="6996" y="3239"/>
                </a:lnTo>
                <a:lnTo>
                  <a:pt x="6995" y="3255"/>
                </a:lnTo>
                <a:lnTo>
                  <a:pt x="6994" y="3271"/>
                </a:lnTo>
                <a:lnTo>
                  <a:pt x="6992" y="3286"/>
                </a:lnTo>
                <a:lnTo>
                  <a:pt x="6989" y="3302"/>
                </a:lnTo>
                <a:lnTo>
                  <a:pt x="6986" y="3317"/>
                </a:lnTo>
                <a:lnTo>
                  <a:pt x="6982" y="3332"/>
                </a:lnTo>
                <a:lnTo>
                  <a:pt x="6977" y="3346"/>
                </a:lnTo>
                <a:lnTo>
                  <a:pt x="6972" y="3360"/>
                </a:lnTo>
                <a:lnTo>
                  <a:pt x="6964" y="3374"/>
                </a:lnTo>
                <a:lnTo>
                  <a:pt x="6958" y="3387"/>
                </a:lnTo>
                <a:lnTo>
                  <a:pt x="6950" y="3401"/>
                </a:lnTo>
                <a:lnTo>
                  <a:pt x="6943" y="3413"/>
                </a:lnTo>
                <a:lnTo>
                  <a:pt x="6933" y="3425"/>
                </a:lnTo>
                <a:lnTo>
                  <a:pt x="6924" y="3438"/>
                </a:lnTo>
                <a:lnTo>
                  <a:pt x="6915" y="3449"/>
                </a:lnTo>
                <a:lnTo>
                  <a:pt x="6905" y="3459"/>
                </a:lnTo>
                <a:lnTo>
                  <a:pt x="6893" y="3470"/>
                </a:lnTo>
                <a:lnTo>
                  <a:pt x="6882" y="3480"/>
                </a:lnTo>
                <a:lnTo>
                  <a:pt x="6869" y="3489"/>
                </a:lnTo>
                <a:lnTo>
                  <a:pt x="6858" y="3497"/>
                </a:lnTo>
                <a:lnTo>
                  <a:pt x="6845" y="3506"/>
                </a:lnTo>
                <a:lnTo>
                  <a:pt x="6832" y="3514"/>
                </a:lnTo>
                <a:lnTo>
                  <a:pt x="6819" y="3520"/>
                </a:lnTo>
                <a:lnTo>
                  <a:pt x="6804" y="3526"/>
                </a:lnTo>
                <a:lnTo>
                  <a:pt x="6790" y="3532"/>
                </a:lnTo>
                <a:lnTo>
                  <a:pt x="6776" y="3538"/>
                </a:lnTo>
                <a:lnTo>
                  <a:pt x="6761" y="3542"/>
                </a:lnTo>
                <a:lnTo>
                  <a:pt x="6746" y="3545"/>
                </a:lnTo>
                <a:lnTo>
                  <a:pt x="6730" y="3548"/>
                </a:lnTo>
                <a:lnTo>
                  <a:pt x="6715" y="3550"/>
                </a:lnTo>
                <a:lnTo>
                  <a:pt x="6699" y="3551"/>
                </a:lnTo>
                <a:lnTo>
                  <a:pt x="6683" y="3551"/>
                </a:lnTo>
                <a:lnTo>
                  <a:pt x="6667" y="3551"/>
                </a:lnTo>
                <a:lnTo>
                  <a:pt x="6651" y="3550"/>
                </a:lnTo>
                <a:lnTo>
                  <a:pt x="6635" y="3548"/>
                </a:lnTo>
                <a:lnTo>
                  <a:pt x="6620" y="3545"/>
                </a:lnTo>
                <a:lnTo>
                  <a:pt x="6605" y="3542"/>
                </a:lnTo>
                <a:lnTo>
                  <a:pt x="6590" y="3538"/>
                </a:lnTo>
                <a:lnTo>
                  <a:pt x="6575" y="3532"/>
                </a:lnTo>
                <a:lnTo>
                  <a:pt x="6562" y="3526"/>
                </a:lnTo>
                <a:lnTo>
                  <a:pt x="6548" y="3520"/>
                </a:lnTo>
                <a:lnTo>
                  <a:pt x="6534" y="3514"/>
                </a:lnTo>
                <a:lnTo>
                  <a:pt x="6521" y="3506"/>
                </a:lnTo>
                <a:lnTo>
                  <a:pt x="6508" y="3497"/>
                </a:lnTo>
                <a:lnTo>
                  <a:pt x="6496" y="3489"/>
                </a:lnTo>
                <a:lnTo>
                  <a:pt x="6485" y="3480"/>
                </a:lnTo>
                <a:lnTo>
                  <a:pt x="6473" y="3470"/>
                </a:lnTo>
                <a:lnTo>
                  <a:pt x="6462" y="3459"/>
                </a:lnTo>
                <a:lnTo>
                  <a:pt x="6452" y="3449"/>
                </a:lnTo>
                <a:lnTo>
                  <a:pt x="6442" y="3438"/>
                </a:lnTo>
                <a:lnTo>
                  <a:pt x="6433" y="3425"/>
                </a:lnTo>
                <a:lnTo>
                  <a:pt x="6424" y="3413"/>
                </a:lnTo>
                <a:lnTo>
                  <a:pt x="6416" y="3401"/>
                </a:lnTo>
                <a:lnTo>
                  <a:pt x="6408" y="3387"/>
                </a:lnTo>
                <a:lnTo>
                  <a:pt x="6401" y="3374"/>
                </a:lnTo>
                <a:lnTo>
                  <a:pt x="6395" y="3360"/>
                </a:lnTo>
                <a:lnTo>
                  <a:pt x="6390" y="3346"/>
                </a:lnTo>
                <a:lnTo>
                  <a:pt x="6385" y="3332"/>
                </a:lnTo>
                <a:lnTo>
                  <a:pt x="6381" y="3317"/>
                </a:lnTo>
                <a:lnTo>
                  <a:pt x="6376" y="3302"/>
                </a:lnTo>
                <a:lnTo>
                  <a:pt x="6374" y="3286"/>
                </a:lnTo>
                <a:lnTo>
                  <a:pt x="6372" y="3271"/>
                </a:lnTo>
                <a:lnTo>
                  <a:pt x="6371" y="3255"/>
                </a:lnTo>
                <a:lnTo>
                  <a:pt x="6370" y="3239"/>
                </a:lnTo>
                <a:lnTo>
                  <a:pt x="6371" y="3224"/>
                </a:lnTo>
                <a:lnTo>
                  <a:pt x="6372" y="3207"/>
                </a:lnTo>
                <a:lnTo>
                  <a:pt x="6374" y="3192"/>
                </a:lnTo>
                <a:lnTo>
                  <a:pt x="6376" y="3176"/>
                </a:lnTo>
                <a:lnTo>
                  <a:pt x="6381" y="3162"/>
                </a:lnTo>
                <a:lnTo>
                  <a:pt x="6385" y="3146"/>
                </a:lnTo>
                <a:lnTo>
                  <a:pt x="6390" y="3132"/>
                </a:lnTo>
                <a:lnTo>
                  <a:pt x="6395" y="3117"/>
                </a:lnTo>
                <a:lnTo>
                  <a:pt x="6401" y="3104"/>
                </a:lnTo>
                <a:lnTo>
                  <a:pt x="6408" y="3091"/>
                </a:lnTo>
                <a:lnTo>
                  <a:pt x="6416" y="3077"/>
                </a:lnTo>
                <a:lnTo>
                  <a:pt x="6424" y="3065"/>
                </a:lnTo>
                <a:lnTo>
                  <a:pt x="6433" y="3053"/>
                </a:lnTo>
                <a:lnTo>
                  <a:pt x="6442" y="3041"/>
                </a:lnTo>
                <a:lnTo>
                  <a:pt x="6452" y="3030"/>
                </a:lnTo>
                <a:lnTo>
                  <a:pt x="6462" y="3019"/>
                </a:lnTo>
                <a:lnTo>
                  <a:pt x="6473" y="3008"/>
                </a:lnTo>
                <a:lnTo>
                  <a:pt x="6485" y="2998"/>
                </a:lnTo>
                <a:lnTo>
                  <a:pt x="6496" y="2989"/>
                </a:lnTo>
                <a:lnTo>
                  <a:pt x="6508" y="2980"/>
                </a:lnTo>
                <a:lnTo>
                  <a:pt x="6521" y="2972"/>
                </a:lnTo>
                <a:lnTo>
                  <a:pt x="6534" y="2965"/>
                </a:lnTo>
                <a:lnTo>
                  <a:pt x="6548" y="2958"/>
                </a:lnTo>
                <a:lnTo>
                  <a:pt x="6562" y="2952"/>
                </a:lnTo>
                <a:lnTo>
                  <a:pt x="6575" y="2946"/>
                </a:lnTo>
                <a:lnTo>
                  <a:pt x="6590" y="2941"/>
                </a:lnTo>
                <a:lnTo>
                  <a:pt x="6605" y="2937"/>
                </a:lnTo>
                <a:lnTo>
                  <a:pt x="6620" y="2933"/>
                </a:lnTo>
                <a:lnTo>
                  <a:pt x="6635" y="2931"/>
                </a:lnTo>
                <a:lnTo>
                  <a:pt x="6651" y="2929"/>
                </a:lnTo>
                <a:lnTo>
                  <a:pt x="6667" y="2927"/>
                </a:lnTo>
                <a:lnTo>
                  <a:pt x="6683" y="2927"/>
                </a:lnTo>
                <a:close/>
                <a:moveTo>
                  <a:pt x="718" y="0"/>
                </a:moveTo>
                <a:lnTo>
                  <a:pt x="8466" y="0"/>
                </a:lnTo>
                <a:lnTo>
                  <a:pt x="8503" y="1"/>
                </a:lnTo>
                <a:lnTo>
                  <a:pt x="8539" y="4"/>
                </a:lnTo>
                <a:lnTo>
                  <a:pt x="8575" y="8"/>
                </a:lnTo>
                <a:lnTo>
                  <a:pt x="8611" y="14"/>
                </a:lnTo>
                <a:lnTo>
                  <a:pt x="8646" y="23"/>
                </a:lnTo>
                <a:lnTo>
                  <a:pt x="8680" y="32"/>
                </a:lnTo>
                <a:lnTo>
                  <a:pt x="8713" y="43"/>
                </a:lnTo>
                <a:lnTo>
                  <a:pt x="8745" y="57"/>
                </a:lnTo>
                <a:lnTo>
                  <a:pt x="8777" y="71"/>
                </a:lnTo>
                <a:lnTo>
                  <a:pt x="8808" y="87"/>
                </a:lnTo>
                <a:lnTo>
                  <a:pt x="8837" y="104"/>
                </a:lnTo>
                <a:lnTo>
                  <a:pt x="8867" y="123"/>
                </a:lnTo>
                <a:lnTo>
                  <a:pt x="8895" y="143"/>
                </a:lnTo>
                <a:lnTo>
                  <a:pt x="8922" y="164"/>
                </a:lnTo>
                <a:lnTo>
                  <a:pt x="8948" y="186"/>
                </a:lnTo>
                <a:lnTo>
                  <a:pt x="8974" y="210"/>
                </a:lnTo>
                <a:lnTo>
                  <a:pt x="8997" y="236"/>
                </a:lnTo>
                <a:lnTo>
                  <a:pt x="9020" y="262"/>
                </a:lnTo>
                <a:lnTo>
                  <a:pt x="9041" y="288"/>
                </a:lnTo>
                <a:lnTo>
                  <a:pt x="9061" y="316"/>
                </a:lnTo>
                <a:lnTo>
                  <a:pt x="9080" y="346"/>
                </a:lnTo>
                <a:lnTo>
                  <a:pt x="9097" y="376"/>
                </a:lnTo>
                <a:lnTo>
                  <a:pt x="9113" y="407"/>
                </a:lnTo>
                <a:lnTo>
                  <a:pt x="9127" y="439"/>
                </a:lnTo>
                <a:lnTo>
                  <a:pt x="9141" y="471"/>
                </a:lnTo>
                <a:lnTo>
                  <a:pt x="9152" y="504"/>
                </a:lnTo>
                <a:lnTo>
                  <a:pt x="9161" y="538"/>
                </a:lnTo>
                <a:lnTo>
                  <a:pt x="9170" y="573"/>
                </a:lnTo>
                <a:lnTo>
                  <a:pt x="9176" y="608"/>
                </a:lnTo>
                <a:lnTo>
                  <a:pt x="9180" y="644"/>
                </a:lnTo>
                <a:lnTo>
                  <a:pt x="9183" y="680"/>
                </a:lnTo>
                <a:lnTo>
                  <a:pt x="9184" y="717"/>
                </a:lnTo>
                <a:lnTo>
                  <a:pt x="9184" y="15761"/>
                </a:lnTo>
                <a:lnTo>
                  <a:pt x="9183" y="15798"/>
                </a:lnTo>
                <a:lnTo>
                  <a:pt x="9180" y="15834"/>
                </a:lnTo>
                <a:lnTo>
                  <a:pt x="9176" y="15870"/>
                </a:lnTo>
                <a:lnTo>
                  <a:pt x="9170" y="15905"/>
                </a:lnTo>
                <a:lnTo>
                  <a:pt x="9161" y="15940"/>
                </a:lnTo>
                <a:lnTo>
                  <a:pt x="9152" y="15974"/>
                </a:lnTo>
                <a:lnTo>
                  <a:pt x="9141" y="16007"/>
                </a:lnTo>
                <a:lnTo>
                  <a:pt x="9127" y="16040"/>
                </a:lnTo>
                <a:lnTo>
                  <a:pt x="9113" y="16071"/>
                </a:lnTo>
                <a:lnTo>
                  <a:pt x="9097" y="16102"/>
                </a:lnTo>
                <a:lnTo>
                  <a:pt x="9080" y="16132"/>
                </a:lnTo>
                <a:lnTo>
                  <a:pt x="9061" y="16162"/>
                </a:lnTo>
                <a:lnTo>
                  <a:pt x="9041" y="16190"/>
                </a:lnTo>
                <a:lnTo>
                  <a:pt x="9020" y="16216"/>
                </a:lnTo>
                <a:lnTo>
                  <a:pt x="8997" y="16243"/>
                </a:lnTo>
                <a:lnTo>
                  <a:pt x="8974" y="16268"/>
                </a:lnTo>
                <a:lnTo>
                  <a:pt x="8948" y="16292"/>
                </a:lnTo>
                <a:lnTo>
                  <a:pt x="8922" y="16314"/>
                </a:lnTo>
                <a:lnTo>
                  <a:pt x="8895" y="16335"/>
                </a:lnTo>
                <a:lnTo>
                  <a:pt x="8867" y="16355"/>
                </a:lnTo>
                <a:lnTo>
                  <a:pt x="8837" y="16374"/>
                </a:lnTo>
                <a:lnTo>
                  <a:pt x="8808" y="16391"/>
                </a:lnTo>
                <a:lnTo>
                  <a:pt x="8777" y="16407"/>
                </a:lnTo>
                <a:lnTo>
                  <a:pt x="8745" y="16421"/>
                </a:lnTo>
                <a:lnTo>
                  <a:pt x="8713" y="16435"/>
                </a:lnTo>
                <a:lnTo>
                  <a:pt x="8680" y="16446"/>
                </a:lnTo>
                <a:lnTo>
                  <a:pt x="8646" y="16455"/>
                </a:lnTo>
                <a:lnTo>
                  <a:pt x="8611" y="16464"/>
                </a:lnTo>
                <a:lnTo>
                  <a:pt x="8575" y="16470"/>
                </a:lnTo>
                <a:lnTo>
                  <a:pt x="8539" y="16474"/>
                </a:lnTo>
                <a:lnTo>
                  <a:pt x="8503" y="16477"/>
                </a:lnTo>
                <a:lnTo>
                  <a:pt x="8466" y="16478"/>
                </a:lnTo>
                <a:lnTo>
                  <a:pt x="718" y="16478"/>
                </a:lnTo>
                <a:lnTo>
                  <a:pt x="681" y="16477"/>
                </a:lnTo>
                <a:lnTo>
                  <a:pt x="645" y="16474"/>
                </a:lnTo>
                <a:lnTo>
                  <a:pt x="609" y="16470"/>
                </a:lnTo>
                <a:lnTo>
                  <a:pt x="573" y="16464"/>
                </a:lnTo>
                <a:lnTo>
                  <a:pt x="538" y="16455"/>
                </a:lnTo>
                <a:lnTo>
                  <a:pt x="504" y="16446"/>
                </a:lnTo>
                <a:lnTo>
                  <a:pt x="471" y="16435"/>
                </a:lnTo>
                <a:lnTo>
                  <a:pt x="438" y="16421"/>
                </a:lnTo>
                <a:lnTo>
                  <a:pt x="407" y="16407"/>
                </a:lnTo>
                <a:lnTo>
                  <a:pt x="376" y="16391"/>
                </a:lnTo>
                <a:lnTo>
                  <a:pt x="347" y="16374"/>
                </a:lnTo>
                <a:lnTo>
                  <a:pt x="317" y="16355"/>
                </a:lnTo>
                <a:lnTo>
                  <a:pt x="289" y="16335"/>
                </a:lnTo>
                <a:lnTo>
                  <a:pt x="262" y="16314"/>
                </a:lnTo>
                <a:lnTo>
                  <a:pt x="235" y="16292"/>
                </a:lnTo>
                <a:lnTo>
                  <a:pt x="210" y="16268"/>
                </a:lnTo>
                <a:lnTo>
                  <a:pt x="187" y="16243"/>
                </a:lnTo>
                <a:lnTo>
                  <a:pt x="164" y="16216"/>
                </a:lnTo>
                <a:lnTo>
                  <a:pt x="143" y="16190"/>
                </a:lnTo>
                <a:lnTo>
                  <a:pt x="123" y="16162"/>
                </a:lnTo>
                <a:lnTo>
                  <a:pt x="104" y="16132"/>
                </a:lnTo>
                <a:lnTo>
                  <a:pt x="87" y="16102"/>
                </a:lnTo>
                <a:lnTo>
                  <a:pt x="71" y="16071"/>
                </a:lnTo>
                <a:lnTo>
                  <a:pt x="57" y="16040"/>
                </a:lnTo>
                <a:lnTo>
                  <a:pt x="43" y="16007"/>
                </a:lnTo>
                <a:lnTo>
                  <a:pt x="32" y="15974"/>
                </a:lnTo>
                <a:lnTo>
                  <a:pt x="23" y="15940"/>
                </a:lnTo>
                <a:lnTo>
                  <a:pt x="14" y="15905"/>
                </a:lnTo>
                <a:lnTo>
                  <a:pt x="8" y="15870"/>
                </a:lnTo>
                <a:lnTo>
                  <a:pt x="4" y="15834"/>
                </a:lnTo>
                <a:lnTo>
                  <a:pt x="1" y="15798"/>
                </a:lnTo>
                <a:lnTo>
                  <a:pt x="0" y="15761"/>
                </a:lnTo>
                <a:lnTo>
                  <a:pt x="0" y="717"/>
                </a:lnTo>
                <a:lnTo>
                  <a:pt x="1" y="680"/>
                </a:lnTo>
                <a:lnTo>
                  <a:pt x="4" y="644"/>
                </a:lnTo>
                <a:lnTo>
                  <a:pt x="8" y="608"/>
                </a:lnTo>
                <a:lnTo>
                  <a:pt x="14" y="573"/>
                </a:lnTo>
                <a:lnTo>
                  <a:pt x="23" y="538"/>
                </a:lnTo>
                <a:lnTo>
                  <a:pt x="32" y="504"/>
                </a:lnTo>
                <a:lnTo>
                  <a:pt x="43" y="471"/>
                </a:lnTo>
                <a:lnTo>
                  <a:pt x="57" y="439"/>
                </a:lnTo>
                <a:lnTo>
                  <a:pt x="71" y="407"/>
                </a:lnTo>
                <a:lnTo>
                  <a:pt x="87" y="376"/>
                </a:lnTo>
                <a:lnTo>
                  <a:pt x="104" y="346"/>
                </a:lnTo>
                <a:lnTo>
                  <a:pt x="123" y="316"/>
                </a:lnTo>
                <a:lnTo>
                  <a:pt x="143" y="288"/>
                </a:lnTo>
                <a:lnTo>
                  <a:pt x="164" y="262"/>
                </a:lnTo>
                <a:lnTo>
                  <a:pt x="187" y="236"/>
                </a:lnTo>
                <a:lnTo>
                  <a:pt x="210" y="210"/>
                </a:lnTo>
                <a:lnTo>
                  <a:pt x="235" y="186"/>
                </a:lnTo>
                <a:lnTo>
                  <a:pt x="262" y="164"/>
                </a:lnTo>
                <a:lnTo>
                  <a:pt x="289" y="143"/>
                </a:lnTo>
                <a:lnTo>
                  <a:pt x="317" y="123"/>
                </a:lnTo>
                <a:lnTo>
                  <a:pt x="347" y="104"/>
                </a:lnTo>
                <a:lnTo>
                  <a:pt x="376" y="87"/>
                </a:lnTo>
                <a:lnTo>
                  <a:pt x="407" y="71"/>
                </a:lnTo>
                <a:lnTo>
                  <a:pt x="438" y="57"/>
                </a:lnTo>
                <a:lnTo>
                  <a:pt x="471" y="43"/>
                </a:lnTo>
                <a:lnTo>
                  <a:pt x="504" y="32"/>
                </a:lnTo>
                <a:lnTo>
                  <a:pt x="538" y="23"/>
                </a:lnTo>
                <a:lnTo>
                  <a:pt x="573" y="14"/>
                </a:lnTo>
                <a:lnTo>
                  <a:pt x="609" y="8"/>
                </a:lnTo>
                <a:lnTo>
                  <a:pt x="645" y="4"/>
                </a:lnTo>
                <a:lnTo>
                  <a:pt x="681" y="1"/>
                </a:lnTo>
                <a:lnTo>
                  <a:pt x="718" y="0"/>
                </a:lnTo>
                <a:close/>
                <a:moveTo>
                  <a:pt x="1756" y="2329"/>
                </a:moveTo>
                <a:lnTo>
                  <a:pt x="7428" y="2329"/>
                </a:lnTo>
                <a:lnTo>
                  <a:pt x="7446" y="2330"/>
                </a:lnTo>
                <a:lnTo>
                  <a:pt x="7464" y="2331"/>
                </a:lnTo>
                <a:lnTo>
                  <a:pt x="7481" y="2333"/>
                </a:lnTo>
                <a:lnTo>
                  <a:pt x="7498" y="2336"/>
                </a:lnTo>
                <a:lnTo>
                  <a:pt x="7514" y="2340"/>
                </a:lnTo>
                <a:lnTo>
                  <a:pt x="7531" y="2344"/>
                </a:lnTo>
                <a:lnTo>
                  <a:pt x="7547" y="2350"/>
                </a:lnTo>
                <a:lnTo>
                  <a:pt x="7563" y="2356"/>
                </a:lnTo>
                <a:lnTo>
                  <a:pt x="7577" y="2363"/>
                </a:lnTo>
                <a:lnTo>
                  <a:pt x="7592" y="2371"/>
                </a:lnTo>
                <a:lnTo>
                  <a:pt x="7607" y="2379"/>
                </a:lnTo>
                <a:lnTo>
                  <a:pt x="7621" y="2388"/>
                </a:lnTo>
                <a:lnTo>
                  <a:pt x="7635" y="2398"/>
                </a:lnTo>
                <a:lnTo>
                  <a:pt x="7647" y="2408"/>
                </a:lnTo>
                <a:lnTo>
                  <a:pt x="7660" y="2418"/>
                </a:lnTo>
                <a:lnTo>
                  <a:pt x="7672" y="2429"/>
                </a:lnTo>
                <a:lnTo>
                  <a:pt x="7683" y="2442"/>
                </a:lnTo>
                <a:lnTo>
                  <a:pt x="7695" y="2454"/>
                </a:lnTo>
                <a:lnTo>
                  <a:pt x="7705" y="2468"/>
                </a:lnTo>
                <a:lnTo>
                  <a:pt x="7714" y="2481"/>
                </a:lnTo>
                <a:lnTo>
                  <a:pt x="7723" y="2495"/>
                </a:lnTo>
                <a:lnTo>
                  <a:pt x="7732" y="2510"/>
                </a:lnTo>
                <a:lnTo>
                  <a:pt x="7739" y="2524"/>
                </a:lnTo>
                <a:lnTo>
                  <a:pt x="7746" y="2540"/>
                </a:lnTo>
                <a:lnTo>
                  <a:pt x="7752" y="2555"/>
                </a:lnTo>
                <a:lnTo>
                  <a:pt x="7758" y="2572"/>
                </a:lnTo>
                <a:lnTo>
                  <a:pt x="7763" y="2588"/>
                </a:lnTo>
                <a:lnTo>
                  <a:pt x="7767" y="2605"/>
                </a:lnTo>
                <a:lnTo>
                  <a:pt x="7770" y="2621"/>
                </a:lnTo>
                <a:lnTo>
                  <a:pt x="7772" y="2639"/>
                </a:lnTo>
                <a:lnTo>
                  <a:pt x="7773" y="2656"/>
                </a:lnTo>
                <a:lnTo>
                  <a:pt x="7774" y="2674"/>
                </a:lnTo>
                <a:lnTo>
                  <a:pt x="7774" y="3757"/>
                </a:lnTo>
                <a:lnTo>
                  <a:pt x="7773" y="3774"/>
                </a:lnTo>
                <a:lnTo>
                  <a:pt x="7772" y="3792"/>
                </a:lnTo>
                <a:lnTo>
                  <a:pt x="7770" y="3810"/>
                </a:lnTo>
                <a:lnTo>
                  <a:pt x="7767" y="3826"/>
                </a:lnTo>
                <a:lnTo>
                  <a:pt x="7763" y="3842"/>
                </a:lnTo>
                <a:lnTo>
                  <a:pt x="7758" y="3859"/>
                </a:lnTo>
                <a:lnTo>
                  <a:pt x="7752" y="3875"/>
                </a:lnTo>
                <a:lnTo>
                  <a:pt x="7746" y="3891"/>
                </a:lnTo>
                <a:lnTo>
                  <a:pt x="7739" y="3906"/>
                </a:lnTo>
                <a:lnTo>
                  <a:pt x="7732" y="3921"/>
                </a:lnTo>
                <a:lnTo>
                  <a:pt x="7723" y="3935"/>
                </a:lnTo>
                <a:lnTo>
                  <a:pt x="7714" y="3950"/>
                </a:lnTo>
                <a:lnTo>
                  <a:pt x="7705" y="3963"/>
                </a:lnTo>
                <a:lnTo>
                  <a:pt x="7695" y="3976"/>
                </a:lnTo>
                <a:lnTo>
                  <a:pt x="7683" y="3989"/>
                </a:lnTo>
                <a:lnTo>
                  <a:pt x="7672" y="4000"/>
                </a:lnTo>
                <a:lnTo>
                  <a:pt x="7660" y="4012"/>
                </a:lnTo>
                <a:lnTo>
                  <a:pt x="7647" y="4023"/>
                </a:lnTo>
                <a:lnTo>
                  <a:pt x="7635" y="4033"/>
                </a:lnTo>
                <a:lnTo>
                  <a:pt x="7621" y="4042"/>
                </a:lnTo>
                <a:lnTo>
                  <a:pt x="7607" y="4052"/>
                </a:lnTo>
                <a:lnTo>
                  <a:pt x="7592" y="4060"/>
                </a:lnTo>
                <a:lnTo>
                  <a:pt x="7577" y="4068"/>
                </a:lnTo>
                <a:lnTo>
                  <a:pt x="7563" y="4074"/>
                </a:lnTo>
                <a:lnTo>
                  <a:pt x="7547" y="4080"/>
                </a:lnTo>
                <a:lnTo>
                  <a:pt x="7531" y="4087"/>
                </a:lnTo>
                <a:lnTo>
                  <a:pt x="7514" y="4091"/>
                </a:lnTo>
                <a:lnTo>
                  <a:pt x="7498" y="4095"/>
                </a:lnTo>
                <a:lnTo>
                  <a:pt x="7481" y="4098"/>
                </a:lnTo>
                <a:lnTo>
                  <a:pt x="7464" y="4100"/>
                </a:lnTo>
                <a:lnTo>
                  <a:pt x="7446" y="4101"/>
                </a:lnTo>
                <a:lnTo>
                  <a:pt x="7428" y="4102"/>
                </a:lnTo>
                <a:lnTo>
                  <a:pt x="1756" y="4102"/>
                </a:lnTo>
                <a:lnTo>
                  <a:pt x="1738" y="4101"/>
                </a:lnTo>
                <a:lnTo>
                  <a:pt x="1720" y="4100"/>
                </a:lnTo>
                <a:lnTo>
                  <a:pt x="1703" y="4098"/>
                </a:lnTo>
                <a:lnTo>
                  <a:pt x="1686" y="4095"/>
                </a:lnTo>
                <a:lnTo>
                  <a:pt x="1670" y="4091"/>
                </a:lnTo>
                <a:lnTo>
                  <a:pt x="1653" y="4087"/>
                </a:lnTo>
                <a:lnTo>
                  <a:pt x="1637" y="4080"/>
                </a:lnTo>
                <a:lnTo>
                  <a:pt x="1621" y="4074"/>
                </a:lnTo>
                <a:lnTo>
                  <a:pt x="1606" y="4068"/>
                </a:lnTo>
                <a:lnTo>
                  <a:pt x="1592" y="4060"/>
                </a:lnTo>
                <a:lnTo>
                  <a:pt x="1577" y="4052"/>
                </a:lnTo>
                <a:lnTo>
                  <a:pt x="1563" y="4042"/>
                </a:lnTo>
                <a:lnTo>
                  <a:pt x="1549" y="4033"/>
                </a:lnTo>
                <a:lnTo>
                  <a:pt x="1536" y="4023"/>
                </a:lnTo>
                <a:lnTo>
                  <a:pt x="1523" y="4012"/>
                </a:lnTo>
                <a:lnTo>
                  <a:pt x="1512" y="4000"/>
                </a:lnTo>
                <a:lnTo>
                  <a:pt x="1501" y="3989"/>
                </a:lnTo>
                <a:lnTo>
                  <a:pt x="1489" y="3976"/>
                </a:lnTo>
                <a:lnTo>
                  <a:pt x="1479" y="3963"/>
                </a:lnTo>
                <a:lnTo>
                  <a:pt x="1470" y="3950"/>
                </a:lnTo>
                <a:lnTo>
                  <a:pt x="1461" y="3935"/>
                </a:lnTo>
                <a:lnTo>
                  <a:pt x="1452" y="3921"/>
                </a:lnTo>
                <a:lnTo>
                  <a:pt x="1445" y="3906"/>
                </a:lnTo>
                <a:lnTo>
                  <a:pt x="1438" y="3891"/>
                </a:lnTo>
                <a:lnTo>
                  <a:pt x="1432" y="3875"/>
                </a:lnTo>
                <a:lnTo>
                  <a:pt x="1426" y="3859"/>
                </a:lnTo>
                <a:lnTo>
                  <a:pt x="1421" y="3842"/>
                </a:lnTo>
                <a:lnTo>
                  <a:pt x="1417" y="3826"/>
                </a:lnTo>
                <a:lnTo>
                  <a:pt x="1414" y="3810"/>
                </a:lnTo>
                <a:lnTo>
                  <a:pt x="1412" y="3792"/>
                </a:lnTo>
                <a:lnTo>
                  <a:pt x="1411" y="3774"/>
                </a:lnTo>
                <a:lnTo>
                  <a:pt x="1410" y="3757"/>
                </a:lnTo>
                <a:lnTo>
                  <a:pt x="1410" y="2674"/>
                </a:lnTo>
                <a:lnTo>
                  <a:pt x="1411" y="2656"/>
                </a:lnTo>
                <a:lnTo>
                  <a:pt x="1412" y="2639"/>
                </a:lnTo>
                <a:lnTo>
                  <a:pt x="1414" y="2621"/>
                </a:lnTo>
                <a:lnTo>
                  <a:pt x="1417" y="2605"/>
                </a:lnTo>
                <a:lnTo>
                  <a:pt x="1421" y="2588"/>
                </a:lnTo>
                <a:lnTo>
                  <a:pt x="1426" y="2572"/>
                </a:lnTo>
                <a:lnTo>
                  <a:pt x="1432" y="2555"/>
                </a:lnTo>
                <a:lnTo>
                  <a:pt x="1438" y="2540"/>
                </a:lnTo>
                <a:lnTo>
                  <a:pt x="1445" y="2524"/>
                </a:lnTo>
                <a:lnTo>
                  <a:pt x="1452" y="2510"/>
                </a:lnTo>
                <a:lnTo>
                  <a:pt x="1461" y="2495"/>
                </a:lnTo>
                <a:lnTo>
                  <a:pt x="1470" y="2481"/>
                </a:lnTo>
                <a:lnTo>
                  <a:pt x="1479" y="2468"/>
                </a:lnTo>
                <a:lnTo>
                  <a:pt x="1489" y="2454"/>
                </a:lnTo>
                <a:lnTo>
                  <a:pt x="1501" y="2442"/>
                </a:lnTo>
                <a:lnTo>
                  <a:pt x="1512" y="2429"/>
                </a:lnTo>
                <a:lnTo>
                  <a:pt x="1523" y="2418"/>
                </a:lnTo>
                <a:lnTo>
                  <a:pt x="1536" y="2408"/>
                </a:lnTo>
                <a:lnTo>
                  <a:pt x="1549" y="2398"/>
                </a:lnTo>
                <a:lnTo>
                  <a:pt x="1563" y="2388"/>
                </a:lnTo>
                <a:lnTo>
                  <a:pt x="1577" y="2379"/>
                </a:lnTo>
                <a:lnTo>
                  <a:pt x="1592" y="2371"/>
                </a:lnTo>
                <a:lnTo>
                  <a:pt x="1606" y="2363"/>
                </a:lnTo>
                <a:lnTo>
                  <a:pt x="1621" y="2356"/>
                </a:lnTo>
                <a:lnTo>
                  <a:pt x="1637" y="2350"/>
                </a:lnTo>
                <a:lnTo>
                  <a:pt x="1653" y="2344"/>
                </a:lnTo>
                <a:lnTo>
                  <a:pt x="1670" y="2340"/>
                </a:lnTo>
                <a:lnTo>
                  <a:pt x="1686" y="2336"/>
                </a:lnTo>
                <a:lnTo>
                  <a:pt x="1703" y="2333"/>
                </a:lnTo>
                <a:lnTo>
                  <a:pt x="1720" y="2331"/>
                </a:lnTo>
                <a:lnTo>
                  <a:pt x="1738" y="2330"/>
                </a:lnTo>
                <a:lnTo>
                  <a:pt x="1756" y="2329"/>
                </a:lnTo>
                <a:close/>
                <a:moveTo>
                  <a:pt x="1756" y="4840"/>
                </a:moveTo>
                <a:lnTo>
                  <a:pt x="7428" y="4840"/>
                </a:lnTo>
                <a:lnTo>
                  <a:pt x="7446" y="4841"/>
                </a:lnTo>
                <a:lnTo>
                  <a:pt x="7464" y="4842"/>
                </a:lnTo>
                <a:lnTo>
                  <a:pt x="7481" y="4845"/>
                </a:lnTo>
                <a:lnTo>
                  <a:pt x="7498" y="4848"/>
                </a:lnTo>
                <a:lnTo>
                  <a:pt x="7514" y="4852"/>
                </a:lnTo>
                <a:lnTo>
                  <a:pt x="7531" y="4856"/>
                </a:lnTo>
                <a:lnTo>
                  <a:pt x="7547" y="4862"/>
                </a:lnTo>
                <a:lnTo>
                  <a:pt x="7563" y="4868"/>
                </a:lnTo>
                <a:lnTo>
                  <a:pt x="7577" y="4874"/>
                </a:lnTo>
                <a:lnTo>
                  <a:pt x="7592" y="4883"/>
                </a:lnTo>
                <a:lnTo>
                  <a:pt x="7607" y="4891"/>
                </a:lnTo>
                <a:lnTo>
                  <a:pt x="7621" y="4900"/>
                </a:lnTo>
                <a:lnTo>
                  <a:pt x="7635" y="4909"/>
                </a:lnTo>
                <a:lnTo>
                  <a:pt x="7647" y="4920"/>
                </a:lnTo>
                <a:lnTo>
                  <a:pt x="7660" y="4930"/>
                </a:lnTo>
                <a:lnTo>
                  <a:pt x="7672" y="4941"/>
                </a:lnTo>
                <a:lnTo>
                  <a:pt x="7683" y="4954"/>
                </a:lnTo>
                <a:lnTo>
                  <a:pt x="7695" y="4966"/>
                </a:lnTo>
                <a:lnTo>
                  <a:pt x="7705" y="4979"/>
                </a:lnTo>
                <a:lnTo>
                  <a:pt x="7714" y="4993"/>
                </a:lnTo>
                <a:lnTo>
                  <a:pt x="7723" y="5007"/>
                </a:lnTo>
                <a:lnTo>
                  <a:pt x="7732" y="5022"/>
                </a:lnTo>
                <a:lnTo>
                  <a:pt x="7739" y="5036"/>
                </a:lnTo>
                <a:lnTo>
                  <a:pt x="7746" y="5052"/>
                </a:lnTo>
                <a:lnTo>
                  <a:pt x="7752" y="5067"/>
                </a:lnTo>
                <a:lnTo>
                  <a:pt x="7758" y="5083"/>
                </a:lnTo>
                <a:lnTo>
                  <a:pt x="7763" y="5100"/>
                </a:lnTo>
                <a:lnTo>
                  <a:pt x="7767" y="5116"/>
                </a:lnTo>
                <a:lnTo>
                  <a:pt x="7770" y="5133"/>
                </a:lnTo>
                <a:lnTo>
                  <a:pt x="7772" y="5150"/>
                </a:lnTo>
                <a:lnTo>
                  <a:pt x="7773" y="5168"/>
                </a:lnTo>
                <a:lnTo>
                  <a:pt x="7774" y="5185"/>
                </a:lnTo>
                <a:lnTo>
                  <a:pt x="7774" y="6269"/>
                </a:lnTo>
                <a:lnTo>
                  <a:pt x="7773" y="6286"/>
                </a:lnTo>
                <a:lnTo>
                  <a:pt x="7772" y="6304"/>
                </a:lnTo>
                <a:lnTo>
                  <a:pt x="7770" y="6321"/>
                </a:lnTo>
                <a:lnTo>
                  <a:pt x="7767" y="6338"/>
                </a:lnTo>
                <a:lnTo>
                  <a:pt x="7763" y="6355"/>
                </a:lnTo>
                <a:lnTo>
                  <a:pt x="7758" y="6371"/>
                </a:lnTo>
                <a:lnTo>
                  <a:pt x="7752" y="6387"/>
                </a:lnTo>
                <a:lnTo>
                  <a:pt x="7746" y="6403"/>
                </a:lnTo>
                <a:lnTo>
                  <a:pt x="7739" y="6418"/>
                </a:lnTo>
                <a:lnTo>
                  <a:pt x="7732" y="6433"/>
                </a:lnTo>
                <a:lnTo>
                  <a:pt x="7723" y="6447"/>
                </a:lnTo>
                <a:lnTo>
                  <a:pt x="7714" y="6461"/>
                </a:lnTo>
                <a:lnTo>
                  <a:pt x="7705" y="6475"/>
                </a:lnTo>
                <a:lnTo>
                  <a:pt x="7695" y="6488"/>
                </a:lnTo>
                <a:lnTo>
                  <a:pt x="7683" y="6501"/>
                </a:lnTo>
                <a:lnTo>
                  <a:pt x="7672" y="6513"/>
                </a:lnTo>
                <a:lnTo>
                  <a:pt x="7660" y="6524"/>
                </a:lnTo>
                <a:lnTo>
                  <a:pt x="7647" y="6535"/>
                </a:lnTo>
                <a:lnTo>
                  <a:pt x="7635" y="6545"/>
                </a:lnTo>
                <a:lnTo>
                  <a:pt x="7621" y="6554"/>
                </a:lnTo>
                <a:lnTo>
                  <a:pt x="7607" y="6563"/>
                </a:lnTo>
                <a:lnTo>
                  <a:pt x="7592" y="6572"/>
                </a:lnTo>
                <a:lnTo>
                  <a:pt x="7577" y="6580"/>
                </a:lnTo>
                <a:lnTo>
                  <a:pt x="7563" y="6586"/>
                </a:lnTo>
                <a:lnTo>
                  <a:pt x="7547" y="6592"/>
                </a:lnTo>
                <a:lnTo>
                  <a:pt x="7531" y="6598"/>
                </a:lnTo>
                <a:lnTo>
                  <a:pt x="7514" y="6603"/>
                </a:lnTo>
                <a:lnTo>
                  <a:pt x="7498" y="6607"/>
                </a:lnTo>
                <a:lnTo>
                  <a:pt x="7481" y="6610"/>
                </a:lnTo>
                <a:lnTo>
                  <a:pt x="7464" y="6612"/>
                </a:lnTo>
                <a:lnTo>
                  <a:pt x="7446" y="6613"/>
                </a:lnTo>
                <a:lnTo>
                  <a:pt x="7428" y="6614"/>
                </a:lnTo>
                <a:lnTo>
                  <a:pt x="1756" y="6614"/>
                </a:lnTo>
                <a:lnTo>
                  <a:pt x="1738" y="6613"/>
                </a:lnTo>
                <a:lnTo>
                  <a:pt x="1720" y="6612"/>
                </a:lnTo>
                <a:lnTo>
                  <a:pt x="1703" y="6610"/>
                </a:lnTo>
                <a:lnTo>
                  <a:pt x="1686" y="6607"/>
                </a:lnTo>
                <a:lnTo>
                  <a:pt x="1670" y="6603"/>
                </a:lnTo>
                <a:lnTo>
                  <a:pt x="1653" y="6598"/>
                </a:lnTo>
                <a:lnTo>
                  <a:pt x="1637" y="6592"/>
                </a:lnTo>
                <a:lnTo>
                  <a:pt x="1621" y="6586"/>
                </a:lnTo>
                <a:lnTo>
                  <a:pt x="1606" y="6580"/>
                </a:lnTo>
                <a:lnTo>
                  <a:pt x="1592" y="6572"/>
                </a:lnTo>
                <a:lnTo>
                  <a:pt x="1577" y="6563"/>
                </a:lnTo>
                <a:lnTo>
                  <a:pt x="1563" y="6554"/>
                </a:lnTo>
                <a:lnTo>
                  <a:pt x="1549" y="6545"/>
                </a:lnTo>
                <a:lnTo>
                  <a:pt x="1536" y="6535"/>
                </a:lnTo>
                <a:lnTo>
                  <a:pt x="1523" y="6524"/>
                </a:lnTo>
                <a:lnTo>
                  <a:pt x="1512" y="6513"/>
                </a:lnTo>
                <a:lnTo>
                  <a:pt x="1501" y="6501"/>
                </a:lnTo>
                <a:lnTo>
                  <a:pt x="1489" y="6488"/>
                </a:lnTo>
                <a:lnTo>
                  <a:pt x="1479" y="6475"/>
                </a:lnTo>
                <a:lnTo>
                  <a:pt x="1470" y="6461"/>
                </a:lnTo>
                <a:lnTo>
                  <a:pt x="1461" y="6447"/>
                </a:lnTo>
                <a:lnTo>
                  <a:pt x="1452" y="6433"/>
                </a:lnTo>
                <a:lnTo>
                  <a:pt x="1445" y="6418"/>
                </a:lnTo>
                <a:lnTo>
                  <a:pt x="1438" y="6403"/>
                </a:lnTo>
                <a:lnTo>
                  <a:pt x="1432" y="6387"/>
                </a:lnTo>
                <a:lnTo>
                  <a:pt x="1426" y="6371"/>
                </a:lnTo>
                <a:lnTo>
                  <a:pt x="1421" y="6355"/>
                </a:lnTo>
                <a:lnTo>
                  <a:pt x="1417" y="6338"/>
                </a:lnTo>
                <a:lnTo>
                  <a:pt x="1414" y="6321"/>
                </a:lnTo>
                <a:lnTo>
                  <a:pt x="1412" y="6304"/>
                </a:lnTo>
                <a:lnTo>
                  <a:pt x="1411" y="6286"/>
                </a:lnTo>
                <a:lnTo>
                  <a:pt x="1410" y="6269"/>
                </a:lnTo>
                <a:lnTo>
                  <a:pt x="1410" y="5185"/>
                </a:lnTo>
                <a:lnTo>
                  <a:pt x="1411" y="5168"/>
                </a:lnTo>
                <a:lnTo>
                  <a:pt x="1412" y="5150"/>
                </a:lnTo>
                <a:lnTo>
                  <a:pt x="1414" y="5133"/>
                </a:lnTo>
                <a:lnTo>
                  <a:pt x="1417" y="5116"/>
                </a:lnTo>
                <a:lnTo>
                  <a:pt x="1421" y="5100"/>
                </a:lnTo>
                <a:lnTo>
                  <a:pt x="1426" y="5083"/>
                </a:lnTo>
                <a:lnTo>
                  <a:pt x="1432" y="5067"/>
                </a:lnTo>
                <a:lnTo>
                  <a:pt x="1438" y="5052"/>
                </a:lnTo>
                <a:lnTo>
                  <a:pt x="1445" y="5036"/>
                </a:lnTo>
                <a:lnTo>
                  <a:pt x="1452" y="5022"/>
                </a:lnTo>
                <a:lnTo>
                  <a:pt x="1461" y="5007"/>
                </a:lnTo>
                <a:lnTo>
                  <a:pt x="1470" y="4993"/>
                </a:lnTo>
                <a:lnTo>
                  <a:pt x="1479" y="4979"/>
                </a:lnTo>
                <a:lnTo>
                  <a:pt x="1489" y="4966"/>
                </a:lnTo>
                <a:lnTo>
                  <a:pt x="1501" y="4954"/>
                </a:lnTo>
                <a:lnTo>
                  <a:pt x="1512" y="4941"/>
                </a:lnTo>
                <a:lnTo>
                  <a:pt x="1523" y="4930"/>
                </a:lnTo>
                <a:lnTo>
                  <a:pt x="1536" y="4920"/>
                </a:lnTo>
                <a:lnTo>
                  <a:pt x="1549" y="4909"/>
                </a:lnTo>
                <a:lnTo>
                  <a:pt x="1563" y="4900"/>
                </a:lnTo>
                <a:lnTo>
                  <a:pt x="1577" y="4891"/>
                </a:lnTo>
                <a:lnTo>
                  <a:pt x="1592" y="4883"/>
                </a:lnTo>
                <a:lnTo>
                  <a:pt x="1606" y="4874"/>
                </a:lnTo>
                <a:lnTo>
                  <a:pt x="1621" y="4868"/>
                </a:lnTo>
                <a:lnTo>
                  <a:pt x="1637" y="4862"/>
                </a:lnTo>
                <a:lnTo>
                  <a:pt x="1653" y="4856"/>
                </a:lnTo>
                <a:lnTo>
                  <a:pt x="1670" y="4852"/>
                </a:lnTo>
                <a:lnTo>
                  <a:pt x="1686" y="4848"/>
                </a:lnTo>
                <a:lnTo>
                  <a:pt x="1703" y="4845"/>
                </a:lnTo>
                <a:lnTo>
                  <a:pt x="1720" y="4842"/>
                </a:lnTo>
                <a:lnTo>
                  <a:pt x="1738" y="4841"/>
                </a:lnTo>
                <a:lnTo>
                  <a:pt x="1756" y="4840"/>
                </a:lnTo>
                <a:close/>
                <a:moveTo>
                  <a:pt x="1756" y="7352"/>
                </a:moveTo>
                <a:lnTo>
                  <a:pt x="7428" y="7352"/>
                </a:lnTo>
                <a:lnTo>
                  <a:pt x="7446" y="7353"/>
                </a:lnTo>
                <a:lnTo>
                  <a:pt x="7464" y="7354"/>
                </a:lnTo>
                <a:lnTo>
                  <a:pt x="7481" y="7356"/>
                </a:lnTo>
                <a:lnTo>
                  <a:pt x="7498" y="7359"/>
                </a:lnTo>
                <a:lnTo>
                  <a:pt x="7514" y="7364"/>
                </a:lnTo>
                <a:lnTo>
                  <a:pt x="7531" y="7368"/>
                </a:lnTo>
                <a:lnTo>
                  <a:pt x="7547" y="7374"/>
                </a:lnTo>
                <a:lnTo>
                  <a:pt x="7563" y="7380"/>
                </a:lnTo>
                <a:lnTo>
                  <a:pt x="7577" y="7386"/>
                </a:lnTo>
                <a:lnTo>
                  <a:pt x="7592" y="7395"/>
                </a:lnTo>
                <a:lnTo>
                  <a:pt x="7607" y="7403"/>
                </a:lnTo>
                <a:lnTo>
                  <a:pt x="7621" y="7412"/>
                </a:lnTo>
                <a:lnTo>
                  <a:pt x="7635" y="7421"/>
                </a:lnTo>
                <a:lnTo>
                  <a:pt x="7647" y="7432"/>
                </a:lnTo>
                <a:lnTo>
                  <a:pt x="7660" y="7442"/>
                </a:lnTo>
                <a:lnTo>
                  <a:pt x="7672" y="7454"/>
                </a:lnTo>
                <a:lnTo>
                  <a:pt x="7683" y="7466"/>
                </a:lnTo>
                <a:lnTo>
                  <a:pt x="7695" y="7478"/>
                </a:lnTo>
                <a:lnTo>
                  <a:pt x="7705" y="7491"/>
                </a:lnTo>
                <a:lnTo>
                  <a:pt x="7714" y="7505"/>
                </a:lnTo>
                <a:lnTo>
                  <a:pt x="7723" y="7519"/>
                </a:lnTo>
                <a:lnTo>
                  <a:pt x="7732" y="7534"/>
                </a:lnTo>
                <a:lnTo>
                  <a:pt x="7739" y="7548"/>
                </a:lnTo>
                <a:lnTo>
                  <a:pt x="7746" y="7563"/>
                </a:lnTo>
                <a:lnTo>
                  <a:pt x="7752" y="7579"/>
                </a:lnTo>
                <a:lnTo>
                  <a:pt x="7758" y="7595"/>
                </a:lnTo>
                <a:lnTo>
                  <a:pt x="7763" y="7612"/>
                </a:lnTo>
                <a:lnTo>
                  <a:pt x="7767" y="7628"/>
                </a:lnTo>
                <a:lnTo>
                  <a:pt x="7770" y="7645"/>
                </a:lnTo>
                <a:lnTo>
                  <a:pt x="7772" y="7662"/>
                </a:lnTo>
                <a:lnTo>
                  <a:pt x="7773" y="7680"/>
                </a:lnTo>
                <a:lnTo>
                  <a:pt x="7774" y="7697"/>
                </a:lnTo>
                <a:lnTo>
                  <a:pt x="7774" y="8781"/>
                </a:lnTo>
                <a:lnTo>
                  <a:pt x="7773" y="8798"/>
                </a:lnTo>
                <a:lnTo>
                  <a:pt x="7772" y="8816"/>
                </a:lnTo>
                <a:lnTo>
                  <a:pt x="7770" y="8833"/>
                </a:lnTo>
                <a:lnTo>
                  <a:pt x="7767" y="8850"/>
                </a:lnTo>
                <a:lnTo>
                  <a:pt x="7763" y="8867"/>
                </a:lnTo>
                <a:lnTo>
                  <a:pt x="7758" y="8883"/>
                </a:lnTo>
                <a:lnTo>
                  <a:pt x="7752" y="8899"/>
                </a:lnTo>
                <a:lnTo>
                  <a:pt x="7746" y="8915"/>
                </a:lnTo>
                <a:lnTo>
                  <a:pt x="7739" y="8930"/>
                </a:lnTo>
                <a:lnTo>
                  <a:pt x="7732" y="8944"/>
                </a:lnTo>
                <a:lnTo>
                  <a:pt x="7723" y="8959"/>
                </a:lnTo>
                <a:lnTo>
                  <a:pt x="7714" y="8973"/>
                </a:lnTo>
                <a:lnTo>
                  <a:pt x="7705" y="8987"/>
                </a:lnTo>
                <a:lnTo>
                  <a:pt x="7695" y="9000"/>
                </a:lnTo>
                <a:lnTo>
                  <a:pt x="7683" y="9012"/>
                </a:lnTo>
                <a:lnTo>
                  <a:pt x="7672" y="9025"/>
                </a:lnTo>
                <a:lnTo>
                  <a:pt x="7660" y="9036"/>
                </a:lnTo>
                <a:lnTo>
                  <a:pt x="7647" y="9046"/>
                </a:lnTo>
                <a:lnTo>
                  <a:pt x="7635" y="9057"/>
                </a:lnTo>
                <a:lnTo>
                  <a:pt x="7621" y="9067"/>
                </a:lnTo>
                <a:lnTo>
                  <a:pt x="7607" y="9075"/>
                </a:lnTo>
                <a:lnTo>
                  <a:pt x="7592" y="9083"/>
                </a:lnTo>
                <a:lnTo>
                  <a:pt x="7577" y="9092"/>
                </a:lnTo>
                <a:lnTo>
                  <a:pt x="7563" y="9098"/>
                </a:lnTo>
                <a:lnTo>
                  <a:pt x="7547" y="9105"/>
                </a:lnTo>
                <a:lnTo>
                  <a:pt x="7531" y="9110"/>
                </a:lnTo>
                <a:lnTo>
                  <a:pt x="7514" y="9114"/>
                </a:lnTo>
                <a:lnTo>
                  <a:pt x="7498" y="9119"/>
                </a:lnTo>
                <a:lnTo>
                  <a:pt x="7481" y="9122"/>
                </a:lnTo>
                <a:lnTo>
                  <a:pt x="7464" y="9124"/>
                </a:lnTo>
                <a:lnTo>
                  <a:pt x="7446" y="9125"/>
                </a:lnTo>
                <a:lnTo>
                  <a:pt x="7428" y="9126"/>
                </a:lnTo>
                <a:lnTo>
                  <a:pt x="1756" y="9126"/>
                </a:lnTo>
                <a:lnTo>
                  <a:pt x="1738" y="9125"/>
                </a:lnTo>
                <a:lnTo>
                  <a:pt x="1720" y="9124"/>
                </a:lnTo>
                <a:lnTo>
                  <a:pt x="1703" y="9122"/>
                </a:lnTo>
                <a:lnTo>
                  <a:pt x="1686" y="9119"/>
                </a:lnTo>
                <a:lnTo>
                  <a:pt x="1670" y="9114"/>
                </a:lnTo>
                <a:lnTo>
                  <a:pt x="1653" y="9110"/>
                </a:lnTo>
                <a:lnTo>
                  <a:pt x="1637" y="9105"/>
                </a:lnTo>
                <a:lnTo>
                  <a:pt x="1621" y="9098"/>
                </a:lnTo>
                <a:lnTo>
                  <a:pt x="1606" y="9092"/>
                </a:lnTo>
                <a:lnTo>
                  <a:pt x="1592" y="9083"/>
                </a:lnTo>
                <a:lnTo>
                  <a:pt x="1577" y="9075"/>
                </a:lnTo>
                <a:lnTo>
                  <a:pt x="1563" y="9067"/>
                </a:lnTo>
                <a:lnTo>
                  <a:pt x="1549" y="9057"/>
                </a:lnTo>
                <a:lnTo>
                  <a:pt x="1536" y="9046"/>
                </a:lnTo>
                <a:lnTo>
                  <a:pt x="1523" y="9036"/>
                </a:lnTo>
                <a:lnTo>
                  <a:pt x="1512" y="9025"/>
                </a:lnTo>
                <a:lnTo>
                  <a:pt x="1501" y="9012"/>
                </a:lnTo>
                <a:lnTo>
                  <a:pt x="1489" y="9000"/>
                </a:lnTo>
                <a:lnTo>
                  <a:pt x="1479" y="8987"/>
                </a:lnTo>
                <a:lnTo>
                  <a:pt x="1470" y="8973"/>
                </a:lnTo>
                <a:lnTo>
                  <a:pt x="1461" y="8959"/>
                </a:lnTo>
                <a:lnTo>
                  <a:pt x="1452" y="8944"/>
                </a:lnTo>
                <a:lnTo>
                  <a:pt x="1445" y="8930"/>
                </a:lnTo>
                <a:lnTo>
                  <a:pt x="1438" y="8915"/>
                </a:lnTo>
                <a:lnTo>
                  <a:pt x="1432" y="8899"/>
                </a:lnTo>
                <a:lnTo>
                  <a:pt x="1426" y="8883"/>
                </a:lnTo>
                <a:lnTo>
                  <a:pt x="1421" y="8867"/>
                </a:lnTo>
                <a:lnTo>
                  <a:pt x="1417" y="8850"/>
                </a:lnTo>
                <a:lnTo>
                  <a:pt x="1414" y="8833"/>
                </a:lnTo>
                <a:lnTo>
                  <a:pt x="1412" y="8816"/>
                </a:lnTo>
                <a:lnTo>
                  <a:pt x="1411" y="8798"/>
                </a:lnTo>
                <a:lnTo>
                  <a:pt x="1410" y="8781"/>
                </a:lnTo>
                <a:lnTo>
                  <a:pt x="1410" y="7697"/>
                </a:lnTo>
                <a:lnTo>
                  <a:pt x="1411" y="7680"/>
                </a:lnTo>
                <a:lnTo>
                  <a:pt x="1412" y="7662"/>
                </a:lnTo>
                <a:lnTo>
                  <a:pt x="1414" y="7645"/>
                </a:lnTo>
                <a:lnTo>
                  <a:pt x="1417" y="7628"/>
                </a:lnTo>
                <a:lnTo>
                  <a:pt x="1421" y="7612"/>
                </a:lnTo>
                <a:lnTo>
                  <a:pt x="1426" y="7595"/>
                </a:lnTo>
                <a:lnTo>
                  <a:pt x="1432" y="7579"/>
                </a:lnTo>
                <a:lnTo>
                  <a:pt x="1438" y="7563"/>
                </a:lnTo>
                <a:lnTo>
                  <a:pt x="1445" y="7548"/>
                </a:lnTo>
                <a:lnTo>
                  <a:pt x="1452" y="7534"/>
                </a:lnTo>
                <a:lnTo>
                  <a:pt x="1461" y="7519"/>
                </a:lnTo>
                <a:lnTo>
                  <a:pt x="1470" y="7505"/>
                </a:lnTo>
                <a:lnTo>
                  <a:pt x="1479" y="7491"/>
                </a:lnTo>
                <a:lnTo>
                  <a:pt x="1489" y="7478"/>
                </a:lnTo>
                <a:lnTo>
                  <a:pt x="1501" y="7466"/>
                </a:lnTo>
                <a:lnTo>
                  <a:pt x="1512" y="7454"/>
                </a:lnTo>
                <a:lnTo>
                  <a:pt x="1523" y="7442"/>
                </a:lnTo>
                <a:lnTo>
                  <a:pt x="1536" y="7432"/>
                </a:lnTo>
                <a:lnTo>
                  <a:pt x="1549" y="7421"/>
                </a:lnTo>
                <a:lnTo>
                  <a:pt x="1563" y="7412"/>
                </a:lnTo>
                <a:lnTo>
                  <a:pt x="1577" y="7403"/>
                </a:lnTo>
                <a:lnTo>
                  <a:pt x="1592" y="7395"/>
                </a:lnTo>
                <a:lnTo>
                  <a:pt x="1606" y="7386"/>
                </a:lnTo>
                <a:lnTo>
                  <a:pt x="1621" y="7380"/>
                </a:lnTo>
                <a:lnTo>
                  <a:pt x="1637" y="7374"/>
                </a:lnTo>
                <a:lnTo>
                  <a:pt x="1653" y="7368"/>
                </a:lnTo>
                <a:lnTo>
                  <a:pt x="1670" y="7364"/>
                </a:lnTo>
                <a:lnTo>
                  <a:pt x="1686" y="7359"/>
                </a:lnTo>
                <a:lnTo>
                  <a:pt x="1703" y="7356"/>
                </a:lnTo>
                <a:lnTo>
                  <a:pt x="1720" y="7354"/>
                </a:lnTo>
                <a:lnTo>
                  <a:pt x="1738" y="7353"/>
                </a:lnTo>
                <a:lnTo>
                  <a:pt x="1756" y="7352"/>
                </a:lnTo>
                <a:close/>
                <a:moveTo>
                  <a:pt x="1756" y="9864"/>
                </a:moveTo>
                <a:lnTo>
                  <a:pt x="7428" y="9864"/>
                </a:lnTo>
                <a:lnTo>
                  <a:pt x="7446" y="9865"/>
                </a:lnTo>
                <a:lnTo>
                  <a:pt x="7464" y="9866"/>
                </a:lnTo>
                <a:lnTo>
                  <a:pt x="7481" y="9868"/>
                </a:lnTo>
                <a:lnTo>
                  <a:pt x="7498" y="9871"/>
                </a:lnTo>
                <a:lnTo>
                  <a:pt x="7514" y="9875"/>
                </a:lnTo>
                <a:lnTo>
                  <a:pt x="7531" y="9880"/>
                </a:lnTo>
                <a:lnTo>
                  <a:pt x="7547" y="9886"/>
                </a:lnTo>
                <a:lnTo>
                  <a:pt x="7563" y="9892"/>
                </a:lnTo>
                <a:lnTo>
                  <a:pt x="7577" y="9898"/>
                </a:lnTo>
                <a:lnTo>
                  <a:pt x="7592" y="9906"/>
                </a:lnTo>
                <a:lnTo>
                  <a:pt x="7607" y="9915"/>
                </a:lnTo>
                <a:lnTo>
                  <a:pt x="7621" y="9924"/>
                </a:lnTo>
                <a:lnTo>
                  <a:pt x="7635" y="9933"/>
                </a:lnTo>
                <a:lnTo>
                  <a:pt x="7647" y="9943"/>
                </a:lnTo>
                <a:lnTo>
                  <a:pt x="7660" y="9954"/>
                </a:lnTo>
                <a:lnTo>
                  <a:pt x="7672" y="9966"/>
                </a:lnTo>
                <a:lnTo>
                  <a:pt x="7683" y="9977"/>
                </a:lnTo>
                <a:lnTo>
                  <a:pt x="7695" y="9990"/>
                </a:lnTo>
                <a:lnTo>
                  <a:pt x="7705" y="10003"/>
                </a:lnTo>
                <a:lnTo>
                  <a:pt x="7714" y="10017"/>
                </a:lnTo>
                <a:lnTo>
                  <a:pt x="7723" y="10031"/>
                </a:lnTo>
                <a:lnTo>
                  <a:pt x="7732" y="10045"/>
                </a:lnTo>
                <a:lnTo>
                  <a:pt x="7739" y="10060"/>
                </a:lnTo>
                <a:lnTo>
                  <a:pt x="7746" y="10075"/>
                </a:lnTo>
                <a:lnTo>
                  <a:pt x="7752" y="10091"/>
                </a:lnTo>
                <a:lnTo>
                  <a:pt x="7758" y="10107"/>
                </a:lnTo>
                <a:lnTo>
                  <a:pt x="7763" y="10124"/>
                </a:lnTo>
                <a:lnTo>
                  <a:pt x="7767" y="10140"/>
                </a:lnTo>
                <a:lnTo>
                  <a:pt x="7770" y="10157"/>
                </a:lnTo>
                <a:lnTo>
                  <a:pt x="7772" y="10174"/>
                </a:lnTo>
                <a:lnTo>
                  <a:pt x="7773" y="10192"/>
                </a:lnTo>
                <a:lnTo>
                  <a:pt x="7774" y="10209"/>
                </a:lnTo>
                <a:lnTo>
                  <a:pt x="7774" y="11293"/>
                </a:lnTo>
                <a:lnTo>
                  <a:pt x="7773" y="11310"/>
                </a:lnTo>
                <a:lnTo>
                  <a:pt x="7772" y="11328"/>
                </a:lnTo>
                <a:lnTo>
                  <a:pt x="7770" y="11345"/>
                </a:lnTo>
                <a:lnTo>
                  <a:pt x="7767" y="11362"/>
                </a:lnTo>
                <a:lnTo>
                  <a:pt x="7763" y="11379"/>
                </a:lnTo>
                <a:lnTo>
                  <a:pt x="7758" y="11395"/>
                </a:lnTo>
                <a:lnTo>
                  <a:pt x="7752" y="11411"/>
                </a:lnTo>
                <a:lnTo>
                  <a:pt x="7746" y="11426"/>
                </a:lnTo>
                <a:lnTo>
                  <a:pt x="7739" y="11442"/>
                </a:lnTo>
                <a:lnTo>
                  <a:pt x="7732" y="11456"/>
                </a:lnTo>
                <a:lnTo>
                  <a:pt x="7723" y="11471"/>
                </a:lnTo>
                <a:lnTo>
                  <a:pt x="7714" y="11485"/>
                </a:lnTo>
                <a:lnTo>
                  <a:pt x="7705" y="11499"/>
                </a:lnTo>
                <a:lnTo>
                  <a:pt x="7695" y="11512"/>
                </a:lnTo>
                <a:lnTo>
                  <a:pt x="7683" y="11524"/>
                </a:lnTo>
                <a:lnTo>
                  <a:pt x="7672" y="11537"/>
                </a:lnTo>
                <a:lnTo>
                  <a:pt x="7660" y="11548"/>
                </a:lnTo>
                <a:lnTo>
                  <a:pt x="7647" y="11558"/>
                </a:lnTo>
                <a:lnTo>
                  <a:pt x="7635" y="11569"/>
                </a:lnTo>
                <a:lnTo>
                  <a:pt x="7621" y="11579"/>
                </a:lnTo>
                <a:lnTo>
                  <a:pt x="7607" y="11587"/>
                </a:lnTo>
                <a:lnTo>
                  <a:pt x="7592" y="11595"/>
                </a:lnTo>
                <a:lnTo>
                  <a:pt x="7577" y="11604"/>
                </a:lnTo>
                <a:lnTo>
                  <a:pt x="7563" y="11610"/>
                </a:lnTo>
                <a:lnTo>
                  <a:pt x="7547" y="11617"/>
                </a:lnTo>
                <a:lnTo>
                  <a:pt x="7531" y="11622"/>
                </a:lnTo>
                <a:lnTo>
                  <a:pt x="7514" y="11626"/>
                </a:lnTo>
                <a:lnTo>
                  <a:pt x="7498" y="11630"/>
                </a:lnTo>
                <a:lnTo>
                  <a:pt x="7481" y="11633"/>
                </a:lnTo>
                <a:lnTo>
                  <a:pt x="7464" y="11636"/>
                </a:lnTo>
                <a:lnTo>
                  <a:pt x="7446" y="11637"/>
                </a:lnTo>
                <a:lnTo>
                  <a:pt x="7428" y="11638"/>
                </a:lnTo>
                <a:lnTo>
                  <a:pt x="1756" y="11638"/>
                </a:lnTo>
                <a:lnTo>
                  <a:pt x="1738" y="11637"/>
                </a:lnTo>
                <a:lnTo>
                  <a:pt x="1720" y="11636"/>
                </a:lnTo>
                <a:lnTo>
                  <a:pt x="1703" y="11633"/>
                </a:lnTo>
                <a:lnTo>
                  <a:pt x="1686" y="11630"/>
                </a:lnTo>
                <a:lnTo>
                  <a:pt x="1670" y="11626"/>
                </a:lnTo>
                <a:lnTo>
                  <a:pt x="1653" y="11622"/>
                </a:lnTo>
                <a:lnTo>
                  <a:pt x="1637" y="11617"/>
                </a:lnTo>
                <a:lnTo>
                  <a:pt x="1621" y="11610"/>
                </a:lnTo>
                <a:lnTo>
                  <a:pt x="1606" y="11604"/>
                </a:lnTo>
                <a:lnTo>
                  <a:pt x="1592" y="11595"/>
                </a:lnTo>
                <a:lnTo>
                  <a:pt x="1577" y="11587"/>
                </a:lnTo>
                <a:lnTo>
                  <a:pt x="1563" y="11579"/>
                </a:lnTo>
                <a:lnTo>
                  <a:pt x="1549" y="11569"/>
                </a:lnTo>
                <a:lnTo>
                  <a:pt x="1536" y="11558"/>
                </a:lnTo>
                <a:lnTo>
                  <a:pt x="1523" y="11548"/>
                </a:lnTo>
                <a:lnTo>
                  <a:pt x="1512" y="11537"/>
                </a:lnTo>
                <a:lnTo>
                  <a:pt x="1501" y="11524"/>
                </a:lnTo>
                <a:lnTo>
                  <a:pt x="1489" y="11512"/>
                </a:lnTo>
                <a:lnTo>
                  <a:pt x="1479" y="11499"/>
                </a:lnTo>
                <a:lnTo>
                  <a:pt x="1470" y="11485"/>
                </a:lnTo>
                <a:lnTo>
                  <a:pt x="1461" y="11471"/>
                </a:lnTo>
                <a:lnTo>
                  <a:pt x="1452" y="11456"/>
                </a:lnTo>
                <a:lnTo>
                  <a:pt x="1445" y="11442"/>
                </a:lnTo>
                <a:lnTo>
                  <a:pt x="1438" y="11426"/>
                </a:lnTo>
                <a:lnTo>
                  <a:pt x="1432" y="11411"/>
                </a:lnTo>
                <a:lnTo>
                  <a:pt x="1426" y="11395"/>
                </a:lnTo>
                <a:lnTo>
                  <a:pt x="1421" y="11379"/>
                </a:lnTo>
                <a:lnTo>
                  <a:pt x="1417" y="11362"/>
                </a:lnTo>
                <a:lnTo>
                  <a:pt x="1414" y="11345"/>
                </a:lnTo>
                <a:lnTo>
                  <a:pt x="1412" y="11328"/>
                </a:lnTo>
                <a:lnTo>
                  <a:pt x="1411" y="11310"/>
                </a:lnTo>
                <a:lnTo>
                  <a:pt x="1410" y="11293"/>
                </a:lnTo>
                <a:lnTo>
                  <a:pt x="1410" y="10209"/>
                </a:lnTo>
                <a:lnTo>
                  <a:pt x="1411" y="10192"/>
                </a:lnTo>
                <a:lnTo>
                  <a:pt x="1412" y="10174"/>
                </a:lnTo>
                <a:lnTo>
                  <a:pt x="1414" y="10157"/>
                </a:lnTo>
                <a:lnTo>
                  <a:pt x="1417" y="10140"/>
                </a:lnTo>
                <a:lnTo>
                  <a:pt x="1421" y="10124"/>
                </a:lnTo>
                <a:lnTo>
                  <a:pt x="1426" y="10107"/>
                </a:lnTo>
                <a:lnTo>
                  <a:pt x="1432" y="10091"/>
                </a:lnTo>
                <a:lnTo>
                  <a:pt x="1438" y="10075"/>
                </a:lnTo>
                <a:lnTo>
                  <a:pt x="1445" y="10060"/>
                </a:lnTo>
                <a:lnTo>
                  <a:pt x="1452" y="10045"/>
                </a:lnTo>
                <a:lnTo>
                  <a:pt x="1461" y="10031"/>
                </a:lnTo>
                <a:lnTo>
                  <a:pt x="1470" y="10017"/>
                </a:lnTo>
                <a:lnTo>
                  <a:pt x="1479" y="10003"/>
                </a:lnTo>
                <a:lnTo>
                  <a:pt x="1489" y="9990"/>
                </a:lnTo>
                <a:lnTo>
                  <a:pt x="1501" y="9977"/>
                </a:lnTo>
                <a:lnTo>
                  <a:pt x="1512" y="9966"/>
                </a:lnTo>
                <a:lnTo>
                  <a:pt x="1523" y="9954"/>
                </a:lnTo>
                <a:lnTo>
                  <a:pt x="1536" y="9943"/>
                </a:lnTo>
                <a:lnTo>
                  <a:pt x="1549" y="9933"/>
                </a:lnTo>
                <a:lnTo>
                  <a:pt x="1563" y="9924"/>
                </a:lnTo>
                <a:lnTo>
                  <a:pt x="1577" y="9915"/>
                </a:lnTo>
                <a:lnTo>
                  <a:pt x="1592" y="9906"/>
                </a:lnTo>
                <a:lnTo>
                  <a:pt x="1606" y="9898"/>
                </a:lnTo>
                <a:lnTo>
                  <a:pt x="1621" y="9892"/>
                </a:lnTo>
                <a:lnTo>
                  <a:pt x="1637" y="9886"/>
                </a:lnTo>
                <a:lnTo>
                  <a:pt x="1653" y="9880"/>
                </a:lnTo>
                <a:lnTo>
                  <a:pt x="1670" y="9875"/>
                </a:lnTo>
                <a:lnTo>
                  <a:pt x="1686" y="9871"/>
                </a:lnTo>
                <a:lnTo>
                  <a:pt x="1703" y="9868"/>
                </a:lnTo>
                <a:lnTo>
                  <a:pt x="1720" y="9866"/>
                </a:lnTo>
                <a:lnTo>
                  <a:pt x="1738" y="9865"/>
                </a:lnTo>
                <a:lnTo>
                  <a:pt x="1756" y="9864"/>
                </a:lnTo>
                <a:close/>
                <a:moveTo>
                  <a:pt x="1756" y="12376"/>
                </a:moveTo>
                <a:lnTo>
                  <a:pt x="7428" y="12376"/>
                </a:lnTo>
                <a:lnTo>
                  <a:pt x="7446" y="12377"/>
                </a:lnTo>
                <a:lnTo>
                  <a:pt x="7464" y="12378"/>
                </a:lnTo>
                <a:lnTo>
                  <a:pt x="7481" y="12380"/>
                </a:lnTo>
                <a:lnTo>
                  <a:pt x="7498" y="12383"/>
                </a:lnTo>
                <a:lnTo>
                  <a:pt x="7514" y="12387"/>
                </a:lnTo>
                <a:lnTo>
                  <a:pt x="7531" y="12391"/>
                </a:lnTo>
                <a:lnTo>
                  <a:pt x="7547" y="12398"/>
                </a:lnTo>
                <a:lnTo>
                  <a:pt x="7563" y="12404"/>
                </a:lnTo>
                <a:lnTo>
                  <a:pt x="7577" y="12410"/>
                </a:lnTo>
                <a:lnTo>
                  <a:pt x="7592" y="12418"/>
                </a:lnTo>
                <a:lnTo>
                  <a:pt x="7607" y="12426"/>
                </a:lnTo>
                <a:lnTo>
                  <a:pt x="7621" y="12436"/>
                </a:lnTo>
                <a:lnTo>
                  <a:pt x="7635" y="12445"/>
                </a:lnTo>
                <a:lnTo>
                  <a:pt x="7647" y="12455"/>
                </a:lnTo>
                <a:lnTo>
                  <a:pt x="7660" y="12467"/>
                </a:lnTo>
                <a:lnTo>
                  <a:pt x="7672" y="12478"/>
                </a:lnTo>
                <a:lnTo>
                  <a:pt x="7683" y="12489"/>
                </a:lnTo>
                <a:lnTo>
                  <a:pt x="7695" y="12502"/>
                </a:lnTo>
                <a:lnTo>
                  <a:pt x="7705" y="12515"/>
                </a:lnTo>
                <a:lnTo>
                  <a:pt x="7714" y="12528"/>
                </a:lnTo>
                <a:lnTo>
                  <a:pt x="7723" y="12543"/>
                </a:lnTo>
                <a:lnTo>
                  <a:pt x="7732" y="12557"/>
                </a:lnTo>
                <a:lnTo>
                  <a:pt x="7739" y="12572"/>
                </a:lnTo>
                <a:lnTo>
                  <a:pt x="7746" y="12587"/>
                </a:lnTo>
                <a:lnTo>
                  <a:pt x="7752" y="12603"/>
                </a:lnTo>
                <a:lnTo>
                  <a:pt x="7758" y="12619"/>
                </a:lnTo>
                <a:lnTo>
                  <a:pt x="7763" y="12636"/>
                </a:lnTo>
                <a:lnTo>
                  <a:pt x="7767" y="12652"/>
                </a:lnTo>
                <a:lnTo>
                  <a:pt x="7770" y="12668"/>
                </a:lnTo>
                <a:lnTo>
                  <a:pt x="7772" y="12686"/>
                </a:lnTo>
                <a:lnTo>
                  <a:pt x="7773" y="12704"/>
                </a:lnTo>
                <a:lnTo>
                  <a:pt x="7774" y="12721"/>
                </a:lnTo>
                <a:lnTo>
                  <a:pt x="7774" y="13804"/>
                </a:lnTo>
                <a:lnTo>
                  <a:pt x="7773" y="13822"/>
                </a:lnTo>
                <a:lnTo>
                  <a:pt x="7772" y="13839"/>
                </a:lnTo>
                <a:lnTo>
                  <a:pt x="7770" y="13857"/>
                </a:lnTo>
                <a:lnTo>
                  <a:pt x="7767" y="13873"/>
                </a:lnTo>
                <a:lnTo>
                  <a:pt x="7763" y="13891"/>
                </a:lnTo>
                <a:lnTo>
                  <a:pt x="7758" y="13906"/>
                </a:lnTo>
                <a:lnTo>
                  <a:pt x="7752" y="13923"/>
                </a:lnTo>
                <a:lnTo>
                  <a:pt x="7746" y="13938"/>
                </a:lnTo>
                <a:lnTo>
                  <a:pt x="7739" y="13954"/>
                </a:lnTo>
                <a:lnTo>
                  <a:pt x="7732" y="13968"/>
                </a:lnTo>
                <a:lnTo>
                  <a:pt x="7723" y="13983"/>
                </a:lnTo>
                <a:lnTo>
                  <a:pt x="7714" y="13997"/>
                </a:lnTo>
                <a:lnTo>
                  <a:pt x="7705" y="14010"/>
                </a:lnTo>
                <a:lnTo>
                  <a:pt x="7695" y="14024"/>
                </a:lnTo>
                <a:lnTo>
                  <a:pt x="7683" y="14036"/>
                </a:lnTo>
                <a:lnTo>
                  <a:pt x="7672" y="14049"/>
                </a:lnTo>
                <a:lnTo>
                  <a:pt x="7660" y="14060"/>
                </a:lnTo>
                <a:lnTo>
                  <a:pt x="7647" y="14070"/>
                </a:lnTo>
                <a:lnTo>
                  <a:pt x="7635" y="14080"/>
                </a:lnTo>
                <a:lnTo>
                  <a:pt x="7621" y="14091"/>
                </a:lnTo>
                <a:lnTo>
                  <a:pt x="7607" y="14099"/>
                </a:lnTo>
                <a:lnTo>
                  <a:pt x="7592" y="14107"/>
                </a:lnTo>
                <a:lnTo>
                  <a:pt x="7577" y="14115"/>
                </a:lnTo>
                <a:lnTo>
                  <a:pt x="7563" y="14123"/>
                </a:lnTo>
                <a:lnTo>
                  <a:pt x="7547" y="14129"/>
                </a:lnTo>
                <a:lnTo>
                  <a:pt x="7531" y="14134"/>
                </a:lnTo>
                <a:lnTo>
                  <a:pt x="7514" y="14138"/>
                </a:lnTo>
                <a:lnTo>
                  <a:pt x="7498" y="14142"/>
                </a:lnTo>
                <a:lnTo>
                  <a:pt x="7481" y="14145"/>
                </a:lnTo>
                <a:lnTo>
                  <a:pt x="7464" y="14147"/>
                </a:lnTo>
                <a:lnTo>
                  <a:pt x="7446" y="14148"/>
                </a:lnTo>
                <a:lnTo>
                  <a:pt x="7428" y="14149"/>
                </a:lnTo>
                <a:lnTo>
                  <a:pt x="1756" y="14149"/>
                </a:lnTo>
                <a:lnTo>
                  <a:pt x="1738" y="14148"/>
                </a:lnTo>
                <a:lnTo>
                  <a:pt x="1720" y="14147"/>
                </a:lnTo>
                <a:lnTo>
                  <a:pt x="1703" y="14145"/>
                </a:lnTo>
                <a:lnTo>
                  <a:pt x="1686" y="14142"/>
                </a:lnTo>
                <a:lnTo>
                  <a:pt x="1670" y="14138"/>
                </a:lnTo>
                <a:lnTo>
                  <a:pt x="1653" y="14134"/>
                </a:lnTo>
                <a:lnTo>
                  <a:pt x="1637" y="14129"/>
                </a:lnTo>
                <a:lnTo>
                  <a:pt x="1621" y="14123"/>
                </a:lnTo>
                <a:lnTo>
                  <a:pt x="1606" y="14115"/>
                </a:lnTo>
                <a:lnTo>
                  <a:pt x="1592" y="14107"/>
                </a:lnTo>
                <a:lnTo>
                  <a:pt x="1577" y="14099"/>
                </a:lnTo>
                <a:lnTo>
                  <a:pt x="1563" y="14091"/>
                </a:lnTo>
                <a:lnTo>
                  <a:pt x="1549" y="14080"/>
                </a:lnTo>
                <a:lnTo>
                  <a:pt x="1536" y="14070"/>
                </a:lnTo>
                <a:lnTo>
                  <a:pt x="1523" y="14060"/>
                </a:lnTo>
                <a:lnTo>
                  <a:pt x="1512" y="14049"/>
                </a:lnTo>
                <a:lnTo>
                  <a:pt x="1501" y="14036"/>
                </a:lnTo>
                <a:lnTo>
                  <a:pt x="1489" y="14024"/>
                </a:lnTo>
                <a:lnTo>
                  <a:pt x="1479" y="14010"/>
                </a:lnTo>
                <a:lnTo>
                  <a:pt x="1470" y="13997"/>
                </a:lnTo>
                <a:lnTo>
                  <a:pt x="1461" y="13983"/>
                </a:lnTo>
                <a:lnTo>
                  <a:pt x="1452" y="13968"/>
                </a:lnTo>
                <a:lnTo>
                  <a:pt x="1445" y="13954"/>
                </a:lnTo>
                <a:lnTo>
                  <a:pt x="1438" y="13938"/>
                </a:lnTo>
                <a:lnTo>
                  <a:pt x="1432" y="13923"/>
                </a:lnTo>
                <a:lnTo>
                  <a:pt x="1426" y="13906"/>
                </a:lnTo>
                <a:lnTo>
                  <a:pt x="1421" y="13891"/>
                </a:lnTo>
                <a:lnTo>
                  <a:pt x="1417" y="13873"/>
                </a:lnTo>
                <a:lnTo>
                  <a:pt x="1414" y="13857"/>
                </a:lnTo>
                <a:lnTo>
                  <a:pt x="1412" y="13839"/>
                </a:lnTo>
                <a:lnTo>
                  <a:pt x="1411" y="13822"/>
                </a:lnTo>
                <a:lnTo>
                  <a:pt x="1410" y="13804"/>
                </a:lnTo>
                <a:lnTo>
                  <a:pt x="1410" y="12721"/>
                </a:lnTo>
                <a:lnTo>
                  <a:pt x="1411" y="12704"/>
                </a:lnTo>
                <a:lnTo>
                  <a:pt x="1412" y="12686"/>
                </a:lnTo>
                <a:lnTo>
                  <a:pt x="1414" y="12668"/>
                </a:lnTo>
                <a:lnTo>
                  <a:pt x="1417" y="12652"/>
                </a:lnTo>
                <a:lnTo>
                  <a:pt x="1421" y="12636"/>
                </a:lnTo>
                <a:lnTo>
                  <a:pt x="1426" y="12619"/>
                </a:lnTo>
                <a:lnTo>
                  <a:pt x="1432" y="12603"/>
                </a:lnTo>
                <a:lnTo>
                  <a:pt x="1438" y="12587"/>
                </a:lnTo>
                <a:lnTo>
                  <a:pt x="1445" y="12572"/>
                </a:lnTo>
                <a:lnTo>
                  <a:pt x="1452" y="12557"/>
                </a:lnTo>
                <a:lnTo>
                  <a:pt x="1461" y="12543"/>
                </a:lnTo>
                <a:lnTo>
                  <a:pt x="1470" y="12528"/>
                </a:lnTo>
                <a:lnTo>
                  <a:pt x="1479" y="12515"/>
                </a:lnTo>
                <a:lnTo>
                  <a:pt x="1489" y="12502"/>
                </a:lnTo>
                <a:lnTo>
                  <a:pt x="1501" y="12489"/>
                </a:lnTo>
                <a:lnTo>
                  <a:pt x="1512" y="12478"/>
                </a:lnTo>
                <a:lnTo>
                  <a:pt x="1523" y="12467"/>
                </a:lnTo>
                <a:lnTo>
                  <a:pt x="1536" y="12455"/>
                </a:lnTo>
                <a:lnTo>
                  <a:pt x="1549" y="12445"/>
                </a:lnTo>
                <a:lnTo>
                  <a:pt x="1563" y="12436"/>
                </a:lnTo>
                <a:lnTo>
                  <a:pt x="1577" y="12426"/>
                </a:lnTo>
                <a:lnTo>
                  <a:pt x="1592" y="12418"/>
                </a:lnTo>
                <a:lnTo>
                  <a:pt x="1606" y="12410"/>
                </a:lnTo>
                <a:lnTo>
                  <a:pt x="1621" y="12404"/>
                </a:lnTo>
                <a:lnTo>
                  <a:pt x="1637" y="12398"/>
                </a:lnTo>
                <a:lnTo>
                  <a:pt x="1653" y="12391"/>
                </a:lnTo>
                <a:lnTo>
                  <a:pt x="1670" y="12387"/>
                </a:lnTo>
                <a:lnTo>
                  <a:pt x="1686" y="12383"/>
                </a:lnTo>
                <a:lnTo>
                  <a:pt x="1703" y="12380"/>
                </a:lnTo>
                <a:lnTo>
                  <a:pt x="1720" y="12378"/>
                </a:lnTo>
                <a:lnTo>
                  <a:pt x="1738" y="12377"/>
                </a:lnTo>
                <a:lnTo>
                  <a:pt x="1756" y="12376"/>
                </a:lnTo>
                <a:close/>
                <a:moveTo>
                  <a:pt x="6683" y="12951"/>
                </a:moveTo>
                <a:lnTo>
                  <a:pt x="6699" y="12951"/>
                </a:lnTo>
                <a:lnTo>
                  <a:pt x="6715" y="12953"/>
                </a:lnTo>
                <a:lnTo>
                  <a:pt x="6730" y="12954"/>
                </a:lnTo>
                <a:lnTo>
                  <a:pt x="6746" y="12957"/>
                </a:lnTo>
                <a:lnTo>
                  <a:pt x="6761" y="12961"/>
                </a:lnTo>
                <a:lnTo>
                  <a:pt x="6776" y="12965"/>
                </a:lnTo>
                <a:lnTo>
                  <a:pt x="6790" y="12969"/>
                </a:lnTo>
                <a:lnTo>
                  <a:pt x="6804" y="12975"/>
                </a:lnTo>
                <a:lnTo>
                  <a:pt x="6819" y="12982"/>
                </a:lnTo>
                <a:lnTo>
                  <a:pt x="6832" y="12989"/>
                </a:lnTo>
                <a:lnTo>
                  <a:pt x="6845" y="12996"/>
                </a:lnTo>
                <a:lnTo>
                  <a:pt x="6858" y="13004"/>
                </a:lnTo>
                <a:lnTo>
                  <a:pt x="6869" y="13012"/>
                </a:lnTo>
                <a:lnTo>
                  <a:pt x="6882" y="13022"/>
                </a:lnTo>
                <a:lnTo>
                  <a:pt x="6893" y="13032"/>
                </a:lnTo>
                <a:lnTo>
                  <a:pt x="6905" y="13042"/>
                </a:lnTo>
                <a:lnTo>
                  <a:pt x="6915" y="13053"/>
                </a:lnTo>
                <a:lnTo>
                  <a:pt x="6924" y="13064"/>
                </a:lnTo>
                <a:lnTo>
                  <a:pt x="6933" y="13076"/>
                </a:lnTo>
                <a:lnTo>
                  <a:pt x="6943" y="13089"/>
                </a:lnTo>
                <a:lnTo>
                  <a:pt x="6950" y="13101"/>
                </a:lnTo>
                <a:lnTo>
                  <a:pt x="6958" y="13114"/>
                </a:lnTo>
                <a:lnTo>
                  <a:pt x="6964" y="13128"/>
                </a:lnTo>
                <a:lnTo>
                  <a:pt x="6972" y="13141"/>
                </a:lnTo>
                <a:lnTo>
                  <a:pt x="6977" y="13156"/>
                </a:lnTo>
                <a:lnTo>
                  <a:pt x="6982" y="13170"/>
                </a:lnTo>
                <a:lnTo>
                  <a:pt x="6986" y="13185"/>
                </a:lnTo>
                <a:lnTo>
                  <a:pt x="6989" y="13200"/>
                </a:lnTo>
                <a:lnTo>
                  <a:pt x="6992" y="13215"/>
                </a:lnTo>
                <a:lnTo>
                  <a:pt x="6994" y="13231"/>
                </a:lnTo>
                <a:lnTo>
                  <a:pt x="6995" y="13247"/>
                </a:lnTo>
                <a:lnTo>
                  <a:pt x="6996" y="13263"/>
                </a:lnTo>
                <a:lnTo>
                  <a:pt x="6995" y="13279"/>
                </a:lnTo>
                <a:lnTo>
                  <a:pt x="6994" y="13295"/>
                </a:lnTo>
                <a:lnTo>
                  <a:pt x="6992" y="13310"/>
                </a:lnTo>
                <a:lnTo>
                  <a:pt x="6989" y="13326"/>
                </a:lnTo>
                <a:lnTo>
                  <a:pt x="6986" y="13341"/>
                </a:lnTo>
                <a:lnTo>
                  <a:pt x="6982" y="13355"/>
                </a:lnTo>
                <a:lnTo>
                  <a:pt x="6977" y="13370"/>
                </a:lnTo>
                <a:lnTo>
                  <a:pt x="6972" y="13384"/>
                </a:lnTo>
                <a:lnTo>
                  <a:pt x="6964" y="13398"/>
                </a:lnTo>
                <a:lnTo>
                  <a:pt x="6958" y="13411"/>
                </a:lnTo>
                <a:lnTo>
                  <a:pt x="6950" y="13424"/>
                </a:lnTo>
                <a:lnTo>
                  <a:pt x="6943" y="13437"/>
                </a:lnTo>
                <a:lnTo>
                  <a:pt x="6933" y="13449"/>
                </a:lnTo>
                <a:lnTo>
                  <a:pt x="6924" y="13461"/>
                </a:lnTo>
                <a:lnTo>
                  <a:pt x="6915" y="13473"/>
                </a:lnTo>
                <a:lnTo>
                  <a:pt x="6905" y="13483"/>
                </a:lnTo>
                <a:lnTo>
                  <a:pt x="6893" y="13493"/>
                </a:lnTo>
                <a:lnTo>
                  <a:pt x="6882" y="13504"/>
                </a:lnTo>
                <a:lnTo>
                  <a:pt x="6869" y="13513"/>
                </a:lnTo>
                <a:lnTo>
                  <a:pt x="6858" y="13521"/>
                </a:lnTo>
                <a:lnTo>
                  <a:pt x="6845" y="13529"/>
                </a:lnTo>
                <a:lnTo>
                  <a:pt x="6832" y="13538"/>
                </a:lnTo>
                <a:lnTo>
                  <a:pt x="6819" y="13544"/>
                </a:lnTo>
                <a:lnTo>
                  <a:pt x="6804" y="13550"/>
                </a:lnTo>
                <a:lnTo>
                  <a:pt x="6790" y="13556"/>
                </a:lnTo>
                <a:lnTo>
                  <a:pt x="6776" y="13561"/>
                </a:lnTo>
                <a:lnTo>
                  <a:pt x="6761" y="13566"/>
                </a:lnTo>
                <a:lnTo>
                  <a:pt x="6746" y="13569"/>
                </a:lnTo>
                <a:lnTo>
                  <a:pt x="6730" y="13572"/>
                </a:lnTo>
                <a:lnTo>
                  <a:pt x="6715" y="13574"/>
                </a:lnTo>
                <a:lnTo>
                  <a:pt x="6699" y="13575"/>
                </a:lnTo>
                <a:lnTo>
                  <a:pt x="6683" y="13575"/>
                </a:lnTo>
                <a:lnTo>
                  <a:pt x="6667" y="13575"/>
                </a:lnTo>
                <a:lnTo>
                  <a:pt x="6651" y="13574"/>
                </a:lnTo>
                <a:lnTo>
                  <a:pt x="6635" y="13572"/>
                </a:lnTo>
                <a:lnTo>
                  <a:pt x="6620" y="13569"/>
                </a:lnTo>
                <a:lnTo>
                  <a:pt x="6605" y="13566"/>
                </a:lnTo>
                <a:lnTo>
                  <a:pt x="6590" y="13561"/>
                </a:lnTo>
                <a:lnTo>
                  <a:pt x="6575" y="13556"/>
                </a:lnTo>
                <a:lnTo>
                  <a:pt x="6562" y="13550"/>
                </a:lnTo>
                <a:lnTo>
                  <a:pt x="6548" y="13544"/>
                </a:lnTo>
                <a:lnTo>
                  <a:pt x="6534" y="13538"/>
                </a:lnTo>
                <a:lnTo>
                  <a:pt x="6521" y="13529"/>
                </a:lnTo>
                <a:lnTo>
                  <a:pt x="6508" y="13521"/>
                </a:lnTo>
                <a:lnTo>
                  <a:pt x="6496" y="13513"/>
                </a:lnTo>
                <a:lnTo>
                  <a:pt x="6485" y="13504"/>
                </a:lnTo>
                <a:lnTo>
                  <a:pt x="6473" y="13493"/>
                </a:lnTo>
                <a:lnTo>
                  <a:pt x="6462" y="13483"/>
                </a:lnTo>
                <a:lnTo>
                  <a:pt x="6452" y="13473"/>
                </a:lnTo>
                <a:lnTo>
                  <a:pt x="6442" y="13461"/>
                </a:lnTo>
                <a:lnTo>
                  <a:pt x="6433" y="13449"/>
                </a:lnTo>
                <a:lnTo>
                  <a:pt x="6424" y="13437"/>
                </a:lnTo>
                <a:lnTo>
                  <a:pt x="6416" y="13424"/>
                </a:lnTo>
                <a:lnTo>
                  <a:pt x="6408" y="13411"/>
                </a:lnTo>
                <a:lnTo>
                  <a:pt x="6401" y="13398"/>
                </a:lnTo>
                <a:lnTo>
                  <a:pt x="6395" y="13384"/>
                </a:lnTo>
                <a:lnTo>
                  <a:pt x="6390" y="13370"/>
                </a:lnTo>
                <a:lnTo>
                  <a:pt x="6385" y="13355"/>
                </a:lnTo>
                <a:lnTo>
                  <a:pt x="6381" y="13341"/>
                </a:lnTo>
                <a:lnTo>
                  <a:pt x="6376" y="13326"/>
                </a:lnTo>
                <a:lnTo>
                  <a:pt x="6374" y="13310"/>
                </a:lnTo>
                <a:lnTo>
                  <a:pt x="6372" y="13295"/>
                </a:lnTo>
                <a:lnTo>
                  <a:pt x="6371" y="13279"/>
                </a:lnTo>
                <a:lnTo>
                  <a:pt x="6370" y="13263"/>
                </a:lnTo>
                <a:lnTo>
                  <a:pt x="6371" y="13247"/>
                </a:lnTo>
                <a:lnTo>
                  <a:pt x="6372" y="13231"/>
                </a:lnTo>
                <a:lnTo>
                  <a:pt x="6374" y="13215"/>
                </a:lnTo>
                <a:lnTo>
                  <a:pt x="6376" y="13200"/>
                </a:lnTo>
                <a:lnTo>
                  <a:pt x="6381" y="13185"/>
                </a:lnTo>
                <a:lnTo>
                  <a:pt x="6385" y="13170"/>
                </a:lnTo>
                <a:lnTo>
                  <a:pt x="6390" y="13156"/>
                </a:lnTo>
                <a:lnTo>
                  <a:pt x="6395" y="13141"/>
                </a:lnTo>
                <a:lnTo>
                  <a:pt x="6401" y="13128"/>
                </a:lnTo>
                <a:lnTo>
                  <a:pt x="6408" y="13114"/>
                </a:lnTo>
                <a:lnTo>
                  <a:pt x="6416" y="13101"/>
                </a:lnTo>
                <a:lnTo>
                  <a:pt x="6424" y="13089"/>
                </a:lnTo>
                <a:lnTo>
                  <a:pt x="6433" y="13076"/>
                </a:lnTo>
                <a:lnTo>
                  <a:pt x="6442" y="13064"/>
                </a:lnTo>
                <a:lnTo>
                  <a:pt x="6452" y="13053"/>
                </a:lnTo>
                <a:lnTo>
                  <a:pt x="6462" y="13042"/>
                </a:lnTo>
                <a:lnTo>
                  <a:pt x="6473" y="13032"/>
                </a:lnTo>
                <a:lnTo>
                  <a:pt x="6485" y="13022"/>
                </a:lnTo>
                <a:lnTo>
                  <a:pt x="6496" y="13012"/>
                </a:lnTo>
                <a:lnTo>
                  <a:pt x="6508" y="13004"/>
                </a:lnTo>
                <a:lnTo>
                  <a:pt x="6521" y="12996"/>
                </a:lnTo>
                <a:lnTo>
                  <a:pt x="6534" y="12989"/>
                </a:lnTo>
                <a:lnTo>
                  <a:pt x="6548" y="12982"/>
                </a:lnTo>
                <a:lnTo>
                  <a:pt x="6562" y="12975"/>
                </a:lnTo>
                <a:lnTo>
                  <a:pt x="6575" y="12969"/>
                </a:lnTo>
                <a:lnTo>
                  <a:pt x="6590" y="12965"/>
                </a:lnTo>
                <a:lnTo>
                  <a:pt x="6605" y="12961"/>
                </a:lnTo>
                <a:lnTo>
                  <a:pt x="6620" y="12957"/>
                </a:lnTo>
                <a:lnTo>
                  <a:pt x="6635" y="12954"/>
                </a:lnTo>
                <a:lnTo>
                  <a:pt x="6651" y="12953"/>
                </a:lnTo>
                <a:lnTo>
                  <a:pt x="6667" y="12951"/>
                </a:lnTo>
                <a:lnTo>
                  <a:pt x="6683" y="12951"/>
                </a:lnTo>
                <a:close/>
                <a:moveTo>
                  <a:pt x="6683" y="10439"/>
                </a:moveTo>
                <a:lnTo>
                  <a:pt x="6699" y="10439"/>
                </a:lnTo>
                <a:lnTo>
                  <a:pt x="6715" y="10440"/>
                </a:lnTo>
                <a:lnTo>
                  <a:pt x="6730" y="10442"/>
                </a:lnTo>
                <a:lnTo>
                  <a:pt x="6746" y="10445"/>
                </a:lnTo>
                <a:lnTo>
                  <a:pt x="6761" y="10449"/>
                </a:lnTo>
                <a:lnTo>
                  <a:pt x="6776" y="10453"/>
                </a:lnTo>
                <a:lnTo>
                  <a:pt x="6790" y="10457"/>
                </a:lnTo>
                <a:lnTo>
                  <a:pt x="6804" y="10464"/>
                </a:lnTo>
                <a:lnTo>
                  <a:pt x="6819" y="10470"/>
                </a:lnTo>
                <a:lnTo>
                  <a:pt x="6832" y="10477"/>
                </a:lnTo>
                <a:lnTo>
                  <a:pt x="6845" y="10484"/>
                </a:lnTo>
                <a:lnTo>
                  <a:pt x="6858" y="10492"/>
                </a:lnTo>
                <a:lnTo>
                  <a:pt x="6869" y="10501"/>
                </a:lnTo>
                <a:lnTo>
                  <a:pt x="6882" y="10510"/>
                </a:lnTo>
                <a:lnTo>
                  <a:pt x="6893" y="10520"/>
                </a:lnTo>
                <a:lnTo>
                  <a:pt x="6905" y="10530"/>
                </a:lnTo>
                <a:lnTo>
                  <a:pt x="6915" y="10541"/>
                </a:lnTo>
                <a:lnTo>
                  <a:pt x="6924" y="10552"/>
                </a:lnTo>
                <a:lnTo>
                  <a:pt x="6933" y="10564"/>
                </a:lnTo>
                <a:lnTo>
                  <a:pt x="6943" y="10577"/>
                </a:lnTo>
                <a:lnTo>
                  <a:pt x="6950" y="10589"/>
                </a:lnTo>
                <a:lnTo>
                  <a:pt x="6958" y="10603"/>
                </a:lnTo>
                <a:lnTo>
                  <a:pt x="6964" y="10616"/>
                </a:lnTo>
                <a:lnTo>
                  <a:pt x="6972" y="10629"/>
                </a:lnTo>
                <a:lnTo>
                  <a:pt x="6977" y="10644"/>
                </a:lnTo>
                <a:lnTo>
                  <a:pt x="6982" y="10658"/>
                </a:lnTo>
                <a:lnTo>
                  <a:pt x="6986" y="10673"/>
                </a:lnTo>
                <a:lnTo>
                  <a:pt x="6989" y="10688"/>
                </a:lnTo>
                <a:lnTo>
                  <a:pt x="6992" y="10703"/>
                </a:lnTo>
                <a:lnTo>
                  <a:pt x="6994" y="10719"/>
                </a:lnTo>
                <a:lnTo>
                  <a:pt x="6995" y="10735"/>
                </a:lnTo>
                <a:lnTo>
                  <a:pt x="6996" y="10751"/>
                </a:lnTo>
                <a:lnTo>
                  <a:pt x="6995" y="10767"/>
                </a:lnTo>
                <a:lnTo>
                  <a:pt x="6994" y="10783"/>
                </a:lnTo>
                <a:lnTo>
                  <a:pt x="6992" y="10798"/>
                </a:lnTo>
                <a:lnTo>
                  <a:pt x="6989" y="10814"/>
                </a:lnTo>
                <a:lnTo>
                  <a:pt x="6986" y="10829"/>
                </a:lnTo>
                <a:lnTo>
                  <a:pt x="6982" y="10844"/>
                </a:lnTo>
                <a:lnTo>
                  <a:pt x="6977" y="10858"/>
                </a:lnTo>
                <a:lnTo>
                  <a:pt x="6972" y="10872"/>
                </a:lnTo>
                <a:lnTo>
                  <a:pt x="6964" y="10886"/>
                </a:lnTo>
                <a:lnTo>
                  <a:pt x="6958" y="10899"/>
                </a:lnTo>
                <a:lnTo>
                  <a:pt x="6950" y="10913"/>
                </a:lnTo>
                <a:lnTo>
                  <a:pt x="6943" y="10925"/>
                </a:lnTo>
                <a:lnTo>
                  <a:pt x="6933" y="10937"/>
                </a:lnTo>
                <a:lnTo>
                  <a:pt x="6924" y="10950"/>
                </a:lnTo>
                <a:lnTo>
                  <a:pt x="6915" y="10961"/>
                </a:lnTo>
                <a:lnTo>
                  <a:pt x="6905" y="10971"/>
                </a:lnTo>
                <a:lnTo>
                  <a:pt x="6893" y="10982"/>
                </a:lnTo>
                <a:lnTo>
                  <a:pt x="6882" y="10992"/>
                </a:lnTo>
                <a:lnTo>
                  <a:pt x="6869" y="11001"/>
                </a:lnTo>
                <a:lnTo>
                  <a:pt x="6858" y="11009"/>
                </a:lnTo>
                <a:lnTo>
                  <a:pt x="6845" y="11018"/>
                </a:lnTo>
                <a:lnTo>
                  <a:pt x="6832" y="11026"/>
                </a:lnTo>
                <a:lnTo>
                  <a:pt x="6819" y="11032"/>
                </a:lnTo>
                <a:lnTo>
                  <a:pt x="6804" y="11038"/>
                </a:lnTo>
                <a:lnTo>
                  <a:pt x="6790" y="11044"/>
                </a:lnTo>
                <a:lnTo>
                  <a:pt x="6776" y="11050"/>
                </a:lnTo>
                <a:lnTo>
                  <a:pt x="6761" y="11054"/>
                </a:lnTo>
                <a:lnTo>
                  <a:pt x="6746" y="11057"/>
                </a:lnTo>
                <a:lnTo>
                  <a:pt x="6730" y="11060"/>
                </a:lnTo>
                <a:lnTo>
                  <a:pt x="6715" y="11062"/>
                </a:lnTo>
                <a:lnTo>
                  <a:pt x="6699" y="11063"/>
                </a:lnTo>
                <a:lnTo>
                  <a:pt x="6683" y="11063"/>
                </a:lnTo>
                <a:lnTo>
                  <a:pt x="6667" y="11063"/>
                </a:lnTo>
                <a:lnTo>
                  <a:pt x="6651" y="11062"/>
                </a:lnTo>
                <a:lnTo>
                  <a:pt x="6635" y="11060"/>
                </a:lnTo>
                <a:lnTo>
                  <a:pt x="6620" y="11057"/>
                </a:lnTo>
                <a:lnTo>
                  <a:pt x="6605" y="11054"/>
                </a:lnTo>
                <a:lnTo>
                  <a:pt x="6590" y="11050"/>
                </a:lnTo>
                <a:lnTo>
                  <a:pt x="6575" y="11044"/>
                </a:lnTo>
                <a:lnTo>
                  <a:pt x="6562" y="11038"/>
                </a:lnTo>
                <a:lnTo>
                  <a:pt x="6548" y="11032"/>
                </a:lnTo>
                <a:lnTo>
                  <a:pt x="6534" y="11026"/>
                </a:lnTo>
                <a:lnTo>
                  <a:pt x="6521" y="11018"/>
                </a:lnTo>
                <a:lnTo>
                  <a:pt x="6508" y="11009"/>
                </a:lnTo>
                <a:lnTo>
                  <a:pt x="6496" y="11001"/>
                </a:lnTo>
                <a:lnTo>
                  <a:pt x="6485" y="10992"/>
                </a:lnTo>
                <a:lnTo>
                  <a:pt x="6473" y="10982"/>
                </a:lnTo>
                <a:lnTo>
                  <a:pt x="6462" y="10971"/>
                </a:lnTo>
                <a:lnTo>
                  <a:pt x="6452" y="10961"/>
                </a:lnTo>
                <a:lnTo>
                  <a:pt x="6442" y="10950"/>
                </a:lnTo>
                <a:lnTo>
                  <a:pt x="6433" y="10937"/>
                </a:lnTo>
                <a:lnTo>
                  <a:pt x="6424" y="10925"/>
                </a:lnTo>
                <a:lnTo>
                  <a:pt x="6416" y="10913"/>
                </a:lnTo>
                <a:lnTo>
                  <a:pt x="6408" y="10899"/>
                </a:lnTo>
                <a:lnTo>
                  <a:pt x="6401" y="10886"/>
                </a:lnTo>
                <a:lnTo>
                  <a:pt x="6395" y="10872"/>
                </a:lnTo>
                <a:lnTo>
                  <a:pt x="6390" y="10858"/>
                </a:lnTo>
                <a:lnTo>
                  <a:pt x="6385" y="10844"/>
                </a:lnTo>
                <a:lnTo>
                  <a:pt x="6381" y="10829"/>
                </a:lnTo>
                <a:lnTo>
                  <a:pt x="6376" y="10814"/>
                </a:lnTo>
                <a:lnTo>
                  <a:pt x="6374" y="10798"/>
                </a:lnTo>
                <a:lnTo>
                  <a:pt x="6372" y="10783"/>
                </a:lnTo>
                <a:lnTo>
                  <a:pt x="6371" y="10767"/>
                </a:lnTo>
                <a:lnTo>
                  <a:pt x="6370" y="10751"/>
                </a:lnTo>
                <a:lnTo>
                  <a:pt x="6371" y="10735"/>
                </a:lnTo>
                <a:lnTo>
                  <a:pt x="6372" y="10719"/>
                </a:lnTo>
                <a:lnTo>
                  <a:pt x="6374" y="10703"/>
                </a:lnTo>
                <a:lnTo>
                  <a:pt x="6376" y="10688"/>
                </a:lnTo>
                <a:lnTo>
                  <a:pt x="6381" y="10673"/>
                </a:lnTo>
                <a:lnTo>
                  <a:pt x="6385" y="10658"/>
                </a:lnTo>
                <a:lnTo>
                  <a:pt x="6390" y="10644"/>
                </a:lnTo>
                <a:lnTo>
                  <a:pt x="6395" y="10629"/>
                </a:lnTo>
                <a:lnTo>
                  <a:pt x="6401" y="10616"/>
                </a:lnTo>
                <a:lnTo>
                  <a:pt x="6408" y="10603"/>
                </a:lnTo>
                <a:lnTo>
                  <a:pt x="6416" y="10589"/>
                </a:lnTo>
                <a:lnTo>
                  <a:pt x="6424" y="10577"/>
                </a:lnTo>
                <a:lnTo>
                  <a:pt x="6433" y="10564"/>
                </a:lnTo>
                <a:lnTo>
                  <a:pt x="6442" y="10552"/>
                </a:lnTo>
                <a:lnTo>
                  <a:pt x="6452" y="10541"/>
                </a:lnTo>
                <a:lnTo>
                  <a:pt x="6462" y="10530"/>
                </a:lnTo>
                <a:lnTo>
                  <a:pt x="6473" y="10520"/>
                </a:lnTo>
                <a:lnTo>
                  <a:pt x="6485" y="10510"/>
                </a:lnTo>
                <a:lnTo>
                  <a:pt x="6496" y="10501"/>
                </a:lnTo>
                <a:lnTo>
                  <a:pt x="6508" y="10492"/>
                </a:lnTo>
                <a:lnTo>
                  <a:pt x="6521" y="10484"/>
                </a:lnTo>
                <a:lnTo>
                  <a:pt x="6534" y="10477"/>
                </a:lnTo>
                <a:lnTo>
                  <a:pt x="6548" y="10470"/>
                </a:lnTo>
                <a:lnTo>
                  <a:pt x="6562" y="10464"/>
                </a:lnTo>
                <a:lnTo>
                  <a:pt x="6575" y="10457"/>
                </a:lnTo>
                <a:lnTo>
                  <a:pt x="6590" y="10453"/>
                </a:lnTo>
                <a:lnTo>
                  <a:pt x="6605" y="10449"/>
                </a:lnTo>
                <a:lnTo>
                  <a:pt x="6620" y="10445"/>
                </a:lnTo>
                <a:lnTo>
                  <a:pt x="6635" y="10442"/>
                </a:lnTo>
                <a:lnTo>
                  <a:pt x="6651" y="10440"/>
                </a:lnTo>
                <a:lnTo>
                  <a:pt x="6667" y="10439"/>
                </a:lnTo>
                <a:lnTo>
                  <a:pt x="6683" y="10439"/>
                </a:lnTo>
                <a:close/>
                <a:moveTo>
                  <a:pt x="6683" y="7927"/>
                </a:moveTo>
                <a:lnTo>
                  <a:pt x="6699" y="7927"/>
                </a:lnTo>
                <a:lnTo>
                  <a:pt x="6715" y="7928"/>
                </a:lnTo>
                <a:lnTo>
                  <a:pt x="6730" y="7930"/>
                </a:lnTo>
                <a:lnTo>
                  <a:pt x="6746" y="7933"/>
                </a:lnTo>
                <a:lnTo>
                  <a:pt x="6761" y="7936"/>
                </a:lnTo>
                <a:lnTo>
                  <a:pt x="6776" y="7941"/>
                </a:lnTo>
                <a:lnTo>
                  <a:pt x="6790" y="7945"/>
                </a:lnTo>
                <a:lnTo>
                  <a:pt x="6804" y="7952"/>
                </a:lnTo>
                <a:lnTo>
                  <a:pt x="6819" y="7958"/>
                </a:lnTo>
                <a:lnTo>
                  <a:pt x="6832" y="7965"/>
                </a:lnTo>
                <a:lnTo>
                  <a:pt x="6845" y="7972"/>
                </a:lnTo>
                <a:lnTo>
                  <a:pt x="6858" y="7981"/>
                </a:lnTo>
                <a:lnTo>
                  <a:pt x="6869" y="7989"/>
                </a:lnTo>
                <a:lnTo>
                  <a:pt x="6882" y="7998"/>
                </a:lnTo>
                <a:lnTo>
                  <a:pt x="6893" y="8008"/>
                </a:lnTo>
                <a:lnTo>
                  <a:pt x="6905" y="8019"/>
                </a:lnTo>
                <a:lnTo>
                  <a:pt x="6915" y="8029"/>
                </a:lnTo>
                <a:lnTo>
                  <a:pt x="6924" y="8040"/>
                </a:lnTo>
                <a:lnTo>
                  <a:pt x="6933" y="8053"/>
                </a:lnTo>
                <a:lnTo>
                  <a:pt x="6943" y="8065"/>
                </a:lnTo>
                <a:lnTo>
                  <a:pt x="6950" y="8077"/>
                </a:lnTo>
                <a:lnTo>
                  <a:pt x="6958" y="8091"/>
                </a:lnTo>
                <a:lnTo>
                  <a:pt x="6964" y="8104"/>
                </a:lnTo>
                <a:lnTo>
                  <a:pt x="6972" y="8117"/>
                </a:lnTo>
                <a:lnTo>
                  <a:pt x="6977" y="8132"/>
                </a:lnTo>
                <a:lnTo>
                  <a:pt x="6982" y="8146"/>
                </a:lnTo>
                <a:lnTo>
                  <a:pt x="6986" y="8161"/>
                </a:lnTo>
                <a:lnTo>
                  <a:pt x="6989" y="8176"/>
                </a:lnTo>
                <a:lnTo>
                  <a:pt x="6992" y="8192"/>
                </a:lnTo>
                <a:lnTo>
                  <a:pt x="6994" y="8207"/>
                </a:lnTo>
                <a:lnTo>
                  <a:pt x="6995" y="8223"/>
                </a:lnTo>
                <a:lnTo>
                  <a:pt x="6996" y="8239"/>
                </a:lnTo>
                <a:lnTo>
                  <a:pt x="6995" y="8255"/>
                </a:lnTo>
                <a:lnTo>
                  <a:pt x="6994" y="8271"/>
                </a:lnTo>
                <a:lnTo>
                  <a:pt x="6992" y="8286"/>
                </a:lnTo>
                <a:lnTo>
                  <a:pt x="6989" y="8302"/>
                </a:lnTo>
                <a:lnTo>
                  <a:pt x="6986" y="8317"/>
                </a:lnTo>
                <a:lnTo>
                  <a:pt x="6982" y="8332"/>
                </a:lnTo>
                <a:lnTo>
                  <a:pt x="6977" y="8346"/>
                </a:lnTo>
                <a:lnTo>
                  <a:pt x="6972" y="8361"/>
                </a:lnTo>
                <a:lnTo>
                  <a:pt x="6964" y="8374"/>
                </a:lnTo>
                <a:lnTo>
                  <a:pt x="6958" y="8387"/>
                </a:lnTo>
                <a:lnTo>
                  <a:pt x="6950" y="8401"/>
                </a:lnTo>
                <a:lnTo>
                  <a:pt x="6943" y="8413"/>
                </a:lnTo>
                <a:lnTo>
                  <a:pt x="6933" y="8425"/>
                </a:lnTo>
                <a:lnTo>
                  <a:pt x="6924" y="8438"/>
                </a:lnTo>
                <a:lnTo>
                  <a:pt x="6915" y="8449"/>
                </a:lnTo>
                <a:lnTo>
                  <a:pt x="6905" y="8459"/>
                </a:lnTo>
                <a:lnTo>
                  <a:pt x="6893" y="8470"/>
                </a:lnTo>
                <a:lnTo>
                  <a:pt x="6882" y="8480"/>
                </a:lnTo>
                <a:lnTo>
                  <a:pt x="6869" y="8489"/>
                </a:lnTo>
                <a:lnTo>
                  <a:pt x="6858" y="8497"/>
                </a:lnTo>
                <a:lnTo>
                  <a:pt x="6845" y="8506"/>
                </a:lnTo>
                <a:lnTo>
                  <a:pt x="6832" y="8514"/>
                </a:lnTo>
                <a:lnTo>
                  <a:pt x="6819" y="8520"/>
                </a:lnTo>
                <a:lnTo>
                  <a:pt x="6804" y="8526"/>
                </a:lnTo>
                <a:lnTo>
                  <a:pt x="6790" y="8533"/>
                </a:lnTo>
                <a:lnTo>
                  <a:pt x="6776" y="8538"/>
                </a:lnTo>
                <a:lnTo>
                  <a:pt x="6761" y="8542"/>
                </a:lnTo>
                <a:lnTo>
                  <a:pt x="6746" y="8545"/>
                </a:lnTo>
                <a:lnTo>
                  <a:pt x="6730" y="8548"/>
                </a:lnTo>
                <a:lnTo>
                  <a:pt x="6715" y="8550"/>
                </a:lnTo>
                <a:lnTo>
                  <a:pt x="6699" y="8551"/>
                </a:lnTo>
                <a:lnTo>
                  <a:pt x="6683" y="8551"/>
                </a:lnTo>
                <a:lnTo>
                  <a:pt x="6667" y="8551"/>
                </a:lnTo>
                <a:lnTo>
                  <a:pt x="6651" y="8550"/>
                </a:lnTo>
                <a:lnTo>
                  <a:pt x="6635" y="8548"/>
                </a:lnTo>
                <a:lnTo>
                  <a:pt x="6620" y="8545"/>
                </a:lnTo>
                <a:lnTo>
                  <a:pt x="6605" y="8542"/>
                </a:lnTo>
                <a:lnTo>
                  <a:pt x="6590" y="8538"/>
                </a:lnTo>
                <a:lnTo>
                  <a:pt x="6575" y="8533"/>
                </a:lnTo>
                <a:lnTo>
                  <a:pt x="6562" y="8526"/>
                </a:lnTo>
                <a:lnTo>
                  <a:pt x="6548" y="8520"/>
                </a:lnTo>
                <a:lnTo>
                  <a:pt x="6534" y="8514"/>
                </a:lnTo>
                <a:lnTo>
                  <a:pt x="6521" y="8506"/>
                </a:lnTo>
                <a:lnTo>
                  <a:pt x="6508" y="8497"/>
                </a:lnTo>
                <a:lnTo>
                  <a:pt x="6496" y="8489"/>
                </a:lnTo>
                <a:lnTo>
                  <a:pt x="6485" y="8480"/>
                </a:lnTo>
                <a:lnTo>
                  <a:pt x="6473" y="8470"/>
                </a:lnTo>
                <a:lnTo>
                  <a:pt x="6462" y="8459"/>
                </a:lnTo>
                <a:lnTo>
                  <a:pt x="6452" y="8449"/>
                </a:lnTo>
                <a:lnTo>
                  <a:pt x="6442" y="8438"/>
                </a:lnTo>
                <a:lnTo>
                  <a:pt x="6433" y="8425"/>
                </a:lnTo>
                <a:lnTo>
                  <a:pt x="6424" y="8413"/>
                </a:lnTo>
                <a:lnTo>
                  <a:pt x="6416" y="8401"/>
                </a:lnTo>
                <a:lnTo>
                  <a:pt x="6408" y="8387"/>
                </a:lnTo>
                <a:lnTo>
                  <a:pt x="6401" y="8374"/>
                </a:lnTo>
                <a:lnTo>
                  <a:pt x="6395" y="8361"/>
                </a:lnTo>
                <a:lnTo>
                  <a:pt x="6390" y="8346"/>
                </a:lnTo>
                <a:lnTo>
                  <a:pt x="6385" y="8332"/>
                </a:lnTo>
                <a:lnTo>
                  <a:pt x="6381" y="8317"/>
                </a:lnTo>
                <a:lnTo>
                  <a:pt x="6376" y="8302"/>
                </a:lnTo>
                <a:lnTo>
                  <a:pt x="6374" y="8286"/>
                </a:lnTo>
                <a:lnTo>
                  <a:pt x="6372" y="8271"/>
                </a:lnTo>
                <a:lnTo>
                  <a:pt x="6371" y="8255"/>
                </a:lnTo>
                <a:lnTo>
                  <a:pt x="6370" y="8239"/>
                </a:lnTo>
                <a:lnTo>
                  <a:pt x="6371" y="8223"/>
                </a:lnTo>
                <a:lnTo>
                  <a:pt x="6372" y="8207"/>
                </a:lnTo>
                <a:lnTo>
                  <a:pt x="6374" y="8192"/>
                </a:lnTo>
                <a:lnTo>
                  <a:pt x="6376" y="8176"/>
                </a:lnTo>
                <a:lnTo>
                  <a:pt x="6381" y="8161"/>
                </a:lnTo>
                <a:lnTo>
                  <a:pt x="6385" y="8146"/>
                </a:lnTo>
                <a:lnTo>
                  <a:pt x="6390" y="8132"/>
                </a:lnTo>
                <a:lnTo>
                  <a:pt x="6395" y="8117"/>
                </a:lnTo>
                <a:lnTo>
                  <a:pt x="6401" y="8104"/>
                </a:lnTo>
                <a:lnTo>
                  <a:pt x="6408" y="8091"/>
                </a:lnTo>
                <a:lnTo>
                  <a:pt x="6416" y="8077"/>
                </a:lnTo>
                <a:lnTo>
                  <a:pt x="6424" y="8065"/>
                </a:lnTo>
                <a:lnTo>
                  <a:pt x="6433" y="8053"/>
                </a:lnTo>
                <a:lnTo>
                  <a:pt x="6442" y="8040"/>
                </a:lnTo>
                <a:lnTo>
                  <a:pt x="6452" y="8029"/>
                </a:lnTo>
                <a:lnTo>
                  <a:pt x="6462" y="8019"/>
                </a:lnTo>
                <a:lnTo>
                  <a:pt x="6473" y="8008"/>
                </a:lnTo>
                <a:lnTo>
                  <a:pt x="6485" y="7998"/>
                </a:lnTo>
                <a:lnTo>
                  <a:pt x="6496" y="7989"/>
                </a:lnTo>
                <a:lnTo>
                  <a:pt x="6508" y="7981"/>
                </a:lnTo>
                <a:lnTo>
                  <a:pt x="6521" y="7972"/>
                </a:lnTo>
                <a:lnTo>
                  <a:pt x="6534" y="7965"/>
                </a:lnTo>
                <a:lnTo>
                  <a:pt x="6548" y="7958"/>
                </a:lnTo>
                <a:lnTo>
                  <a:pt x="6562" y="7952"/>
                </a:lnTo>
                <a:lnTo>
                  <a:pt x="6575" y="7945"/>
                </a:lnTo>
                <a:lnTo>
                  <a:pt x="6590" y="7941"/>
                </a:lnTo>
                <a:lnTo>
                  <a:pt x="6605" y="7936"/>
                </a:lnTo>
                <a:lnTo>
                  <a:pt x="6620" y="7933"/>
                </a:lnTo>
                <a:lnTo>
                  <a:pt x="6635" y="7930"/>
                </a:lnTo>
                <a:lnTo>
                  <a:pt x="6651" y="7928"/>
                </a:lnTo>
                <a:lnTo>
                  <a:pt x="6667" y="7927"/>
                </a:lnTo>
                <a:lnTo>
                  <a:pt x="6683" y="7927"/>
                </a:lnTo>
                <a:close/>
                <a:moveTo>
                  <a:pt x="6683" y="5415"/>
                </a:moveTo>
                <a:lnTo>
                  <a:pt x="6699" y="5415"/>
                </a:lnTo>
                <a:lnTo>
                  <a:pt x="6715" y="5416"/>
                </a:lnTo>
                <a:lnTo>
                  <a:pt x="6730" y="5418"/>
                </a:lnTo>
                <a:lnTo>
                  <a:pt x="6746" y="5421"/>
                </a:lnTo>
                <a:lnTo>
                  <a:pt x="6761" y="5424"/>
                </a:lnTo>
                <a:lnTo>
                  <a:pt x="6776" y="5430"/>
                </a:lnTo>
                <a:lnTo>
                  <a:pt x="6790" y="5434"/>
                </a:lnTo>
                <a:lnTo>
                  <a:pt x="6804" y="5440"/>
                </a:lnTo>
                <a:lnTo>
                  <a:pt x="6819" y="5446"/>
                </a:lnTo>
                <a:lnTo>
                  <a:pt x="6832" y="5453"/>
                </a:lnTo>
                <a:lnTo>
                  <a:pt x="6845" y="5460"/>
                </a:lnTo>
                <a:lnTo>
                  <a:pt x="6858" y="5469"/>
                </a:lnTo>
                <a:lnTo>
                  <a:pt x="6869" y="5477"/>
                </a:lnTo>
                <a:lnTo>
                  <a:pt x="6882" y="5486"/>
                </a:lnTo>
                <a:lnTo>
                  <a:pt x="6893" y="5496"/>
                </a:lnTo>
                <a:lnTo>
                  <a:pt x="6905" y="5507"/>
                </a:lnTo>
                <a:lnTo>
                  <a:pt x="6915" y="5517"/>
                </a:lnTo>
                <a:lnTo>
                  <a:pt x="6924" y="5528"/>
                </a:lnTo>
                <a:lnTo>
                  <a:pt x="6933" y="5541"/>
                </a:lnTo>
                <a:lnTo>
                  <a:pt x="6943" y="5553"/>
                </a:lnTo>
                <a:lnTo>
                  <a:pt x="6950" y="5565"/>
                </a:lnTo>
                <a:lnTo>
                  <a:pt x="6958" y="5579"/>
                </a:lnTo>
                <a:lnTo>
                  <a:pt x="6964" y="5592"/>
                </a:lnTo>
                <a:lnTo>
                  <a:pt x="6972" y="5606"/>
                </a:lnTo>
                <a:lnTo>
                  <a:pt x="6977" y="5620"/>
                </a:lnTo>
                <a:lnTo>
                  <a:pt x="6982" y="5634"/>
                </a:lnTo>
                <a:lnTo>
                  <a:pt x="6986" y="5649"/>
                </a:lnTo>
                <a:lnTo>
                  <a:pt x="6989" y="5664"/>
                </a:lnTo>
                <a:lnTo>
                  <a:pt x="6992" y="5680"/>
                </a:lnTo>
                <a:lnTo>
                  <a:pt x="6994" y="5695"/>
                </a:lnTo>
                <a:lnTo>
                  <a:pt x="6995" y="5711"/>
                </a:lnTo>
                <a:lnTo>
                  <a:pt x="6996" y="5727"/>
                </a:lnTo>
                <a:lnTo>
                  <a:pt x="6995" y="5744"/>
                </a:lnTo>
                <a:lnTo>
                  <a:pt x="6994" y="5759"/>
                </a:lnTo>
                <a:lnTo>
                  <a:pt x="6992" y="5775"/>
                </a:lnTo>
                <a:lnTo>
                  <a:pt x="6989" y="5790"/>
                </a:lnTo>
                <a:lnTo>
                  <a:pt x="6986" y="5805"/>
                </a:lnTo>
                <a:lnTo>
                  <a:pt x="6982" y="5820"/>
                </a:lnTo>
                <a:lnTo>
                  <a:pt x="6977" y="5834"/>
                </a:lnTo>
                <a:lnTo>
                  <a:pt x="6972" y="5849"/>
                </a:lnTo>
                <a:lnTo>
                  <a:pt x="6964" y="5862"/>
                </a:lnTo>
                <a:lnTo>
                  <a:pt x="6958" y="5875"/>
                </a:lnTo>
                <a:lnTo>
                  <a:pt x="6950" y="5889"/>
                </a:lnTo>
                <a:lnTo>
                  <a:pt x="6943" y="5901"/>
                </a:lnTo>
                <a:lnTo>
                  <a:pt x="6933" y="5914"/>
                </a:lnTo>
                <a:lnTo>
                  <a:pt x="6924" y="5926"/>
                </a:lnTo>
                <a:lnTo>
                  <a:pt x="6915" y="5937"/>
                </a:lnTo>
                <a:lnTo>
                  <a:pt x="6905" y="5948"/>
                </a:lnTo>
                <a:lnTo>
                  <a:pt x="6893" y="5958"/>
                </a:lnTo>
                <a:lnTo>
                  <a:pt x="6882" y="5968"/>
                </a:lnTo>
                <a:lnTo>
                  <a:pt x="6869" y="5977"/>
                </a:lnTo>
                <a:lnTo>
                  <a:pt x="6858" y="5986"/>
                </a:lnTo>
                <a:lnTo>
                  <a:pt x="6845" y="5994"/>
                </a:lnTo>
                <a:lnTo>
                  <a:pt x="6832" y="6001"/>
                </a:lnTo>
                <a:lnTo>
                  <a:pt x="6819" y="6008"/>
                </a:lnTo>
                <a:lnTo>
                  <a:pt x="6804" y="6014"/>
                </a:lnTo>
                <a:lnTo>
                  <a:pt x="6790" y="6021"/>
                </a:lnTo>
                <a:lnTo>
                  <a:pt x="6776" y="6025"/>
                </a:lnTo>
                <a:lnTo>
                  <a:pt x="6761" y="6030"/>
                </a:lnTo>
                <a:lnTo>
                  <a:pt x="6746" y="6033"/>
                </a:lnTo>
                <a:lnTo>
                  <a:pt x="6730" y="6036"/>
                </a:lnTo>
                <a:lnTo>
                  <a:pt x="6715" y="6038"/>
                </a:lnTo>
                <a:lnTo>
                  <a:pt x="6699" y="6039"/>
                </a:lnTo>
                <a:lnTo>
                  <a:pt x="6683" y="6039"/>
                </a:lnTo>
                <a:lnTo>
                  <a:pt x="6667" y="6039"/>
                </a:lnTo>
                <a:lnTo>
                  <a:pt x="6651" y="6038"/>
                </a:lnTo>
                <a:lnTo>
                  <a:pt x="6635" y="6036"/>
                </a:lnTo>
                <a:lnTo>
                  <a:pt x="6620" y="6033"/>
                </a:lnTo>
                <a:lnTo>
                  <a:pt x="6605" y="6030"/>
                </a:lnTo>
                <a:lnTo>
                  <a:pt x="6590" y="6025"/>
                </a:lnTo>
                <a:lnTo>
                  <a:pt x="6575" y="6021"/>
                </a:lnTo>
                <a:lnTo>
                  <a:pt x="6562" y="6014"/>
                </a:lnTo>
                <a:lnTo>
                  <a:pt x="6548" y="6008"/>
                </a:lnTo>
                <a:lnTo>
                  <a:pt x="6534" y="6001"/>
                </a:lnTo>
                <a:lnTo>
                  <a:pt x="6521" y="5994"/>
                </a:lnTo>
                <a:lnTo>
                  <a:pt x="6508" y="5986"/>
                </a:lnTo>
                <a:lnTo>
                  <a:pt x="6496" y="5977"/>
                </a:lnTo>
                <a:lnTo>
                  <a:pt x="6485" y="5968"/>
                </a:lnTo>
                <a:lnTo>
                  <a:pt x="6473" y="5958"/>
                </a:lnTo>
                <a:lnTo>
                  <a:pt x="6462" y="5948"/>
                </a:lnTo>
                <a:lnTo>
                  <a:pt x="6452" y="5937"/>
                </a:lnTo>
                <a:lnTo>
                  <a:pt x="6442" y="5926"/>
                </a:lnTo>
                <a:lnTo>
                  <a:pt x="6433" y="5914"/>
                </a:lnTo>
                <a:lnTo>
                  <a:pt x="6424" y="5901"/>
                </a:lnTo>
                <a:lnTo>
                  <a:pt x="6416" y="5889"/>
                </a:lnTo>
                <a:lnTo>
                  <a:pt x="6408" y="5875"/>
                </a:lnTo>
                <a:lnTo>
                  <a:pt x="6401" y="5862"/>
                </a:lnTo>
                <a:lnTo>
                  <a:pt x="6395" y="5849"/>
                </a:lnTo>
                <a:lnTo>
                  <a:pt x="6390" y="5834"/>
                </a:lnTo>
                <a:lnTo>
                  <a:pt x="6385" y="5820"/>
                </a:lnTo>
                <a:lnTo>
                  <a:pt x="6381" y="5805"/>
                </a:lnTo>
                <a:lnTo>
                  <a:pt x="6376" y="5790"/>
                </a:lnTo>
                <a:lnTo>
                  <a:pt x="6374" y="5775"/>
                </a:lnTo>
                <a:lnTo>
                  <a:pt x="6372" y="5759"/>
                </a:lnTo>
                <a:lnTo>
                  <a:pt x="6371" y="5744"/>
                </a:lnTo>
                <a:lnTo>
                  <a:pt x="6370" y="5727"/>
                </a:lnTo>
                <a:lnTo>
                  <a:pt x="6371" y="5711"/>
                </a:lnTo>
                <a:lnTo>
                  <a:pt x="6372" y="5695"/>
                </a:lnTo>
                <a:lnTo>
                  <a:pt x="6374" y="5680"/>
                </a:lnTo>
                <a:lnTo>
                  <a:pt x="6376" y="5664"/>
                </a:lnTo>
                <a:lnTo>
                  <a:pt x="6381" y="5649"/>
                </a:lnTo>
                <a:lnTo>
                  <a:pt x="6385" y="5634"/>
                </a:lnTo>
                <a:lnTo>
                  <a:pt x="6390" y="5620"/>
                </a:lnTo>
                <a:lnTo>
                  <a:pt x="6395" y="5606"/>
                </a:lnTo>
                <a:lnTo>
                  <a:pt x="6401" y="5592"/>
                </a:lnTo>
                <a:lnTo>
                  <a:pt x="6408" y="5579"/>
                </a:lnTo>
                <a:lnTo>
                  <a:pt x="6416" y="5565"/>
                </a:lnTo>
                <a:lnTo>
                  <a:pt x="6424" y="5553"/>
                </a:lnTo>
                <a:lnTo>
                  <a:pt x="6433" y="5541"/>
                </a:lnTo>
                <a:lnTo>
                  <a:pt x="6442" y="5528"/>
                </a:lnTo>
                <a:lnTo>
                  <a:pt x="6452" y="5517"/>
                </a:lnTo>
                <a:lnTo>
                  <a:pt x="6462" y="5507"/>
                </a:lnTo>
                <a:lnTo>
                  <a:pt x="6473" y="5496"/>
                </a:lnTo>
                <a:lnTo>
                  <a:pt x="6485" y="5486"/>
                </a:lnTo>
                <a:lnTo>
                  <a:pt x="6496" y="5477"/>
                </a:lnTo>
                <a:lnTo>
                  <a:pt x="6508" y="5469"/>
                </a:lnTo>
                <a:lnTo>
                  <a:pt x="6521" y="5460"/>
                </a:lnTo>
                <a:lnTo>
                  <a:pt x="6534" y="5453"/>
                </a:lnTo>
                <a:lnTo>
                  <a:pt x="6548" y="5446"/>
                </a:lnTo>
                <a:lnTo>
                  <a:pt x="6562" y="5440"/>
                </a:lnTo>
                <a:lnTo>
                  <a:pt x="6575" y="5434"/>
                </a:lnTo>
                <a:lnTo>
                  <a:pt x="6590" y="5430"/>
                </a:lnTo>
                <a:lnTo>
                  <a:pt x="6605" y="5424"/>
                </a:lnTo>
                <a:lnTo>
                  <a:pt x="6620" y="5421"/>
                </a:lnTo>
                <a:lnTo>
                  <a:pt x="6635" y="5418"/>
                </a:lnTo>
                <a:lnTo>
                  <a:pt x="6651" y="5416"/>
                </a:lnTo>
                <a:lnTo>
                  <a:pt x="6667" y="5415"/>
                </a:lnTo>
                <a:lnTo>
                  <a:pt x="6683" y="5415"/>
                </a:lnTo>
                <a:close/>
              </a:path>
            </a:pathLst>
          </a:custGeom>
          <a:solidFill>
            <a:srgbClr val="00B0F0"/>
          </a:solidFill>
          <a:ln>
            <a:noFill/>
          </a:ln>
          <a:effectLst/>
        </p:spPr>
        <p:txBody>
          <a:bodyPr vert="horz" wrap="square" lIns="91416" tIns="45708" rIns="91416" bIns="45708" numCol="1" rtlCol="0" anchor="t" anchorCtr="0" compatLnSpc="1">
            <a:prstTxWarp prst="textNoShape">
              <a:avLst/>
            </a:prstTxWarp>
          </a:bodyPr>
          <a:lstStyle/>
          <a:p>
            <a:pPr fontAlgn="ctr">
              <a:buClr>
                <a:srgbClr val="CC9900"/>
              </a:buClr>
              <a:buFont typeface="Wingdings" pitchFamily="2" charset="2"/>
              <a:buChar char="n"/>
            </a:pPr>
            <a:endParaRPr lang="en-US" altLang="zh-CN" sz="1799" dirty="0">
              <a:solidFill>
                <a:schemeClr val="bg1"/>
              </a:solidFill>
            </a:endParaRPr>
          </a:p>
        </p:txBody>
      </p:sp>
      <p:sp>
        <p:nvSpPr>
          <p:cNvPr id="207" name="927929328"/>
          <p:cNvSpPr>
            <a:spLocks noChangeAspect="1" noEditPoints="1"/>
          </p:cNvSpPr>
          <p:nvPr/>
        </p:nvSpPr>
        <p:spPr bwMode="auto">
          <a:xfrm>
            <a:off x="5005231" y="2669521"/>
            <a:ext cx="116731" cy="215944"/>
          </a:xfrm>
          <a:custGeom>
            <a:avLst/>
            <a:gdLst/>
            <a:ahLst/>
            <a:cxnLst>
              <a:cxn ang="0">
                <a:pos x="6958" y="3091"/>
              </a:cxn>
              <a:cxn ang="0">
                <a:pos x="6933" y="3425"/>
              </a:cxn>
              <a:cxn ang="0">
                <a:pos x="6620" y="3545"/>
              </a:cxn>
              <a:cxn ang="0">
                <a:pos x="6381" y="3317"/>
              </a:cxn>
              <a:cxn ang="0">
                <a:pos x="6485" y="2998"/>
              </a:cxn>
              <a:cxn ang="0">
                <a:pos x="8713" y="43"/>
              </a:cxn>
              <a:cxn ang="0">
                <a:pos x="9180" y="644"/>
              </a:cxn>
              <a:cxn ang="0">
                <a:pos x="8867" y="16355"/>
              </a:cxn>
              <a:cxn ang="0">
                <a:pos x="376" y="16391"/>
              </a:cxn>
              <a:cxn ang="0">
                <a:pos x="0" y="717"/>
              </a:cxn>
              <a:cxn ang="0">
                <a:pos x="407" y="71"/>
              </a:cxn>
              <a:cxn ang="0">
                <a:pos x="7621" y="2388"/>
              </a:cxn>
              <a:cxn ang="0">
                <a:pos x="7772" y="3792"/>
              </a:cxn>
              <a:cxn ang="0">
                <a:pos x="7547" y="4080"/>
              </a:cxn>
              <a:cxn ang="0">
                <a:pos x="1523" y="4012"/>
              </a:cxn>
              <a:cxn ang="0">
                <a:pos x="1421" y="2588"/>
              </a:cxn>
              <a:cxn ang="0">
                <a:pos x="1686" y="2336"/>
              </a:cxn>
              <a:cxn ang="0">
                <a:pos x="7683" y="4954"/>
              </a:cxn>
              <a:cxn ang="0">
                <a:pos x="7752" y="6387"/>
              </a:cxn>
              <a:cxn ang="0">
                <a:pos x="7464" y="6612"/>
              </a:cxn>
              <a:cxn ang="0">
                <a:pos x="1470" y="6461"/>
              </a:cxn>
              <a:cxn ang="0">
                <a:pos x="1452" y="5022"/>
              </a:cxn>
              <a:cxn ang="0">
                <a:pos x="1756" y="7352"/>
              </a:cxn>
              <a:cxn ang="0">
                <a:pos x="7732" y="7534"/>
              </a:cxn>
              <a:cxn ang="0">
                <a:pos x="7714" y="8973"/>
              </a:cxn>
              <a:cxn ang="0">
                <a:pos x="1720" y="9124"/>
              </a:cxn>
              <a:cxn ang="0">
                <a:pos x="1432" y="8899"/>
              </a:cxn>
              <a:cxn ang="0">
                <a:pos x="1501" y="7466"/>
              </a:cxn>
              <a:cxn ang="0">
                <a:pos x="7498" y="9871"/>
              </a:cxn>
              <a:cxn ang="0">
                <a:pos x="7763" y="10124"/>
              </a:cxn>
              <a:cxn ang="0">
                <a:pos x="7660" y="11548"/>
              </a:cxn>
              <a:cxn ang="0">
                <a:pos x="1637" y="11617"/>
              </a:cxn>
              <a:cxn ang="0">
                <a:pos x="1412" y="11328"/>
              </a:cxn>
              <a:cxn ang="0">
                <a:pos x="1563" y="9924"/>
              </a:cxn>
              <a:cxn ang="0">
                <a:pos x="7577" y="12410"/>
              </a:cxn>
              <a:cxn ang="0">
                <a:pos x="7774" y="12721"/>
              </a:cxn>
              <a:cxn ang="0">
                <a:pos x="7592" y="14107"/>
              </a:cxn>
              <a:cxn ang="0">
                <a:pos x="1563" y="14091"/>
              </a:cxn>
              <a:cxn ang="0">
                <a:pos x="1412" y="12686"/>
              </a:cxn>
              <a:cxn ang="0">
                <a:pos x="1637" y="12398"/>
              </a:cxn>
              <a:cxn ang="0">
                <a:pos x="6893" y="13032"/>
              </a:cxn>
              <a:cxn ang="0">
                <a:pos x="6982" y="13355"/>
              </a:cxn>
              <a:cxn ang="0">
                <a:pos x="6730" y="13572"/>
              </a:cxn>
              <a:cxn ang="0">
                <a:pos x="6424" y="13437"/>
              </a:cxn>
              <a:cxn ang="0">
                <a:pos x="6416" y="13101"/>
              </a:cxn>
              <a:cxn ang="0">
                <a:pos x="6699" y="10439"/>
              </a:cxn>
              <a:cxn ang="0">
                <a:pos x="6972" y="10629"/>
              </a:cxn>
              <a:cxn ang="0">
                <a:pos x="6915" y="10961"/>
              </a:cxn>
              <a:cxn ang="0">
                <a:pos x="6590" y="11050"/>
              </a:cxn>
              <a:cxn ang="0">
                <a:pos x="6374" y="10798"/>
              </a:cxn>
              <a:cxn ang="0">
                <a:pos x="6508" y="10492"/>
              </a:cxn>
              <a:cxn ang="0">
                <a:pos x="6832" y="7965"/>
              </a:cxn>
              <a:cxn ang="0">
                <a:pos x="6995" y="8255"/>
              </a:cxn>
              <a:cxn ang="0">
                <a:pos x="6804" y="8526"/>
              </a:cxn>
              <a:cxn ang="0">
                <a:pos x="6473" y="8470"/>
              </a:cxn>
              <a:cxn ang="0">
                <a:pos x="6385" y="8146"/>
              </a:cxn>
              <a:cxn ang="0">
                <a:pos x="6635" y="7930"/>
              </a:cxn>
              <a:cxn ang="0">
                <a:pos x="6933" y="5541"/>
              </a:cxn>
              <a:cxn ang="0">
                <a:pos x="6958" y="5875"/>
              </a:cxn>
              <a:cxn ang="0">
                <a:pos x="6667" y="6039"/>
              </a:cxn>
              <a:cxn ang="0">
                <a:pos x="6395" y="5849"/>
              </a:cxn>
              <a:cxn ang="0">
                <a:pos x="6452" y="5517"/>
              </a:cxn>
            </a:cxnLst>
            <a:rect l="0" t="0" r="r" b="b"/>
            <a:pathLst>
              <a:path w="9184" h="16478">
                <a:moveTo>
                  <a:pt x="6683" y="2927"/>
                </a:moveTo>
                <a:lnTo>
                  <a:pt x="6699" y="2927"/>
                </a:lnTo>
                <a:lnTo>
                  <a:pt x="6715" y="2929"/>
                </a:lnTo>
                <a:lnTo>
                  <a:pt x="6730" y="2931"/>
                </a:lnTo>
                <a:lnTo>
                  <a:pt x="6746" y="2933"/>
                </a:lnTo>
                <a:lnTo>
                  <a:pt x="6761" y="2937"/>
                </a:lnTo>
                <a:lnTo>
                  <a:pt x="6776" y="2941"/>
                </a:lnTo>
                <a:lnTo>
                  <a:pt x="6790" y="2946"/>
                </a:lnTo>
                <a:lnTo>
                  <a:pt x="6804" y="2952"/>
                </a:lnTo>
                <a:lnTo>
                  <a:pt x="6819" y="2958"/>
                </a:lnTo>
                <a:lnTo>
                  <a:pt x="6832" y="2965"/>
                </a:lnTo>
                <a:lnTo>
                  <a:pt x="6845" y="2972"/>
                </a:lnTo>
                <a:lnTo>
                  <a:pt x="6858" y="2980"/>
                </a:lnTo>
                <a:lnTo>
                  <a:pt x="6869" y="2989"/>
                </a:lnTo>
                <a:lnTo>
                  <a:pt x="6882" y="2998"/>
                </a:lnTo>
                <a:lnTo>
                  <a:pt x="6893" y="3008"/>
                </a:lnTo>
                <a:lnTo>
                  <a:pt x="6905" y="3019"/>
                </a:lnTo>
                <a:lnTo>
                  <a:pt x="6915" y="3030"/>
                </a:lnTo>
                <a:lnTo>
                  <a:pt x="6924" y="3041"/>
                </a:lnTo>
                <a:lnTo>
                  <a:pt x="6933" y="3053"/>
                </a:lnTo>
                <a:lnTo>
                  <a:pt x="6943" y="3065"/>
                </a:lnTo>
                <a:lnTo>
                  <a:pt x="6950" y="3077"/>
                </a:lnTo>
                <a:lnTo>
                  <a:pt x="6958" y="3091"/>
                </a:lnTo>
                <a:lnTo>
                  <a:pt x="6964" y="3104"/>
                </a:lnTo>
                <a:lnTo>
                  <a:pt x="6972" y="3117"/>
                </a:lnTo>
                <a:lnTo>
                  <a:pt x="6977" y="3132"/>
                </a:lnTo>
                <a:lnTo>
                  <a:pt x="6982" y="3146"/>
                </a:lnTo>
                <a:lnTo>
                  <a:pt x="6986" y="3162"/>
                </a:lnTo>
                <a:lnTo>
                  <a:pt x="6989" y="3176"/>
                </a:lnTo>
                <a:lnTo>
                  <a:pt x="6992" y="3192"/>
                </a:lnTo>
                <a:lnTo>
                  <a:pt x="6994" y="3207"/>
                </a:lnTo>
                <a:lnTo>
                  <a:pt x="6995" y="3224"/>
                </a:lnTo>
                <a:lnTo>
                  <a:pt x="6996" y="3239"/>
                </a:lnTo>
                <a:lnTo>
                  <a:pt x="6995" y="3255"/>
                </a:lnTo>
                <a:lnTo>
                  <a:pt x="6994" y="3271"/>
                </a:lnTo>
                <a:lnTo>
                  <a:pt x="6992" y="3286"/>
                </a:lnTo>
                <a:lnTo>
                  <a:pt x="6989" y="3302"/>
                </a:lnTo>
                <a:lnTo>
                  <a:pt x="6986" y="3317"/>
                </a:lnTo>
                <a:lnTo>
                  <a:pt x="6982" y="3332"/>
                </a:lnTo>
                <a:lnTo>
                  <a:pt x="6977" y="3346"/>
                </a:lnTo>
                <a:lnTo>
                  <a:pt x="6972" y="3360"/>
                </a:lnTo>
                <a:lnTo>
                  <a:pt x="6964" y="3374"/>
                </a:lnTo>
                <a:lnTo>
                  <a:pt x="6958" y="3387"/>
                </a:lnTo>
                <a:lnTo>
                  <a:pt x="6950" y="3401"/>
                </a:lnTo>
                <a:lnTo>
                  <a:pt x="6943" y="3413"/>
                </a:lnTo>
                <a:lnTo>
                  <a:pt x="6933" y="3425"/>
                </a:lnTo>
                <a:lnTo>
                  <a:pt x="6924" y="3438"/>
                </a:lnTo>
                <a:lnTo>
                  <a:pt x="6915" y="3449"/>
                </a:lnTo>
                <a:lnTo>
                  <a:pt x="6905" y="3459"/>
                </a:lnTo>
                <a:lnTo>
                  <a:pt x="6893" y="3470"/>
                </a:lnTo>
                <a:lnTo>
                  <a:pt x="6882" y="3480"/>
                </a:lnTo>
                <a:lnTo>
                  <a:pt x="6869" y="3489"/>
                </a:lnTo>
                <a:lnTo>
                  <a:pt x="6858" y="3497"/>
                </a:lnTo>
                <a:lnTo>
                  <a:pt x="6845" y="3506"/>
                </a:lnTo>
                <a:lnTo>
                  <a:pt x="6832" y="3514"/>
                </a:lnTo>
                <a:lnTo>
                  <a:pt x="6819" y="3520"/>
                </a:lnTo>
                <a:lnTo>
                  <a:pt x="6804" y="3526"/>
                </a:lnTo>
                <a:lnTo>
                  <a:pt x="6790" y="3532"/>
                </a:lnTo>
                <a:lnTo>
                  <a:pt x="6776" y="3538"/>
                </a:lnTo>
                <a:lnTo>
                  <a:pt x="6761" y="3542"/>
                </a:lnTo>
                <a:lnTo>
                  <a:pt x="6746" y="3545"/>
                </a:lnTo>
                <a:lnTo>
                  <a:pt x="6730" y="3548"/>
                </a:lnTo>
                <a:lnTo>
                  <a:pt x="6715" y="3550"/>
                </a:lnTo>
                <a:lnTo>
                  <a:pt x="6699" y="3551"/>
                </a:lnTo>
                <a:lnTo>
                  <a:pt x="6683" y="3551"/>
                </a:lnTo>
                <a:lnTo>
                  <a:pt x="6667" y="3551"/>
                </a:lnTo>
                <a:lnTo>
                  <a:pt x="6651" y="3550"/>
                </a:lnTo>
                <a:lnTo>
                  <a:pt x="6635" y="3548"/>
                </a:lnTo>
                <a:lnTo>
                  <a:pt x="6620" y="3545"/>
                </a:lnTo>
                <a:lnTo>
                  <a:pt x="6605" y="3542"/>
                </a:lnTo>
                <a:lnTo>
                  <a:pt x="6590" y="3538"/>
                </a:lnTo>
                <a:lnTo>
                  <a:pt x="6575" y="3532"/>
                </a:lnTo>
                <a:lnTo>
                  <a:pt x="6562" y="3526"/>
                </a:lnTo>
                <a:lnTo>
                  <a:pt x="6548" y="3520"/>
                </a:lnTo>
                <a:lnTo>
                  <a:pt x="6534" y="3514"/>
                </a:lnTo>
                <a:lnTo>
                  <a:pt x="6521" y="3506"/>
                </a:lnTo>
                <a:lnTo>
                  <a:pt x="6508" y="3497"/>
                </a:lnTo>
                <a:lnTo>
                  <a:pt x="6496" y="3489"/>
                </a:lnTo>
                <a:lnTo>
                  <a:pt x="6485" y="3480"/>
                </a:lnTo>
                <a:lnTo>
                  <a:pt x="6473" y="3470"/>
                </a:lnTo>
                <a:lnTo>
                  <a:pt x="6462" y="3459"/>
                </a:lnTo>
                <a:lnTo>
                  <a:pt x="6452" y="3449"/>
                </a:lnTo>
                <a:lnTo>
                  <a:pt x="6442" y="3438"/>
                </a:lnTo>
                <a:lnTo>
                  <a:pt x="6433" y="3425"/>
                </a:lnTo>
                <a:lnTo>
                  <a:pt x="6424" y="3413"/>
                </a:lnTo>
                <a:lnTo>
                  <a:pt x="6416" y="3401"/>
                </a:lnTo>
                <a:lnTo>
                  <a:pt x="6408" y="3387"/>
                </a:lnTo>
                <a:lnTo>
                  <a:pt x="6401" y="3374"/>
                </a:lnTo>
                <a:lnTo>
                  <a:pt x="6395" y="3360"/>
                </a:lnTo>
                <a:lnTo>
                  <a:pt x="6390" y="3346"/>
                </a:lnTo>
                <a:lnTo>
                  <a:pt x="6385" y="3332"/>
                </a:lnTo>
                <a:lnTo>
                  <a:pt x="6381" y="3317"/>
                </a:lnTo>
                <a:lnTo>
                  <a:pt x="6376" y="3302"/>
                </a:lnTo>
                <a:lnTo>
                  <a:pt x="6374" y="3286"/>
                </a:lnTo>
                <a:lnTo>
                  <a:pt x="6372" y="3271"/>
                </a:lnTo>
                <a:lnTo>
                  <a:pt x="6371" y="3255"/>
                </a:lnTo>
                <a:lnTo>
                  <a:pt x="6370" y="3239"/>
                </a:lnTo>
                <a:lnTo>
                  <a:pt x="6371" y="3224"/>
                </a:lnTo>
                <a:lnTo>
                  <a:pt x="6372" y="3207"/>
                </a:lnTo>
                <a:lnTo>
                  <a:pt x="6374" y="3192"/>
                </a:lnTo>
                <a:lnTo>
                  <a:pt x="6376" y="3176"/>
                </a:lnTo>
                <a:lnTo>
                  <a:pt x="6381" y="3162"/>
                </a:lnTo>
                <a:lnTo>
                  <a:pt x="6385" y="3146"/>
                </a:lnTo>
                <a:lnTo>
                  <a:pt x="6390" y="3132"/>
                </a:lnTo>
                <a:lnTo>
                  <a:pt x="6395" y="3117"/>
                </a:lnTo>
                <a:lnTo>
                  <a:pt x="6401" y="3104"/>
                </a:lnTo>
                <a:lnTo>
                  <a:pt x="6408" y="3091"/>
                </a:lnTo>
                <a:lnTo>
                  <a:pt x="6416" y="3077"/>
                </a:lnTo>
                <a:lnTo>
                  <a:pt x="6424" y="3065"/>
                </a:lnTo>
                <a:lnTo>
                  <a:pt x="6433" y="3053"/>
                </a:lnTo>
                <a:lnTo>
                  <a:pt x="6442" y="3041"/>
                </a:lnTo>
                <a:lnTo>
                  <a:pt x="6452" y="3030"/>
                </a:lnTo>
                <a:lnTo>
                  <a:pt x="6462" y="3019"/>
                </a:lnTo>
                <a:lnTo>
                  <a:pt x="6473" y="3008"/>
                </a:lnTo>
                <a:lnTo>
                  <a:pt x="6485" y="2998"/>
                </a:lnTo>
                <a:lnTo>
                  <a:pt x="6496" y="2989"/>
                </a:lnTo>
                <a:lnTo>
                  <a:pt x="6508" y="2980"/>
                </a:lnTo>
                <a:lnTo>
                  <a:pt x="6521" y="2972"/>
                </a:lnTo>
                <a:lnTo>
                  <a:pt x="6534" y="2965"/>
                </a:lnTo>
                <a:lnTo>
                  <a:pt x="6548" y="2958"/>
                </a:lnTo>
                <a:lnTo>
                  <a:pt x="6562" y="2952"/>
                </a:lnTo>
                <a:lnTo>
                  <a:pt x="6575" y="2946"/>
                </a:lnTo>
                <a:lnTo>
                  <a:pt x="6590" y="2941"/>
                </a:lnTo>
                <a:lnTo>
                  <a:pt x="6605" y="2937"/>
                </a:lnTo>
                <a:lnTo>
                  <a:pt x="6620" y="2933"/>
                </a:lnTo>
                <a:lnTo>
                  <a:pt x="6635" y="2931"/>
                </a:lnTo>
                <a:lnTo>
                  <a:pt x="6651" y="2929"/>
                </a:lnTo>
                <a:lnTo>
                  <a:pt x="6667" y="2927"/>
                </a:lnTo>
                <a:lnTo>
                  <a:pt x="6683" y="2927"/>
                </a:lnTo>
                <a:close/>
                <a:moveTo>
                  <a:pt x="718" y="0"/>
                </a:moveTo>
                <a:lnTo>
                  <a:pt x="8466" y="0"/>
                </a:lnTo>
                <a:lnTo>
                  <a:pt x="8503" y="1"/>
                </a:lnTo>
                <a:lnTo>
                  <a:pt x="8539" y="4"/>
                </a:lnTo>
                <a:lnTo>
                  <a:pt x="8575" y="8"/>
                </a:lnTo>
                <a:lnTo>
                  <a:pt x="8611" y="14"/>
                </a:lnTo>
                <a:lnTo>
                  <a:pt x="8646" y="23"/>
                </a:lnTo>
                <a:lnTo>
                  <a:pt x="8680" y="32"/>
                </a:lnTo>
                <a:lnTo>
                  <a:pt x="8713" y="43"/>
                </a:lnTo>
                <a:lnTo>
                  <a:pt x="8745" y="57"/>
                </a:lnTo>
                <a:lnTo>
                  <a:pt x="8777" y="71"/>
                </a:lnTo>
                <a:lnTo>
                  <a:pt x="8808" y="87"/>
                </a:lnTo>
                <a:lnTo>
                  <a:pt x="8837" y="104"/>
                </a:lnTo>
                <a:lnTo>
                  <a:pt x="8867" y="123"/>
                </a:lnTo>
                <a:lnTo>
                  <a:pt x="8895" y="143"/>
                </a:lnTo>
                <a:lnTo>
                  <a:pt x="8922" y="164"/>
                </a:lnTo>
                <a:lnTo>
                  <a:pt x="8948" y="186"/>
                </a:lnTo>
                <a:lnTo>
                  <a:pt x="8974" y="210"/>
                </a:lnTo>
                <a:lnTo>
                  <a:pt x="8997" y="236"/>
                </a:lnTo>
                <a:lnTo>
                  <a:pt x="9020" y="262"/>
                </a:lnTo>
                <a:lnTo>
                  <a:pt x="9041" y="288"/>
                </a:lnTo>
                <a:lnTo>
                  <a:pt x="9061" y="316"/>
                </a:lnTo>
                <a:lnTo>
                  <a:pt x="9080" y="346"/>
                </a:lnTo>
                <a:lnTo>
                  <a:pt x="9097" y="376"/>
                </a:lnTo>
                <a:lnTo>
                  <a:pt x="9113" y="407"/>
                </a:lnTo>
                <a:lnTo>
                  <a:pt x="9127" y="439"/>
                </a:lnTo>
                <a:lnTo>
                  <a:pt x="9141" y="471"/>
                </a:lnTo>
                <a:lnTo>
                  <a:pt x="9152" y="504"/>
                </a:lnTo>
                <a:lnTo>
                  <a:pt x="9161" y="538"/>
                </a:lnTo>
                <a:lnTo>
                  <a:pt x="9170" y="573"/>
                </a:lnTo>
                <a:lnTo>
                  <a:pt x="9176" y="608"/>
                </a:lnTo>
                <a:lnTo>
                  <a:pt x="9180" y="644"/>
                </a:lnTo>
                <a:lnTo>
                  <a:pt x="9183" y="680"/>
                </a:lnTo>
                <a:lnTo>
                  <a:pt x="9184" y="717"/>
                </a:lnTo>
                <a:lnTo>
                  <a:pt x="9184" y="15761"/>
                </a:lnTo>
                <a:lnTo>
                  <a:pt x="9183" y="15798"/>
                </a:lnTo>
                <a:lnTo>
                  <a:pt x="9180" y="15834"/>
                </a:lnTo>
                <a:lnTo>
                  <a:pt x="9176" y="15870"/>
                </a:lnTo>
                <a:lnTo>
                  <a:pt x="9170" y="15905"/>
                </a:lnTo>
                <a:lnTo>
                  <a:pt x="9161" y="15940"/>
                </a:lnTo>
                <a:lnTo>
                  <a:pt x="9152" y="15974"/>
                </a:lnTo>
                <a:lnTo>
                  <a:pt x="9141" y="16007"/>
                </a:lnTo>
                <a:lnTo>
                  <a:pt x="9127" y="16040"/>
                </a:lnTo>
                <a:lnTo>
                  <a:pt x="9113" y="16071"/>
                </a:lnTo>
                <a:lnTo>
                  <a:pt x="9097" y="16102"/>
                </a:lnTo>
                <a:lnTo>
                  <a:pt x="9080" y="16132"/>
                </a:lnTo>
                <a:lnTo>
                  <a:pt x="9061" y="16162"/>
                </a:lnTo>
                <a:lnTo>
                  <a:pt x="9041" y="16190"/>
                </a:lnTo>
                <a:lnTo>
                  <a:pt x="9020" y="16216"/>
                </a:lnTo>
                <a:lnTo>
                  <a:pt x="8997" y="16243"/>
                </a:lnTo>
                <a:lnTo>
                  <a:pt x="8974" y="16268"/>
                </a:lnTo>
                <a:lnTo>
                  <a:pt x="8948" y="16292"/>
                </a:lnTo>
                <a:lnTo>
                  <a:pt x="8922" y="16314"/>
                </a:lnTo>
                <a:lnTo>
                  <a:pt x="8895" y="16335"/>
                </a:lnTo>
                <a:lnTo>
                  <a:pt x="8867" y="16355"/>
                </a:lnTo>
                <a:lnTo>
                  <a:pt x="8837" y="16374"/>
                </a:lnTo>
                <a:lnTo>
                  <a:pt x="8808" y="16391"/>
                </a:lnTo>
                <a:lnTo>
                  <a:pt x="8777" y="16407"/>
                </a:lnTo>
                <a:lnTo>
                  <a:pt x="8745" y="16421"/>
                </a:lnTo>
                <a:lnTo>
                  <a:pt x="8713" y="16435"/>
                </a:lnTo>
                <a:lnTo>
                  <a:pt x="8680" y="16446"/>
                </a:lnTo>
                <a:lnTo>
                  <a:pt x="8646" y="16455"/>
                </a:lnTo>
                <a:lnTo>
                  <a:pt x="8611" y="16464"/>
                </a:lnTo>
                <a:lnTo>
                  <a:pt x="8575" y="16470"/>
                </a:lnTo>
                <a:lnTo>
                  <a:pt x="8539" y="16474"/>
                </a:lnTo>
                <a:lnTo>
                  <a:pt x="8503" y="16477"/>
                </a:lnTo>
                <a:lnTo>
                  <a:pt x="8466" y="16478"/>
                </a:lnTo>
                <a:lnTo>
                  <a:pt x="718" y="16478"/>
                </a:lnTo>
                <a:lnTo>
                  <a:pt x="681" y="16477"/>
                </a:lnTo>
                <a:lnTo>
                  <a:pt x="645" y="16474"/>
                </a:lnTo>
                <a:lnTo>
                  <a:pt x="609" y="16470"/>
                </a:lnTo>
                <a:lnTo>
                  <a:pt x="573" y="16464"/>
                </a:lnTo>
                <a:lnTo>
                  <a:pt x="538" y="16455"/>
                </a:lnTo>
                <a:lnTo>
                  <a:pt x="504" y="16446"/>
                </a:lnTo>
                <a:lnTo>
                  <a:pt x="471" y="16435"/>
                </a:lnTo>
                <a:lnTo>
                  <a:pt x="438" y="16421"/>
                </a:lnTo>
                <a:lnTo>
                  <a:pt x="407" y="16407"/>
                </a:lnTo>
                <a:lnTo>
                  <a:pt x="376" y="16391"/>
                </a:lnTo>
                <a:lnTo>
                  <a:pt x="347" y="16374"/>
                </a:lnTo>
                <a:lnTo>
                  <a:pt x="317" y="16355"/>
                </a:lnTo>
                <a:lnTo>
                  <a:pt x="289" y="16335"/>
                </a:lnTo>
                <a:lnTo>
                  <a:pt x="262" y="16314"/>
                </a:lnTo>
                <a:lnTo>
                  <a:pt x="235" y="16292"/>
                </a:lnTo>
                <a:lnTo>
                  <a:pt x="210" y="16268"/>
                </a:lnTo>
                <a:lnTo>
                  <a:pt x="187" y="16243"/>
                </a:lnTo>
                <a:lnTo>
                  <a:pt x="164" y="16216"/>
                </a:lnTo>
                <a:lnTo>
                  <a:pt x="143" y="16190"/>
                </a:lnTo>
                <a:lnTo>
                  <a:pt x="123" y="16162"/>
                </a:lnTo>
                <a:lnTo>
                  <a:pt x="104" y="16132"/>
                </a:lnTo>
                <a:lnTo>
                  <a:pt x="87" y="16102"/>
                </a:lnTo>
                <a:lnTo>
                  <a:pt x="71" y="16071"/>
                </a:lnTo>
                <a:lnTo>
                  <a:pt x="57" y="16040"/>
                </a:lnTo>
                <a:lnTo>
                  <a:pt x="43" y="16007"/>
                </a:lnTo>
                <a:lnTo>
                  <a:pt x="32" y="15974"/>
                </a:lnTo>
                <a:lnTo>
                  <a:pt x="23" y="15940"/>
                </a:lnTo>
                <a:lnTo>
                  <a:pt x="14" y="15905"/>
                </a:lnTo>
                <a:lnTo>
                  <a:pt x="8" y="15870"/>
                </a:lnTo>
                <a:lnTo>
                  <a:pt x="4" y="15834"/>
                </a:lnTo>
                <a:lnTo>
                  <a:pt x="1" y="15798"/>
                </a:lnTo>
                <a:lnTo>
                  <a:pt x="0" y="15761"/>
                </a:lnTo>
                <a:lnTo>
                  <a:pt x="0" y="717"/>
                </a:lnTo>
                <a:lnTo>
                  <a:pt x="1" y="680"/>
                </a:lnTo>
                <a:lnTo>
                  <a:pt x="4" y="644"/>
                </a:lnTo>
                <a:lnTo>
                  <a:pt x="8" y="608"/>
                </a:lnTo>
                <a:lnTo>
                  <a:pt x="14" y="573"/>
                </a:lnTo>
                <a:lnTo>
                  <a:pt x="23" y="538"/>
                </a:lnTo>
                <a:lnTo>
                  <a:pt x="32" y="504"/>
                </a:lnTo>
                <a:lnTo>
                  <a:pt x="43" y="471"/>
                </a:lnTo>
                <a:lnTo>
                  <a:pt x="57" y="439"/>
                </a:lnTo>
                <a:lnTo>
                  <a:pt x="71" y="407"/>
                </a:lnTo>
                <a:lnTo>
                  <a:pt x="87" y="376"/>
                </a:lnTo>
                <a:lnTo>
                  <a:pt x="104" y="346"/>
                </a:lnTo>
                <a:lnTo>
                  <a:pt x="123" y="316"/>
                </a:lnTo>
                <a:lnTo>
                  <a:pt x="143" y="288"/>
                </a:lnTo>
                <a:lnTo>
                  <a:pt x="164" y="262"/>
                </a:lnTo>
                <a:lnTo>
                  <a:pt x="187" y="236"/>
                </a:lnTo>
                <a:lnTo>
                  <a:pt x="210" y="210"/>
                </a:lnTo>
                <a:lnTo>
                  <a:pt x="235" y="186"/>
                </a:lnTo>
                <a:lnTo>
                  <a:pt x="262" y="164"/>
                </a:lnTo>
                <a:lnTo>
                  <a:pt x="289" y="143"/>
                </a:lnTo>
                <a:lnTo>
                  <a:pt x="317" y="123"/>
                </a:lnTo>
                <a:lnTo>
                  <a:pt x="347" y="104"/>
                </a:lnTo>
                <a:lnTo>
                  <a:pt x="376" y="87"/>
                </a:lnTo>
                <a:lnTo>
                  <a:pt x="407" y="71"/>
                </a:lnTo>
                <a:lnTo>
                  <a:pt x="438" y="57"/>
                </a:lnTo>
                <a:lnTo>
                  <a:pt x="471" y="43"/>
                </a:lnTo>
                <a:lnTo>
                  <a:pt x="504" y="32"/>
                </a:lnTo>
                <a:lnTo>
                  <a:pt x="538" y="23"/>
                </a:lnTo>
                <a:lnTo>
                  <a:pt x="573" y="14"/>
                </a:lnTo>
                <a:lnTo>
                  <a:pt x="609" y="8"/>
                </a:lnTo>
                <a:lnTo>
                  <a:pt x="645" y="4"/>
                </a:lnTo>
                <a:lnTo>
                  <a:pt x="681" y="1"/>
                </a:lnTo>
                <a:lnTo>
                  <a:pt x="718" y="0"/>
                </a:lnTo>
                <a:close/>
                <a:moveTo>
                  <a:pt x="1756" y="2329"/>
                </a:moveTo>
                <a:lnTo>
                  <a:pt x="7428" y="2329"/>
                </a:lnTo>
                <a:lnTo>
                  <a:pt x="7446" y="2330"/>
                </a:lnTo>
                <a:lnTo>
                  <a:pt x="7464" y="2331"/>
                </a:lnTo>
                <a:lnTo>
                  <a:pt x="7481" y="2333"/>
                </a:lnTo>
                <a:lnTo>
                  <a:pt x="7498" y="2336"/>
                </a:lnTo>
                <a:lnTo>
                  <a:pt x="7514" y="2340"/>
                </a:lnTo>
                <a:lnTo>
                  <a:pt x="7531" y="2344"/>
                </a:lnTo>
                <a:lnTo>
                  <a:pt x="7547" y="2350"/>
                </a:lnTo>
                <a:lnTo>
                  <a:pt x="7563" y="2356"/>
                </a:lnTo>
                <a:lnTo>
                  <a:pt x="7577" y="2363"/>
                </a:lnTo>
                <a:lnTo>
                  <a:pt x="7592" y="2371"/>
                </a:lnTo>
                <a:lnTo>
                  <a:pt x="7607" y="2379"/>
                </a:lnTo>
                <a:lnTo>
                  <a:pt x="7621" y="2388"/>
                </a:lnTo>
                <a:lnTo>
                  <a:pt x="7635" y="2398"/>
                </a:lnTo>
                <a:lnTo>
                  <a:pt x="7647" y="2408"/>
                </a:lnTo>
                <a:lnTo>
                  <a:pt x="7660" y="2418"/>
                </a:lnTo>
                <a:lnTo>
                  <a:pt x="7672" y="2429"/>
                </a:lnTo>
                <a:lnTo>
                  <a:pt x="7683" y="2442"/>
                </a:lnTo>
                <a:lnTo>
                  <a:pt x="7695" y="2454"/>
                </a:lnTo>
                <a:lnTo>
                  <a:pt x="7705" y="2468"/>
                </a:lnTo>
                <a:lnTo>
                  <a:pt x="7714" y="2481"/>
                </a:lnTo>
                <a:lnTo>
                  <a:pt x="7723" y="2495"/>
                </a:lnTo>
                <a:lnTo>
                  <a:pt x="7732" y="2510"/>
                </a:lnTo>
                <a:lnTo>
                  <a:pt x="7739" y="2524"/>
                </a:lnTo>
                <a:lnTo>
                  <a:pt x="7746" y="2540"/>
                </a:lnTo>
                <a:lnTo>
                  <a:pt x="7752" y="2555"/>
                </a:lnTo>
                <a:lnTo>
                  <a:pt x="7758" y="2572"/>
                </a:lnTo>
                <a:lnTo>
                  <a:pt x="7763" y="2588"/>
                </a:lnTo>
                <a:lnTo>
                  <a:pt x="7767" y="2605"/>
                </a:lnTo>
                <a:lnTo>
                  <a:pt x="7770" y="2621"/>
                </a:lnTo>
                <a:lnTo>
                  <a:pt x="7772" y="2639"/>
                </a:lnTo>
                <a:lnTo>
                  <a:pt x="7773" y="2656"/>
                </a:lnTo>
                <a:lnTo>
                  <a:pt x="7774" y="2674"/>
                </a:lnTo>
                <a:lnTo>
                  <a:pt x="7774" y="3757"/>
                </a:lnTo>
                <a:lnTo>
                  <a:pt x="7773" y="3774"/>
                </a:lnTo>
                <a:lnTo>
                  <a:pt x="7772" y="3792"/>
                </a:lnTo>
                <a:lnTo>
                  <a:pt x="7770" y="3810"/>
                </a:lnTo>
                <a:lnTo>
                  <a:pt x="7767" y="3826"/>
                </a:lnTo>
                <a:lnTo>
                  <a:pt x="7763" y="3842"/>
                </a:lnTo>
                <a:lnTo>
                  <a:pt x="7758" y="3859"/>
                </a:lnTo>
                <a:lnTo>
                  <a:pt x="7752" y="3875"/>
                </a:lnTo>
                <a:lnTo>
                  <a:pt x="7746" y="3891"/>
                </a:lnTo>
                <a:lnTo>
                  <a:pt x="7739" y="3906"/>
                </a:lnTo>
                <a:lnTo>
                  <a:pt x="7732" y="3921"/>
                </a:lnTo>
                <a:lnTo>
                  <a:pt x="7723" y="3935"/>
                </a:lnTo>
                <a:lnTo>
                  <a:pt x="7714" y="3950"/>
                </a:lnTo>
                <a:lnTo>
                  <a:pt x="7705" y="3963"/>
                </a:lnTo>
                <a:lnTo>
                  <a:pt x="7695" y="3976"/>
                </a:lnTo>
                <a:lnTo>
                  <a:pt x="7683" y="3989"/>
                </a:lnTo>
                <a:lnTo>
                  <a:pt x="7672" y="4000"/>
                </a:lnTo>
                <a:lnTo>
                  <a:pt x="7660" y="4012"/>
                </a:lnTo>
                <a:lnTo>
                  <a:pt x="7647" y="4023"/>
                </a:lnTo>
                <a:lnTo>
                  <a:pt x="7635" y="4033"/>
                </a:lnTo>
                <a:lnTo>
                  <a:pt x="7621" y="4042"/>
                </a:lnTo>
                <a:lnTo>
                  <a:pt x="7607" y="4052"/>
                </a:lnTo>
                <a:lnTo>
                  <a:pt x="7592" y="4060"/>
                </a:lnTo>
                <a:lnTo>
                  <a:pt x="7577" y="4068"/>
                </a:lnTo>
                <a:lnTo>
                  <a:pt x="7563" y="4074"/>
                </a:lnTo>
                <a:lnTo>
                  <a:pt x="7547" y="4080"/>
                </a:lnTo>
                <a:lnTo>
                  <a:pt x="7531" y="4087"/>
                </a:lnTo>
                <a:lnTo>
                  <a:pt x="7514" y="4091"/>
                </a:lnTo>
                <a:lnTo>
                  <a:pt x="7498" y="4095"/>
                </a:lnTo>
                <a:lnTo>
                  <a:pt x="7481" y="4098"/>
                </a:lnTo>
                <a:lnTo>
                  <a:pt x="7464" y="4100"/>
                </a:lnTo>
                <a:lnTo>
                  <a:pt x="7446" y="4101"/>
                </a:lnTo>
                <a:lnTo>
                  <a:pt x="7428" y="4102"/>
                </a:lnTo>
                <a:lnTo>
                  <a:pt x="1756" y="4102"/>
                </a:lnTo>
                <a:lnTo>
                  <a:pt x="1738" y="4101"/>
                </a:lnTo>
                <a:lnTo>
                  <a:pt x="1720" y="4100"/>
                </a:lnTo>
                <a:lnTo>
                  <a:pt x="1703" y="4098"/>
                </a:lnTo>
                <a:lnTo>
                  <a:pt x="1686" y="4095"/>
                </a:lnTo>
                <a:lnTo>
                  <a:pt x="1670" y="4091"/>
                </a:lnTo>
                <a:lnTo>
                  <a:pt x="1653" y="4087"/>
                </a:lnTo>
                <a:lnTo>
                  <a:pt x="1637" y="4080"/>
                </a:lnTo>
                <a:lnTo>
                  <a:pt x="1621" y="4074"/>
                </a:lnTo>
                <a:lnTo>
                  <a:pt x="1606" y="4068"/>
                </a:lnTo>
                <a:lnTo>
                  <a:pt x="1592" y="4060"/>
                </a:lnTo>
                <a:lnTo>
                  <a:pt x="1577" y="4052"/>
                </a:lnTo>
                <a:lnTo>
                  <a:pt x="1563" y="4042"/>
                </a:lnTo>
                <a:lnTo>
                  <a:pt x="1549" y="4033"/>
                </a:lnTo>
                <a:lnTo>
                  <a:pt x="1536" y="4023"/>
                </a:lnTo>
                <a:lnTo>
                  <a:pt x="1523" y="4012"/>
                </a:lnTo>
                <a:lnTo>
                  <a:pt x="1512" y="4000"/>
                </a:lnTo>
                <a:lnTo>
                  <a:pt x="1501" y="3989"/>
                </a:lnTo>
                <a:lnTo>
                  <a:pt x="1489" y="3976"/>
                </a:lnTo>
                <a:lnTo>
                  <a:pt x="1479" y="3963"/>
                </a:lnTo>
                <a:lnTo>
                  <a:pt x="1470" y="3950"/>
                </a:lnTo>
                <a:lnTo>
                  <a:pt x="1461" y="3935"/>
                </a:lnTo>
                <a:lnTo>
                  <a:pt x="1452" y="3921"/>
                </a:lnTo>
                <a:lnTo>
                  <a:pt x="1445" y="3906"/>
                </a:lnTo>
                <a:lnTo>
                  <a:pt x="1438" y="3891"/>
                </a:lnTo>
                <a:lnTo>
                  <a:pt x="1432" y="3875"/>
                </a:lnTo>
                <a:lnTo>
                  <a:pt x="1426" y="3859"/>
                </a:lnTo>
                <a:lnTo>
                  <a:pt x="1421" y="3842"/>
                </a:lnTo>
                <a:lnTo>
                  <a:pt x="1417" y="3826"/>
                </a:lnTo>
                <a:lnTo>
                  <a:pt x="1414" y="3810"/>
                </a:lnTo>
                <a:lnTo>
                  <a:pt x="1412" y="3792"/>
                </a:lnTo>
                <a:lnTo>
                  <a:pt x="1411" y="3774"/>
                </a:lnTo>
                <a:lnTo>
                  <a:pt x="1410" y="3757"/>
                </a:lnTo>
                <a:lnTo>
                  <a:pt x="1410" y="2674"/>
                </a:lnTo>
                <a:lnTo>
                  <a:pt x="1411" y="2656"/>
                </a:lnTo>
                <a:lnTo>
                  <a:pt x="1412" y="2639"/>
                </a:lnTo>
                <a:lnTo>
                  <a:pt x="1414" y="2621"/>
                </a:lnTo>
                <a:lnTo>
                  <a:pt x="1417" y="2605"/>
                </a:lnTo>
                <a:lnTo>
                  <a:pt x="1421" y="2588"/>
                </a:lnTo>
                <a:lnTo>
                  <a:pt x="1426" y="2572"/>
                </a:lnTo>
                <a:lnTo>
                  <a:pt x="1432" y="2555"/>
                </a:lnTo>
                <a:lnTo>
                  <a:pt x="1438" y="2540"/>
                </a:lnTo>
                <a:lnTo>
                  <a:pt x="1445" y="2524"/>
                </a:lnTo>
                <a:lnTo>
                  <a:pt x="1452" y="2510"/>
                </a:lnTo>
                <a:lnTo>
                  <a:pt x="1461" y="2495"/>
                </a:lnTo>
                <a:lnTo>
                  <a:pt x="1470" y="2481"/>
                </a:lnTo>
                <a:lnTo>
                  <a:pt x="1479" y="2468"/>
                </a:lnTo>
                <a:lnTo>
                  <a:pt x="1489" y="2454"/>
                </a:lnTo>
                <a:lnTo>
                  <a:pt x="1501" y="2442"/>
                </a:lnTo>
                <a:lnTo>
                  <a:pt x="1512" y="2429"/>
                </a:lnTo>
                <a:lnTo>
                  <a:pt x="1523" y="2418"/>
                </a:lnTo>
                <a:lnTo>
                  <a:pt x="1536" y="2408"/>
                </a:lnTo>
                <a:lnTo>
                  <a:pt x="1549" y="2398"/>
                </a:lnTo>
                <a:lnTo>
                  <a:pt x="1563" y="2388"/>
                </a:lnTo>
                <a:lnTo>
                  <a:pt x="1577" y="2379"/>
                </a:lnTo>
                <a:lnTo>
                  <a:pt x="1592" y="2371"/>
                </a:lnTo>
                <a:lnTo>
                  <a:pt x="1606" y="2363"/>
                </a:lnTo>
                <a:lnTo>
                  <a:pt x="1621" y="2356"/>
                </a:lnTo>
                <a:lnTo>
                  <a:pt x="1637" y="2350"/>
                </a:lnTo>
                <a:lnTo>
                  <a:pt x="1653" y="2344"/>
                </a:lnTo>
                <a:lnTo>
                  <a:pt x="1670" y="2340"/>
                </a:lnTo>
                <a:lnTo>
                  <a:pt x="1686" y="2336"/>
                </a:lnTo>
                <a:lnTo>
                  <a:pt x="1703" y="2333"/>
                </a:lnTo>
                <a:lnTo>
                  <a:pt x="1720" y="2331"/>
                </a:lnTo>
                <a:lnTo>
                  <a:pt x="1738" y="2330"/>
                </a:lnTo>
                <a:lnTo>
                  <a:pt x="1756" y="2329"/>
                </a:lnTo>
                <a:close/>
                <a:moveTo>
                  <a:pt x="1756" y="4840"/>
                </a:moveTo>
                <a:lnTo>
                  <a:pt x="7428" y="4840"/>
                </a:lnTo>
                <a:lnTo>
                  <a:pt x="7446" y="4841"/>
                </a:lnTo>
                <a:lnTo>
                  <a:pt x="7464" y="4842"/>
                </a:lnTo>
                <a:lnTo>
                  <a:pt x="7481" y="4845"/>
                </a:lnTo>
                <a:lnTo>
                  <a:pt x="7498" y="4848"/>
                </a:lnTo>
                <a:lnTo>
                  <a:pt x="7514" y="4852"/>
                </a:lnTo>
                <a:lnTo>
                  <a:pt x="7531" y="4856"/>
                </a:lnTo>
                <a:lnTo>
                  <a:pt x="7547" y="4862"/>
                </a:lnTo>
                <a:lnTo>
                  <a:pt x="7563" y="4868"/>
                </a:lnTo>
                <a:lnTo>
                  <a:pt x="7577" y="4874"/>
                </a:lnTo>
                <a:lnTo>
                  <a:pt x="7592" y="4883"/>
                </a:lnTo>
                <a:lnTo>
                  <a:pt x="7607" y="4891"/>
                </a:lnTo>
                <a:lnTo>
                  <a:pt x="7621" y="4900"/>
                </a:lnTo>
                <a:lnTo>
                  <a:pt x="7635" y="4909"/>
                </a:lnTo>
                <a:lnTo>
                  <a:pt x="7647" y="4920"/>
                </a:lnTo>
                <a:lnTo>
                  <a:pt x="7660" y="4930"/>
                </a:lnTo>
                <a:lnTo>
                  <a:pt x="7672" y="4941"/>
                </a:lnTo>
                <a:lnTo>
                  <a:pt x="7683" y="4954"/>
                </a:lnTo>
                <a:lnTo>
                  <a:pt x="7695" y="4966"/>
                </a:lnTo>
                <a:lnTo>
                  <a:pt x="7705" y="4979"/>
                </a:lnTo>
                <a:lnTo>
                  <a:pt x="7714" y="4993"/>
                </a:lnTo>
                <a:lnTo>
                  <a:pt x="7723" y="5007"/>
                </a:lnTo>
                <a:lnTo>
                  <a:pt x="7732" y="5022"/>
                </a:lnTo>
                <a:lnTo>
                  <a:pt x="7739" y="5036"/>
                </a:lnTo>
                <a:lnTo>
                  <a:pt x="7746" y="5052"/>
                </a:lnTo>
                <a:lnTo>
                  <a:pt x="7752" y="5067"/>
                </a:lnTo>
                <a:lnTo>
                  <a:pt x="7758" y="5083"/>
                </a:lnTo>
                <a:lnTo>
                  <a:pt x="7763" y="5100"/>
                </a:lnTo>
                <a:lnTo>
                  <a:pt x="7767" y="5116"/>
                </a:lnTo>
                <a:lnTo>
                  <a:pt x="7770" y="5133"/>
                </a:lnTo>
                <a:lnTo>
                  <a:pt x="7772" y="5150"/>
                </a:lnTo>
                <a:lnTo>
                  <a:pt x="7773" y="5168"/>
                </a:lnTo>
                <a:lnTo>
                  <a:pt x="7774" y="5185"/>
                </a:lnTo>
                <a:lnTo>
                  <a:pt x="7774" y="6269"/>
                </a:lnTo>
                <a:lnTo>
                  <a:pt x="7773" y="6286"/>
                </a:lnTo>
                <a:lnTo>
                  <a:pt x="7772" y="6304"/>
                </a:lnTo>
                <a:lnTo>
                  <a:pt x="7770" y="6321"/>
                </a:lnTo>
                <a:lnTo>
                  <a:pt x="7767" y="6338"/>
                </a:lnTo>
                <a:lnTo>
                  <a:pt x="7763" y="6355"/>
                </a:lnTo>
                <a:lnTo>
                  <a:pt x="7758" y="6371"/>
                </a:lnTo>
                <a:lnTo>
                  <a:pt x="7752" y="6387"/>
                </a:lnTo>
                <a:lnTo>
                  <a:pt x="7746" y="6403"/>
                </a:lnTo>
                <a:lnTo>
                  <a:pt x="7739" y="6418"/>
                </a:lnTo>
                <a:lnTo>
                  <a:pt x="7732" y="6433"/>
                </a:lnTo>
                <a:lnTo>
                  <a:pt x="7723" y="6447"/>
                </a:lnTo>
                <a:lnTo>
                  <a:pt x="7714" y="6461"/>
                </a:lnTo>
                <a:lnTo>
                  <a:pt x="7705" y="6475"/>
                </a:lnTo>
                <a:lnTo>
                  <a:pt x="7695" y="6488"/>
                </a:lnTo>
                <a:lnTo>
                  <a:pt x="7683" y="6501"/>
                </a:lnTo>
                <a:lnTo>
                  <a:pt x="7672" y="6513"/>
                </a:lnTo>
                <a:lnTo>
                  <a:pt x="7660" y="6524"/>
                </a:lnTo>
                <a:lnTo>
                  <a:pt x="7647" y="6535"/>
                </a:lnTo>
                <a:lnTo>
                  <a:pt x="7635" y="6545"/>
                </a:lnTo>
                <a:lnTo>
                  <a:pt x="7621" y="6554"/>
                </a:lnTo>
                <a:lnTo>
                  <a:pt x="7607" y="6563"/>
                </a:lnTo>
                <a:lnTo>
                  <a:pt x="7592" y="6572"/>
                </a:lnTo>
                <a:lnTo>
                  <a:pt x="7577" y="6580"/>
                </a:lnTo>
                <a:lnTo>
                  <a:pt x="7563" y="6586"/>
                </a:lnTo>
                <a:lnTo>
                  <a:pt x="7547" y="6592"/>
                </a:lnTo>
                <a:lnTo>
                  <a:pt x="7531" y="6598"/>
                </a:lnTo>
                <a:lnTo>
                  <a:pt x="7514" y="6603"/>
                </a:lnTo>
                <a:lnTo>
                  <a:pt x="7498" y="6607"/>
                </a:lnTo>
                <a:lnTo>
                  <a:pt x="7481" y="6610"/>
                </a:lnTo>
                <a:lnTo>
                  <a:pt x="7464" y="6612"/>
                </a:lnTo>
                <a:lnTo>
                  <a:pt x="7446" y="6613"/>
                </a:lnTo>
                <a:lnTo>
                  <a:pt x="7428" y="6614"/>
                </a:lnTo>
                <a:lnTo>
                  <a:pt x="1756" y="6614"/>
                </a:lnTo>
                <a:lnTo>
                  <a:pt x="1738" y="6613"/>
                </a:lnTo>
                <a:lnTo>
                  <a:pt x="1720" y="6612"/>
                </a:lnTo>
                <a:lnTo>
                  <a:pt x="1703" y="6610"/>
                </a:lnTo>
                <a:lnTo>
                  <a:pt x="1686" y="6607"/>
                </a:lnTo>
                <a:lnTo>
                  <a:pt x="1670" y="6603"/>
                </a:lnTo>
                <a:lnTo>
                  <a:pt x="1653" y="6598"/>
                </a:lnTo>
                <a:lnTo>
                  <a:pt x="1637" y="6592"/>
                </a:lnTo>
                <a:lnTo>
                  <a:pt x="1621" y="6586"/>
                </a:lnTo>
                <a:lnTo>
                  <a:pt x="1606" y="6580"/>
                </a:lnTo>
                <a:lnTo>
                  <a:pt x="1592" y="6572"/>
                </a:lnTo>
                <a:lnTo>
                  <a:pt x="1577" y="6563"/>
                </a:lnTo>
                <a:lnTo>
                  <a:pt x="1563" y="6554"/>
                </a:lnTo>
                <a:lnTo>
                  <a:pt x="1549" y="6545"/>
                </a:lnTo>
                <a:lnTo>
                  <a:pt x="1536" y="6535"/>
                </a:lnTo>
                <a:lnTo>
                  <a:pt x="1523" y="6524"/>
                </a:lnTo>
                <a:lnTo>
                  <a:pt x="1512" y="6513"/>
                </a:lnTo>
                <a:lnTo>
                  <a:pt x="1501" y="6501"/>
                </a:lnTo>
                <a:lnTo>
                  <a:pt x="1489" y="6488"/>
                </a:lnTo>
                <a:lnTo>
                  <a:pt x="1479" y="6475"/>
                </a:lnTo>
                <a:lnTo>
                  <a:pt x="1470" y="6461"/>
                </a:lnTo>
                <a:lnTo>
                  <a:pt x="1461" y="6447"/>
                </a:lnTo>
                <a:lnTo>
                  <a:pt x="1452" y="6433"/>
                </a:lnTo>
                <a:lnTo>
                  <a:pt x="1445" y="6418"/>
                </a:lnTo>
                <a:lnTo>
                  <a:pt x="1438" y="6403"/>
                </a:lnTo>
                <a:lnTo>
                  <a:pt x="1432" y="6387"/>
                </a:lnTo>
                <a:lnTo>
                  <a:pt x="1426" y="6371"/>
                </a:lnTo>
                <a:lnTo>
                  <a:pt x="1421" y="6355"/>
                </a:lnTo>
                <a:lnTo>
                  <a:pt x="1417" y="6338"/>
                </a:lnTo>
                <a:lnTo>
                  <a:pt x="1414" y="6321"/>
                </a:lnTo>
                <a:lnTo>
                  <a:pt x="1412" y="6304"/>
                </a:lnTo>
                <a:lnTo>
                  <a:pt x="1411" y="6286"/>
                </a:lnTo>
                <a:lnTo>
                  <a:pt x="1410" y="6269"/>
                </a:lnTo>
                <a:lnTo>
                  <a:pt x="1410" y="5185"/>
                </a:lnTo>
                <a:lnTo>
                  <a:pt x="1411" y="5168"/>
                </a:lnTo>
                <a:lnTo>
                  <a:pt x="1412" y="5150"/>
                </a:lnTo>
                <a:lnTo>
                  <a:pt x="1414" y="5133"/>
                </a:lnTo>
                <a:lnTo>
                  <a:pt x="1417" y="5116"/>
                </a:lnTo>
                <a:lnTo>
                  <a:pt x="1421" y="5100"/>
                </a:lnTo>
                <a:lnTo>
                  <a:pt x="1426" y="5083"/>
                </a:lnTo>
                <a:lnTo>
                  <a:pt x="1432" y="5067"/>
                </a:lnTo>
                <a:lnTo>
                  <a:pt x="1438" y="5052"/>
                </a:lnTo>
                <a:lnTo>
                  <a:pt x="1445" y="5036"/>
                </a:lnTo>
                <a:lnTo>
                  <a:pt x="1452" y="5022"/>
                </a:lnTo>
                <a:lnTo>
                  <a:pt x="1461" y="5007"/>
                </a:lnTo>
                <a:lnTo>
                  <a:pt x="1470" y="4993"/>
                </a:lnTo>
                <a:lnTo>
                  <a:pt x="1479" y="4979"/>
                </a:lnTo>
                <a:lnTo>
                  <a:pt x="1489" y="4966"/>
                </a:lnTo>
                <a:lnTo>
                  <a:pt x="1501" y="4954"/>
                </a:lnTo>
                <a:lnTo>
                  <a:pt x="1512" y="4941"/>
                </a:lnTo>
                <a:lnTo>
                  <a:pt x="1523" y="4930"/>
                </a:lnTo>
                <a:lnTo>
                  <a:pt x="1536" y="4920"/>
                </a:lnTo>
                <a:lnTo>
                  <a:pt x="1549" y="4909"/>
                </a:lnTo>
                <a:lnTo>
                  <a:pt x="1563" y="4900"/>
                </a:lnTo>
                <a:lnTo>
                  <a:pt x="1577" y="4891"/>
                </a:lnTo>
                <a:lnTo>
                  <a:pt x="1592" y="4883"/>
                </a:lnTo>
                <a:lnTo>
                  <a:pt x="1606" y="4874"/>
                </a:lnTo>
                <a:lnTo>
                  <a:pt x="1621" y="4868"/>
                </a:lnTo>
                <a:lnTo>
                  <a:pt x="1637" y="4862"/>
                </a:lnTo>
                <a:lnTo>
                  <a:pt x="1653" y="4856"/>
                </a:lnTo>
                <a:lnTo>
                  <a:pt x="1670" y="4852"/>
                </a:lnTo>
                <a:lnTo>
                  <a:pt x="1686" y="4848"/>
                </a:lnTo>
                <a:lnTo>
                  <a:pt x="1703" y="4845"/>
                </a:lnTo>
                <a:lnTo>
                  <a:pt x="1720" y="4842"/>
                </a:lnTo>
                <a:lnTo>
                  <a:pt x="1738" y="4841"/>
                </a:lnTo>
                <a:lnTo>
                  <a:pt x="1756" y="4840"/>
                </a:lnTo>
                <a:close/>
                <a:moveTo>
                  <a:pt x="1756" y="7352"/>
                </a:moveTo>
                <a:lnTo>
                  <a:pt x="7428" y="7352"/>
                </a:lnTo>
                <a:lnTo>
                  <a:pt x="7446" y="7353"/>
                </a:lnTo>
                <a:lnTo>
                  <a:pt x="7464" y="7354"/>
                </a:lnTo>
                <a:lnTo>
                  <a:pt x="7481" y="7356"/>
                </a:lnTo>
                <a:lnTo>
                  <a:pt x="7498" y="7359"/>
                </a:lnTo>
                <a:lnTo>
                  <a:pt x="7514" y="7364"/>
                </a:lnTo>
                <a:lnTo>
                  <a:pt x="7531" y="7368"/>
                </a:lnTo>
                <a:lnTo>
                  <a:pt x="7547" y="7374"/>
                </a:lnTo>
                <a:lnTo>
                  <a:pt x="7563" y="7380"/>
                </a:lnTo>
                <a:lnTo>
                  <a:pt x="7577" y="7386"/>
                </a:lnTo>
                <a:lnTo>
                  <a:pt x="7592" y="7395"/>
                </a:lnTo>
                <a:lnTo>
                  <a:pt x="7607" y="7403"/>
                </a:lnTo>
                <a:lnTo>
                  <a:pt x="7621" y="7412"/>
                </a:lnTo>
                <a:lnTo>
                  <a:pt x="7635" y="7421"/>
                </a:lnTo>
                <a:lnTo>
                  <a:pt x="7647" y="7432"/>
                </a:lnTo>
                <a:lnTo>
                  <a:pt x="7660" y="7442"/>
                </a:lnTo>
                <a:lnTo>
                  <a:pt x="7672" y="7454"/>
                </a:lnTo>
                <a:lnTo>
                  <a:pt x="7683" y="7466"/>
                </a:lnTo>
                <a:lnTo>
                  <a:pt x="7695" y="7478"/>
                </a:lnTo>
                <a:lnTo>
                  <a:pt x="7705" y="7491"/>
                </a:lnTo>
                <a:lnTo>
                  <a:pt x="7714" y="7505"/>
                </a:lnTo>
                <a:lnTo>
                  <a:pt x="7723" y="7519"/>
                </a:lnTo>
                <a:lnTo>
                  <a:pt x="7732" y="7534"/>
                </a:lnTo>
                <a:lnTo>
                  <a:pt x="7739" y="7548"/>
                </a:lnTo>
                <a:lnTo>
                  <a:pt x="7746" y="7563"/>
                </a:lnTo>
                <a:lnTo>
                  <a:pt x="7752" y="7579"/>
                </a:lnTo>
                <a:lnTo>
                  <a:pt x="7758" y="7595"/>
                </a:lnTo>
                <a:lnTo>
                  <a:pt x="7763" y="7612"/>
                </a:lnTo>
                <a:lnTo>
                  <a:pt x="7767" y="7628"/>
                </a:lnTo>
                <a:lnTo>
                  <a:pt x="7770" y="7645"/>
                </a:lnTo>
                <a:lnTo>
                  <a:pt x="7772" y="7662"/>
                </a:lnTo>
                <a:lnTo>
                  <a:pt x="7773" y="7680"/>
                </a:lnTo>
                <a:lnTo>
                  <a:pt x="7774" y="7697"/>
                </a:lnTo>
                <a:lnTo>
                  <a:pt x="7774" y="8781"/>
                </a:lnTo>
                <a:lnTo>
                  <a:pt x="7773" y="8798"/>
                </a:lnTo>
                <a:lnTo>
                  <a:pt x="7772" y="8816"/>
                </a:lnTo>
                <a:lnTo>
                  <a:pt x="7770" y="8833"/>
                </a:lnTo>
                <a:lnTo>
                  <a:pt x="7767" y="8850"/>
                </a:lnTo>
                <a:lnTo>
                  <a:pt x="7763" y="8867"/>
                </a:lnTo>
                <a:lnTo>
                  <a:pt x="7758" y="8883"/>
                </a:lnTo>
                <a:lnTo>
                  <a:pt x="7752" y="8899"/>
                </a:lnTo>
                <a:lnTo>
                  <a:pt x="7746" y="8915"/>
                </a:lnTo>
                <a:lnTo>
                  <a:pt x="7739" y="8930"/>
                </a:lnTo>
                <a:lnTo>
                  <a:pt x="7732" y="8944"/>
                </a:lnTo>
                <a:lnTo>
                  <a:pt x="7723" y="8959"/>
                </a:lnTo>
                <a:lnTo>
                  <a:pt x="7714" y="8973"/>
                </a:lnTo>
                <a:lnTo>
                  <a:pt x="7705" y="8987"/>
                </a:lnTo>
                <a:lnTo>
                  <a:pt x="7695" y="9000"/>
                </a:lnTo>
                <a:lnTo>
                  <a:pt x="7683" y="9012"/>
                </a:lnTo>
                <a:lnTo>
                  <a:pt x="7672" y="9025"/>
                </a:lnTo>
                <a:lnTo>
                  <a:pt x="7660" y="9036"/>
                </a:lnTo>
                <a:lnTo>
                  <a:pt x="7647" y="9046"/>
                </a:lnTo>
                <a:lnTo>
                  <a:pt x="7635" y="9057"/>
                </a:lnTo>
                <a:lnTo>
                  <a:pt x="7621" y="9067"/>
                </a:lnTo>
                <a:lnTo>
                  <a:pt x="7607" y="9075"/>
                </a:lnTo>
                <a:lnTo>
                  <a:pt x="7592" y="9083"/>
                </a:lnTo>
                <a:lnTo>
                  <a:pt x="7577" y="9092"/>
                </a:lnTo>
                <a:lnTo>
                  <a:pt x="7563" y="9098"/>
                </a:lnTo>
                <a:lnTo>
                  <a:pt x="7547" y="9105"/>
                </a:lnTo>
                <a:lnTo>
                  <a:pt x="7531" y="9110"/>
                </a:lnTo>
                <a:lnTo>
                  <a:pt x="7514" y="9114"/>
                </a:lnTo>
                <a:lnTo>
                  <a:pt x="7498" y="9119"/>
                </a:lnTo>
                <a:lnTo>
                  <a:pt x="7481" y="9122"/>
                </a:lnTo>
                <a:lnTo>
                  <a:pt x="7464" y="9124"/>
                </a:lnTo>
                <a:lnTo>
                  <a:pt x="7446" y="9125"/>
                </a:lnTo>
                <a:lnTo>
                  <a:pt x="7428" y="9126"/>
                </a:lnTo>
                <a:lnTo>
                  <a:pt x="1756" y="9126"/>
                </a:lnTo>
                <a:lnTo>
                  <a:pt x="1738" y="9125"/>
                </a:lnTo>
                <a:lnTo>
                  <a:pt x="1720" y="9124"/>
                </a:lnTo>
                <a:lnTo>
                  <a:pt x="1703" y="9122"/>
                </a:lnTo>
                <a:lnTo>
                  <a:pt x="1686" y="9119"/>
                </a:lnTo>
                <a:lnTo>
                  <a:pt x="1670" y="9114"/>
                </a:lnTo>
                <a:lnTo>
                  <a:pt x="1653" y="9110"/>
                </a:lnTo>
                <a:lnTo>
                  <a:pt x="1637" y="9105"/>
                </a:lnTo>
                <a:lnTo>
                  <a:pt x="1621" y="9098"/>
                </a:lnTo>
                <a:lnTo>
                  <a:pt x="1606" y="9092"/>
                </a:lnTo>
                <a:lnTo>
                  <a:pt x="1592" y="9083"/>
                </a:lnTo>
                <a:lnTo>
                  <a:pt x="1577" y="9075"/>
                </a:lnTo>
                <a:lnTo>
                  <a:pt x="1563" y="9067"/>
                </a:lnTo>
                <a:lnTo>
                  <a:pt x="1549" y="9057"/>
                </a:lnTo>
                <a:lnTo>
                  <a:pt x="1536" y="9046"/>
                </a:lnTo>
                <a:lnTo>
                  <a:pt x="1523" y="9036"/>
                </a:lnTo>
                <a:lnTo>
                  <a:pt x="1512" y="9025"/>
                </a:lnTo>
                <a:lnTo>
                  <a:pt x="1501" y="9012"/>
                </a:lnTo>
                <a:lnTo>
                  <a:pt x="1489" y="9000"/>
                </a:lnTo>
                <a:lnTo>
                  <a:pt x="1479" y="8987"/>
                </a:lnTo>
                <a:lnTo>
                  <a:pt x="1470" y="8973"/>
                </a:lnTo>
                <a:lnTo>
                  <a:pt x="1461" y="8959"/>
                </a:lnTo>
                <a:lnTo>
                  <a:pt x="1452" y="8944"/>
                </a:lnTo>
                <a:lnTo>
                  <a:pt x="1445" y="8930"/>
                </a:lnTo>
                <a:lnTo>
                  <a:pt x="1438" y="8915"/>
                </a:lnTo>
                <a:lnTo>
                  <a:pt x="1432" y="8899"/>
                </a:lnTo>
                <a:lnTo>
                  <a:pt x="1426" y="8883"/>
                </a:lnTo>
                <a:lnTo>
                  <a:pt x="1421" y="8867"/>
                </a:lnTo>
                <a:lnTo>
                  <a:pt x="1417" y="8850"/>
                </a:lnTo>
                <a:lnTo>
                  <a:pt x="1414" y="8833"/>
                </a:lnTo>
                <a:lnTo>
                  <a:pt x="1412" y="8816"/>
                </a:lnTo>
                <a:lnTo>
                  <a:pt x="1411" y="8798"/>
                </a:lnTo>
                <a:lnTo>
                  <a:pt x="1410" y="8781"/>
                </a:lnTo>
                <a:lnTo>
                  <a:pt x="1410" y="7697"/>
                </a:lnTo>
                <a:lnTo>
                  <a:pt x="1411" y="7680"/>
                </a:lnTo>
                <a:lnTo>
                  <a:pt x="1412" y="7662"/>
                </a:lnTo>
                <a:lnTo>
                  <a:pt x="1414" y="7645"/>
                </a:lnTo>
                <a:lnTo>
                  <a:pt x="1417" y="7628"/>
                </a:lnTo>
                <a:lnTo>
                  <a:pt x="1421" y="7612"/>
                </a:lnTo>
                <a:lnTo>
                  <a:pt x="1426" y="7595"/>
                </a:lnTo>
                <a:lnTo>
                  <a:pt x="1432" y="7579"/>
                </a:lnTo>
                <a:lnTo>
                  <a:pt x="1438" y="7563"/>
                </a:lnTo>
                <a:lnTo>
                  <a:pt x="1445" y="7548"/>
                </a:lnTo>
                <a:lnTo>
                  <a:pt x="1452" y="7534"/>
                </a:lnTo>
                <a:lnTo>
                  <a:pt x="1461" y="7519"/>
                </a:lnTo>
                <a:lnTo>
                  <a:pt x="1470" y="7505"/>
                </a:lnTo>
                <a:lnTo>
                  <a:pt x="1479" y="7491"/>
                </a:lnTo>
                <a:lnTo>
                  <a:pt x="1489" y="7478"/>
                </a:lnTo>
                <a:lnTo>
                  <a:pt x="1501" y="7466"/>
                </a:lnTo>
                <a:lnTo>
                  <a:pt x="1512" y="7454"/>
                </a:lnTo>
                <a:lnTo>
                  <a:pt x="1523" y="7442"/>
                </a:lnTo>
                <a:lnTo>
                  <a:pt x="1536" y="7432"/>
                </a:lnTo>
                <a:lnTo>
                  <a:pt x="1549" y="7421"/>
                </a:lnTo>
                <a:lnTo>
                  <a:pt x="1563" y="7412"/>
                </a:lnTo>
                <a:lnTo>
                  <a:pt x="1577" y="7403"/>
                </a:lnTo>
                <a:lnTo>
                  <a:pt x="1592" y="7395"/>
                </a:lnTo>
                <a:lnTo>
                  <a:pt x="1606" y="7386"/>
                </a:lnTo>
                <a:lnTo>
                  <a:pt x="1621" y="7380"/>
                </a:lnTo>
                <a:lnTo>
                  <a:pt x="1637" y="7374"/>
                </a:lnTo>
                <a:lnTo>
                  <a:pt x="1653" y="7368"/>
                </a:lnTo>
                <a:lnTo>
                  <a:pt x="1670" y="7364"/>
                </a:lnTo>
                <a:lnTo>
                  <a:pt x="1686" y="7359"/>
                </a:lnTo>
                <a:lnTo>
                  <a:pt x="1703" y="7356"/>
                </a:lnTo>
                <a:lnTo>
                  <a:pt x="1720" y="7354"/>
                </a:lnTo>
                <a:lnTo>
                  <a:pt x="1738" y="7353"/>
                </a:lnTo>
                <a:lnTo>
                  <a:pt x="1756" y="7352"/>
                </a:lnTo>
                <a:close/>
                <a:moveTo>
                  <a:pt x="1756" y="9864"/>
                </a:moveTo>
                <a:lnTo>
                  <a:pt x="7428" y="9864"/>
                </a:lnTo>
                <a:lnTo>
                  <a:pt x="7446" y="9865"/>
                </a:lnTo>
                <a:lnTo>
                  <a:pt x="7464" y="9866"/>
                </a:lnTo>
                <a:lnTo>
                  <a:pt x="7481" y="9868"/>
                </a:lnTo>
                <a:lnTo>
                  <a:pt x="7498" y="9871"/>
                </a:lnTo>
                <a:lnTo>
                  <a:pt x="7514" y="9875"/>
                </a:lnTo>
                <a:lnTo>
                  <a:pt x="7531" y="9880"/>
                </a:lnTo>
                <a:lnTo>
                  <a:pt x="7547" y="9886"/>
                </a:lnTo>
                <a:lnTo>
                  <a:pt x="7563" y="9892"/>
                </a:lnTo>
                <a:lnTo>
                  <a:pt x="7577" y="9898"/>
                </a:lnTo>
                <a:lnTo>
                  <a:pt x="7592" y="9906"/>
                </a:lnTo>
                <a:lnTo>
                  <a:pt x="7607" y="9915"/>
                </a:lnTo>
                <a:lnTo>
                  <a:pt x="7621" y="9924"/>
                </a:lnTo>
                <a:lnTo>
                  <a:pt x="7635" y="9933"/>
                </a:lnTo>
                <a:lnTo>
                  <a:pt x="7647" y="9943"/>
                </a:lnTo>
                <a:lnTo>
                  <a:pt x="7660" y="9954"/>
                </a:lnTo>
                <a:lnTo>
                  <a:pt x="7672" y="9966"/>
                </a:lnTo>
                <a:lnTo>
                  <a:pt x="7683" y="9977"/>
                </a:lnTo>
                <a:lnTo>
                  <a:pt x="7695" y="9990"/>
                </a:lnTo>
                <a:lnTo>
                  <a:pt x="7705" y="10003"/>
                </a:lnTo>
                <a:lnTo>
                  <a:pt x="7714" y="10017"/>
                </a:lnTo>
                <a:lnTo>
                  <a:pt x="7723" y="10031"/>
                </a:lnTo>
                <a:lnTo>
                  <a:pt x="7732" y="10045"/>
                </a:lnTo>
                <a:lnTo>
                  <a:pt x="7739" y="10060"/>
                </a:lnTo>
                <a:lnTo>
                  <a:pt x="7746" y="10075"/>
                </a:lnTo>
                <a:lnTo>
                  <a:pt x="7752" y="10091"/>
                </a:lnTo>
                <a:lnTo>
                  <a:pt x="7758" y="10107"/>
                </a:lnTo>
                <a:lnTo>
                  <a:pt x="7763" y="10124"/>
                </a:lnTo>
                <a:lnTo>
                  <a:pt x="7767" y="10140"/>
                </a:lnTo>
                <a:lnTo>
                  <a:pt x="7770" y="10157"/>
                </a:lnTo>
                <a:lnTo>
                  <a:pt x="7772" y="10174"/>
                </a:lnTo>
                <a:lnTo>
                  <a:pt x="7773" y="10192"/>
                </a:lnTo>
                <a:lnTo>
                  <a:pt x="7774" y="10209"/>
                </a:lnTo>
                <a:lnTo>
                  <a:pt x="7774" y="11293"/>
                </a:lnTo>
                <a:lnTo>
                  <a:pt x="7773" y="11310"/>
                </a:lnTo>
                <a:lnTo>
                  <a:pt x="7772" y="11328"/>
                </a:lnTo>
                <a:lnTo>
                  <a:pt x="7770" y="11345"/>
                </a:lnTo>
                <a:lnTo>
                  <a:pt x="7767" y="11362"/>
                </a:lnTo>
                <a:lnTo>
                  <a:pt x="7763" y="11379"/>
                </a:lnTo>
                <a:lnTo>
                  <a:pt x="7758" y="11395"/>
                </a:lnTo>
                <a:lnTo>
                  <a:pt x="7752" y="11411"/>
                </a:lnTo>
                <a:lnTo>
                  <a:pt x="7746" y="11426"/>
                </a:lnTo>
                <a:lnTo>
                  <a:pt x="7739" y="11442"/>
                </a:lnTo>
                <a:lnTo>
                  <a:pt x="7732" y="11456"/>
                </a:lnTo>
                <a:lnTo>
                  <a:pt x="7723" y="11471"/>
                </a:lnTo>
                <a:lnTo>
                  <a:pt x="7714" y="11485"/>
                </a:lnTo>
                <a:lnTo>
                  <a:pt x="7705" y="11499"/>
                </a:lnTo>
                <a:lnTo>
                  <a:pt x="7695" y="11512"/>
                </a:lnTo>
                <a:lnTo>
                  <a:pt x="7683" y="11524"/>
                </a:lnTo>
                <a:lnTo>
                  <a:pt x="7672" y="11537"/>
                </a:lnTo>
                <a:lnTo>
                  <a:pt x="7660" y="11548"/>
                </a:lnTo>
                <a:lnTo>
                  <a:pt x="7647" y="11558"/>
                </a:lnTo>
                <a:lnTo>
                  <a:pt x="7635" y="11569"/>
                </a:lnTo>
                <a:lnTo>
                  <a:pt x="7621" y="11579"/>
                </a:lnTo>
                <a:lnTo>
                  <a:pt x="7607" y="11587"/>
                </a:lnTo>
                <a:lnTo>
                  <a:pt x="7592" y="11595"/>
                </a:lnTo>
                <a:lnTo>
                  <a:pt x="7577" y="11604"/>
                </a:lnTo>
                <a:lnTo>
                  <a:pt x="7563" y="11610"/>
                </a:lnTo>
                <a:lnTo>
                  <a:pt x="7547" y="11617"/>
                </a:lnTo>
                <a:lnTo>
                  <a:pt x="7531" y="11622"/>
                </a:lnTo>
                <a:lnTo>
                  <a:pt x="7514" y="11626"/>
                </a:lnTo>
                <a:lnTo>
                  <a:pt x="7498" y="11630"/>
                </a:lnTo>
                <a:lnTo>
                  <a:pt x="7481" y="11633"/>
                </a:lnTo>
                <a:lnTo>
                  <a:pt x="7464" y="11636"/>
                </a:lnTo>
                <a:lnTo>
                  <a:pt x="7446" y="11637"/>
                </a:lnTo>
                <a:lnTo>
                  <a:pt x="7428" y="11638"/>
                </a:lnTo>
                <a:lnTo>
                  <a:pt x="1756" y="11638"/>
                </a:lnTo>
                <a:lnTo>
                  <a:pt x="1738" y="11637"/>
                </a:lnTo>
                <a:lnTo>
                  <a:pt x="1720" y="11636"/>
                </a:lnTo>
                <a:lnTo>
                  <a:pt x="1703" y="11633"/>
                </a:lnTo>
                <a:lnTo>
                  <a:pt x="1686" y="11630"/>
                </a:lnTo>
                <a:lnTo>
                  <a:pt x="1670" y="11626"/>
                </a:lnTo>
                <a:lnTo>
                  <a:pt x="1653" y="11622"/>
                </a:lnTo>
                <a:lnTo>
                  <a:pt x="1637" y="11617"/>
                </a:lnTo>
                <a:lnTo>
                  <a:pt x="1621" y="11610"/>
                </a:lnTo>
                <a:lnTo>
                  <a:pt x="1606" y="11604"/>
                </a:lnTo>
                <a:lnTo>
                  <a:pt x="1592" y="11595"/>
                </a:lnTo>
                <a:lnTo>
                  <a:pt x="1577" y="11587"/>
                </a:lnTo>
                <a:lnTo>
                  <a:pt x="1563" y="11579"/>
                </a:lnTo>
                <a:lnTo>
                  <a:pt x="1549" y="11569"/>
                </a:lnTo>
                <a:lnTo>
                  <a:pt x="1536" y="11558"/>
                </a:lnTo>
                <a:lnTo>
                  <a:pt x="1523" y="11548"/>
                </a:lnTo>
                <a:lnTo>
                  <a:pt x="1512" y="11537"/>
                </a:lnTo>
                <a:lnTo>
                  <a:pt x="1501" y="11524"/>
                </a:lnTo>
                <a:lnTo>
                  <a:pt x="1489" y="11512"/>
                </a:lnTo>
                <a:lnTo>
                  <a:pt x="1479" y="11499"/>
                </a:lnTo>
                <a:lnTo>
                  <a:pt x="1470" y="11485"/>
                </a:lnTo>
                <a:lnTo>
                  <a:pt x="1461" y="11471"/>
                </a:lnTo>
                <a:lnTo>
                  <a:pt x="1452" y="11456"/>
                </a:lnTo>
                <a:lnTo>
                  <a:pt x="1445" y="11442"/>
                </a:lnTo>
                <a:lnTo>
                  <a:pt x="1438" y="11426"/>
                </a:lnTo>
                <a:lnTo>
                  <a:pt x="1432" y="11411"/>
                </a:lnTo>
                <a:lnTo>
                  <a:pt x="1426" y="11395"/>
                </a:lnTo>
                <a:lnTo>
                  <a:pt x="1421" y="11379"/>
                </a:lnTo>
                <a:lnTo>
                  <a:pt x="1417" y="11362"/>
                </a:lnTo>
                <a:lnTo>
                  <a:pt x="1414" y="11345"/>
                </a:lnTo>
                <a:lnTo>
                  <a:pt x="1412" y="11328"/>
                </a:lnTo>
                <a:lnTo>
                  <a:pt x="1411" y="11310"/>
                </a:lnTo>
                <a:lnTo>
                  <a:pt x="1410" y="11293"/>
                </a:lnTo>
                <a:lnTo>
                  <a:pt x="1410" y="10209"/>
                </a:lnTo>
                <a:lnTo>
                  <a:pt x="1411" y="10192"/>
                </a:lnTo>
                <a:lnTo>
                  <a:pt x="1412" y="10174"/>
                </a:lnTo>
                <a:lnTo>
                  <a:pt x="1414" y="10157"/>
                </a:lnTo>
                <a:lnTo>
                  <a:pt x="1417" y="10140"/>
                </a:lnTo>
                <a:lnTo>
                  <a:pt x="1421" y="10124"/>
                </a:lnTo>
                <a:lnTo>
                  <a:pt x="1426" y="10107"/>
                </a:lnTo>
                <a:lnTo>
                  <a:pt x="1432" y="10091"/>
                </a:lnTo>
                <a:lnTo>
                  <a:pt x="1438" y="10075"/>
                </a:lnTo>
                <a:lnTo>
                  <a:pt x="1445" y="10060"/>
                </a:lnTo>
                <a:lnTo>
                  <a:pt x="1452" y="10045"/>
                </a:lnTo>
                <a:lnTo>
                  <a:pt x="1461" y="10031"/>
                </a:lnTo>
                <a:lnTo>
                  <a:pt x="1470" y="10017"/>
                </a:lnTo>
                <a:lnTo>
                  <a:pt x="1479" y="10003"/>
                </a:lnTo>
                <a:lnTo>
                  <a:pt x="1489" y="9990"/>
                </a:lnTo>
                <a:lnTo>
                  <a:pt x="1501" y="9977"/>
                </a:lnTo>
                <a:lnTo>
                  <a:pt x="1512" y="9966"/>
                </a:lnTo>
                <a:lnTo>
                  <a:pt x="1523" y="9954"/>
                </a:lnTo>
                <a:lnTo>
                  <a:pt x="1536" y="9943"/>
                </a:lnTo>
                <a:lnTo>
                  <a:pt x="1549" y="9933"/>
                </a:lnTo>
                <a:lnTo>
                  <a:pt x="1563" y="9924"/>
                </a:lnTo>
                <a:lnTo>
                  <a:pt x="1577" y="9915"/>
                </a:lnTo>
                <a:lnTo>
                  <a:pt x="1592" y="9906"/>
                </a:lnTo>
                <a:lnTo>
                  <a:pt x="1606" y="9898"/>
                </a:lnTo>
                <a:lnTo>
                  <a:pt x="1621" y="9892"/>
                </a:lnTo>
                <a:lnTo>
                  <a:pt x="1637" y="9886"/>
                </a:lnTo>
                <a:lnTo>
                  <a:pt x="1653" y="9880"/>
                </a:lnTo>
                <a:lnTo>
                  <a:pt x="1670" y="9875"/>
                </a:lnTo>
                <a:lnTo>
                  <a:pt x="1686" y="9871"/>
                </a:lnTo>
                <a:lnTo>
                  <a:pt x="1703" y="9868"/>
                </a:lnTo>
                <a:lnTo>
                  <a:pt x="1720" y="9866"/>
                </a:lnTo>
                <a:lnTo>
                  <a:pt x="1738" y="9865"/>
                </a:lnTo>
                <a:lnTo>
                  <a:pt x="1756" y="9864"/>
                </a:lnTo>
                <a:close/>
                <a:moveTo>
                  <a:pt x="1756" y="12376"/>
                </a:moveTo>
                <a:lnTo>
                  <a:pt x="7428" y="12376"/>
                </a:lnTo>
                <a:lnTo>
                  <a:pt x="7446" y="12377"/>
                </a:lnTo>
                <a:lnTo>
                  <a:pt x="7464" y="12378"/>
                </a:lnTo>
                <a:lnTo>
                  <a:pt x="7481" y="12380"/>
                </a:lnTo>
                <a:lnTo>
                  <a:pt x="7498" y="12383"/>
                </a:lnTo>
                <a:lnTo>
                  <a:pt x="7514" y="12387"/>
                </a:lnTo>
                <a:lnTo>
                  <a:pt x="7531" y="12391"/>
                </a:lnTo>
                <a:lnTo>
                  <a:pt x="7547" y="12398"/>
                </a:lnTo>
                <a:lnTo>
                  <a:pt x="7563" y="12404"/>
                </a:lnTo>
                <a:lnTo>
                  <a:pt x="7577" y="12410"/>
                </a:lnTo>
                <a:lnTo>
                  <a:pt x="7592" y="12418"/>
                </a:lnTo>
                <a:lnTo>
                  <a:pt x="7607" y="12426"/>
                </a:lnTo>
                <a:lnTo>
                  <a:pt x="7621" y="12436"/>
                </a:lnTo>
                <a:lnTo>
                  <a:pt x="7635" y="12445"/>
                </a:lnTo>
                <a:lnTo>
                  <a:pt x="7647" y="12455"/>
                </a:lnTo>
                <a:lnTo>
                  <a:pt x="7660" y="12467"/>
                </a:lnTo>
                <a:lnTo>
                  <a:pt x="7672" y="12478"/>
                </a:lnTo>
                <a:lnTo>
                  <a:pt x="7683" y="12489"/>
                </a:lnTo>
                <a:lnTo>
                  <a:pt x="7695" y="12502"/>
                </a:lnTo>
                <a:lnTo>
                  <a:pt x="7705" y="12515"/>
                </a:lnTo>
                <a:lnTo>
                  <a:pt x="7714" y="12528"/>
                </a:lnTo>
                <a:lnTo>
                  <a:pt x="7723" y="12543"/>
                </a:lnTo>
                <a:lnTo>
                  <a:pt x="7732" y="12557"/>
                </a:lnTo>
                <a:lnTo>
                  <a:pt x="7739" y="12572"/>
                </a:lnTo>
                <a:lnTo>
                  <a:pt x="7746" y="12587"/>
                </a:lnTo>
                <a:lnTo>
                  <a:pt x="7752" y="12603"/>
                </a:lnTo>
                <a:lnTo>
                  <a:pt x="7758" y="12619"/>
                </a:lnTo>
                <a:lnTo>
                  <a:pt x="7763" y="12636"/>
                </a:lnTo>
                <a:lnTo>
                  <a:pt x="7767" y="12652"/>
                </a:lnTo>
                <a:lnTo>
                  <a:pt x="7770" y="12668"/>
                </a:lnTo>
                <a:lnTo>
                  <a:pt x="7772" y="12686"/>
                </a:lnTo>
                <a:lnTo>
                  <a:pt x="7773" y="12704"/>
                </a:lnTo>
                <a:lnTo>
                  <a:pt x="7774" y="12721"/>
                </a:lnTo>
                <a:lnTo>
                  <a:pt x="7774" y="13804"/>
                </a:lnTo>
                <a:lnTo>
                  <a:pt x="7773" y="13822"/>
                </a:lnTo>
                <a:lnTo>
                  <a:pt x="7772" y="13839"/>
                </a:lnTo>
                <a:lnTo>
                  <a:pt x="7770" y="13857"/>
                </a:lnTo>
                <a:lnTo>
                  <a:pt x="7767" y="13873"/>
                </a:lnTo>
                <a:lnTo>
                  <a:pt x="7763" y="13891"/>
                </a:lnTo>
                <a:lnTo>
                  <a:pt x="7758" y="13906"/>
                </a:lnTo>
                <a:lnTo>
                  <a:pt x="7752" y="13923"/>
                </a:lnTo>
                <a:lnTo>
                  <a:pt x="7746" y="13938"/>
                </a:lnTo>
                <a:lnTo>
                  <a:pt x="7739" y="13954"/>
                </a:lnTo>
                <a:lnTo>
                  <a:pt x="7732" y="13968"/>
                </a:lnTo>
                <a:lnTo>
                  <a:pt x="7723" y="13983"/>
                </a:lnTo>
                <a:lnTo>
                  <a:pt x="7714" y="13997"/>
                </a:lnTo>
                <a:lnTo>
                  <a:pt x="7705" y="14010"/>
                </a:lnTo>
                <a:lnTo>
                  <a:pt x="7695" y="14024"/>
                </a:lnTo>
                <a:lnTo>
                  <a:pt x="7683" y="14036"/>
                </a:lnTo>
                <a:lnTo>
                  <a:pt x="7672" y="14049"/>
                </a:lnTo>
                <a:lnTo>
                  <a:pt x="7660" y="14060"/>
                </a:lnTo>
                <a:lnTo>
                  <a:pt x="7647" y="14070"/>
                </a:lnTo>
                <a:lnTo>
                  <a:pt x="7635" y="14080"/>
                </a:lnTo>
                <a:lnTo>
                  <a:pt x="7621" y="14091"/>
                </a:lnTo>
                <a:lnTo>
                  <a:pt x="7607" y="14099"/>
                </a:lnTo>
                <a:lnTo>
                  <a:pt x="7592" y="14107"/>
                </a:lnTo>
                <a:lnTo>
                  <a:pt x="7577" y="14115"/>
                </a:lnTo>
                <a:lnTo>
                  <a:pt x="7563" y="14123"/>
                </a:lnTo>
                <a:lnTo>
                  <a:pt x="7547" y="14129"/>
                </a:lnTo>
                <a:lnTo>
                  <a:pt x="7531" y="14134"/>
                </a:lnTo>
                <a:lnTo>
                  <a:pt x="7514" y="14138"/>
                </a:lnTo>
                <a:lnTo>
                  <a:pt x="7498" y="14142"/>
                </a:lnTo>
                <a:lnTo>
                  <a:pt x="7481" y="14145"/>
                </a:lnTo>
                <a:lnTo>
                  <a:pt x="7464" y="14147"/>
                </a:lnTo>
                <a:lnTo>
                  <a:pt x="7446" y="14148"/>
                </a:lnTo>
                <a:lnTo>
                  <a:pt x="7428" y="14149"/>
                </a:lnTo>
                <a:lnTo>
                  <a:pt x="1756" y="14149"/>
                </a:lnTo>
                <a:lnTo>
                  <a:pt x="1738" y="14148"/>
                </a:lnTo>
                <a:lnTo>
                  <a:pt x="1720" y="14147"/>
                </a:lnTo>
                <a:lnTo>
                  <a:pt x="1703" y="14145"/>
                </a:lnTo>
                <a:lnTo>
                  <a:pt x="1686" y="14142"/>
                </a:lnTo>
                <a:lnTo>
                  <a:pt x="1670" y="14138"/>
                </a:lnTo>
                <a:lnTo>
                  <a:pt x="1653" y="14134"/>
                </a:lnTo>
                <a:lnTo>
                  <a:pt x="1637" y="14129"/>
                </a:lnTo>
                <a:lnTo>
                  <a:pt x="1621" y="14123"/>
                </a:lnTo>
                <a:lnTo>
                  <a:pt x="1606" y="14115"/>
                </a:lnTo>
                <a:lnTo>
                  <a:pt x="1592" y="14107"/>
                </a:lnTo>
                <a:lnTo>
                  <a:pt x="1577" y="14099"/>
                </a:lnTo>
                <a:lnTo>
                  <a:pt x="1563" y="14091"/>
                </a:lnTo>
                <a:lnTo>
                  <a:pt x="1549" y="14080"/>
                </a:lnTo>
                <a:lnTo>
                  <a:pt x="1536" y="14070"/>
                </a:lnTo>
                <a:lnTo>
                  <a:pt x="1523" y="14060"/>
                </a:lnTo>
                <a:lnTo>
                  <a:pt x="1512" y="14049"/>
                </a:lnTo>
                <a:lnTo>
                  <a:pt x="1501" y="14036"/>
                </a:lnTo>
                <a:lnTo>
                  <a:pt x="1489" y="14024"/>
                </a:lnTo>
                <a:lnTo>
                  <a:pt x="1479" y="14010"/>
                </a:lnTo>
                <a:lnTo>
                  <a:pt x="1470" y="13997"/>
                </a:lnTo>
                <a:lnTo>
                  <a:pt x="1461" y="13983"/>
                </a:lnTo>
                <a:lnTo>
                  <a:pt x="1452" y="13968"/>
                </a:lnTo>
                <a:lnTo>
                  <a:pt x="1445" y="13954"/>
                </a:lnTo>
                <a:lnTo>
                  <a:pt x="1438" y="13938"/>
                </a:lnTo>
                <a:lnTo>
                  <a:pt x="1432" y="13923"/>
                </a:lnTo>
                <a:lnTo>
                  <a:pt x="1426" y="13906"/>
                </a:lnTo>
                <a:lnTo>
                  <a:pt x="1421" y="13891"/>
                </a:lnTo>
                <a:lnTo>
                  <a:pt x="1417" y="13873"/>
                </a:lnTo>
                <a:lnTo>
                  <a:pt x="1414" y="13857"/>
                </a:lnTo>
                <a:lnTo>
                  <a:pt x="1412" y="13839"/>
                </a:lnTo>
                <a:lnTo>
                  <a:pt x="1411" y="13822"/>
                </a:lnTo>
                <a:lnTo>
                  <a:pt x="1410" y="13804"/>
                </a:lnTo>
                <a:lnTo>
                  <a:pt x="1410" y="12721"/>
                </a:lnTo>
                <a:lnTo>
                  <a:pt x="1411" y="12704"/>
                </a:lnTo>
                <a:lnTo>
                  <a:pt x="1412" y="12686"/>
                </a:lnTo>
                <a:lnTo>
                  <a:pt x="1414" y="12668"/>
                </a:lnTo>
                <a:lnTo>
                  <a:pt x="1417" y="12652"/>
                </a:lnTo>
                <a:lnTo>
                  <a:pt x="1421" y="12636"/>
                </a:lnTo>
                <a:lnTo>
                  <a:pt x="1426" y="12619"/>
                </a:lnTo>
                <a:lnTo>
                  <a:pt x="1432" y="12603"/>
                </a:lnTo>
                <a:lnTo>
                  <a:pt x="1438" y="12587"/>
                </a:lnTo>
                <a:lnTo>
                  <a:pt x="1445" y="12572"/>
                </a:lnTo>
                <a:lnTo>
                  <a:pt x="1452" y="12557"/>
                </a:lnTo>
                <a:lnTo>
                  <a:pt x="1461" y="12543"/>
                </a:lnTo>
                <a:lnTo>
                  <a:pt x="1470" y="12528"/>
                </a:lnTo>
                <a:lnTo>
                  <a:pt x="1479" y="12515"/>
                </a:lnTo>
                <a:lnTo>
                  <a:pt x="1489" y="12502"/>
                </a:lnTo>
                <a:lnTo>
                  <a:pt x="1501" y="12489"/>
                </a:lnTo>
                <a:lnTo>
                  <a:pt x="1512" y="12478"/>
                </a:lnTo>
                <a:lnTo>
                  <a:pt x="1523" y="12467"/>
                </a:lnTo>
                <a:lnTo>
                  <a:pt x="1536" y="12455"/>
                </a:lnTo>
                <a:lnTo>
                  <a:pt x="1549" y="12445"/>
                </a:lnTo>
                <a:lnTo>
                  <a:pt x="1563" y="12436"/>
                </a:lnTo>
                <a:lnTo>
                  <a:pt x="1577" y="12426"/>
                </a:lnTo>
                <a:lnTo>
                  <a:pt x="1592" y="12418"/>
                </a:lnTo>
                <a:lnTo>
                  <a:pt x="1606" y="12410"/>
                </a:lnTo>
                <a:lnTo>
                  <a:pt x="1621" y="12404"/>
                </a:lnTo>
                <a:lnTo>
                  <a:pt x="1637" y="12398"/>
                </a:lnTo>
                <a:lnTo>
                  <a:pt x="1653" y="12391"/>
                </a:lnTo>
                <a:lnTo>
                  <a:pt x="1670" y="12387"/>
                </a:lnTo>
                <a:lnTo>
                  <a:pt x="1686" y="12383"/>
                </a:lnTo>
                <a:lnTo>
                  <a:pt x="1703" y="12380"/>
                </a:lnTo>
                <a:lnTo>
                  <a:pt x="1720" y="12378"/>
                </a:lnTo>
                <a:lnTo>
                  <a:pt x="1738" y="12377"/>
                </a:lnTo>
                <a:lnTo>
                  <a:pt x="1756" y="12376"/>
                </a:lnTo>
                <a:close/>
                <a:moveTo>
                  <a:pt x="6683" y="12951"/>
                </a:moveTo>
                <a:lnTo>
                  <a:pt x="6699" y="12951"/>
                </a:lnTo>
                <a:lnTo>
                  <a:pt x="6715" y="12953"/>
                </a:lnTo>
                <a:lnTo>
                  <a:pt x="6730" y="12954"/>
                </a:lnTo>
                <a:lnTo>
                  <a:pt x="6746" y="12957"/>
                </a:lnTo>
                <a:lnTo>
                  <a:pt x="6761" y="12961"/>
                </a:lnTo>
                <a:lnTo>
                  <a:pt x="6776" y="12965"/>
                </a:lnTo>
                <a:lnTo>
                  <a:pt x="6790" y="12969"/>
                </a:lnTo>
                <a:lnTo>
                  <a:pt x="6804" y="12975"/>
                </a:lnTo>
                <a:lnTo>
                  <a:pt x="6819" y="12982"/>
                </a:lnTo>
                <a:lnTo>
                  <a:pt x="6832" y="12989"/>
                </a:lnTo>
                <a:lnTo>
                  <a:pt x="6845" y="12996"/>
                </a:lnTo>
                <a:lnTo>
                  <a:pt x="6858" y="13004"/>
                </a:lnTo>
                <a:lnTo>
                  <a:pt x="6869" y="13012"/>
                </a:lnTo>
                <a:lnTo>
                  <a:pt x="6882" y="13022"/>
                </a:lnTo>
                <a:lnTo>
                  <a:pt x="6893" y="13032"/>
                </a:lnTo>
                <a:lnTo>
                  <a:pt x="6905" y="13042"/>
                </a:lnTo>
                <a:lnTo>
                  <a:pt x="6915" y="13053"/>
                </a:lnTo>
                <a:lnTo>
                  <a:pt x="6924" y="13064"/>
                </a:lnTo>
                <a:lnTo>
                  <a:pt x="6933" y="13076"/>
                </a:lnTo>
                <a:lnTo>
                  <a:pt x="6943" y="13089"/>
                </a:lnTo>
                <a:lnTo>
                  <a:pt x="6950" y="13101"/>
                </a:lnTo>
                <a:lnTo>
                  <a:pt x="6958" y="13114"/>
                </a:lnTo>
                <a:lnTo>
                  <a:pt x="6964" y="13128"/>
                </a:lnTo>
                <a:lnTo>
                  <a:pt x="6972" y="13141"/>
                </a:lnTo>
                <a:lnTo>
                  <a:pt x="6977" y="13156"/>
                </a:lnTo>
                <a:lnTo>
                  <a:pt x="6982" y="13170"/>
                </a:lnTo>
                <a:lnTo>
                  <a:pt x="6986" y="13185"/>
                </a:lnTo>
                <a:lnTo>
                  <a:pt x="6989" y="13200"/>
                </a:lnTo>
                <a:lnTo>
                  <a:pt x="6992" y="13215"/>
                </a:lnTo>
                <a:lnTo>
                  <a:pt x="6994" y="13231"/>
                </a:lnTo>
                <a:lnTo>
                  <a:pt x="6995" y="13247"/>
                </a:lnTo>
                <a:lnTo>
                  <a:pt x="6996" y="13263"/>
                </a:lnTo>
                <a:lnTo>
                  <a:pt x="6995" y="13279"/>
                </a:lnTo>
                <a:lnTo>
                  <a:pt x="6994" y="13295"/>
                </a:lnTo>
                <a:lnTo>
                  <a:pt x="6992" y="13310"/>
                </a:lnTo>
                <a:lnTo>
                  <a:pt x="6989" y="13326"/>
                </a:lnTo>
                <a:lnTo>
                  <a:pt x="6986" y="13341"/>
                </a:lnTo>
                <a:lnTo>
                  <a:pt x="6982" y="13355"/>
                </a:lnTo>
                <a:lnTo>
                  <a:pt x="6977" y="13370"/>
                </a:lnTo>
                <a:lnTo>
                  <a:pt x="6972" y="13384"/>
                </a:lnTo>
                <a:lnTo>
                  <a:pt x="6964" y="13398"/>
                </a:lnTo>
                <a:lnTo>
                  <a:pt x="6958" y="13411"/>
                </a:lnTo>
                <a:lnTo>
                  <a:pt x="6950" y="13424"/>
                </a:lnTo>
                <a:lnTo>
                  <a:pt x="6943" y="13437"/>
                </a:lnTo>
                <a:lnTo>
                  <a:pt x="6933" y="13449"/>
                </a:lnTo>
                <a:lnTo>
                  <a:pt x="6924" y="13461"/>
                </a:lnTo>
                <a:lnTo>
                  <a:pt x="6915" y="13473"/>
                </a:lnTo>
                <a:lnTo>
                  <a:pt x="6905" y="13483"/>
                </a:lnTo>
                <a:lnTo>
                  <a:pt x="6893" y="13493"/>
                </a:lnTo>
                <a:lnTo>
                  <a:pt x="6882" y="13504"/>
                </a:lnTo>
                <a:lnTo>
                  <a:pt x="6869" y="13513"/>
                </a:lnTo>
                <a:lnTo>
                  <a:pt x="6858" y="13521"/>
                </a:lnTo>
                <a:lnTo>
                  <a:pt x="6845" y="13529"/>
                </a:lnTo>
                <a:lnTo>
                  <a:pt x="6832" y="13538"/>
                </a:lnTo>
                <a:lnTo>
                  <a:pt x="6819" y="13544"/>
                </a:lnTo>
                <a:lnTo>
                  <a:pt x="6804" y="13550"/>
                </a:lnTo>
                <a:lnTo>
                  <a:pt x="6790" y="13556"/>
                </a:lnTo>
                <a:lnTo>
                  <a:pt x="6776" y="13561"/>
                </a:lnTo>
                <a:lnTo>
                  <a:pt x="6761" y="13566"/>
                </a:lnTo>
                <a:lnTo>
                  <a:pt x="6746" y="13569"/>
                </a:lnTo>
                <a:lnTo>
                  <a:pt x="6730" y="13572"/>
                </a:lnTo>
                <a:lnTo>
                  <a:pt x="6715" y="13574"/>
                </a:lnTo>
                <a:lnTo>
                  <a:pt x="6699" y="13575"/>
                </a:lnTo>
                <a:lnTo>
                  <a:pt x="6683" y="13575"/>
                </a:lnTo>
                <a:lnTo>
                  <a:pt x="6667" y="13575"/>
                </a:lnTo>
                <a:lnTo>
                  <a:pt x="6651" y="13574"/>
                </a:lnTo>
                <a:lnTo>
                  <a:pt x="6635" y="13572"/>
                </a:lnTo>
                <a:lnTo>
                  <a:pt x="6620" y="13569"/>
                </a:lnTo>
                <a:lnTo>
                  <a:pt x="6605" y="13566"/>
                </a:lnTo>
                <a:lnTo>
                  <a:pt x="6590" y="13561"/>
                </a:lnTo>
                <a:lnTo>
                  <a:pt x="6575" y="13556"/>
                </a:lnTo>
                <a:lnTo>
                  <a:pt x="6562" y="13550"/>
                </a:lnTo>
                <a:lnTo>
                  <a:pt x="6548" y="13544"/>
                </a:lnTo>
                <a:lnTo>
                  <a:pt x="6534" y="13538"/>
                </a:lnTo>
                <a:lnTo>
                  <a:pt x="6521" y="13529"/>
                </a:lnTo>
                <a:lnTo>
                  <a:pt x="6508" y="13521"/>
                </a:lnTo>
                <a:lnTo>
                  <a:pt x="6496" y="13513"/>
                </a:lnTo>
                <a:lnTo>
                  <a:pt x="6485" y="13504"/>
                </a:lnTo>
                <a:lnTo>
                  <a:pt x="6473" y="13493"/>
                </a:lnTo>
                <a:lnTo>
                  <a:pt x="6462" y="13483"/>
                </a:lnTo>
                <a:lnTo>
                  <a:pt x="6452" y="13473"/>
                </a:lnTo>
                <a:lnTo>
                  <a:pt x="6442" y="13461"/>
                </a:lnTo>
                <a:lnTo>
                  <a:pt x="6433" y="13449"/>
                </a:lnTo>
                <a:lnTo>
                  <a:pt x="6424" y="13437"/>
                </a:lnTo>
                <a:lnTo>
                  <a:pt x="6416" y="13424"/>
                </a:lnTo>
                <a:lnTo>
                  <a:pt x="6408" y="13411"/>
                </a:lnTo>
                <a:lnTo>
                  <a:pt x="6401" y="13398"/>
                </a:lnTo>
                <a:lnTo>
                  <a:pt x="6395" y="13384"/>
                </a:lnTo>
                <a:lnTo>
                  <a:pt x="6390" y="13370"/>
                </a:lnTo>
                <a:lnTo>
                  <a:pt x="6385" y="13355"/>
                </a:lnTo>
                <a:lnTo>
                  <a:pt x="6381" y="13341"/>
                </a:lnTo>
                <a:lnTo>
                  <a:pt x="6376" y="13326"/>
                </a:lnTo>
                <a:lnTo>
                  <a:pt x="6374" y="13310"/>
                </a:lnTo>
                <a:lnTo>
                  <a:pt x="6372" y="13295"/>
                </a:lnTo>
                <a:lnTo>
                  <a:pt x="6371" y="13279"/>
                </a:lnTo>
                <a:lnTo>
                  <a:pt x="6370" y="13263"/>
                </a:lnTo>
                <a:lnTo>
                  <a:pt x="6371" y="13247"/>
                </a:lnTo>
                <a:lnTo>
                  <a:pt x="6372" y="13231"/>
                </a:lnTo>
                <a:lnTo>
                  <a:pt x="6374" y="13215"/>
                </a:lnTo>
                <a:lnTo>
                  <a:pt x="6376" y="13200"/>
                </a:lnTo>
                <a:lnTo>
                  <a:pt x="6381" y="13185"/>
                </a:lnTo>
                <a:lnTo>
                  <a:pt x="6385" y="13170"/>
                </a:lnTo>
                <a:lnTo>
                  <a:pt x="6390" y="13156"/>
                </a:lnTo>
                <a:lnTo>
                  <a:pt x="6395" y="13141"/>
                </a:lnTo>
                <a:lnTo>
                  <a:pt x="6401" y="13128"/>
                </a:lnTo>
                <a:lnTo>
                  <a:pt x="6408" y="13114"/>
                </a:lnTo>
                <a:lnTo>
                  <a:pt x="6416" y="13101"/>
                </a:lnTo>
                <a:lnTo>
                  <a:pt x="6424" y="13089"/>
                </a:lnTo>
                <a:lnTo>
                  <a:pt x="6433" y="13076"/>
                </a:lnTo>
                <a:lnTo>
                  <a:pt x="6442" y="13064"/>
                </a:lnTo>
                <a:lnTo>
                  <a:pt x="6452" y="13053"/>
                </a:lnTo>
                <a:lnTo>
                  <a:pt x="6462" y="13042"/>
                </a:lnTo>
                <a:lnTo>
                  <a:pt x="6473" y="13032"/>
                </a:lnTo>
                <a:lnTo>
                  <a:pt x="6485" y="13022"/>
                </a:lnTo>
                <a:lnTo>
                  <a:pt x="6496" y="13012"/>
                </a:lnTo>
                <a:lnTo>
                  <a:pt x="6508" y="13004"/>
                </a:lnTo>
                <a:lnTo>
                  <a:pt x="6521" y="12996"/>
                </a:lnTo>
                <a:lnTo>
                  <a:pt x="6534" y="12989"/>
                </a:lnTo>
                <a:lnTo>
                  <a:pt x="6548" y="12982"/>
                </a:lnTo>
                <a:lnTo>
                  <a:pt x="6562" y="12975"/>
                </a:lnTo>
                <a:lnTo>
                  <a:pt x="6575" y="12969"/>
                </a:lnTo>
                <a:lnTo>
                  <a:pt x="6590" y="12965"/>
                </a:lnTo>
                <a:lnTo>
                  <a:pt x="6605" y="12961"/>
                </a:lnTo>
                <a:lnTo>
                  <a:pt x="6620" y="12957"/>
                </a:lnTo>
                <a:lnTo>
                  <a:pt x="6635" y="12954"/>
                </a:lnTo>
                <a:lnTo>
                  <a:pt x="6651" y="12953"/>
                </a:lnTo>
                <a:lnTo>
                  <a:pt x="6667" y="12951"/>
                </a:lnTo>
                <a:lnTo>
                  <a:pt x="6683" y="12951"/>
                </a:lnTo>
                <a:close/>
                <a:moveTo>
                  <a:pt x="6683" y="10439"/>
                </a:moveTo>
                <a:lnTo>
                  <a:pt x="6699" y="10439"/>
                </a:lnTo>
                <a:lnTo>
                  <a:pt x="6715" y="10440"/>
                </a:lnTo>
                <a:lnTo>
                  <a:pt x="6730" y="10442"/>
                </a:lnTo>
                <a:lnTo>
                  <a:pt x="6746" y="10445"/>
                </a:lnTo>
                <a:lnTo>
                  <a:pt x="6761" y="10449"/>
                </a:lnTo>
                <a:lnTo>
                  <a:pt x="6776" y="10453"/>
                </a:lnTo>
                <a:lnTo>
                  <a:pt x="6790" y="10457"/>
                </a:lnTo>
                <a:lnTo>
                  <a:pt x="6804" y="10464"/>
                </a:lnTo>
                <a:lnTo>
                  <a:pt x="6819" y="10470"/>
                </a:lnTo>
                <a:lnTo>
                  <a:pt x="6832" y="10477"/>
                </a:lnTo>
                <a:lnTo>
                  <a:pt x="6845" y="10484"/>
                </a:lnTo>
                <a:lnTo>
                  <a:pt x="6858" y="10492"/>
                </a:lnTo>
                <a:lnTo>
                  <a:pt x="6869" y="10501"/>
                </a:lnTo>
                <a:lnTo>
                  <a:pt x="6882" y="10510"/>
                </a:lnTo>
                <a:lnTo>
                  <a:pt x="6893" y="10520"/>
                </a:lnTo>
                <a:lnTo>
                  <a:pt x="6905" y="10530"/>
                </a:lnTo>
                <a:lnTo>
                  <a:pt x="6915" y="10541"/>
                </a:lnTo>
                <a:lnTo>
                  <a:pt x="6924" y="10552"/>
                </a:lnTo>
                <a:lnTo>
                  <a:pt x="6933" y="10564"/>
                </a:lnTo>
                <a:lnTo>
                  <a:pt x="6943" y="10577"/>
                </a:lnTo>
                <a:lnTo>
                  <a:pt x="6950" y="10589"/>
                </a:lnTo>
                <a:lnTo>
                  <a:pt x="6958" y="10603"/>
                </a:lnTo>
                <a:lnTo>
                  <a:pt x="6964" y="10616"/>
                </a:lnTo>
                <a:lnTo>
                  <a:pt x="6972" y="10629"/>
                </a:lnTo>
                <a:lnTo>
                  <a:pt x="6977" y="10644"/>
                </a:lnTo>
                <a:lnTo>
                  <a:pt x="6982" y="10658"/>
                </a:lnTo>
                <a:lnTo>
                  <a:pt x="6986" y="10673"/>
                </a:lnTo>
                <a:lnTo>
                  <a:pt x="6989" y="10688"/>
                </a:lnTo>
                <a:lnTo>
                  <a:pt x="6992" y="10703"/>
                </a:lnTo>
                <a:lnTo>
                  <a:pt x="6994" y="10719"/>
                </a:lnTo>
                <a:lnTo>
                  <a:pt x="6995" y="10735"/>
                </a:lnTo>
                <a:lnTo>
                  <a:pt x="6996" y="10751"/>
                </a:lnTo>
                <a:lnTo>
                  <a:pt x="6995" y="10767"/>
                </a:lnTo>
                <a:lnTo>
                  <a:pt x="6994" y="10783"/>
                </a:lnTo>
                <a:lnTo>
                  <a:pt x="6992" y="10798"/>
                </a:lnTo>
                <a:lnTo>
                  <a:pt x="6989" y="10814"/>
                </a:lnTo>
                <a:lnTo>
                  <a:pt x="6986" y="10829"/>
                </a:lnTo>
                <a:lnTo>
                  <a:pt x="6982" y="10844"/>
                </a:lnTo>
                <a:lnTo>
                  <a:pt x="6977" y="10858"/>
                </a:lnTo>
                <a:lnTo>
                  <a:pt x="6972" y="10872"/>
                </a:lnTo>
                <a:lnTo>
                  <a:pt x="6964" y="10886"/>
                </a:lnTo>
                <a:lnTo>
                  <a:pt x="6958" y="10899"/>
                </a:lnTo>
                <a:lnTo>
                  <a:pt x="6950" y="10913"/>
                </a:lnTo>
                <a:lnTo>
                  <a:pt x="6943" y="10925"/>
                </a:lnTo>
                <a:lnTo>
                  <a:pt x="6933" y="10937"/>
                </a:lnTo>
                <a:lnTo>
                  <a:pt x="6924" y="10950"/>
                </a:lnTo>
                <a:lnTo>
                  <a:pt x="6915" y="10961"/>
                </a:lnTo>
                <a:lnTo>
                  <a:pt x="6905" y="10971"/>
                </a:lnTo>
                <a:lnTo>
                  <a:pt x="6893" y="10982"/>
                </a:lnTo>
                <a:lnTo>
                  <a:pt x="6882" y="10992"/>
                </a:lnTo>
                <a:lnTo>
                  <a:pt x="6869" y="11001"/>
                </a:lnTo>
                <a:lnTo>
                  <a:pt x="6858" y="11009"/>
                </a:lnTo>
                <a:lnTo>
                  <a:pt x="6845" y="11018"/>
                </a:lnTo>
                <a:lnTo>
                  <a:pt x="6832" y="11026"/>
                </a:lnTo>
                <a:lnTo>
                  <a:pt x="6819" y="11032"/>
                </a:lnTo>
                <a:lnTo>
                  <a:pt x="6804" y="11038"/>
                </a:lnTo>
                <a:lnTo>
                  <a:pt x="6790" y="11044"/>
                </a:lnTo>
                <a:lnTo>
                  <a:pt x="6776" y="11050"/>
                </a:lnTo>
                <a:lnTo>
                  <a:pt x="6761" y="11054"/>
                </a:lnTo>
                <a:lnTo>
                  <a:pt x="6746" y="11057"/>
                </a:lnTo>
                <a:lnTo>
                  <a:pt x="6730" y="11060"/>
                </a:lnTo>
                <a:lnTo>
                  <a:pt x="6715" y="11062"/>
                </a:lnTo>
                <a:lnTo>
                  <a:pt x="6699" y="11063"/>
                </a:lnTo>
                <a:lnTo>
                  <a:pt x="6683" y="11063"/>
                </a:lnTo>
                <a:lnTo>
                  <a:pt x="6667" y="11063"/>
                </a:lnTo>
                <a:lnTo>
                  <a:pt x="6651" y="11062"/>
                </a:lnTo>
                <a:lnTo>
                  <a:pt x="6635" y="11060"/>
                </a:lnTo>
                <a:lnTo>
                  <a:pt x="6620" y="11057"/>
                </a:lnTo>
                <a:lnTo>
                  <a:pt x="6605" y="11054"/>
                </a:lnTo>
                <a:lnTo>
                  <a:pt x="6590" y="11050"/>
                </a:lnTo>
                <a:lnTo>
                  <a:pt x="6575" y="11044"/>
                </a:lnTo>
                <a:lnTo>
                  <a:pt x="6562" y="11038"/>
                </a:lnTo>
                <a:lnTo>
                  <a:pt x="6548" y="11032"/>
                </a:lnTo>
                <a:lnTo>
                  <a:pt x="6534" y="11026"/>
                </a:lnTo>
                <a:lnTo>
                  <a:pt x="6521" y="11018"/>
                </a:lnTo>
                <a:lnTo>
                  <a:pt x="6508" y="11009"/>
                </a:lnTo>
                <a:lnTo>
                  <a:pt x="6496" y="11001"/>
                </a:lnTo>
                <a:lnTo>
                  <a:pt x="6485" y="10992"/>
                </a:lnTo>
                <a:lnTo>
                  <a:pt x="6473" y="10982"/>
                </a:lnTo>
                <a:lnTo>
                  <a:pt x="6462" y="10971"/>
                </a:lnTo>
                <a:lnTo>
                  <a:pt x="6452" y="10961"/>
                </a:lnTo>
                <a:lnTo>
                  <a:pt x="6442" y="10950"/>
                </a:lnTo>
                <a:lnTo>
                  <a:pt x="6433" y="10937"/>
                </a:lnTo>
                <a:lnTo>
                  <a:pt x="6424" y="10925"/>
                </a:lnTo>
                <a:lnTo>
                  <a:pt x="6416" y="10913"/>
                </a:lnTo>
                <a:lnTo>
                  <a:pt x="6408" y="10899"/>
                </a:lnTo>
                <a:lnTo>
                  <a:pt x="6401" y="10886"/>
                </a:lnTo>
                <a:lnTo>
                  <a:pt x="6395" y="10872"/>
                </a:lnTo>
                <a:lnTo>
                  <a:pt x="6390" y="10858"/>
                </a:lnTo>
                <a:lnTo>
                  <a:pt x="6385" y="10844"/>
                </a:lnTo>
                <a:lnTo>
                  <a:pt x="6381" y="10829"/>
                </a:lnTo>
                <a:lnTo>
                  <a:pt x="6376" y="10814"/>
                </a:lnTo>
                <a:lnTo>
                  <a:pt x="6374" y="10798"/>
                </a:lnTo>
                <a:lnTo>
                  <a:pt x="6372" y="10783"/>
                </a:lnTo>
                <a:lnTo>
                  <a:pt x="6371" y="10767"/>
                </a:lnTo>
                <a:lnTo>
                  <a:pt x="6370" y="10751"/>
                </a:lnTo>
                <a:lnTo>
                  <a:pt x="6371" y="10735"/>
                </a:lnTo>
                <a:lnTo>
                  <a:pt x="6372" y="10719"/>
                </a:lnTo>
                <a:lnTo>
                  <a:pt x="6374" y="10703"/>
                </a:lnTo>
                <a:lnTo>
                  <a:pt x="6376" y="10688"/>
                </a:lnTo>
                <a:lnTo>
                  <a:pt x="6381" y="10673"/>
                </a:lnTo>
                <a:lnTo>
                  <a:pt x="6385" y="10658"/>
                </a:lnTo>
                <a:lnTo>
                  <a:pt x="6390" y="10644"/>
                </a:lnTo>
                <a:lnTo>
                  <a:pt x="6395" y="10629"/>
                </a:lnTo>
                <a:lnTo>
                  <a:pt x="6401" y="10616"/>
                </a:lnTo>
                <a:lnTo>
                  <a:pt x="6408" y="10603"/>
                </a:lnTo>
                <a:lnTo>
                  <a:pt x="6416" y="10589"/>
                </a:lnTo>
                <a:lnTo>
                  <a:pt x="6424" y="10577"/>
                </a:lnTo>
                <a:lnTo>
                  <a:pt x="6433" y="10564"/>
                </a:lnTo>
                <a:lnTo>
                  <a:pt x="6442" y="10552"/>
                </a:lnTo>
                <a:lnTo>
                  <a:pt x="6452" y="10541"/>
                </a:lnTo>
                <a:lnTo>
                  <a:pt x="6462" y="10530"/>
                </a:lnTo>
                <a:lnTo>
                  <a:pt x="6473" y="10520"/>
                </a:lnTo>
                <a:lnTo>
                  <a:pt x="6485" y="10510"/>
                </a:lnTo>
                <a:lnTo>
                  <a:pt x="6496" y="10501"/>
                </a:lnTo>
                <a:lnTo>
                  <a:pt x="6508" y="10492"/>
                </a:lnTo>
                <a:lnTo>
                  <a:pt x="6521" y="10484"/>
                </a:lnTo>
                <a:lnTo>
                  <a:pt x="6534" y="10477"/>
                </a:lnTo>
                <a:lnTo>
                  <a:pt x="6548" y="10470"/>
                </a:lnTo>
                <a:lnTo>
                  <a:pt x="6562" y="10464"/>
                </a:lnTo>
                <a:lnTo>
                  <a:pt x="6575" y="10457"/>
                </a:lnTo>
                <a:lnTo>
                  <a:pt x="6590" y="10453"/>
                </a:lnTo>
                <a:lnTo>
                  <a:pt x="6605" y="10449"/>
                </a:lnTo>
                <a:lnTo>
                  <a:pt x="6620" y="10445"/>
                </a:lnTo>
                <a:lnTo>
                  <a:pt x="6635" y="10442"/>
                </a:lnTo>
                <a:lnTo>
                  <a:pt x="6651" y="10440"/>
                </a:lnTo>
                <a:lnTo>
                  <a:pt x="6667" y="10439"/>
                </a:lnTo>
                <a:lnTo>
                  <a:pt x="6683" y="10439"/>
                </a:lnTo>
                <a:close/>
                <a:moveTo>
                  <a:pt x="6683" y="7927"/>
                </a:moveTo>
                <a:lnTo>
                  <a:pt x="6699" y="7927"/>
                </a:lnTo>
                <a:lnTo>
                  <a:pt x="6715" y="7928"/>
                </a:lnTo>
                <a:lnTo>
                  <a:pt x="6730" y="7930"/>
                </a:lnTo>
                <a:lnTo>
                  <a:pt x="6746" y="7933"/>
                </a:lnTo>
                <a:lnTo>
                  <a:pt x="6761" y="7936"/>
                </a:lnTo>
                <a:lnTo>
                  <a:pt x="6776" y="7941"/>
                </a:lnTo>
                <a:lnTo>
                  <a:pt x="6790" y="7945"/>
                </a:lnTo>
                <a:lnTo>
                  <a:pt x="6804" y="7952"/>
                </a:lnTo>
                <a:lnTo>
                  <a:pt x="6819" y="7958"/>
                </a:lnTo>
                <a:lnTo>
                  <a:pt x="6832" y="7965"/>
                </a:lnTo>
                <a:lnTo>
                  <a:pt x="6845" y="7972"/>
                </a:lnTo>
                <a:lnTo>
                  <a:pt x="6858" y="7981"/>
                </a:lnTo>
                <a:lnTo>
                  <a:pt x="6869" y="7989"/>
                </a:lnTo>
                <a:lnTo>
                  <a:pt x="6882" y="7998"/>
                </a:lnTo>
                <a:lnTo>
                  <a:pt x="6893" y="8008"/>
                </a:lnTo>
                <a:lnTo>
                  <a:pt x="6905" y="8019"/>
                </a:lnTo>
                <a:lnTo>
                  <a:pt x="6915" y="8029"/>
                </a:lnTo>
                <a:lnTo>
                  <a:pt x="6924" y="8040"/>
                </a:lnTo>
                <a:lnTo>
                  <a:pt x="6933" y="8053"/>
                </a:lnTo>
                <a:lnTo>
                  <a:pt x="6943" y="8065"/>
                </a:lnTo>
                <a:lnTo>
                  <a:pt x="6950" y="8077"/>
                </a:lnTo>
                <a:lnTo>
                  <a:pt x="6958" y="8091"/>
                </a:lnTo>
                <a:lnTo>
                  <a:pt x="6964" y="8104"/>
                </a:lnTo>
                <a:lnTo>
                  <a:pt x="6972" y="8117"/>
                </a:lnTo>
                <a:lnTo>
                  <a:pt x="6977" y="8132"/>
                </a:lnTo>
                <a:lnTo>
                  <a:pt x="6982" y="8146"/>
                </a:lnTo>
                <a:lnTo>
                  <a:pt x="6986" y="8161"/>
                </a:lnTo>
                <a:lnTo>
                  <a:pt x="6989" y="8176"/>
                </a:lnTo>
                <a:lnTo>
                  <a:pt x="6992" y="8192"/>
                </a:lnTo>
                <a:lnTo>
                  <a:pt x="6994" y="8207"/>
                </a:lnTo>
                <a:lnTo>
                  <a:pt x="6995" y="8223"/>
                </a:lnTo>
                <a:lnTo>
                  <a:pt x="6996" y="8239"/>
                </a:lnTo>
                <a:lnTo>
                  <a:pt x="6995" y="8255"/>
                </a:lnTo>
                <a:lnTo>
                  <a:pt x="6994" y="8271"/>
                </a:lnTo>
                <a:lnTo>
                  <a:pt x="6992" y="8286"/>
                </a:lnTo>
                <a:lnTo>
                  <a:pt x="6989" y="8302"/>
                </a:lnTo>
                <a:lnTo>
                  <a:pt x="6986" y="8317"/>
                </a:lnTo>
                <a:lnTo>
                  <a:pt x="6982" y="8332"/>
                </a:lnTo>
                <a:lnTo>
                  <a:pt x="6977" y="8346"/>
                </a:lnTo>
                <a:lnTo>
                  <a:pt x="6972" y="8361"/>
                </a:lnTo>
                <a:lnTo>
                  <a:pt x="6964" y="8374"/>
                </a:lnTo>
                <a:lnTo>
                  <a:pt x="6958" y="8387"/>
                </a:lnTo>
                <a:lnTo>
                  <a:pt x="6950" y="8401"/>
                </a:lnTo>
                <a:lnTo>
                  <a:pt x="6943" y="8413"/>
                </a:lnTo>
                <a:lnTo>
                  <a:pt x="6933" y="8425"/>
                </a:lnTo>
                <a:lnTo>
                  <a:pt x="6924" y="8438"/>
                </a:lnTo>
                <a:lnTo>
                  <a:pt x="6915" y="8449"/>
                </a:lnTo>
                <a:lnTo>
                  <a:pt x="6905" y="8459"/>
                </a:lnTo>
                <a:lnTo>
                  <a:pt x="6893" y="8470"/>
                </a:lnTo>
                <a:lnTo>
                  <a:pt x="6882" y="8480"/>
                </a:lnTo>
                <a:lnTo>
                  <a:pt x="6869" y="8489"/>
                </a:lnTo>
                <a:lnTo>
                  <a:pt x="6858" y="8497"/>
                </a:lnTo>
                <a:lnTo>
                  <a:pt x="6845" y="8506"/>
                </a:lnTo>
                <a:lnTo>
                  <a:pt x="6832" y="8514"/>
                </a:lnTo>
                <a:lnTo>
                  <a:pt x="6819" y="8520"/>
                </a:lnTo>
                <a:lnTo>
                  <a:pt x="6804" y="8526"/>
                </a:lnTo>
                <a:lnTo>
                  <a:pt x="6790" y="8533"/>
                </a:lnTo>
                <a:lnTo>
                  <a:pt x="6776" y="8538"/>
                </a:lnTo>
                <a:lnTo>
                  <a:pt x="6761" y="8542"/>
                </a:lnTo>
                <a:lnTo>
                  <a:pt x="6746" y="8545"/>
                </a:lnTo>
                <a:lnTo>
                  <a:pt x="6730" y="8548"/>
                </a:lnTo>
                <a:lnTo>
                  <a:pt x="6715" y="8550"/>
                </a:lnTo>
                <a:lnTo>
                  <a:pt x="6699" y="8551"/>
                </a:lnTo>
                <a:lnTo>
                  <a:pt x="6683" y="8551"/>
                </a:lnTo>
                <a:lnTo>
                  <a:pt x="6667" y="8551"/>
                </a:lnTo>
                <a:lnTo>
                  <a:pt x="6651" y="8550"/>
                </a:lnTo>
                <a:lnTo>
                  <a:pt x="6635" y="8548"/>
                </a:lnTo>
                <a:lnTo>
                  <a:pt x="6620" y="8545"/>
                </a:lnTo>
                <a:lnTo>
                  <a:pt x="6605" y="8542"/>
                </a:lnTo>
                <a:lnTo>
                  <a:pt x="6590" y="8538"/>
                </a:lnTo>
                <a:lnTo>
                  <a:pt x="6575" y="8533"/>
                </a:lnTo>
                <a:lnTo>
                  <a:pt x="6562" y="8526"/>
                </a:lnTo>
                <a:lnTo>
                  <a:pt x="6548" y="8520"/>
                </a:lnTo>
                <a:lnTo>
                  <a:pt x="6534" y="8514"/>
                </a:lnTo>
                <a:lnTo>
                  <a:pt x="6521" y="8506"/>
                </a:lnTo>
                <a:lnTo>
                  <a:pt x="6508" y="8497"/>
                </a:lnTo>
                <a:lnTo>
                  <a:pt x="6496" y="8489"/>
                </a:lnTo>
                <a:lnTo>
                  <a:pt x="6485" y="8480"/>
                </a:lnTo>
                <a:lnTo>
                  <a:pt x="6473" y="8470"/>
                </a:lnTo>
                <a:lnTo>
                  <a:pt x="6462" y="8459"/>
                </a:lnTo>
                <a:lnTo>
                  <a:pt x="6452" y="8449"/>
                </a:lnTo>
                <a:lnTo>
                  <a:pt x="6442" y="8438"/>
                </a:lnTo>
                <a:lnTo>
                  <a:pt x="6433" y="8425"/>
                </a:lnTo>
                <a:lnTo>
                  <a:pt x="6424" y="8413"/>
                </a:lnTo>
                <a:lnTo>
                  <a:pt x="6416" y="8401"/>
                </a:lnTo>
                <a:lnTo>
                  <a:pt x="6408" y="8387"/>
                </a:lnTo>
                <a:lnTo>
                  <a:pt x="6401" y="8374"/>
                </a:lnTo>
                <a:lnTo>
                  <a:pt x="6395" y="8361"/>
                </a:lnTo>
                <a:lnTo>
                  <a:pt x="6390" y="8346"/>
                </a:lnTo>
                <a:lnTo>
                  <a:pt x="6385" y="8332"/>
                </a:lnTo>
                <a:lnTo>
                  <a:pt x="6381" y="8317"/>
                </a:lnTo>
                <a:lnTo>
                  <a:pt x="6376" y="8302"/>
                </a:lnTo>
                <a:lnTo>
                  <a:pt x="6374" y="8286"/>
                </a:lnTo>
                <a:lnTo>
                  <a:pt x="6372" y="8271"/>
                </a:lnTo>
                <a:lnTo>
                  <a:pt x="6371" y="8255"/>
                </a:lnTo>
                <a:lnTo>
                  <a:pt x="6370" y="8239"/>
                </a:lnTo>
                <a:lnTo>
                  <a:pt x="6371" y="8223"/>
                </a:lnTo>
                <a:lnTo>
                  <a:pt x="6372" y="8207"/>
                </a:lnTo>
                <a:lnTo>
                  <a:pt x="6374" y="8192"/>
                </a:lnTo>
                <a:lnTo>
                  <a:pt x="6376" y="8176"/>
                </a:lnTo>
                <a:lnTo>
                  <a:pt x="6381" y="8161"/>
                </a:lnTo>
                <a:lnTo>
                  <a:pt x="6385" y="8146"/>
                </a:lnTo>
                <a:lnTo>
                  <a:pt x="6390" y="8132"/>
                </a:lnTo>
                <a:lnTo>
                  <a:pt x="6395" y="8117"/>
                </a:lnTo>
                <a:lnTo>
                  <a:pt x="6401" y="8104"/>
                </a:lnTo>
                <a:lnTo>
                  <a:pt x="6408" y="8091"/>
                </a:lnTo>
                <a:lnTo>
                  <a:pt x="6416" y="8077"/>
                </a:lnTo>
                <a:lnTo>
                  <a:pt x="6424" y="8065"/>
                </a:lnTo>
                <a:lnTo>
                  <a:pt x="6433" y="8053"/>
                </a:lnTo>
                <a:lnTo>
                  <a:pt x="6442" y="8040"/>
                </a:lnTo>
                <a:lnTo>
                  <a:pt x="6452" y="8029"/>
                </a:lnTo>
                <a:lnTo>
                  <a:pt x="6462" y="8019"/>
                </a:lnTo>
                <a:lnTo>
                  <a:pt x="6473" y="8008"/>
                </a:lnTo>
                <a:lnTo>
                  <a:pt x="6485" y="7998"/>
                </a:lnTo>
                <a:lnTo>
                  <a:pt x="6496" y="7989"/>
                </a:lnTo>
                <a:lnTo>
                  <a:pt x="6508" y="7981"/>
                </a:lnTo>
                <a:lnTo>
                  <a:pt x="6521" y="7972"/>
                </a:lnTo>
                <a:lnTo>
                  <a:pt x="6534" y="7965"/>
                </a:lnTo>
                <a:lnTo>
                  <a:pt x="6548" y="7958"/>
                </a:lnTo>
                <a:lnTo>
                  <a:pt x="6562" y="7952"/>
                </a:lnTo>
                <a:lnTo>
                  <a:pt x="6575" y="7945"/>
                </a:lnTo>
                <a:lnTo>
                  <a:pt x="6590" y="7941"/>
                </a:lnTo>
                <a:lnTo>
                  <a:pt x="6605" y="7936"/>
                </a:lnTo>
                <a:lnTo>
                  <a:pt x="6620" y="7933"/>
                </a:lnTo>
                <a:lnTo>
                  <a:pt x="6635" y="7930"/>
                </a:lnTo>
                <a:lnTo>
                  <a:pt x="6651" y="7928"/>
                </a:lnTo>
                <a:lnTo>
                  <a:pt x="6667" y="7927"/>
                </a:lnTo>
                <a:lnTo>
                  <a:pt x="6683" y="7927"/>
                </a:lnTo>
                <a:close/>
                <a:moveTo>
                  <a:pt x="6683" y="5415"/>
                </a:moveTo>
                <a:lnTo>
                  <a:pt x="6699" y="5415"/>
                </a:lnTo>
                <a:lnTo>
                  <a:pt x="6715" y="5416"/>
                </a:lnTo>
                <a:lnTo>
                  <a:pt x="6730" y="5418"/>
                </a:lnTo>
                <a:lnTo>
                  <a:pt x="6746" y="5421"/>
                </a:lnTo>
                <a:lnTo>
                  <a:pt x="6761" y="5424"/>
                </a:lnTo>
                <a:lnTo>
                  <a:pt x="6776" y="5430"/>
                </a:lnTo>
                <a:lnTo>
                  <a:pt x="6790" y="5434"/>
                </a:lnTo>
                <a:lnTo>
                  <a:pt x="6804" y="5440"/>
                </a:lnTo>
                <a:lnTo>
                  <a:pt x="6819" y="5446"/>
                </a:lnTo>
                <a:lnTo>
                  <a:pt x="6832" y="5453"/>
                </a:lnTo>
                <a:lnTo>
                  <a:pt x="6845" y="5460"/>
                </a:lnTo>
                <a:lnTo>
                  <a:pt x="6858" y="5469"/>
                </a:lnTo>
                <a:lnTo>
                  <a:pt x="6869" y="5477"/>
                </a:lnTo>
                <a:lnTo>
                  <a:pt x="6882" y="5486"/>
                </a:lnTo>
                <a:lnTo>
                  <a:pt x="6893" y="5496"/>
                </a:lnTo>
                <a:lnTo>
                  <a:pt x="6905" y="5507"/>
                </a:lnTo>
                <a:lnTo>
                  <a:pt x="6915" y="5517"/>
                </a:lnTo>
                <a:lnTo>
                  <a:pt x="6924" y="5528"/>
                </a:lnTo>
                <a:lnTo>
                  <a:pt x="6933" y="5541"/>
                </a:lnTo>
                <a:lnTo>
                  <a:pt x="6943" y="5553"/>
                </a:lnTo>
                <a:lnTo>
                  <a:pt x="6950" y="5565"/>
                </a:lnTo>
                <a:lnTo>
                  <a:pt x="6958" y="5579"/>
                </a:lnTo>
                <a:lnTo>
                  <a:pt x="6964" y="5592"/>
                </a:lnTo>
                <a:lnTo>
                  <a:pt x="6972" y="5606"/>
                </a:lnTo>
                <a:lnTo>
                  <a:pt x="6977" y="5620"/>
                </a:lnTo>
                <a:lnTo>
                  <a:pt x="6982" y="5634"/>
                </a:lnTo>
                <a:lnTo>
                  <a:pt x="6986" y="5649"/>
                </a:lnTo>
                <a:lnTo>
                  <a:pt x="6989" y="5664"/>
                </a:lnTo>
                <a:lnTo>
                  <a:pt x="6992" y="5680"/>
                </a:lnTo>
                <a:lnTo>
                  <a:pt x="6994" y="5695"/>
                </a:lnTo>
                <a:lnTo>
                  <a:pt x="6995" y="5711"/>
                </a:lnTo>
                <a:lnTo>
                  <a:pt x="6996" y="5727"/>
                </a:lnTo>
                <a:lnTo>
                  <a:pt x="6995" y="5744"/>
                </a:lnTo>
                <a:lnTo>
                  <a:pt x="6994" y="5759"/>
                </a:lnTo>
                <a:lnTo>
                  <a:pt x="6992" y="5775"/>
                </a:lnTo>
                <a:lnTo>
                  <a:pt x="6989" y="5790"/>
                </a:lnTo>
                <a:lnTo>
                  <a:pt x="6986" y="5805"/>
                </a:lnTo>
                <a:lnTo>
                  <a:pt x="6982" y="5820"/>
                </a:lnTo>
                <a:lnTo>
                  <a:pt x="6977" y="5834"/>
                </a:lnTo>
                <a:lnTo>
                  <a:pt x="6972" y="5849"/>
                </a:lnTo>
                <a:lnTo>
                  <a:pt x="6964" y="5862"/>
                </a:lnTo>
                <a:lnTo>
                  <a:pt x="6958" y="5875"/>
                </a:lnTo>
                <a:lnTo>
                  <a:pt x="6950" y="5889"/>
                </a:lnTo>
                <a:lnTo>
                  <a:pt x="6943" y="5901"/>
                </a:lnTo>
                <a:lnTo>
                  <a:pt x="6933" y="5914"/>
                </a:lnTo>
                <a:lnTo>
                  <a:pt x="6924" y="5926"/>
                </a:lnTo>
                <a:lnTo>
                  <a:pt x="6915" y="5937"/>
                </a:lnTo>
                <a:lnTo>
                  <a:pt x="6905" y="5948"/>
                </a:lnTo>
                <a:lnTo>
                  <a:pt x="6893" y="5958"/>
                </a:lnTo>
                <a:lnTo>
                  <a:pt x="6882" y="5968"/>
                </a:lnTo>
                <a:lnTo>
                  <a:pt x="6869" y="5977"/>
                </a:lnTo>
                <a:lnTo>
                  <a:pt x="6858" y="5986"/>
                </a:lnTo>
                <a:lnTo>
                  <a:pt x="6845" y="5994"/>
                </a:lnTo>
                <a:lnTo>
                  <a:pt x="6832" y="6001"/>
                </a:lnTo>
                <a:lnTo>
                  <a:pt x="6819" y="6008"/>
                </a:lnTo>
                <a:lnTo>
                  <a:pt x="6804" y="6014"/>
                </a:lnTo>
                <a:lnTo>
                  <a:pt x="6790" y="6021"/>
                </a:lnTo>
                <a:lnTo>
                  <a:pt x="6776" y="6025"/>
                </a:lnTo>
                <a:lnTo>
                  <a:pt x="6761" y="6030"/>
                </a:lnTo>
                <a:lnTo>
                  <a:pt x="6746" y="6033"/>
                </a:lnTo>
                <a:lnTo>
                  <a:pt x="6730" y="6036"/>
                </a:lnTo>
                <a:lnTo>
                  <a:pt x="6715" y="6038"/>
                </a:lnTo>
                <a:lnTo>
                  <a:pt x="6699" y="6039"/>
                </a:lnTo>
                <a:lnTo>
                  <a:pt x="6683" y="6039"/>
                </a:lnTo>
                <a:lnTo>
                  <a:pt x="6667" y="6039"/>
                </a:lnTo>
                <a:lnTo>
                  <a:pt x="6651" y="6038"/>
                </a:lnTo>
                <a:lnTo>
                  <a:pt x="6635" y="6036"/>
                </a:lnTo>
                <a:lnTo>
                  <a:pt x="6620" y="6033"/>
                </a:lnTo>
                <a:lnTo>
                  <a:pt x="6605" y="6030"/>
                </a:lnTo>
                <a:lnTo>
                  <a:pt x="6590" y="6025"/>
                </a:lnTo>
                <a:lnTo>
                  <a:pt x="6575" y="6021"/>
                </a:lnTo>
                <a:lnTo>
                  <a:pt x="6562" y="6014"/>
                </a:lnTo>
                <a:lnTo>
                  <a:pt x="6548" y="6008"/>
                </a:lnTo>
                <a:lnTo>
                  <a:pt x="6534" y="6001"/>
                </a:lnTo>
                <a:lnTo>
                  <a:pt x="6521" y="5994"/>
                </a:lnTo>
                <a:lnTo>
                  <a:pt x="6508" y="5986"/>
                </a:lnTo>
                <a:lnTo>
                  <a:pt x="6496" y="5977"/>
                </a:lnTo>
                <a:lnTo>
                  <a:pt x="6485" y="5968"/>
                </a:lnTo>
                <a:lnTo>
                  <a:pt x="6473" y="5958"/>
                </a:lnTo>
                <a:lnTo>
                  <a:pt x="6462" y="5948"/>
                </a:lnTo>
                <a:lnTo>
                  <a:pt x="6452" y="5937"/>
                </a:lnTo>
                <a:lnTo>
                  <a:pt x="6442" y="5926"/>
                </a:lnTo>
                <a:lnTo>
                  <a:pt x="6433" y="5914"/>
                </a:lnTo>
                <a:lnTo>
                  <a:pt x="6424" y="5901"/>
                </a:lnTo>
                <a:lnTo>
                  <a:pt x="6416" y="5889"/>
                </a:lnTo>
                <a:lnTo>
                  <a:pt x="6408" y="5875"/>
                </a:lnTo>
                <a:lnTo>
                  <a:pt x="6401" y="5862"/>
                </a:lnTo>
                <a:lnTo>
                  <a:pt x="6395" y="5849"/>
                </a:lnTo>
                <a:lnTo>
                  <a:pt x="6390" y="5834"/>
                </a:lnTo>
                <a:lnTo>
                  <a:pt x="6385" y="5820"/>
                </a:lnTo>
                <a:lnTo>
                  <a:pt x="6381" y="5805"/>
                </a:lnTo>
                <a:lnTo>
                  <a:pt x="6376" y="5790"/>
                </a:lnTo>
                <a:lnTo>
                  <a:pt x="6374" y="5775"/>
                </a:lnTo>
                <a:lnTo>
                  <a:pt x="6372" y="5759"/>
                </a:lnTo>
                <a:lnTo>
                  <a:pt x="6371" y="5744"/>
                </a:lnTo>
                <a:lnTo>
                  <a:pt x="6370" y="5727"/>
                </a:lnTo>
                <a:lnTo>
                  <a:pt x="6371" y="5711"/>
                </a:lnTo>
                <a:lnTo>
                  <a:pt x="6372" y="5695"/>
                </a:lnTo>
                <a:lnTo>
                  <a:pt x="6374" y="5680"/>
                </a:lnTo>
                <a:lnTo>
                  <a:pt x="6376" y="5664"/>
                </a:lnTo>
                <a:lnTo>
                  <a:pt x="6381" y="5649"/>
                </a:lnTo>
                <a:lnTo>
                  <a:pt x="6385" y="5634"/>
                </a:lnTo>
                <a:lnTo>
                  <a:pt x="6390" y="5620"/>
                </a:lnTo>
                <a:lnTo>
                  <a:pt x="6395" y="5606"/>
                </a:lnTo>
                <a:lnTo>
                  <a:pt x="6401" y="5592"/>
                </a:lnTo>
                <a:lnTo>
                  <a:pt x="6408" y="5579"/>
                </a:lnTo>
                <a:lnTo>
                  <a:pt x="6416" y="5565"/>
                </a:lnTo>
                <a:lnTo>
                  <a:pt x="6424" y="5553"/>
                </a:lnTo>
                <a:lnTo>
                  <a:pt x="6433" y="5541"/>
                </a:lnTo>
                <a:lnTo>
                  <a:pt x="6442" y="5528"/>
                </a:lnTo>
                <a:lnTo>
                  <a:pt x="6452" y="5517"/>
                </a:lnTo>
                <a:lnTo>
                  <a:pt x="6462" y="5507"/>
                </a:lnTo>
                <a:lnTo>
                  <a:pt x="6473" y="5496"/>
                </a:lnTo>
                <a:lnTo>
                  <a:pt x="6485" y="5486"/>
                </a:lnTo>
                <a:lnTo>
                  <a:pt x="6496" y="5477"/>
                </a:lnTo>
                <a:lnTo>
                  <a:pt x="6508" y="5469"/>
                </a:lnTo>
                <a:lnTo>
                  <a:pt x="6521" y="5460"/>
                </a:lnTo>
                <a:lnTo>
                  <a:pt x="6534" y="5453"/>
                </a:lnTo>
                <a:lnTo>
                  <a:pt x="6548" y="5446"/>
                </a:lnTo>
                <a:lnTo>
                  <a:pt x="6562" y="5440"/>
                </a:lnTo>
                <a:lnTo>
                  <a:pt x="6575" y="5434"/>
                </a:lnTo>
                <a:lnTo>
                  <a:pt x="6590" y="5430"/>
                </a:lnTo>
                <a:lnTo>
                  <a:pt x="6605" y="5424"/>
                </a:lnTo>
                <a:lnTo>
                  <a:pt x="6620" y="5421"/>
                </a:lnTo>
                <a:lnTo>
                  <a:pt x="6635" y="5418"/>
                </a:lnTo>
                <a:lnTo>
                  <a:pt x="6651" y="5416"/>
                </a:lnTo>
                <a:lnTo>
                  <a:pt x="6667" y="5415"/>
                </a:lnTo>
                <a:lnTo>
                  <a:pt x="6683" y="5415"/>
                </a:lnTo>
                <a:close/>
              </a:path>
            </a:pathLst>
          </a:custGeom>
          <a:solidFill>
            <a:srgbClr val="00B0F0"/>
          </a:solidFill>
          <a:ln>
            <a:noFill/>
          </a:ln>
          <a:effectLst/>
        </p:spPr>
        <p:txBody>
          <a:bodyPr vert="horz" wrap="square" lIns="91416" tIns="45708" rIns="91416" bIns="45708" numCol="1" rtlCol="0" anchor="t" anchorCtr="0" compatLnSpc="1">
            <a:prstTxWarp prst="textNoShape">
              <a:avLst/>
            </a:prstTxWarp>
          </a:bodyPr>
          <a:lstStyle/>
          <a:p>
            <a:pPr fontAlgn="ctr">
              <a:buClr>
                <a:srgbClr val="CC9900"/>
              </a:buClr>
              <a:buFont typeface="Wingdings" pitchFamily="2" charset="2"/>
              <a:buChar char="n"/>
            </a:pPr>
            <a:endParaRPr lang="en-US" altLang="zh-CN" sz="1799" dirty="0">
              <a:solidFill>
                <a:schemeClr val="bg1"/>
              </a:solidFill>
            </a:endParaRPr>
          </a:p>
        </p:txBody>
      </p:sp>
      <p:sp>
        <p:nvSpPr>
          <p:cNvPr id="208" name="1310187842"/>
          <p:cNvSpPr>
            <a:spLocks noChangeAspect="1" noEditPoints="1"/>
          </p:cNvSpPr>
          <p:nvPr/>
        </p:nvSpPr>
        <p:spPr bwMode="auto">
          <a:xfrm>
            <a:off x="5174887" y="2669521"/>
            <a:ext cx="116731" cy="215944"/>
          </a:xfrm>
          <a:custGeom>
            <a:avLst/>
            <a:gdLst/>
            <a:ahLst/>
            <a:cxnLst>
              <a:cxn ang="0">
                <a:pos x="6958" y="3091"/>
              </a:cxn>
              <a:cxn ang="0">
                <a:pos x="6933" y="3425"/>
              </a:cxn>
              <a:cxn ang="0">
                <a:pos x="6620" y="3545"/>
              </a:cxn>
              <a:cxn ang="0">
                <a:pos x="6381" y="3317"/>
              </a:cxn>
              <a:cxn ang="0">
                <a:pos x="6485" y="2998"/>
              </a:cxn>
              <a:cxn ang="0">
                <a:pos x="8713" y="43"/>
              </a:cxn>
              <a:cxn ang="0">
                <a:pos x="9180" y="644"/>
              </a:cxn>
              <a:cxn ang="0">
                <a:pos x="8867" y="16355"/>
              </a:cxn>
              <a:cxn ang="0">
                <a:pos x="376" y="16391"/>
              </a:cxn>
              <a:cxn ang="0">
                <a:pos x="0" y="717"/>
              </a:cxn>
              <a:cxn ang="0">
                <a:pos x="407" y="71"/>
              </a:cxn>
              <a:cxn ang="0">
                <a:pos x="7621" y="2388"/>
              </a:cxn>
              <a:cxn ang="0">
                <a:pos x="7772" y="3792"/>
              </a:cxn>
              <a:cxn ang="0">
                <a:pos x="7547" y="4080"/>
              </a:cxn>
              <a:cxn ang="0">
                <a:pos x="1523" y="4012"/>
              </a:cxn>
              <a:cxn ang="0">
                <a:pos x="1421" y="2588"/>
              </a:cxn>
              <a:cxn ang="0">
                <a:pos x="1686" y="2336"/>
              </a:cxn>
              <a:cxn ang="0">
                <a:pos x="7683" y="4954"/>
              </a:cxn>
              <a:cxn ang="0">
                <a:pos x="7752" y="6387"/>
              </a:cxn>
              <a:cxn ang="0">
                <a:pos x="7464" y="6612"/>
              </a:cxn>
              <a:cxn ang="0">
                <a:pos x="1470" y="6461"/>
              </a:cxn>
              <a:cxn ang="0">
                <a:pos x="1452" y="5022"/>
              </a:cxn>
              <a:cxn ang="0">
                <a:pos x="1756" y="7352"/>
              </a:cxn>
              <a:cxn ang="0">
                <a:pos x="7732" y="7534"/>
              </a:cxn>
              <a:cxn ang="0">
                <a:pos x="7714" y="8973"/>
              </a:cxn>
              <a:cxn ang="0">
                <a:pos x="1720" y="9124"/>
              </a:cxn>
              <a:cxn ang="0">
                <a:pos x="1432" y="8899"/>
              </a:cxn>
              <a:cxn ang="0">
                <a:pos x="1501" y="7466"/>
              </a:cxn>
              <a:cxn ang="0">
                <a:pos x="7498" y="9871"/>
              </a:cxn>
              <a:cxn ang="0">
                <a:pos x="7763" y="10124"/>
              </a:cxn>
              <a:cxn ang="0">
                <a:pos x="7660" y="11548"/>
              </a:cxn>
              <a:cxn ang="0">
                <a:pos x="1637" y="11617"/>
              </a:cxn>
              <a:cxn ang="0">
                <a:pos x="1412" y="11328"/>
              </a:cxn>
              <a:cxn ang="0">
                <a:pos x="1563" y="9924"/>
              </a:cxn>
              <a:cxn ang="0">
                <a:pos x="7577" y="12410"/>
              </a:cxn>
              <a:cxn ang="0">
                <a:pos x="7774" y="12721"/>
              </a:cxn>
              <a:cxn ang="0">
                <a:pos x="7592" y="14107"/>
              </a:cxn>
              <a:cxn ang="0">
                <a:pos x="1563" y="14091"/>
              </a:cxn>
              <a:cxn ang="0">
                <a:pos x="1412" y="12686"/>
              </a:cxn>
              <a:cxn ang="0">
                <a:pos x="1637" y="12398"/>
              </a:cxn>
              <a:cxn ang="0">
                <a:pos x="6893" y="13032"/>
              </a:cxn>
              <a:cxn ang="0">
                <a:pos x="6982" y="13355"/>
              </a:cxn>
              <a:cxn ang="0">
                <a:pos x="6730" y="13572"/>
              </a:cxn>
              <a:cxn ang="0">
                <a:pos x="6424" y="13437"/>
              </a:cxn>
              <a:cxn ang="0">
                <a:pos x="6416" y="13101"/>
              </a:cxn>
              <a:cxn ang="0">
                <a:pos x="6699" y="10439"/>
              </a:cxn>
              <a:cxn ang="0">
                <a:pos x="6972" y="10629"/>
              </a:cxn>
              <a:cxn ang="0">
                <a:pos x="6915" y="10961"/>
              </a:cxn>
              <a:cxn ang="0">
                <a:pos x="6590" y="11050"/>
              </a:cxn>
              <a:cxn ang="0">
                <a:pos x="6374" y="10798"/>
              </a:cxn>
              <a:cxn ang="0">
                <a:pos x="6508" y="10492"/>
              </a:cxn>
              <a:cxn ang="0">
                <a:pos x="6832" y="7965"/>
              </a:cxn>
              <a:cxn ang="0">
                <a:pos x="6995" y="8255"/>
              </a:cxn>
              <a:cxn ang="0">
                <a:pos x="6804" y="8526"/>
              </a:cxn>
              <a:cxn ang="0">
                <a:pos x="6473" y="8470"/>
              </a:cxn>
              <a:cxn ang="0">
                <a:pos x="6385" y="8146"/>
              </a:cxn>
              <a:cxn ang="0">
                <a:pos x="6635" y="7930"/>
              </a:cxn>
              <a:cxn ang="0">
                <a:pos x="6933" y="5541"/>
              </a:cxn>
              <a:cxn ang="0">
                <a:pos x="6958" y="5875"/>
              </a:cxn>
              <a:cxn ang="0">
                <a:pos x="6667" y="6039"/>
              </a:cxn>
              <a:cxn ang="0">
                <a:pos x="6395" y="5849"/>
              </a:cxn>
              <a:cxn ang="0">
                <a:pos x="6452" y="5517"/>
              </a:cxn>
            </a:cxnLst>
            <a:rect l="0" t="0" r="r" b="b"/>
            <a:pathLst>
              <a:path w="9184" h="16478">
                <a:moveTo>
                  <a:pt x="6683" y="2927"/>
                </a:moveTo>
                <a:lnTo>
                  <a:pt x="6699" y="2927"/>
                </a:lnTo>
                <a:lnTo>
                  <a:pt x="6715" y="2929"/>
                </a:lnTo>
                <a:lnTo>
                  <a:pt x="6730" y="2931"/>
                </a:lnTo>
                <a:lnTo>
                  <a:pt x="6746" y="2933"/>
                </a:lnTo>
                <a:lnTo>
                  <a:pt x="6761" y="2937"/>
                </a:lnTo>
                <a:lnTo>
                  <a:pt x="6776" y="2941"/>
                </a:lnTo>
                <a:lnTo>
                  <a:pt x="6790" y="2946"/>
                </a:lnTo>
                <a:lnTo>
                  <a:pt x="6804" y="2952"/>
                </a:lnTo>
                <a:lnTo>
                  <a:pt x="6819" y="2958"/>
                </a:lnTo>
                <a:lnTo>
                  <a:pt x="6832" y="2965"/>
                </a:lnTo>
                <a:lnTo>
                  <a:pt x="6845" y="2972"/>
                </a:lnTo>
                <a:lnTo>
                  <a:pt x="6858" y="2980"/>
                </a:lnTo>
                <a:lnTo>
                  <a:pt x="6869" y="2989"/>
                </a:lnTo>
                <a:lnTo>
                  <a:pt x="6882" y="2998"/>
                </a:lnTo>
                <a:lnTo>
                  <a:pt x="6893" y="3008"/>
                </a:lnTo>
                <a:lnTo>
                  <a:pt x="6905" y="3019"/>
                </a:lnTo>
                <a:lnTo>
                  <a:pt x="6915" y="3030"/>
                </a:lnTo>
                <a:lnTo>
                  <a:pt x="6924" y="3041"/>
                </a:lnTo>
                <a:lnTo>
                  <a:pt x="6933" y="3053"/>
                </a:lnTo>
                <a:lnTo>
                  <a:pt x="6943" y="3065"/>
                </a:lnTo>
                <a:lnTo>
                  <a:pt x="6950" y="3077"/>
                </a:lnTo>
                <a:lnTo>
                  <a:pt x="6958" y="3091"/>
                </a:lnTo>
                <a:lnTo>
                  <a:pt x="6964" y="3104"/>
                </a:lnTo>
                <a:lnTo>
                  <a:pt x="6972" y="3117"/>
                </a:lnTo>
                <a:lnTo>
                  <a:pt x="6977" y="3132"/>
                </a:lnTo>
                <a:lnTo>
                  <a:pt x="6982" y="3146"/>
                </a:lnTo>
                <a:lnTo>
                  <a:pt x="6986" y="3162"/>
                </a:lnTo>
                <a:lnTo>
                  <a:pt x="6989" y="3176"/>
                </a:lnTo>
                <a:lnTo>
                  <a:pt x="6992" y="3192"/>
                </a:lnTo>
                <a:lnTo>
                  <a:pt x="6994" y="3207"/>
                </a:lnTo>
                <a:lnTo>
                  <a:pt x="6995" y="3224"/>
                </a:lnTo>
                <a:lnTo>
                  <a:pt x="6996" y="3239"/>
                </a:lnTo>
                <a:lnTo>
                  <a:pt x="6995" y="3255"/>
                </a:lnTo>
                <a:lnTo>
                  <a:pt x="6994" y="3271"/>
                </a:lnTo>
                <a:lnTo>
                  <a:pt x="6992" y="3286"/>
                </a:lnTo>
                <a:lnTo>
                  <a:pt x="6989" y="3302"/>
                </a:lnTo>
                <a:lnTo>
                  <a:pt x="6986" y="3317"/>
                </a:lnTo>
                <a:lnTo>
                  <a:pt x="6982" y="3332"/>
                </a:lnTo>
                <a:lnTo>
                  <a:pt x="6977" y="3346"/>
                </a:lnTo>
                <a:lnTo>
                  <a:pt x="6972" y="3360"/>
                </a:lnTo>
                <a:lnTo>
                  <a:pt x="6964" y="3374"/>
                </a:lnTo>
                <a:lnTo>
                  <a:pt x="6958" y="3387"/>
                </a:lnTo>
                <a:lnTo>
                  <a:pt x="6950" y="3401"/>
                </a:lnTo>
                <a:lnTo>
                  <a:pt x="6943" y="3413"/>
                </a:lnTo>
                <a:lnTo>
                  <a:pt x="6933" y="3425"/>
                </a:lnTo>
                <a:lnTo>
                  <a:pt x="6924" y="3438"/>
                </a:lnTo>
                <a:lnTo>
                  <a:pt x="6915" y="3449"/>
                </a:lnTo>
                <a:lnTo>
                  <a:pt x="6905" y="3459"/>
                </a:lnTo>
                <a:lnTo>
                  <a:pt x="6893" y="3470"/>
                </a:lnTo>
                <a:lnTo>
                  <a:pt x="6882" y="3480"/>
                </a:lnTo>
                <a:lnTo>
                  <a:pt x="6869" y="3489"/>
                </a:lnTo>
                <a:lnTo>
                  <a:pt x="6858" y="3497"/>
                </a:lnTo>
                <a:lnTo>
                  <a:pt x="6845" y="3506"/>
                </a:lnTo>
                <a:lnTo>
                  <a:pt x="6832" y="3514"/>
                </a:lnTo>
                <a:lnTo>
                  <a:pt x="6819" y="3520"/>
                </a:lnTo>
                <a:lnTo>
                  <a:pt x="6804" y="3526"/>
                </a:lnTo>
                <a:lnTo>
                  <a:pt x="6790" y="3532"/>
                </a:lnTo>
                <a:lnTo>
                  <a:pt x="6776" y="3538"/>
                </a:lnTo>
                <a:lnTo>
                  <a:pt x="6761" y="3542"/>
                </a:lnTo>
                <a:lnTo>
                  <a:pt x="6746" y="3545"/>
                </a:lnTo>
                <a:lnTo>
                  <a:pt x="6730" y="3548"/>
                </a:lnTo>
                <a:lnTo>
                  <a:pt x="6715" y="3550"/>
                </a:lnTo>
                <a:lnTo>
                  <a:pt x="6699" y="3551"/>
                </a:lnTo>
                <a:lnTo>
                  <a:pt x="6683" y="3551"/>
                </a:lnTo>
                <a:lnTo>
                  <a:pt x="6667" y="3551"/>
                </a:lnTo>
                <a:lnTo>
                  <a:pt x="6651" y="3550"/>
                </a:lnTo>
                <a:lnTo>
                  <a:pt x="6635" y="3548"/>
                </a:lnTo>
                <a:lnTo>
                  <a:pt x="6620" y="3545"/>
                </a:lnTo>
                <a:lnTo>
                  <a:pt x="6605" y="3542"/>
                </a:lnTo>
                <a:lnTo>
                  <a:pt x="6590" y="3538"/>
                </a:lnTo>
                <a:lnTo>
                  <a:pt x="6575" y="3532"/>
                </a:lnTo>
                <a:lnTo>
                  <a:pt x="6562" y="3526"/>
                </a:lnTo>
                <a:lnTo>
                  <a:pt x="6548" y="3520"/>
                </a:lnTo>
                <a:lnTo>
                  <a:pt x="6534" y="3514"/>
                </a:lnTo>
                <a:lnTo>
                  <a:pt x="6521" y="3506"/>
                </a:lnTo>
                <a:lnTo>
                  <a:pt x="6508" y="3497"/>
                </a:lnTo>
                <a:lnTo>
                  <a:pt x="6496" y="3489"/>
                </a:lnTo>
                <a:lnTo>
                  <a:pt x="6485" y="3480"/>
                </a:lnTo>
                <a:lnTo>
                  <a:pt x="6473" y="3470"/>
                </a:lnTo>
                <a:lnTo>
                  <a:pt x="6462" y="3459"/>
                </a:lnTo>
                <a:lnTo>
                  <a:pt x="6452" y="3449"/>
                </a:lnTo>
                <a:lnTo>
                  <a:pt x="6442" y="3438"/>
                </a:lnTo>
                <a:lnTo>
                  <a:pt x="6433" y="3425"/>
                </a:lnTo>
                <a:lnTo>
                  <a:pt x="6424" y="3413"/>
                </a:lnTo>
                <a:lnTo>
                  <a:pt x="6416" y="3401"/>
                </a:lnTo>
                <a:lnTo>
                  <a:pt x="6408" y="3387"/>
                </a:lnTo>
                <a:lnTo>
                  <a:pt x="6401" y="3374"/>
                </a:lnTo>
                <a:lnTo>
                  <a:pt x="6395" y="3360"/>
                </a:lnTo>
                <a:lnTo>
                  <a:pt x="6390" y="3346"/>
                </a:lnTo>
                <a:lnTo>
                  <a:pt x="6385" y="3332"/>
                </a:lnTo>
                <a:lnTo>
                  <a:pt x="6381" y="3317"/>
                </a:lnTo>
                <a:lnTo>
                  <a:pt x="6376" y="3302"/>
                </a:lnTo>
                <a:lnTo>
                  <a:pt x="6374" y="3286"/>
                </a:lnTo>
                <a:lnTo>
                  <a:pt x="6372" y="3271"/>
                </a:lnTo>
                <a:lnTo>
                  <a:pt x="6371" y="3255"/>
                </a:lnTo>
                <a:lnTo>
                  <a:pt x="6370" y="3239"/>
                </a:lnTo>
                <a:lnTo>
                  <a:pt x="6371" y="3224"/>
                </a:lnTo>
                <a:lnTo>
                  <a:pt x="6372" y="3207"/>
                </a:lnTo>
                <a:lnTo>
                  <a:pt x="6374" y="3192"/>
                </a:lnTo>
                <a:lnTo>
                  <a:pt x="6376" y="3176"/>
                </a:lnTo>
                <a:lnTo>
                  <a:pt x="6381" y="3162"/>
                </a:lnTo>
                <a:lnTo>
                  <a:pt x="6385" y="3146"/>
                </a:lnTo>
                <a:lnTo>
                  <a:pt x="6390" y="3132"/>
                </a:lnTo>
                <a:lnTo>
                  <a:pt x="6395" y="3117"/>
                </a:lnTo>
                <a:lnTo>
                  <a:pt x="6401" y="3104"/>
                </a:lnTo>
                <a:lnTo>
                  <a:pt x="6408" y="3091"/>
                </a:lnTo>
                <a:lnTo>
                  <a:pt x="6416" y="3077"/>
                </a:lnTo>
                <a:lnTo>
                  <a:pt x="6424" y="3065"/>
                </a:lnTo>
                <a:lnTo>
                  <a:pt x="6433" y="3053"/>
                </a:lnTo>
                <a:lnTo>
                  <a:pt x="6442" y="3041"/>
                </a:lnTo>
                <a:lnTo>
                  <a:pt x="6452" y="3030"/>
                </a:lnTo>
                <a:lnTo>
                  <a:pt x="6462" y="3019"/>
                </a:lnTo>
                <a:lnTo>
                  <a:pt x="6473" y="3008"/>
                </a:lnTo>
                <a:lnTo>
                  <a:pt x="6485" y="2998"/>
                </a:lnTo>
                <a:lnTo>
                  <a:pt x="6496" y="2989"/>
                </a:lnTo>
                <a:lnTo>
                  <a:pt x="6508" y="2980"/>
                </a:lnTo>
                <a:lnTo>
                  <a:pt x="6521" y="2972"/>
                </a:lnTo>
                <a:lnTo>
                  <a:pt x="6534" y="2965"/>
                </a:lnTo>
                <a:lnTo>
                  <a:pt x="6548" y="2958"/>
                </a:lnTo>
                <a:lnTo>
                  <a:pt x="6562" y="2952"/>
                </a:lnTo>
                <a:lnTo>
                  <a:pt x="6575" y="2946"/>
                </a:lnTo>
                <a:lnTo>
                  <a:pt x="6590" y="2941"/>
                </a:lnTo>
                <a:lnTo>
                  <a:pt x="6605" y="2937"/>
                </a:lnTo>
                <a:lnTo>
                  <a:pt x="6620" y="2933"/>
                </a:lnTo>
                <a:lnTo>
                  <a:pt x="6635" y="2931"/>
                </a:lnTo>
                <a:lnTo>
                  <a:pt x="6651" y="2929"/>
                </a:lnTo>
                <a:lnTo>
                  <a:pt x="6667" y="2927"/>
                </a:lnTo>
                <a:lnTo>
                  <a:pt x="6683" y="2927"/>
                </a:lnTo>
                <a:close/>
                <a:moveTo>
                  <a:pt x="718" y="0"/>
                </a:moveTo>
                <a:lnTo>
                  <a:pt x="8466" y="0"/>
                </a:lnTo>
                <a:lnTo>
                  <a:pt x="8503" y="1"/>
                </a:lnTo>
                <a:lnTo>
                  <a:pt x="8539" y="4"/>
                </a:lnTo>
                <a:lnTo>
                  <a:pt x="8575" y="8"/>
                </a:lnTo>
                <a:lnTo>
                  <a:pt x="8611" y="14"/>
                </a:lnTo>
                <a:lnTo>
                  <a:pt x="8646" y="23"/>
                </a:lnTo>
                <a:lnTo>
                  <a:pt x="8680" y="32"/>
                </a:lnTo>
                <a:lnTo>
                  <a:pt x="8713" y="43"/>
                </a:lnTo>
                <a:lnTo>
                  <a:pt x="8745" y="57"/>
                </a:lnTo>
                <a:lnTo>
                  <a:pt x="8777" y="71"/>
                </a:lnTo>
                <a:lnTo>
                  <a:pt x="8808" y="87"/>
                </a:lnTo>
                <a:lnTo>
                  <a:pt x="8837" y="104"/>
                </a:lnTo>
                <a:lnTo>
                  <a:pt x="8867" y="123"/>
                </a:lnTo>
                <a:lnTo>
                  <a:pt x="8895" y="143"/>
                </a:lnTo>
                <a:lnTo>
                  <a:pt x="8922" y="164"/>
                </a:lnTo>
                <a:lnTo>
                  <a:pt x="8948" y="186"/>
                </a:lnTo>
                <a:lnTo>
                  <a:pt x="8974" y="210"/>
                </a:lnTo>
                <a:lnTo>
                  <a:pt x="8997" y="236"/>
                </a:lnTo>
                <a:lnTo>
                  <a:pt x="9020" y="262"/>
                </a:lnTo>
                <a:lnTo>
                  <a:pt x="9041" y="288"/>
                </a:lnTo>
                <a:lnTo>
                  <a:pt x="9061" y="316"/>
                </a:lnTo>
                <a:lnTo>
                  <a:pt x="9080" y="346"/>
                </a:lnTo>
                <a:lnTo>
                  <a:pt x="9097" y="376"/>
                </a:lnTo>
                <a:lnTo>
                  <a:pt x="9113" y="407"/>
                </a:lnTo>
                <a:lnTo>
                  <a:pt x="9127" y="439"/>
                </a:lnTo>
                <a:lnTo>
                  <a:pt x="9141" y="471"/>
                </a:lnTo>
                <a:lnTo>
                  <a:pt x="9152" y="504"/>
                </a:lnTo>
                <a:lnTo>
                  <a:pt x="9161" y="538"/>
                </a:lnTo>
                <a:lnTo>
                  <a:pt x="9170" y="573"/>
                </a:lnTo>
                <a:lnTo>
                  <a:pt x="9176" y="608"/>
                </a:lnTo>
                <a:lnTo>
                  <a:pt x="9180" y="644"/>
                </a:lnTo>
                <a:lnTo>
                  <a:pt x="9183" y="680"/>
                </a:lnTo>
                <a:lnTo>
                  <a:pt x="9184" y="717"/>
                </a:lnTo>
                <a:lnTo>
                  <a:pt x="9184" y="15761"/>
                </a:lnTo>
                <a:lnTo>
                  <a:pt x="9183" y="15798"/>
                </a:lnTo>
                <a:lnTo>
                  <a:pt x="9180" y="15834"/>
                </a:lnTo>
                <a:lnTo>
                  <a:pt x="9176" y="15870"/>
                </a:lnTo>
                <a:lnTo>
                  <a:pt x="9170" y="15905"/>
                </a:lnTo>
                <a:lnTo>
                  <a:pt x="9161" y="15940"/>
                </a:lnTo>
                <a:lnTo>
                  <a:pt x="9152" y="15974"/>
                </a:lnTo>
                <a:lnTo>
                  <a:pt x="9141" y="16007"/>
                </a:lnTo>
                <a:lnTo>
                  <a:pt x="9127" y="16040"/>
                </a:lnTo>
                <a:lnTo>
                  <a:pt x="9113" y="16071"/>
                </a:lnTo>
                <a:lnTo>
                  <a:pt x="9097" y="16102"/>
                </a:lnTo>
                <a:lnTo>
                  <a:pt x="9080" y="16132"/>
                </a:lnTo>
                <a:lnTo>
                  <a:pt x="9061" y="16162"/>
                </a:lnTo>
                <a:lnTo>
                  <a:pt x="9041" y="16190"/>
                </a:lnTo>
                <a:lnTo>
                  <a:pt x="9020" y="16216"/>
                </a:lnTo>
                <a:lnTo>
                  <a:pt x="8997" y="16243"/>
                </a:lnTo>
                <a:lnTo>
                  <a:pt x="8974" y="16268"/>
                </a:lnTo>
                <a:lnTo>
                  <a:pt x="8948" y="16292"/>
                </a:lnTo>
                <a:lnTo>
                  <a:pt x="8922" y="16314"/>
                </a:lnTo>
                <a:lnTo>
                  <a:pt x="8895" y="16335"/>
                </a:lnTo>
                <a:lnTo>
                  <a:pt x="8867" y="16355"/>
                </a:lnTo>
                <a:lnTo>
                  <a:pt x="8837" y="16374"/>
                </a:lnTo>
                <a:lnTo>
                  <a:pt x="8808" y="16391"/>
                </a:lnTo>
                <a:lnTo>
                  <a:pt x="8777" y="16407"/>
                </a:lnTo>
                <a:lnTo>
                  <a:pt x="8745" y="16421"/>
                </a:lnTo>
                <a:lnTo>
                  <a:pt x="8713" y="16435"/>
                </a:lnTo>
                <a:lnTo>
                  <a:pt x="8680" y="16446"/>
                </a:lnTo>
                <a:lnTo>
                  <a:pt x="8646" y="16455"/>
                </a:lnTo>
                <a:lnTo>
                  <a:pt x="8611" y="16464"/>
                </a:lnTo>
                <a:lnTo>
                  <a:pt x="8575" y="16470"/>
                </a:lnTo>
                <a:lnTo>
                  <a:pt x="8539" y="16474"/>
                </a:lnTo>
                <a:lnTo>
                  <a:pt x="8503" y="16477"/>
                </a:lnTo>
                <a:lnTo>
                  <a:pt x="8466" y="16478"/>
                </a:lnTo>
                <a:lnTo>
                  <a:pt x="718" y="16478"/>
                </a:lnTo>
                <a:lnTo>
                  <a:pt x="681" y="16477"/>
                </a:lnTo>
                <a:lnTo>
                  <a:pt x="645" y="16474"/>
                </a:lnTo>
                <a:lnTo>
                  <a:pt x="609" y="16470"/>
                </a:lnTo>
                <a:lnTo>
                  <a:pt x="573" y="16464"/>
                </a:lnTo>
                <a:lnTo>
                  <a:pt x="538" y="16455"/>
                </a:lnTo>
                <a:lnTo>
                  <a:pt x="504" y="16446"/>
                </a:lnTo>
                <a:lnTo>
                  <a:pt x="471" y="16435"/>
                </a:lnTo>
                <a:lnTo>
                  <a:pt x="438" y="16421"/>
                </a:lnTo>
                <a:lnTo>
                  <a:pt x="407" y="16407"/>
                </a:lnTo>
                <a:lnTo>
                  <a:pt x="376" y="16391"/>
                </a:lnTo>
                <a:lnTo>
                  <a:pt x="347" y="16374"/>
                </a:lnTo>
                <a:lnTo>
                  <a:pt x="317" y="16355"/>
                </a:lnTo>
                <a:lnTo>
                  <a:pt x="289" y="16335"/>
                </a:lnTo>
                <a:lnTo>
                  <a:pt x="262" y="16314"/>
                </a:lnTo>
                <a:lnTo>
                  <a:pt x="235" y="16292"/>
                </a:lnTo>
                <a:lnTo>
                  <a:pt x="210" y="16268"/>
                </a:lnTo>
                <a:lnTo>
                  <a:pt x="187" y="16243"/>
                </a:lnTo>
                <a:lnTo>
                  <a:pt x="164" y="16216"/>
                </a:lnTo>
                <a:lnTo>
                  <a:pt x="143" y="16190"/>
                </a:lnTo>
                <a:lnTo>
                  <a:pt x="123" y="16162"/>
                </a:lnTo>
                <a:lnTo>
                  <a:pt x="104" y="16132"/>
                </a:lnTo>
                <a:lnTo>
                  <a:pt x="87" y="16102"/>
                </a:lnTo>
                <a:lnTo>
                  <a:pt x="71" y="16071"/>
                </a:lnTo>
                <a:lnTo>
                  <a:pt x="57" y="16040"/>
                </a:lnTo>
                <a:lnTo>
                  <a:pt x="43" y="16007"/>
                </a:lnTo>
                <a:lnTo>
                  <a:pt x="32" y="15974"/>
                </a:lnTo>
                <a:lnTo>
                  <a:pt x="23" y="15940"/>
                </a:lnTo>
                <a:lnTo>
                  <a:pt x="14" y="15905"/>
                </a:lnTo>
                <a:lnTo>
                  <a:pt x="8" y="15870"/>
                </a:lnTo>
                <a:lnTo>
                  <a:pt x="4" y="15834"/>
                </a:lnTo>
                <a:lnTo>
                  <a:pt x="1" y="15798"/>
                </a:lnTo>
                <a:lnTo>
                  <a:pt x="0" y="15761"/>
                </a:lnTo>
                <a:lnTo>
                  <a:pt x="0" y="717"/>
                </a:lnTo>
                <a:lnTo>
                  <a:pt x="1" y="680"/>
                </a:lnTo>
                <a:lnTo>
                  <a:pt x="4" y="644"/>
                </a:lnTo>
                <a:lnTo>
                  <a:pt x="8" y="608"/>
                </a:lnTo>
                <a:lnTo>
                  <a:pt x="14" y="573"/>
                </a:lnTo>
                <a:lnTo>
                  <a:pt x="23" y="538"/>
                </a:lnTo>
                <a:lnTo>
                  <a:pt x="32" y="504"/>
                </a:lnTo>
                <a:lnTo>
                  <a:pt x="43" y="471"/>
                </a:lnTo>
                <a:lnTo>
                  <a:pt x="57" y="439"/>
                </a:lnTo>
                <a:lnTo>
                  <a:pt x="71" y="407"/>
                </a:lnTo>
                <a:lnTo>
                  <a:pt x="87" y="376"/>
                </a:lnTo>
                <a:lnTo>
                  <a:pt x="104" y="346"/>
                </a:lnTo>
                <a:lnTo>
                  <a:pt x="123" y="316"/>
                </a:lnTo>
                <a:lnTo>
                  <a:pt x="143" y="288"/>
                </a:lnTo>
                <a:lnTo>
                  <a:pt x="164" y="262"/>
                </a:lnTo>
                <a:lnTo>
                  <a:pt x="187" y="236"/>
                </a:lnTo>
                <a:lnTo>
                  <a:pt x="210" y="210"/>
                </a:lnTo>
                <a:lnTo>
                  <a:pt x="235" y="186"/>
                </a:lnTo>
                <a:lnTo>
                  <a:pt x="262" y="164"/>
                </a:lnTo>
                <a:lnTo>
                  <a:pt x="289" y="143"/>
                </a:lnTo>
                <a:lnTo>
                  <a:pt x="317" y="123"/>
                </a:lnTo>
                <a:lnTo>
                  <a:pt x="347" y="104"/>
                </a:lnTo>
                <a:lnTo>
                  <a:pt x="376" y="87"/>
                </a:lnTo>
                <a:lnTo>
                  <a:pt x="407" y="71"/>
                </a:lnTo>
                <a:lnTo>
                  <a:pt x="438" y="57"/>
                </a:lnTo>
                <a:lnTo>
                  <a:pt x="471" y="43"/>
                </a:lnTo>
                <a:lnTo>
                  <a:pt x="504" y="32"/>
                </a:lnTo>
                <a:lnTo>
                  <a:pt x="538" y="23"/>
                </a:lnTo>
                <a:lnTo>
                  <a:pt x="573" y="14"/>
                </a:lnTo>
                <a:lnTo>
                  <a:pt x="609" y="8"/>
                </a:lnTo>
                <a:lnTo>
                  <a:pt x="645" y="4"/>
                </a:lnTo>
                <a:lnTo>
                  <a:pt x="681" y="1"/>
                </a:lnTo>
                <a:lnTo>
                  <a:pt x="718" y="0"/>
                </a:lnTo>
                <a:close/>
                <a:moveTo>
                  <a:pt x="1756" y="2329"/>
                </a:moveTo>
                <a:lnTo>
                  <a:pt x="7428" y="2329"/>
                </a:lnTo>
                <a:lnTo>
                  <a:pt x="7446" y="2330"/>
                </a:lnTo>
                <a:lnTo>
                  <a:pt x="7464" y="2331"/>
                </a:lnTo>
                <a:lnTo>
                  <a:pt x="7481" y="2333"/>
                </a:lnTo>
                <a:lnTo>
                  <a:pt x="7498" y="2336"/>
                </a:lnTo>
                <a:lnTo>
                  <a:pt x="7514" y="2340"/>
                </a:lnTo>
                <a:lnTo>
                  <a:pt x="7531" y="2344"/>
                </a:lnTo>
                <a:lnTo>
                  <a:pt x="7547" y="2350"/>
                </a:lnTo>
                <a:lnTo>
                  <a:pt x="7563" y="2356"/>
                </a:lnTo>
                <a:lnTo>
                  <a:pt x="7577" y="2363"/>
                </a:lnTo>
                <a:lnTo>
                  <a:pt x="7592" y="2371"/>
                </a:lnTo>
                <a:lnTo>
                  <a:pt x="7607" y="2379"/>
                </a:lnTo>
                <a:lnTo>
                  <a:pt x="7621" y="2388"/>
                </a:lnTo>
                <a:lnTo>
                  <a:pt x="7635" y="2398"/>
                </a:lnTo>
                <a:lnTo>
                  <a:pt x="7647" y="2408"/>
                </a:lnTo>
                <a:lnTo>
                  <a:pt x="7660" y="2418"/>
                </a:lnTo>
                <a:lnTo>
                  <a:pt x="7672" y="2429"/>
                </a:lnTo>
                <a:lnTo>
                  <a:pt x="7683" y="2442"/>
                </a:lnTo>
                <a:lnTo>
                  <a:pt x="7695" y="2454"/>
                </a:lnTo>
                <a:lnTo>
                  <a:pt x="7705" y="2468"/>
                </a:lnTo>
                <a:lnTo>
                  <a:pt x="7714" y="2481"/>
                </a:lnTo>
                <a:lnTo>
                  <a:pt x="7723" y="2495"/>
                </a:lnTo>
                <a:lnTo>
                  <a:pt x="7732" y="2510"/>
                </a:lnTo>
                <a:lnTo>
                  <a:pt x="7739" y="2524"/>
                </a:lnTo>
                <a:lnTo>
                  <a:pt x="7746" y="2540"/>
                </a:lnTo>
                <a:lnTo>
                  <a:pt x="7752" y="2555"/>
                </a:lnTo>
                <a:lnTo>
                  <a:pt x="7758" y="2572"/>
                </a:lnTo>
                <a:lnTo>
                  <a:pt x="7763" y="2588"/>
                </a:lnTo>
                <a:lnTo>
                  <a:pt x="7767" y="2605"/>
                </a:lnTo>
                <a:lnTo>
                  <a:pt x="7770" y="2621"/>
                </a:lnTo>
                <a:lnTo>
                  <a:pt x="7772" y="2639"/>
                </a:lnTo>
                <a:lnTo>
                  <a:pt x="7773" y="2656"/>
                </a:lnTo>
                <a:lnTo>
                  <a:pt x="7774" y="2674"/>
                </a:lnTo>
                <a:lnTo>
                  <a:pt x="7774" y="3757"/>
                </a:lnTo>
                <a:lnTo>
                  <a:pt x="7773" y="3774"/>
                </a:lnTo>
                <a:lnTo>
                  <a:pt x="7772" y="3792"/>
                </a:lnTo>
                <a:lnTo>
                  <a:pt x="7770" y="3810"/>
                </a:lnTo>
                <a:lnTo>
                  <a:pt x="7767" y="3826"/>
                </a:lnTo>
                <a:lnTo>
                  <a:pt x="7763" y="3842"/>
                </a:lnTo>
                <a:lnTo>
                  <a:pt x="7758" y="3859"/>
                </a:lnTo>
                <a:lnTo>
                  <a:pt x="7752" y="3875"/>
                </a:lnTo>
                <a:lnTo>
                  <a:pt x="7746" y="3891"/>
                </a:lnTo>
                <a:lnTo>
                  <a:pt x="7739" y="3906"/>
                </a:lnTo>
                <a:lnTo>
                  <a:pt x="7732" y="3921"/>
                </a:lnTo>
                <a:lnTo>
                  <a:pt x="7723" y="3935"/>
                </a:lnTo>
                <a:lnTo>
                  <a:pt x="7714" y="3950"/>
                </a:lnTo>
                <a:lnTo>
                  <a:pt x="7705" y="3963"/>
                </a:lnTo>
                <a:lnTo>
                  <a:pt x="7695" y="3976"/>
                </a:lnTo>
                <a:lnTo>
                  <a:pt x="7683" y="3989"/>
                </a:lnTo>
                <a:lnTo>
                  <a:pt x="7672" y="4000"/>
                </a:lnTo>
                <a:lnTo>
                  <a:pt x="7660" y="4012"/>
                </a:lnTo>
                <a:lnTo>
                  <a:pt x="7647" y="4023"/>
                </a:lnTo>
                <a:lnTo>
                  <a:pt x="7635" y="4033"/>
                </a:lnTo>
                <a:lnTo>
                  <a:pt x="7621" y="4042"/>
                </a:lnTo>
                <a:lnTo>
                  <a:pt x="7607" y="4052"/>
                </a:lnTo>
                <a:lnTo>
                  <a:pt x="7592" y="4060"/>
                </a:lnTo>
                <a:lnTo>
                  <a:pt x="7577" y="4068"/>
                </a:lnTo>
                <a:lnTo>
                  <a:pt x="7563" y="4074"/>
                </a:lnTo>
                <a:lnTo>
                  <a:pt x="7547" y="4080"/>
                </a:lnTo>
                <a:lnTo>
                  <a:pt x="7531" y="4087"/>
                </a:lnTo>
                <a:lnTo>
                  <a:pt x="7514" y="4091"/>
                </a:lnTo>
                <a:lnTo>
                  <a:pt x="7498" y="4095"/>
                </a:lnTo>
                <a:lnTo>
                  <a:pt x="7481" y="4098"/>
                </a:lnTo>
                <a:lnTo>
                  <a:pt x="7464" y="4100"/>
                </a:lnTo>
                <a:lnTo>
                  <a:pt x="7446" y="4101"/>
                </a:lnTo>
                <a:lnTo>
                  <a:pt x="7428" y="4102"/>
                </a:lnTo>
                <a:lnTo>
                  <a:pt x="1756" y="4102"/>
                </a:lnTo>
                <a:lnTo>
                  <a:pt x="1738" y="4101"/>
                </a:lnTo>
                <a:lnTo>
                  <a:pt x="1720" y="4100"/>
                </a:lnTo>
                <a:lnTo>
                  <a:pt x="1703" y="4098"/>
                </a:lnTo>
                <a:lnTo>
                  <a:pt x="1686" y="4095"/>
                </a:lnTo>
                <a:lnTo>
                  <a:pt x="1670" y="4091"/>
                </a:lnTo>
                <a:lnTo>
                  <a:pt x="1653" y="4087"/>
                </a:lnTo>
                <a:lnTo>
                  <a:pt x="1637" y="4080"/>
                </a:lnTo>
                <a:lnTo>
                  <a:pt x="1621" y="4074"/>
                </a:lnTo>
                <a:lnTo>
                  <a:pt x="1606" y="4068"/>
                </a:lnTo>
                <a:lnTo>
                  <a:pt x="1592" y="4060"/>
                </a:lnTo>
                <a:lnTo>
                  <a:pt x="1577" y="4052"/>
                </a:lnTo>
                <a:lnTo>
                  <a:pt x="1563" y="4042"/>
                </a:lnTo>
                <a:lnTo>
                  <a:pt x="1549" y="4033"/>
                </a:lnTo>
                <a:lnTo>
                  <a:pt x="1536" y="4023"/>
                </a:lnTo>
                <a:lnTo>
                  <a:pt x="1523" y="4012"/>
                </a:lnTo>
                <a:lnTo>
                  <a:pt x="1512" y="4000"/>
                </a:lnTo>
                <a:lnTo>
                  <a:pt x="1501" y="3989"/>
                </a:lnTo>
                <a:lnTo>
                  <a:pt x="1489" y="3976"/>
                </a:lnTo>
                <a:lnTo>
                  <a:pt x="1479" y="3963"/>
                </a:lnTo>
                <a:lnTo>
                  <a:pt x="1470" y="3950"/>
                </a:lnTo>
                <a:lnTo>
                  <a:pt x="1461" y="3935"/>
                </a:lnTo>
                <a:lnTo>
                  <a:pt x="1452" y="3921"/>
                </a:lnTo>
                <a:lnTo>
                  <a:pt x="1445" y="3906"/>
                </a:lnTo>
                <a:lnTo>
                  <a:pt x="1438" y="3891"/>
                </a:lnTo>
                <a:lnTo>
                  <a:pt x="1432" y="3875"/>
                </a:lnTo>
                <a:lnTo>
                  <a:pt x="1426" y="3859"/>
                </a:lnTo>
                <a:lnTo>
                  <a:pt x="1421" y="3842"/>
                </a:lnTo>
                <a:lnTo>
                  <a:pt x="1417" y="3826"/>
                </a:lnTo>
                <a:lnTo>
                  <a:pt x="1414" y="3810"/>
                </a:lnTo>
                <a:lnTo>
                  <a:pt x="1412" y="3792"/>
                </a:lnTo>
                <a:lnTo>
                  <a:pt x="1411" y="3774"/>
                </a:lnTo>
                <a:lnTo>
                  <a:pt x="1410" y="3757"/>
                </a:lnTo>
                <a:lnTo>
                  <a:pt x="1410" y="2674"/>
                </a:lnTo>
                <a:lnTo>
                  <a:pt x="1411" y="2656"/>
                </a:lnTo>
                <a:lnTo>
                  <a:pt x="1412" y="2639"/>
                </a:lnTo>
                <a:lnTo>
                  <a:pt x="1414" y="2621"/>
                </a:lnTo>
                <a:lnTo>
                  <a:pt x="1417" y="2605"/>
                </a:lnTo>
                <a:lnTo>
                  <a:pt x="1421" y="2588"/>
                </a:lnTo>
                <a:lnTo>
                  <a:pt x="1426" y="2572"/>
                </a:lnTo>
                <a:lnTo>
                  <a:pt x="1432" y="2555"/>
                </a:lnTo>
                <a:lnTo>
                  <a:pt x="1438" y="2540"/>
                </a:lnTo>
                <a:lnTo>
                  <a:pt x="1445" y="2524"/>
                </a:lnTo>
                <a:lnTo>
                  <a:pt x="1452" y="2510"/>
                </a:lnTo>
                <a:lnTo>
                  <a:pt x="1461" y="2495"/>
                </a:lnTo>
                <a:lnTo>
                  <a:pt x="1470" y="2481"/>
                </a:lnTo>
                <a:lnTo>
                  <a:pt x="1479" y="2468"/>
                </a:lnTo>
                <a:lnTo>
                  <a:pt x="1489" y="2454"/>
                </a:lnTo>
                <a:lnTo>
                  <a:pt x="1501" y="2442"/>
                </a:lnTo>
                <a:lnTo>
                  <a:pt x="1512" y="2429"/>
                </a:lnTo>
                <a:lnTo>
                  <a:pt x="1523" y="2418"/>
                </a:lnTo>
                <a:lnTo>
                  <a:pt x="1536" y="2408"/>
                </a:lnTo>
                <a:lnTo>
                  <a:pt x="1549" y="2398"/>
                </a:lnTo>
                <a:lnTo>
                  <a:pt x="1563" y="2388"/>
                </a:lnTo>
                <a:lnTo>
                  <a:pt x="1577" y="2379"/>
                </a:lnTo>
                <a:lnTo>
                  <a:pt x="1592" y="2371"/>
                </a:lnTo>
                <a:lnTo>
                  <a:pt x="1606" y="2363"/>
                </a:lnTo>
                <a:lnTo>
                  <a:pt x="1621" y="2356"/>
                </a:lnTo>
                <a:lnTo>
                  <a:pt x="1637" y="2350"/>
                </a:lnTo>
                <a:lnTo>
                  <a:pt x="1653" y="2344"/>
                </a:lnTo>
                <a:lnTo>
                  <a:pt x="1670" y="2340"/>
                </a:lnTo>
                <a:lnTo>
                  <a:pt x="1686" y="2336"/>
                </a:lnTo>
                <a:lnTo>
                  <a:pt x="1703" y="2333"/>
                </a:lnTo>
                <a:lnTo>
                  <a:pt x="1720" y="2331"/>
                </a:lnTo>
                <a:lnTo>
                  <a:pt x="1738" y="2330"/>
                </a:lnTo>
                <a:lnTo>
                  <a:pt x="1756" y="2329"/>
                </a:lnTo>
                <a:close/>
                <a:moveTo>
                  <a:pt x="1756" y="4840"/>
                </a:moveTo>
                <a:lnTo>
                  <a:pt x="7428" y="4840"/>
                </a:lnTo>
                <a:lnTo>
                  <a:pt x="7446" y="4841"/>
                </a:lnTo>
                <a:lnTo>
                  <a:pt x="7464" y="4842"/>
                </a:lnTo>
                <a:lnTo>
                  <a:pt x="7481" y="4845"/>
                </a:lnTo>
                <a:lnTo>
                  <a:pt x="7498" y="4848"/>
                </a:lnTo>
                <a:lnTo>
                  <a:pt x="7514" y="4852"/>
                </a:lnTo>
                <a:lnTo>
                  <a:pt x="7531" y="4856"/>
                </a:lnTo>
                <a:lnTo>
                  <a:pt x="7547" y="4862"/>
                </a:lnTo>
                <a:lnTo>
                  <a:pt x="7563" y="4868"/>
                </a:lnTo>
                <a:lnTo>
                  <a:pt x="7577" y="4874"/>
                </a:lnTo>
                <a:lnTo>
                  <a:pt x="7592" y="4883"/>
                </a:lnTo>
                <a:lnTo>
                  <a:pt x="7607" y="4891"/>
                </a:lnTo>
                <a:lnTo>
                  <a:pt x="7621" y="4900"/>
                </a:lnTo>
                <a:lnTo>
                  <a:pt x="7635" y="4909"/>
                </a:lnTo>
                <a:lnTo>
                  <a:pt x="7647" y="4920"/>
                </a:lnTo>
                <a:lnTo>
                  <a:pt x="7660" y="4930"/>
                </a:lnTo>
                <a:lnTo>
                  <a:pt x="7672" y="4941"/>
                </a:lnTo>
                <a:lnTo>
                  <a:pt x="7683" y="4954"/>
                </a:lnTo>
                <a:lnTo>
                  <a:pt x="7695" y="4966"/>
                </a:lnTo>
                <a:lnTo>
                  <a:pt x="7705" y="4979"/>
                </a:lnTo>
                <a:lnTo>
                  <a:pt x="7714" y="4993"/>
                </a:lnTo>
                <a:lnTo>
                  <a:pt x="7723" y="5007"/>
                </a:lnTo>
                <a:lnTo>
                  <a:pt x="7732" y="5022"/>
                </a:lnTo>
                <a:lnTo>
                  <a:pt x="7739" y="5036"/>
                </a:lnTo>
                <a:lnTo>
                  <a:pt x="7746" y="5052"/>
                </a:lnTo>
                <a:lnTo>
                  <a:pt x="7752" y="5067"/>
                </a:lnTo>
                <a:lnTo>
                  <a:pt x="7758" y="5083"/>
                </a:lnTo>
                <a:lnTo>
                  <a:pt x="7763" y="5100"/>
                </a:lnTo>
                <a:lnTo>
                  <a:pt x="7767" y="5116"/>
                </a:lnTo>
                <a:lnTo>
                  <a:pt x="7770" y="5133"/>
                </a:lnTo>
                <a:lnTo>
                  <a:pt x="7772" y="5150"/>
                </a:lnTo>
                <a:lnTo>
                  <a:pt x="7773" y="5168"/>
                </a:lnTo>
                <a:lnTo>
                  <a:pt x="7774" y="5185"/>
                </a:lnTo>
                <a:lnTo>
                  <a:pt x="7774" y="6269"/>
                </a:lnTo>
                <a:lnTo>
                  <a:pt x="7773" y="6286"/>
                </a:lnTo>
                <a:lnTo>
                  <a:pt x="7772" y="6304"/>
                </a:lnTo>
                <a:lnTo>
                  <a:pt x="7770" y="6321"/>
                </a:lnTo>
                <a:lnTo>
                  <a:pt x="7767" y="6338"/>
                </a:lnTo>
                <a:lnTo>
                  <a:pt x="7763" y="6355"/>
                </a:lnTo>
                <a:lnTo>
                  <a:pt x="7758" y="6371"/>
                </a:lnTo>
                <a:lnTo>
                  <a:pt x="7752" y="6387"/>
                </a:lnTo>
                <a:lnTo>
                  <a:pt x="7746" y="6403"/>
                </a:lnTo>
                <a:lnTo>
                  <a:pt x="7739" y="6418"/>
                </a:lnTo>
                <a:lnTo>
                  <a:pt x="7732" y="6433"/>
                </a:lnTo>
                <a:lnTo>
                  <a:pt x="7723" y="6447"/>
                </a:lnTo>
                <a:lnTo>
                  <a:pt x="7714" y="6461"/>
                </a:lnTo>
                <a:lnTo>
                  <a:pt x="7705" y="6475"/>
                </a:lnTo>
                <a:lnTo>
                  <a:pt x="7695" y="6488"/>
                </a:lnTo>
                <a:lnTo>
                  <a:pt x="7683" y="6501"/>
                </a:lnTo>
                <a:lnTo>
                  <a:pt x="7672" y="6513"/>
                </a:lnTo>
                <a:lnTo>
                  <a:pt x="7660" y="6524"/>
                </a:lnTo>
                <a:lnTo>
                  <a:pt x="7647" y="6535"/>
                </a:lnTo>
                <a:lnTo>
                  <a:pt x="7635" y="6545"/>
                </a:lnTo>
                <a:lnTo>
                  <a:pt x="7621" y="6554"/>
                </a:lnTo>
                <a:lnTo>
                  <a:pt x="7607" y="6563"/>
                </a:lnTo>
                <a:lnTo>
                  <a:pt x="7592" y="6572"/>
                </a:lnTo>
                <a:lnTo>
                  <a:pt x="7577" y="6580"/>
                </a:lnTo>
                <a:lnTo>
                  <a:pt x="7563" y="6586"/>
                </a:lnTo>
                <a:lnTo>
                  <a:pt x="7547" y="6592"/>
                </a:lnTo>
                <a:lnTo>
                  <a:pt x="7531" y="6598"/>
                </a:lnTo>
                <a:lnTo>
                  <a:pt x="7514" y="6603"/>
                </a:lnTo>
                <a:lnTo>
                  <a:pt x="7498" y="6607"/>
                </a:lnTo>
                <a:lnTo>
                  <a:pt x="7481" y="6610"/>
                </a:lnTo>
                <a:lnTo>
                  <a:pt x="7464" y="6612"/>
                </a:lnTo>
                <a:lnTo>
                  <a:pt x="7446" y="6613"/>
                </a:lnTo>
                <a:lnTo>
                  <a:pt x="7428" y="6614"/>
                </a:lnTo>
                <a:lnTo>
                  <a:pt x="1756" y="6614"/>
                </a:lnTo>
                <a:lnTo>
                  <a:pt x="1738" y="6613"/>
                </a:lnTo>
                <a:lnTo>
                  <a:pt x="1720" y="6612"/>
                </a:lnTo>
                <a:lnTo>
                  <a:pt x="1703" y="6610"/>
                </a:lnTo>
                <a:lnTo>
                  <a:pt x="1686" y="6607"/>
                </a:lnTo>
                <a:lnTo>
                  <a:pt x="1670" y="6603"/>
                </a:lnTo>
                <a:lnTo>
                  <a:pt x="1653" y="6598"/>
                </a:lnTo>
                <a:lnTo>
                  <a:pt x="1637" y="6592"/>
                </a:lnTo>
                <a:lnTo>
                  <a:pt x="1621" y="6586"/>
                </a:lnTo>
                <a:lnTo>
                  <a:pt x="1606" y="6580"/>
                </a:lnTo>
                <a:lnTo>
                  <a:pt x="1592" y="6572"/>
                </a:lnTo>
                <a:lnTo>
                  <a:pt x="1577" y="6563"/>
                </a:lnTo>
                <a:lnTo>
                  <a:pt x="1563" y="6554"/>
                </a:lnTo>
                <a:lnTo>
                  <a:pt x="1549" y="6545"/>
                </a:lnTo>
                <a:lnTo>
                  <a:pt x="1536" y="6535"/>
                </a:lnTo>
                <a:lnTo>
                  <a:pt x="1523" y="6524"/>
                </a:lnTo>
                <a:lnTo>
                  <a:pt x="1512" y="6513"/>
                </a:lnTo>
                <a:lnTo>
                  <a:pt x="1501" y="6501"/>
                </a:lnTo>
                <a:lnTo>
                  <a:pt x="1489" y="6488"/>
                </a:lnTo>
                <a:lnTo>
                  <a:pt x="1479" y="6475"/>
                </a:lnTo>
                <a:lnTo>
                  <a:pt x="1470" y="6461"/>
                </a:lnTo>
                <a:lnTo>
                  <a:pt x="1461" y="6447"/>
                </a:lnTo>
                <a:lnTo>
                  <a:pt x="1452" y="6433"/>
                </a:lnTo>
                <a:lnTo>
                  <a:pt x="1445" y="6418"/>
                </a:lnTo>
                <a:lnTo>
                  <a:pt x="1438" y="6403"/>
                </a:lnTo>
                <a:lnTo>
                  <a:pt x="1432" y="6387"/>
                </a:lnTo>
                <a:lnTo>
                  <a:pt x="1426" y="6371"/>
                </a:lnTo>
                <a:lnTo>
                  <a:pt x="1421" y="6355"/>
                </a:lnTo>
                <a:lnTo>
                  <a:pt x="1417" y="6338"/>
                </a:lnTo>
                <a:lnTo>
                  <a:pt x="1414" y="6321"/>
                </a:lnTo>
                <a:lnTo>
                  <a:pt x="1412" y="6304"/>
                </a:lnTo>
                <a:lnTo>
                  <a:pt x="1411" y="6286"/>
                </a:lnTo>
                <a:lnTo>
                  <a:pt x="1410" y="6269"/>
                </a:lnTo>
                <a:lnTo>
                  <a:pt x="1410" y="5185"/>
                </a:lnTo>
                <a:lnTo>
                  <a:pt x="1411" y="5168"/>
                </a:lnTo>
                <a:lnTo>
                  <a:pt x="1412" y="5150"/>
                </a:lnTo>
                <a:lnTo>
                  <a:pt x="1414" y="5133"/>
                </a:lnTo>
                <a:lnTo>
                  <a:pt x="1417" y="5116"/>
                </a:lnTo>
                <a:lnTo>
                  <a:pt x="1421" y="5100"/>
                </a:lnTo>
                <a:lnTo>
                  <a:pt x="1426" y="5083"/>
                </a:lnTo>
                <a:lnTo>
                  <a:pt x="1432" y="5067"/>
                </a:lnTo>
                <a:lnTo>
                  <a:pt x="1438" y="5052"/>
                </a:lnTo>
                <a:lnTo>
                  <a:pt x="1445" y="5036"/>
                </a:lnTo>
                <a:lnTo>
                  <a:pt x="1452" y="5022"/>
                </a:lnTo>
                <a:lnTo>
                  <a:pt x="1461" y="5007"/>
                </a:lnTo>
                <a:lnTo>
                  <a:pt x="1470" y="4993"/>
                </a:lnTo>
                <a:lnTo>
                  <a:pt x="1479" y="4979"/>
                </a:lnTo>
                <a:lnTo>
                  <a:pt x="1489" y="4966"/>
                </a:lnTo>
                <a:lnTo>
                  <a:pt x="1501" y="4954"/>
                </a:lnTo>
                <a:lnTo>
                  <a:pt x="1512" y="4941"/>
                </a:lnTo>
                <a:lnTo>
                  <a:pt x="1523" y="4930"/>
                </a:lnTo>
                <a:lnTo>
                  <a:pt x="1536" y="4920"/>
                </a:lnTo>
                <a:lnTo>
                  <a:pt x="1549" y="4909"/>
                </a:lnTo>
                <a:lnTo>
                  <a:pt x="1563" y="4900"/>
                </a:lnTo>
                <a:lnTo>
                  <a:pt x="1577" y="4891"/>
                </a:lnTo>
                <a:lnTo>
                  <a:pt x="1592" y="4883"/>
                </a:lnTo>
                <a:lnTo>
                  <a:pt x="1606" y="4874"/>
                </a:lnTo>
                <a:lnTo>
                  <a:pt x="1621" y="4868"/>
                </a:lnTo>
                <a:lnTo>
                  <a:pt x="1637" y="4862"/>
                </a:lnTo>
                <a:lnTo>
                  <a:pt x="1653" y="4856"/>
                </a:lnTo>
                <a:lnTo>
                  <a:pt x="1670" y="4852"/>
                </a:lnTo>
                <a:lnTo>
                  <a:pt x="1686" y="4848"/>
                </a:lnTo>
                <a:lnTo>
                  <a:pt x="1703" y="4845"/>
                </a:lnTo>
                <a:lnTo>
                  <a:pt x="1720" y="4842"/>
                </a:lnTo>
                <a:lnTo>
                  <a:pt x="1738" y="4841"/>
                </a:lnTo>
                <a:lnTo>
                  <a:pt x="1756" y="4840"/>
                </a:lnTo>
                <a:close/>
                <a:moveTo>
                  <a:pt x="1756" y="7352"/>
                </a:moveTo>
                <a:lnTo>
                  <a:pt x="7428" y="7352"/>
                </a:lnTo>
                <a:lnTo>
                  <a:pt x="7446" y="7353"/>
                </a:lnTo>
                <a:lnTo>
                  <a:pt x="7464" y="7354"/>
                </a:lnTo>
                <a:lnTo>
                  <a:pt x="7481" y="7356"/>
                </a:lnTo>
                <a:lnTo>
                  <a:pt x="7498" y="7359"/>
                </a:lnTo>
                <a:lnTo>
                  <a:pt x="7514" y="7364"/>
                </a:lnTo>
                <a:lnTo>
                  <a:pt x="7531" y="7368"/>
                </a:lnTo>
                <a:lnTo>
                  <a:pt x="7547" y="7374"/>
                </a:lnTo>
                <a:lnTo>
                  <a:pt x="7563" y="7380"/>
                </a:lnTo>
                <a:lnTo>
                  <a:pt x="7577" y="7386"/>
                </a:lnTo>
                <a:lnTo>
                  <a:pt x="7592" y="7395"/>
                </a:lnTo>
                <a:lnTo>
                  <a:pt x="7607" y="7403"/>
                </a:lnTo>
                <a:lnTo>
                  <a:pt x="7621" y="7412"/>
                </a:lnTo>
                <a:lnTo>
                  <a:pt x="7635" y="7421"/>
                </a:lnTo>
                <a:lnTo>
                  <a:pt x="7647" y="7432"/>
                </a:lnTo>
                <a:lnTo>
                  <a:pt x="7660" y="7442"/>
                </a:lnTo>
                <a:lnTo>
                  <a:pt x="7672" y="7454"/>
                </a:lnTo>
                <a:lnTo>
                  <a:pt x="7683" y="7466"/>
                </a:lnTo>
                <a:lnTo>
                  <a:pt x="7695" y="7478"/>
                </a:lnTo>
                <a:lnTo>
                  <a:pt x="7705" y="7491"/>
                </a:lnTo>
                <a:lnTo>
                  <a:pt x="7714" y="7505"/>
                </a:lnTo>
                <a:lnTo>
                  <a:pt x="7723" y="7519"/>
                </a:lnTo>
                <a:lnTo>
                  <a:pt x="7732" y="7534"/>
                </a:lnTo>
                <a:lnTo>
                  <a:pt x="7739" y="7548"/>
                </a:lnTo>
                <a:lnTo>
                  <a:pt x="7746" y="7563"/>
                </a:lnTo>
                <a:lnTo>
                  <a:pt x="7752" y="7579"/>
                </a:lnTo>
                <a:lnTo>
                  <a:pt x="7758" y="7595"/>
                </a:lnTo>
                <a:lnTo>
                  <a:pt x="7763" y="7612"/>
                </a:lnTo>
                <a:lnTo>
                  <a:pt x="7767" y="7628"/>
                </a:lnTo>
                <a:lnTo>
                  <a:pt x="7770" y="7645"/>
                </a:lnTo>
                <a:lnTo>
                  <a:pt x="7772" y="7662"/>
                </a:lnTo>
                <a:lnTo>
                  <a:pt x="7773" y="7680"/>
                </a:lnTo>
                <a:lnTo>
                  <a:pt x="7774" y="7697"/>
                </a:lnTo>
                <a:lnTo>
                  <a:pt x="7774" y="8781"/>
                </a:lnTo>
                <a:lnTo>
                  <a:pt x="7773" y="8798"/>
                </a:lnTo>
                <a:lnTo>
                  <a:pt x="7772" y="8816"/>
                </a:lnTo>
                <a:lnTo>
                  <a:pt x="7770" y="8833"/>
                </a:lnTo>
                <a:lnTo>
                  <a:pt x="7767" y="8850"/>
                </a:lnTo>
                <a:lnTo>
                  <a:pt x="7763" y="8867"/>
                </a:lnTo>
                <a:lnTo>
                  <a:pt x="7758" y="8883"/>
                </a:lnTo>
                <a:lnTo>
                  <a:pt x="7752" y="8899"/>
                </a:lnTo>
                <a:lnTo>
                  <a:pt x="7746" y="8915"/>
                </a:lnTo>
                <a:lnTo>
                  <a:pt x="7739" y="8930"/>
                </a:lnTo>
                <a:lnTo>
                  <a:pt x="7732" y="8944"/>
                </a:lnTo>
                <a:lnTo>
                  <a:pt x="7723" y="8959"/>
                </a:lnTo>
                <a:lnTo>
                  <a:pt x="7714" y="8973"/>
                </a:lnTo>
                <a:lnTo>
                  <a:pt x="7705" y="8987"/>
                </a:lnTo>
                <a:lnTo>
                  <a:pt x="7695" y="9000"/>
                </a:lnTo>
                <a:lnTo>
                  <a:pt x="7683" y="9012"/>
                </a:lnTo>
                <a:lnTo>
                  <a:pt x="7672" y="9025"/>
                </a:lnTo>
                <a:lnTo>
                  <a:pt x="7660" y="9036"/>
                </a:lnTo>
                <a:lnTo>
                  <a:pt x="7647" y="9046"/>
                </a:lnTo>
                <a:lnTo>
                  <a:pt x="7635" y="9057"/>
                </a:lnTo>
                <a:lnTo>
                  <a:pt x="7621" y="9067"/>
                </a:lnTo>
                <a:lnTo>
                  <a:pt x="7607" y="9075"/>
                </a:lnTo>
                <a:lnTo>
                  <a:pt x="7592" y="9083"/>
                </a:lnTo>
                <a:lnTo>
                  <a:pt x="7577" y="9092"/>
                </a:lnTo>
                <a:lnTo>
                  <a:pt x="7563" y="9098"/>
                </a:lnTo>
                <a:lnTo>
                  <a:pt x="7547" y="9105"/>
                </a:lnTo>
                <a:lnTo>
                  <a:pt x="7531" y="9110"/>
                </a:lnTo>
                <a:lnTo>
                  <a:pt x="7514" y="9114"/>
                </a:lnTo>
                <a:lnTo>
                  <a:pt x="7498" y="9119"/>
                </a:lnTo>
                <a:lnTo>
                  <a:pt x="7481" y="9122"/>
                </a:lnTo>
                <a:lnTo>
                  <a:pt x="7464" y="9124"/>
                </a:lnTo>
                <a:lnTo>
                  <a:pt x="7446" y="9125"/>
                </a:lnTo>
                <a:lnTo>
                  <a:pt x="7428" y="9126"/>
                </a:lnTo>
                <a:lnTo>
                  <a:pt x="1756" y="9126"/>
                </a:lnTo>
                <a:lnTo>
                  <a:pt x="1738" y="9125"/>
                </a:lnTo>
                <a:lnTo>
                  <a:pt x="1720" y="9124"/>
                </a:lnTo>
                <a:lnTo>
                  <a:pt x="1703" y="9122"/>
                </a:lnTo>
                <a:lnTo>
                  <a:pt x="1686" y="9119"/>
                </a:lnTo>
                <a:lnTo>
                  <a:pt x="1670" y="9114"/>
                </a:lnTo>
                <a:lnTo>
                  <a:pt x="1653" y="9110"/>
                </a:lnTo>
                <a:lnTo>
                  <a:pt x="1637" y="9105"/>
                </a:lnTo>
                <a:lnTo>
                  <a:pt x="1621" y="9098"/>
                </a:lnTo>
                <a:lnTo>
                  <a:pt x="1606" y="9092"/>
                </a:lnTo>
                <a:lnTo>
                  <a:pt x="1592" y="9083"/>
                </a:lnTo>
                <a:lnTo>
                  <a:pt x="1577" y="9075"/>
                </a:lnTo>
                <a:lnTo>
                  <a:pt x="1563" y="9067"/>
                </a:lnTo>
                <a:lnTo>
                  <a:pt x="1549" y="9057"/>
                </a:lnTo>
                <a:lnTo>
                  <a:pt x="1536" y="9046"/>
                </a:lnTo>
                <a:lnTo>
                  <a:pt x="1523" y="9036"/>
                </a:lnTo>
                <a:lnTo>
                  <a:pt x="1512" y="9025"/>
                </a:lnTo>
                <a:lnTo>
                  <a:pt x="1501" y="9012"/>
                </a:lnTo>
                <a:lnTo>
                  <a:pt x="1489" y="9000"/>
                </a:lnTo>
                <a:lnTo>
                  <a:pt x="1479" y="8987"/>
                </a:lnTo>
                <a:lnTo>
                  <a:pt x="1470" y="8973"/>
                </a:lnTo>
                <a:lnTo>
                  <a:pt x="1461" y="8959"/>
                </a:lnTo>
                <a:lnTo>
                  <a:pt x="1452" y="8944"/>
                </a:lnTo>
                <a:lnTo>
                  <a:pt x="1445" y="8930"/>
                </a:lnTo>
                <a:lnTo>
                  <a:pt x="1438" y="8915"/>
                </a:lnTo>
                <a:lnTo>
                  <a:pt x="1432" y="8899"/>
                </a:lnTo>
                <a:lnTo>
                  <a:pt x="1426" y="8883"/>
                </a:lnTo>
                <a:lnTo>
                  <a:pt x="1421" y="8867"/>
                </a:lnTo>
                <a:lnTo>
                  <a:pt x="1417" y="8850"/>
                </a:lnTo>
                <a:lnTo>
                  <a:pt x="1414" y="8833"/>
                </a:lnTo>
                <a:lnTo>
                  <a:pt x="1412" y="8816"/>
                </a:lnTo>
                <a:lnTo>
                  <a:pt x="1411" y="8798"/>
                </a:lnTo>
                <a:lnTo>
                  <a:pt x="1410" y="8781"/>
                </a:lnTo>
                <a:lnTo>
                  <a:pt x="1410" y="7697"/>
                </a:lnTo>
                <a:lnTo>
                  <a:pt x="1411" y="7680"/>
                </a:lnTo>
                <a:lnTo>
                  <a:pt x="1412" y="7662"/>
                </a:lnTo>
                <a:lnTo>
                  <a:pt x="1414" y="7645"/>
                </a:lnTo>
                <a:lnTo>
                  <a:pt x="1417" y="7628"/>
                </a:lnTo>
                <a:lnTo>
                  <a:pt x="1421" y="7612"/>
                </a:lnTo>
                <a:lnTo>
                  <a:pt x="1426" y="7595"/>
                </a:lnTo>
                <a:lnTo>
                  <a:pt x="1432" y="7579"/>
                </a:lnTo>
                <a:lnTo>
                  <a:pt x="1438" y="7563"/>
                </a:lnTo>
                <a:lnTo>
                  <a:pt x="1445" y="7548"/>
                </a:lnTo>
                <a:lnTo>
                  <a:pt x="1452" y="7534"/>
                </a:lnTo>
                <a:lnTo>
                  <a:pt x="1461" y="7519"/>
                </a:lnTo>
                <a:lnTo>
                  <a:pt x="1470" y="7505"/>
                </a:lnTo>
                <a:lnTo>
                  <a:pt x="1479" y="7491"/>
                </a:lnTo>
                <a:lnTo>
                  <a:pt x="1489" y="7478"/>
                </a:lnTo>
                <a:lnTo>
                  <a:pt x="1501" y="7466"/>
                </a:lnTo>
                <a:lnTo>
                  <a:pt x="1512" y="7454"/>
                </a:lnTo>
                <a:lnTo>
                  <a:pt x="1523" y="7442"/>
                </a:lnTo>
                <a:lnTo>
                  <a:pt x="1536" y="7432"/>
                </a:lnTo>
                <a:lnTo>
                  <a:pt x="1549" y="7421"/>
                </a:lnTo>
                <a:lnTo>
                  <a:pt x="1563" y="7412"/>
                </a:lnTo>
                <a:lnTo>
                  <a:pt x="1577" y="7403"/>
                </a:lnTo>
                <a:lnTo>
                  <a:pt x="1592" y="7395"/>
                </a:lnTo>
                <a:lnTo>
                  <a:pt x="1606" y="7386"/>
                </a:lnTo>
                <a:lnTo>
                  <a:pt x="1621" y="7380"/>
                </a:lnTo>
                <a:lnTo>
                  <a:pt x="1637" y="7374"/>
                </a:lnTo>
                <a:lnTo>
                  <a:pt x="1653" y="7368"/>
                </a:lnTo>
                <a:lnTo>
                  <a:pt x="1670" y="7364"/>
                </a:lnTo>
                <a:lnTo>
                  <a:pt x="1686" y="7359"/>
                </a:lnTo>
                <a:lnTo>
                  <a:pt x="1703" y="7356"/>
                </a:lnTo>
                <a:lnTo>
                  <a:pt x="1720" y="7354"/>
                </a:lnTo>
                <a:lnTo>
                  <a:pt x="1738" y="7353"/>
                </a:lnTo>
                <a:lnTo>
                  <a:pt x="1756" y="7352"/>
                </a:lnTo>
                <a:close/>
                <a:moveTo>
                  <a:pt x="1756" y="9864"/>
                </a:moveTo>
                <a:lnTo>
                  <a:pt x="7428" y="9864"/>
                </a:lnTo>
                <a:lnTo>
                  <a:pt x="7446" y="9865"/>
                </a:lnTo>
                <a:lnTo>
                  <a:pt x="7464" y="9866"/>
                </a:lnTo>
                <a:lnTo>
                  <a:pt x="7481" y="9868"/>
                </a:lnTo>
                <a:lnTo>
                  <a:pt x="7498" y="9871"/>
                </a:lnTo>
                <a:lnTo>
                  <a:pt x="7514" y="9875"/>
                </a:lnTo>
                <a:lnTo>
                  <a:pt x="7531" y="9880"/>
                </a:lnTo>
                <a:lnTo>
                  <a:pt x="7547" y="9886"/>
                </a:lnTo>
                <a:lnTo>
                  <a:pt x="7563" y="9892"/>
                </a:lnTo>
                <a:lnTo>
                  <a:pt x="7577" y="9898"/>
                </a:lnTo>
                <a:lnTo>
                  <a:pt x="7592" y="9906"/>
                </a:lnTo>
                <a:lnTo>
                  <a:pt x="7607" y="9915"/>
                </a:lnTo>
                <a:lnTo>
                  <a:pt x="7621" y="9924"/>
                </a:lnTo>
                <a:lnTo>
                  <a:pt x="7635" y="9933"/>
                </a:lnTo>
                <a:lnTo>
                  <a:pt x="7647" y="9943"/>
                </a:lnTo>
                <a:lnTo>
                  <a:pt x="7660" y="9954"/>
                </a:lnTo>
                <a:lnTo>
                  <a:pt x="7672" y="9966"/>
                </a:lnTo>
                <a:lnTo>
                  <a:pt x="7683" y="9977"/>
                </a:lnTo>
                <a:lnTo>
                  <a:pt x="7695" y="9990"/>
                </a:lnTo>
                <a:lnTo>
                  <a:pt x="7705" y="10003"/>
                </a:lnTo>
                <a:lnTo>
                  <a:pt x="7714" y="10017"/>
                </a:lnTo>
                <a:lnTo>
                  <a:pt x="7723" y="10031"/>
                </a:lnTo>
                <a:lnTo>
                  <a:pt x="7732" y="10045"/>
                </a:lnTo>
                <a:lnTo>
                  <a:pt x="7739" y="10060"/>
                </a:lnTo>
                <a:lnTo>
                  <a:pt x="7746" y="10075"/>
                </a:lnTo>
                <a:lnTo>
                  <a:pt x="7752" y="10091"/>
                </a:lnTo>
                <a:lnTo>
                  <a:pt x="7758" y="10107"/>
                </a:lnTo>
                <a:lnTo>
                  <a:pt x="7763" y="10124"/>
                </a:lnTo>
                <a:lnTo>
                  <a:pt x="7767" y="10140"/>
                </a:lnTo>
                <a:lnTo>
                  <a:pt x="7770" y="10157"/>
                </a:lnTo>
                <a:lnTo>
                  <a:pt x="7772" y="10174"/>
                </a:lnTo>
                <a:lnTo>
                  <a:pt x="7773" y="10192"/>
                </a:lnTo>
                <a:lnTo>
                  <a:pt x="7774" y="10209"/>
                </a:lnTo>
                <a:lnTo>
                  <a:pt x="7774" y="11293"/>
                </a:lnTo>
                <a:lnTo>
                  <a:pt x="7773" y="11310"/>
                </a:lnTo>
                <a:lnTo>
                  <a:pt x="7772" y="11328"/>
                </a:lnTo>
                <a:lnTo>
                  <a:pt x="7770" y="11345"/>
                </a:lnTo>
                <a:lnTo>
                  <a:pt x="7767" y="11362"/>
                </a:lnTo>
                <a:lnTo>
                  <a:pt x="7763" y="11379"/>
                </a:lnTo>
                <a:lnTo>
                  <a:pt x="7758" y="11395"/>
                </a:lnTo>
                <a:lnTo>
                  <a:pt x="7752" y="11411"/>
                </a:lnTo>
                <a:lnTo>
                  <a:pt x="7746" y="11426"/>
                </a:lnTo>
                <a:lnTo>
                  <a:pt x="7739" y="11442"/>
                </a:lnTo>
                <a:lnTo>
                  <a:pt x="7732" y="11456"/>
                </a:lnTo>
                <a:lnTo>
                  <a:pt x="7723" y="11471"/>
                </a:lnTo>
                <a:lnTo>
                  <a:pt x="7714" y="11485"/>
                </a:lnTo>
                <a:lnTo>
                  <a:pt x="7705" y="11499"/>
                </a:lnTo>
                <a:lnTo>
                  <a:pt x="7695" y="11512"/>
                </a:lnTo>
                <a:lnTo>
                  <a:pt x="7683" y="11524"/>
                </a:lnTo>
                <a:lnTo>
                  <a:pt x="7672" y="11537"/>
                </a:lnTo>
                <a:lnTo>
                  <a:pt x="7660" y="11548"/>
                </a:lnTo>
                <a:lnTo>
                  <a:pt x="7647" y="11558"/>
                </a:lnTo>
                <a:lnTo>
                  <a:pt x="7635" y="11569"/>
                </a:lnTo>
                <a:lnTo>
                  <a:pt x="7621" y="11579"/>
                </a:lnTo>
                <a:lnTo>
                  <a:pt x="7607" y="11587"/>
                </a:lnTo>
                <a:lnTo>
                  <a:pt x="7592" y="11595"/>
                </a:lnTo>
                <a:lnTo>
                  <a:pt x="7577" y="11604"/>
                </a:lnTo>
                <a:lnTo>
                  <a:pt x="7563" y="11610"/>
                </a:lnTo>
                <a:lnTo>
                  <a:pt x="7547" y="11617"/>
                </a:lnTo>
                <a:lnTo>
                  <a:pt x="7531" y="11622"/>
                </a:lnTo>
                <a:lnTo>
                  <a:pt x="7514" y="11626"/>
                </a:lnTo>
                <a:lnTo>
                  <a:pt x="7498" y="11630"/>
                </a:lnTo>
                <a:lnTo>
                  <a:pt x="7481" y="11633"/>
                </a:lnTo>
                <a:lnTo>
                  <a:pt x="7464" y="11636"/>
                </a:lnTo>
                <a:lnTo>
                  <a:pt x="7446" y="11637"/>
                </a:lnTo>
                <a:lnTo>
                  <a:pt x="7428" y="11638"/>
                </a:lnTo>
                <a:lnTo>
                  <a:pt x="1756" y="11638"/>
                </a:lnTo>
                <a:lnTo>
                  <a:pt x="1738" y="11637"/>
                </a:lnTo>
                <a:lnTo>
                  <a:pt x="1720" y="11636"/>
                </a:lnTo>
                <a:lnTo>
                  <a:pt x="1703" y="11633"/>
                </a:lnTo>
                <a:lnTo>
                  <a:pt x="1686" y="11630"/>
                </a:lnTo>
                <a:lnTo>
                  <a:pt x="1670" y="11626"/>
                </a:lnTo>
                <a:lnTo>
                  <a:pt x="1653" y="11622"/>
                </a:lnTo>
                <a:lnTo>
                  <a:pt x="1637" y="11617"/>
                </a:lnTo>
                <a:lnTo>
                  <a:pt x="1621" y="11610"/>
                </a:lnTo>
                <a:lnTo>
                  <a:pt x="1606" y="11604"/>
                </a:lnTo>
                <a:lnTo>
                  <a:pt x="1592" y="11595"/>
                </a:lnTo>
                <a:lnTo>
                  <a:pt x="1577" y="11587"/>
                </a:lnTo>
                <a:lnTo>
                  <a:pt x="1563" y="11579"/>
                </a:lnTo>
                <a:lnTo>
                  <a:pt x="1549" y="11569"/>
                </a:lnTo>
                <a:lnTo>
                  <a:pt x="1536" y="11558"/>
                </a:lnTo>
                <a:lnTo>
                  <a:pt x="1523" y="11548"/>
                </a:lnTo>
                <a:lnTo>
                  <a:pt x="1512" y="11537"/>
                </a:lnTo>
                <a:lnTo>
                  <a:pt x="1501" y="11524"/>
                </a:lnTo>
                <a:lnTo>
                  <a:pt x="1489" y="11512"/>
                </a:lnTo>
                <a:lnTo>
                  <a:pt x="1479" y="11499"/>
                </a:lnTo>
                <a:lnTo>
                  <a:pt x="1470" y="11485"/>
                </a:lnTo>
                <a:lnTo>
                  <a:pt x="1461" y="11471"/>
                </a:lnTo>
                <a:lnTo>
                  <a:pt x="1452" y="11456"/>
                </a:lnTo>
                <a:lnTo>
                  <a:pt x="1445" y="11442"/>
                </a:lnTo>
                <a:lnTo>
                  <a:pt x="1438" y="11426"/>
                </a:lnTo>
                <a:lnTo>
                  <a:pt x="1432" y="11411"/>
                </a:lnTo>
                <a:lnTo>
                  <a:pt x="1426" y="11395"/>
                </a:lnTo>
                <a:lnTo>
                  <a:pt x="1421" y="11379"/>
                </a:lnTo>
                <a:lnTo>
                  <a:pt x="1417" y="11362"/>
                </a:lnTo>
                <a:lnTo>
                  <a:pt x="1414" y="11345"/>
                </a:lnTo>
                <a:lnTo>
                  <a:pt x="1412" y="11328"/>
                </a:lnTo>
                <a:lnTo>
                  <a:pt x="1411" y="11310"/>
                </a:lnTo>
                <a:lnTo>
                  <a:pt x="1410" y="11293"/>
                </a:lnTo>
                <a:lnTo>
                  <a:pt x="1410" y="10209"/>
                </a:lnTo>
                <a:lnTo>
                  <a:pt x="1411" y="10192"/>
                </a:lnTo>
                <a:lnTo>
                  <a:pt x="1412" y="10174"/>
                </a:lnTo>
                <a:lnTo>
                  <a:pt x="1414" y="10157"/>
                </a:lnTo>
                <a:lnTo>
                  <a:pt x="1417" y="10140"/>
                </a:lnTo>
                <a:lnTo>
                  <a:pt x="1421" y="10124"/>
                </a:lnTo>
                <a:lnTo>
                  <a:pt x="1426" y="10107"/>
                </a:lnTo>
                <a:lnTo>
                  <a:pt x="1432" y="10091"/>
                </a:lnTo>
                <a:lnTo>
                  <a:pt x="1438" y="10075"/>
                </a:lnTo>
                <a:lnTo>
                  <a:pt x="1445" y="10060"/>
                </a:lnTo>
                <a:lnTo>
                  <a:pt x="1452" y="10045"/>
                </a:lnTo>
                <a:lnTo>
                  <a:pt x="1461" y="10031"/>
                </a:lnTo>
                <a:lnTo>
                  <a:pt x="1470" y="10017"/>
                </a:lnTo>
                <a:lnTo>
                  <a:pt x="1479" y="10003"/>
                </a:lnTo>
                <a:lnTo>
                  <a:pt x="1489" y="9990"/>
                </a:lnTo>
                <a:lnTo>
                  <a:pt x="1501" y="9977"/>
                </a:lnTo>
                <a:lnTo>
                  <a:pt x="1512" y="9966"/>
                </a:lnTo>
                <a:lnTo>
                  <a:pt x="1523" y="9954"/>
                </a:lnTo>
                <a:lnTo>
                  <a:pt x="1536" y="9943"/>
                </a:lnTo>
                <a:lnTo>
                  <a:pt x="1549" y="9933"/>
                </a:lnTo>
                <a:lnTo>
                  <a:pt x="1563" y="9924"/>
                </a:lnTo>
                <a:lnTo>
                  <a:pt x="1577" y="9915"/>
                </a:lnTo>
                <a:lnTo>
                  <a:pt x="1592" y="9906"/>
                </a:lnTo>
                <a:lnTo>
                  <a:pt x="1606" y="9898"/>
                </a:lnTo>
                <a:lnTo>
                  <a:pt x="1621" y="9892"/>
                </a:lnTo>
                <a:lnTo>
                  <a:pt x="1637" y="9886"/>
                </a:lnTo>
                <a:lnTo>
                  <a:pt x="1653" y="9880"/>
                </a:lnTo>
                <a:lnTo>
                  <a:pt x="1670" y="9875"/>
                </a:lnTo>
                <a:lnTo>
                  <a:pt x="1686" y="9871"/>
                </a:lnTo>
                <a:lnTo>
                  <a:pt x="1703" y="9868"/>
                </a:lnTo>
                <a:lnTo>
                  <a:pt x="1720" y="9866"/>
                </a:lnTo>
                <a:lnTo>
                  <a:pt x="1738" y="9865"/>
                </a:lnTo>
                <a:lnTo>
                  <a:pt x="1756" y="9864"/>
                </a:lnTo>
                <a:close/>
                <a:moveTo>
                  <a:pt x="1756" y="12376"/>
                </a:moveTo>
                <a:lnTo>
                  <a:pt x="7428" y="12376"/>
                </a:lnTo>
                <a:lnTo>
                  <a:pt x="7446" y="12377"/>
                </a:lnTo>
                <a:lnTo>
                  <a:pt x="7464" y="12378"/>
                </a:lnTo>
                <a:lnTo>
                  <a:pt x="7481" y="12380"/>
                </a:lnTo>
                <a:lnTo>
                  <a:pt x="7498" y="12383"/>
                </a:lnTo>
                <a:lnTo>
                  <a:pt x="7514" y="12387"/>
                </a:lnTo>
                <a:lnTo>
                  <a:pt x="7531" y="12391"/>
                </a:lnTo>
                <a:lnTo>
                  <a:pt x="7547" y="12398"/>
                </a:lnTo>
                <a:lnTo>
                  <a:pt x="7563" y="12404"/>
                </a:lnTo>
                <a:lnTo>
                  <a:pt x="7577" y="12410"/>
                </a:lnTo>
                <a:lnTo>
                  <a:pt x="7592" y="12418"/>
                </a:lnTo>
                <a:lnTo>
                  <a:pt x="7607" y="12426"/>
                </a:lnTo>
                <a:lnTo>
                  <a:pt x="7621" y="12436"/>
                </a:lnTo>
                <a:lnTo>
                  <a:pt x="7635" y="12445"/>
                </a:lnTo>
                <a:lnTo>
                  <a:pt x="7647" y="12455"/>
                </a:lnTo>
                <a:lnTo>
                  <a:pt x="7660" y="12467"/>
                </a:lnTo>
                <a:lnTo>
                  <a:pt x="7672" y="12478"/>
                </a:lnTo>
                <a:lnTo>
                  <a:pt x="7683" y="12489"/>
                </a:lnTo>
                <a:lnTo>
                  <a:pt x="7695" y="12502"/>
                </a:lnTo>
                <a:lnTo>
                  <a:pt x="7705" y="12515"/>
                </a:lnTo>
                <a:lnTo>
                  <a:pt x="7714" y="12528"/>
                </a:lnTo>
                <a:lnTo>
                  <a:pt x="7723" y="12543"/>
                </a:lnTo>
                <a:lnTo>
                  <a:pt x="7732" y="12557"/>
                </a:lnTo>
                <a:lnTo>
                  <a:pt x="7739" y="12572"/>
                </a:lnTo>
                <a:lnTo>
                  <a:pt x="7746" y="12587"/>
                </a:lnTo>
                <a:lnTo>
                  <a:pt x="7752" y="12603"/>
                </a:lnTo>
                <a:lnTo>
                  <a:pt x="7758" y="12619"/>
                </a:lnTo>
                <a:lnTo>
                  <a:pt x="7763" y="12636"/>
                </a:lnTo>
                <a:lnTo>
                  <a:pt x="7767" y="12652"/>
                </a:lnTo>
                <a:lnTo>
                  <a:pt x="7770" y="12668"/>
                </a:lnTo>
                <a:lnTo>
                  <a:pt x="7772" y="12686"/>
                </a:lnTo>
                <a:lnTo>
                  <a:pt x="7773" y="12704"/>
                </a:lnTo>
                <a:lnTo>
                  <a:pt x="7774" y="12721"/>
                </a:lnTo>
                <a:lnTo>
                  <a:pt x="7774" y="13804"/>
                </a:lnTo>
                <a:lnTo>
                  <a:pt x="7773" y="13822"/>
                </a:lnTo>
                <a:lnTo>
                  <a:pt x="7772" y="13839"/>
                </a:lnTo>
                <a:lnTo>
                  <a:pt x="7770" y="13857"/>
                </a:lnTo>
                <a:lnTo>
                  <a:pt x="7767" y="13873"/>
                </a:lnTo>
                <a:lnTo>
                  <a:pt x="7763" y="13891"/>
                </a:lnTo>
                <a:lnTo>
                  <a:pt x="7758" y="13906"/>
                </a:lnTo>
                <a:lnTo>
                  <a:pt x="7752" y="13923"/>
                </a:lnTo>
                <a:lnTo>
                  <a:pt x="7746" y="13938"/>
                </a:lnTo>
                <a:lnTo>
                  <a:pt x="7739" y="13954"/>
                </a:lnTo>
                <a:lnTo>
                  <a:pt x="7732" y="13968"/>
                </a:lnTo>
                <a:lnTo>
                  <a:pt x="7723" y="13983"/>
                </a:lnTo>
                <a:lnTo>
                  <a:pt x="7714" y="13997"/>
                </a:lnTo>
                <a:lnTo>
                  <a:pt x="7705" y="14010"/>
                </a:lnTo>
                <a:lnTo>
                  <a:pt x="7695" y="14024"/>
                </a:lnTo>
                <a:lnTo>
                  <a:pt x="7683" y="14036"/>
                </a:lnTo>
                <a:lnTo>
                  <a:pt x="7672" y="14049"/>
                </a:lnTo>
                <a:lnTo>
                  <a:pt x="7660" y="14060"/>
                </a:lnTo>
                <a:lnTo>
                  <a:pt x="7647" y="14070"/>
                </a:lnTo>
                <a:lnTo>
                  <a:pt x="7635" y="14080"/>
                </a:lnTo>
                <a:lnTo>
                  <a:pt x="7621" y="14091"/>
                </a:lnTo>
                <a:lnTo>
                  <a:pt x="7607" y="14099"/>
                </a:lnTo>
                <a:lnTo>
                  <a:pt x="7592" y="14107"/>
                </a:lnTo>
                <a:lnTo>
                  <a:pt x="7577" y="14115"/>
                </a:lnTo>
                <a:lnTo>
                  <a:pt x="7563" y="14123"/>
                </a:lnTo>
                <a:lnTo>
                  <a:pt x="7547" y="14129"/>
                </a:lnTo>
                <a:lnTo>
                  <a:pt x="7531" y="14134"/>
                </a:lnTo>
                <a:lnTo>
                  <a:pt x="7514" y="14138"/>
                </a:lnTo>
                <a:lnTo>
                  <a:pt x="7498" y="14142"/>
                </a:lnTo>
                <a:lnTo>
                  <a:pt x="7481" y="14145"/>
                </a:lnTo>
                <a:lnTo>
                  <a:pt x="7464" y="14147"/>
                </a:lnTo>
                <a:lnTo>
                  <a:pt x="7446" y="14148"/>
                </a:lnTo>
                <a:lnTo>
                  <a:pt x="7428" y="14149"/>
                </a:lnTo>
                <a:lnTo>
                  <a:pt x="1756" y="14149"/>
                </a:lnTo>
                <a:lnTo>
                  <a:pt x="1738" y="14148"/>
                </a:lnTo>
                <a:lnTo>
                  <a:pt x="1720" y="14147"/>
                </a:lnTo>
                <a:lnTo>
                  <a:pt x="1703" y="14145"/>
                </a:lnTo>
                <a:lnTo>
                  <a:pt x="1686" y="14142"/>
                </a:lnTo>
                <a:lnTo>
                  <a:pt x="1670" y="14138"/>
                </a:lnTo>
                <a:lnTo>
                  <a:pt x="1653" y="14134"/>
                </a:lnTo>
                <a:lnTo>
                  <a:pt x="1637" y="14129"/>
                </a:lnTo>
                <a:lnTo>
                  <a:pt x="1621" y="14123"/>
                </a:lnTo>
                <a:lnTo>
                  <a:pt x="1606" y="14115"/>
                </a:lnTo>
                <a:lnTo>
                  <a:pt x="1592" y="14107"/>
                </a:lnTo>
                <a:lnTo>
                  <a:pt x="1577" y="14099"/>
                </a:lnTo>
                <a:lnTo>
                  <a:pt x="1563" y="14091"/>
                </a:lnTo>
                <a:lnTo>
                  <a:pt x="1549" y="14080"/>
                </a:lnTo>
                <a:lnTo>
                  <a:pt x="1536" y="14070"/>
                </a:lnTo>
                <a:lnTo>
                  <a:pt x="1523" y="14060"/>
                </a:lnTo>
                <a:lnTo>
                  <a:pt x="1512" y="14049"/>
                </a:lnTo>
                <a:lnTo>
                  <a:pt x="1501" y="14036"/>
                </a:lnTo>
                <a:lnTo>
                  <a:pt x="1489" y="14024"/>
                </a:lnTo>
                <a:lnTo>
                  <a:pt x="1479" y="14010"/>
                </a:lnTo>
                <a:lnTo>
                  <a:pt x="1470" y="13997"/>
                </a:lnTo>
                <a:lnTo>
                  <a:pt x="1461" y="13983"/>
                </a:lnTo>
                <a:lnTo>
                  <a:pt x="1452" y="13968"/>
                </a:lnTo>
                <a:lnTo>
                  <a:pt x="1445" y="13954"/>
                </a:lnTo>
                <a:lnTo>
                  <a:pt x="1438" y="13938"/>
                </a:lnTo>
                <a:lnTo>
                  <a:pt x="1432" y="13923"/>
                </a:lnTo>
                <a:lnTo>
                  <a:pt x="1426" y="13906"/>
                </a:lnTo>
                <a:lnTo>
                  <a:pt x="1421" y="13891"/>
                </a:lnTo>
                <a:lnTo>
                  <a:pt x="1417" y="13873"/>
                </a:lnTo>
                <a:lnTo>
                  <a:pt x="1414" y="13857"/>
                </a:lnTo>
                <a:lnTo>
                  <a:pt x="1412" y="13839"/>
                </a:lnTo>
                <a:lnTo>
                  <a:pt x="1411" y="13822"/>
                </a:lnTo>
                <a:lnTo>
                  <a:pt x="1410" y="13804"/>
                </a:lnTo>
                <a:lnTo>
                  <a:pt x="1410" y="12721"/>
                </a:lnTo>
                <a:lnTo>
                  <a:pt x="1411" y="12704"/>
                </a:lnTo>
                <a:lnTo>
                  <a:pt x="1412" y="12686"/>
                </a:lnTo>
                <a:lnTo>
                  <a:pt x="1414" y="12668"/>
                </a:lnTo>
                <a:lnTo>
                  <a:pt x="1417" y="12652"/>
                </a:lnTo>
                <a:lnTo>
                  <a:pt x="1421" y="12636"/>
                </a:lnTo>
                <a:lnTo>
                  <a:pt x="1426" y="12619"/>
                </a:lnTo>
                <a:lnTo>
                  <a:pt x="1432" y="12603"/>
                </a:lnTo>
                <a:lnTo>
                  <a:pt x="1438" y="12587"/>
                </a:lnTo>
                <a:lnTo>
                  <a:pt x="1445" y="12572"/>
                </a:lnTo>
                <a:lnTo>
                  <a:pt x="1452" y="12557"/>
                </a:lnTo>
                <a:lnTo>
                  <a:pt x="1461" y="12543"/>
                </a:lnTo>
                <a:lnTo>
                  <a:pt x="1470" y="12528"/>
                </a:lnTo>
                <a:lnTo>
                  <a:pt x="1479" y="12515"/>
                </a:lnTo>
                <a:lnTo>
                  <a:pt x="1489" y="12502"/>
                </a:lnTo>
                <a:lnTo>
                  <a:pt x="1501" y="12489"/>
                </a:lnTo>
                <a:lnTo>
                  <a:pt x="1512" y="12478"/>
                </a:lnTo>
                <a:lnTo>
                  <a:pt x="1523" y="12467"/>
                </a:lnTo>
                <a:lnTo>
                  <a:pt x="1536" y="12455"/>
                </a:lnTo>
                <a:lnTo>
                  <a:pt x="1549" y="12445"/>
                </a:lnTo>
                <a:lnTo>
                  <a:pt x="1563" y="12436"/>
                </a:lnTo>
                <a:lnTo>
                  <a:pt x="1577" y="12426"/>
                </a:lnTo>
                <a:lnTo>
                  <a:pt x="1592" y="12418"/>
                </a:lnTo>
                <a:lnTo>
                  <a:pt x="1606" y="12410"/>
                </a:lnTo>
                <a:lnTo>
                  <a:pt x="1621" y="12404"/>
                </a:lnTo>
                <a:lnTo>
                  <a:pt x="1637" y="12398"/>
                </a:lnTo>
                <a:lnTo>
                  <a:pt x="1653" y="12391"/>
                </a:lnTo>
                <a:lnTo>
                  <a:pt x="1670" y="12387"/>
                </a:lnTo>
                <a:lnTo>
                  <a:pt x="1686" y="12383"/>
                </a:lnTo>
                <a:lnTo>
                  <a:pt x="1703" y="12380"/>
                </a:lnTo>
                <a:lnTo>
                  <a:pt x="1720" y="12378"/>
                </a:lnTo>
                <a:lnTo>
                  <a:pt x="1738" y="12377"/>
                </a:lnTo>
                <a:lnTo>
                  <a:pt x="1756" y="12376"/>
                </a:lnTo>
                <a:close/>
                <a:moveTo>
                  <a:pt x="6683" y="12951"/>
                </a:moveTo>
                <a:lnTo>
                  <a:pt x="6699" y="12951"/>
                </a:lnTo>
                <a:lnTo>
                  <a:pt x="6715" y="12953"/>
                </a:lnTo>
                <a:lnTo>
                  <a:pt x="6730" y="12954"/>
                </a:lnTo>
                <a:lnTo>
                  <a:pt x="6746" y="12957"/>
                </a:lnTo>
                <a:lnTo>
                  <a:pt x="6761" y="12961"/>
                </a:lnTo>
                <a:lnTo>
                  <a:pt x="6776" y="12965"/>
                </a:lnTo>
                <a:lnTo>
                  <a:pt x="6790" y="12969"/>
                </a:lnTo>
                <a:lnTo>
                  <a:pt x="6804" y="12975"/>
                </a:lnTo>
                <a:lnTo>
                  <a:pt x="6819" y="12982"/>
                </a:lnTo>
                <a:lnTo>
                  <a:pt x="6832" y="12989"/>
                </a:lnTo>
                <a:lnTo>
                  <a:pt x="6845" y="12996"/>
                </a:lnTo>
                <a:lnTo>
                  <a:pt x="6858" y="13004"/>
                </a:lnTo>
                <a:lnTo>
                  <a:pt x="6869" y="13012"/>
                </a:lnTo>
                <a:lnTo>
                  <a:pt x="6882" y="13022"/>
                </a:lnTo>
                <a:lnTo>
                  <a:pt x="6893" y="13032"/>
                </a:lnTo>
                <a:lnTo>
                  <a:pt x="6905" y="13042"/>
                </a:lnTo>
                <a:lnTo>
                  <a:pt x="6915" y="13053"/>
                </a:lnTo>
                <a:lnTo>
                  <a:pt x="6924" y="13064"/>
                </a:lnTo>
                <a:lnTo>
                  <a:pt x="6933" y="13076"/>
                </a:lnTo>
                <a:lnTo>
                  <a:pt x="6943" y="13089"/>
                </a:lnTo>
                <a:lnTo>
                  <a:pt x="6950" y="13101"/>
                </a:lnTo>
                <a:lnTo>
                  <a:pt x="6958" y="13114"/>
                </a:lnTo>
                <a:lnTo>
                  <a:pt x="6964" y="13128"/>
                </a:lnTo>
                <a:lnTo>
                  <a:pt x="6972" y="13141"/>
                </a:lnTo>
                <a:lnTo>
                  <a:pt x="6977" y="13156"/>
                </a:lnTo>
                <a:lnTo>
                  <a:pt x="6982" y="13170"/>
                </a:lnTo>
                <a:lnTo>
                  <a:pt x="6986" y="13185"/>
                </a:lnTo>
                <a:lnTo>
                  <a:pt x="6989" y="13200"/>
                </a:lnTo>
                <a:lnTo>
                  <a:pt x="6992" y="13215"/>
                </a:lnTo>
                <a:lnTo>
                  <a:pt x="6994" y="13231"/>
                </a:lnTo>
                <a:lnTo>
                  <a:pt x="6995" y="13247"/>
                </a:lnTo>
                <a:lnTo>
                  <a:pt x="6996" y="13263"/>
                </a:lnTo>
                <a:lnTo>
                  <a:pt x="6995" y="13279"/>
                </a:lnTo>
                <a:lnTo>
                  <a:pt x="6994" y="13295"/>
                </a:lnTo>
                <a:lnTo>
                  <a:pt x="6992" y="13310"/>
                </a:lnTo>
                <a:lnTo>
                  <a:pt x="6989" y="13326"/>
                </a:lnTo>
                <a:lnTo>
                  <a:pt x="6986" y="13341"/>
                </a:lnTo>
                <a:lnTo>
                  <a:pt x="6982" y="13355"/>
                </a:lnTo>
                <a:lnTo>
                  <a:pt x="6977" y="13370"/>
                </a:lnTo>
                <a:lnTo>
                  <a:pt x="6972" y="13384"/>
                </a:lnTo>
                <a:lnTo>
                  <a:pt x="6964" y="13398"/>
                </a:lnTo>
                <a:lnTo>
                  <a:pt x="6958" y="13411"/>
                </a:lnTo>
                <a:lnTo>
                  <a:pt x="6950" y="13424"/>
                </a:lnTo>
                <a:lnTo>
                  <a:pt x="6943" y="13437"/>
                </a:lnTo>
                <a:lnTo>
                  <a:pt x="6933" y="13449"/>
                </a:lnTo>
                <a:lnTo>
                  <a:pt x="6924" y="13461"/>
                </a:lnTo>
                <a:lnTo>
                  <a:pt x="6915" y="13473"/>
                </a:lnTo>
                <a:lnTo>
                  <a:pt x="6905" y="13483"/>
                </a:lnTo>
                <a:lnTo>
                  <a:pt x="6893" y="13493"/>
                </a:lnTo>
                <a:lnTo>
                  <a:pt x="6882" y="13504"/>
                </a:lnTo>
                <a:lnTo>
                  <a:pt x="6869" y="13513"/>
                </a:lnTo>
                <a:lnTo>
                  <a:pt x="6858" y="13521"/>
                </a:lnTo>
                <a:lnTo>
                  <a:pt x="6845" y="13529"/>
                </a:lnTo>
                <a:lnTo>
                  <a:pt x="6832" y="13538"/>
                </a:lnTo>
                <a:lnTo>
                  <a:pt x="6819" y="13544"/>
                </a:lnTo>
                <a:lnTo>
                  <a:pt x="6804" y="13550"/>
                </a:lnTo>
                <a:lnTo>
                  <a:pt x="6790" y="13556"/>
                </a:lnTo>
                <a:lnTo>
                  <a:pt x="6776" y="13561"/>
                </a:lnTo>
                <a:lnTo>
                  <a:pt x="6761" y="13566"/>
                </a:lnTo>
                <a:lnTo>
                  <a:pt x="6746" y="13569"/>
                </a:lnTo>
                <a:lnTo>
                  <a:pt x="6730" y="13572"/>
                </a:lnTo>
                <a:lnTo>
                  <a:pt x="6715" y="13574"/>
                </a:lnTo>
                <a:lnTo>
                  <a:pt x="6699" y="13575"/>
                </a:lnTo>
                <a:lnTo>
                  <a:pt x="6683" y="13575"/>
                </a:lnTo>
                <a:lnTo>
                  <a:pt x="6667" y="13575"/>
                </a:lnTo>
                <a:lnTo>
                  <a:pt x="6651" y="13574"/>
                </a:lnTo>
                <a:lnTo>
                  <a:pt x="6635" y="13572"/>
                </a:lnTo>
                <a:lnTo>
                  <a:pt x="6620" y="13569"/>
                </a:lnTo>
                <a:lnTo>
                  <a:pt x="6605" y="13566"/>
                </a:lnTo>
                <a:lnTo>
                  <a:pt x="6590" y="13561"/>
                </a:lnTo>
                <a:lnTo>
                  <a:pt x="6575" y="13556"/>
                </a:lnTo>
                <a:lnTo>
                  <a:pt x="6562" y="13550"/>
                </a:lnTo>
                <a:lnTo>
                  <a:pt x="6548" y="13544"/>
                </a:lnTo>
                <a:lnTo>
                  <a:pt x="6534" y="13538"/>
                </a:lnTo>
                <a:lnTo>
                  <a:pt x="6521" y="13529"/>
                </a:lnTo>
                <a:lnTo>
                  <a:pt x="6508" y="13521"/>
                </a:lnTo>
                <a:lnTo>
                  <a:pt x="6496" y="13513"/>
                </a:lnTo>
                <a:lnTo>
                  <a:pt x="6485" y="13504"/>
                </a:lnTo>
                <a:lnTo>
                  <a:pt x="6473" y="13493"/>
                </a:lnTo>
                <a:lnTo>
                  <a:pt x="6462" y="13483"/>
                </a:lnTo>
                <a:lnTo>
                  <a:pt x="6452" y="13473"/>
                </a:lnTo>
                <a:lnTo>
                  <a:pt x="6442" y="13461"/>
                </a:lnTo>
                <a:lnTo>
                  <a:pt x="6433" y="13449"/>
                </a:lnTo>
                <a:lnTo>
                  <a:pt x="6424" y="13437"/>
                </a:lnTo>
                <a:lnTo>
                  <a:pt x="6416" y="13424"/>
                </a:lnTo>
                <a:lnTo>
                  <a:pt x="6408" y="13411"/>
                </a:lnTo>
                <a:lnTo>
                  <a:pt x="6401" y="13398"/>
                </a:lnTo>
                <a:lnTo>
                  <a:pt x="6395" y="13384"/>
                </a:lnTo>
                <a:lnTo>
                  <a:pt x="6390" y="13370"/>
                </a:lnTo>
                <a:lnTo>
                  <a:pt x="6385" y="13355"/>
                </a:lnTo>
                <a:lnTo>
                  <a:pt x="6381" y="13341"/>
                </a:lnTo>
                <a:lnTo>
                  <a:pt x="6376" y="13326"/>
                </a:lnTo>
                <a:lnTo>
                  <a:pt x="6374" y="13310"/>
                </a:lnTo>
                <a:lnTo>
                  <a:pt x="6372" y="13295"/>
                </a:lnTo>
                <a:lnTo>
                  <a:pt x="6371" y="13279"/>
                </a:lnTo>
                <a:lnTo>
                  <a:pt x="6370" y="13263"/>
                </a:lnTo>
                <a:lnTo>
                  <a:pt x="6371" y="13247"/>
                </a:lnTo>
                <a:lnTo>
                  <a:pt x="6372" y="13231"/>
                </a:lnTo>
                <a:lnTo>
                  <a:pt x="6374" y="13215"/>
                </a:lnTo>
                <a:lnTo>
                  <a:pt x="6376" y="13200"/>
                </a:lnTo>
                <a:lnTo>
                  <a:pt x="6381" y="13185"/>
                </a:lnTo>
                <a:lnTo>
                  <a:pt x="6385" y="13170"/>
                </a:lnTo>
                <a:lnTo>
                  <a:pt x="6390" y="13156"/>
                </a:lnTo>
                <a:lnTo>
                  <a:pt x="6395" y="13141"/>
                </a:lnTo>
                <a:lnTo>
                  <a:pt x="6401" y="13128"/>
                </a:lnTo>
                <a:lnTo>
                  <a:pt x="6408" y="13114"/>
                </a:lnTo>
                <a:lnTo>
                  <a:pt x="6416" y="13101"/>
                </a:lnTo>
                <a:lnTo>
                  <a:pt x="6424" y="13089"/>
                </a:lnTo>
                <a:lnTo>
                  <a:pt x="6433" y="13076"/>
                </a:lnTo>
                <a:lnTo>
                  <a:pt x="6442" y="13064"/>
                </a:lnTo>
                <a:lnTo>
                  <a:pt x="6452" y="13053"/>
                </a:lnTo>
                <a:lnTo>
                  <a:pt x="6462" y="13042"/>
                </a:lnTo>
                <a:lnTo>
                  <a:pt x="6473" y="13032"/>
                </a:lnTo>
                <a:lnTo>
                  <a:pt x="6485" y="13022"/>
                </a:lnTo>
                <a:lnTo>
                  <a:pt x="6496" y="13012"/>
                </a:lnTo>
                <a:lnTo>
                  <a:pt x="6508" y="13004"/>
                </a:lnTo>
                <a:lnTo>
                  <a:pt x="6521" y="12996"/>
                </a:lnTo>
                <a:lnTo>
                  <a:pt x="6534" y="12989"/>
                </a:lnTo>
                <a:lnTo>
                  <a:pt x="6548" y="12982"/>
                </a:lnTo>
                <a:lnTo>
                  <a:pt x="6562" y="12975"/>
                </a:lnTo>
                <a:lnTo>
                  <a:pt x="6575" y="12969"/>
                </a:lnTo>
                <a:lnTo>
                  <a:pt x="6590" y="12965"/>
                </a:lnTo>
                <a:lnTo>
                  <a:pt x="6605" y="12961"/>
                </a:lnTo>
                <a:lnTo>
                  <a:pt x="6620" y="12957"/>
                </a:lnTo>
                <a:lnTo>
                  <a:pt x="6635" y="12954"/>
                </a:lnTo>
                <a:lnTo>
                  <a:pt x="6651" y="12953"/>
                </a:lnTo>
                <a:lnTo>
                  <a:pt x="6667" y="12951"/>
                </a:lnTo>
                <a:lnTo>
                  <a:pt x="6683" y="12951"/>
                </a:lnTo>
                <a:close/>
                <a:moveTo>
                  <a:pt x="6683" y="10439"/>
                </a:moveTo>
                <a:lnTo>
                  <a:pt x="6699" y="10439"/>
                </a:lnTo>
                <a:lnTo>
                  <a:pt x="6715" y="10440"/>
                </a:lnTo>
                <a:lnTo>
                  <a:pt x="6730" y="10442"/>
                </a:lnTo>
                <a:lnTo>
                  <a:pt x="6746" y="10445"/>
                </a:lnTo>
                <a:lnTo>
                  <a:pt x="6761" y="10449"/>
                </a:lnTo>
                <a:lnTo>
                  <a:pt x="6776" y="10453"/>
                </a:lnTo>
                <a:lnTo>
                  <a:pt x="6790" y="10457"/>
                </a:lnTo>
                <a:lnTo>
                  <a:pt x="6804" y="10464"/>
                </a:lnTo>
                <a:lnTo>
                  <a:pt x="6819" y="10470"/>
                </a:lnTo>
                <a:lnTo>
                  <a:pt x="6832" y="10477"/>
                </a:lnTo>
                <a:lnTo>
                  <a:pt x="6845" y="10484"/>
                </a:lnTo>
                <a:lnTo>
                  <a:pt x="6858" y="10492"/>
                </a:lnTo>
                <a:lnTo>
                  <a:pt x="6869" y="10501"/>
                </a:lnTo>
                <a:lnTo>
                  <a:pt x="6882" y="10510"/>
                </a:lnTo>
                <a:lnTo>
                  <a:pt x="6893" y="10520"/>
                </a:lnTo>
                <a:lnTo>
                  <a:pt x="6905" y="10530"/>
                </a:lnTo>
                <a:lnTo>
                  <a:pt x="6915" y="10541"/>
                </a:lnTo>
                <a:lnTo>
                  <a:pt x="6924" y="10552"/>
                </a:lnTo>
                <a:lnTo>
                  <a:pt x="6933" y="10564"/>
                </a:lnTo>
                <a:lnTo>
                  <a:pt x="6943" y="10577"/>
                </a:lnTo>
                <a:lnTo>
                  <a:pt x="6950" y="10589"/>
                </a:lnTo>
                <a:lnTo>
                  <a:pt x="6958" y="10603"/>
                </a:lnTo>
                <a:lnTo>
                  <a:pt x="6964" y="10616"/>
                </a:lnTo>
                <a:lnTo>
                  <a:pt x="6972" y="10629"/>
                </a:lnTo>
                <a:lnTo>
                  <a:pt x="6977" y="10644"/>
                </a:lnTo>
                <a:lnTo>
                  <a:pt x="6982" y="10658"/>
                </a:lnTo>
                <a:lnTo>
                  <a:pt x="6986" y="10673"/>
                </a:lnTo>
                <a:lnTo>
                  <a:pt x="6989" y="10688"/>
                </a:lnTo>
                <a:lnTo>
                  <a:pt x="6992" y="10703"/>
                </a:lnTo>
                <a:lnTo>
                  <a:pt x="6994" y="10719"/>
                </a:lnTo>
                <a:lnTo>
                  <a:pt x="6995" y="10735"/>
                </a:lnTo>
                <a:lnTo>
                  <a:pt x="6996" y="10751"/>
                </a:lnTo>
                <a:lnTo>
                  <a:pt x="6995" y="10767"/>
                </a:lnTo>
                <a:lnTo>
                  <a:pt x="6994" y="10783"/>
                </a:lnTo>
                <a:lnTo>
                  <a:pt x="6992" y="10798"/>
                </a:lnTo>
                <a:lnTo>
                  <a:pt x="6989" y="10814"/>
                </a:lnTo>
                <a:lnTo>
                  <a:pt x="6986" y="10829"/>
                </a:lnTo>
                <a:lnTo>
                  <a:pt x="6982" y="10844"/>
                </a:lnTo>
                <a:lnTo>
                  <a:pt x="6977" y="10858"/>
                </a:lnTo>
                <a:lnTo>
                  <a:pt x="6972" y="10872"/>
                </a:lnTo>
                <a:lnTo>
                  <a:pt x="6964" y="10886"/>
                </a:lnTo>
                <a:lnTo>
                  <a:pt x="6958" y="10899"/>
                </a:lnTo>
                <a:lnTo>
                  <a:pt x="6950" y="10913"/>
                </a:lnTo>
                <a:lnTo>
                  <a:pt x="6943" y="10925"/>
                </a:lnTo>
                <a:lnTo>
                  <a:pt x="6933" y="10937"/>
                </a:lnTo>
                <a:lnTo>
                  <a:pt x="6924" y="10950"/>
                </a:lnTo>
                <a:lnTo>
                  <a:pt x="6915" y="10961"/>
                </a:lnTo>
                <a:lnTo>
                  <a:pt x="6905" y="10971"/>
                </a:lnTo>
                <a:lnTo>
                  <a:pt x="6893" y="10982"/>
                </a:lnTo>
                <a:lnTo>
                  <a:pt x="6882" y="10992"/>
                </a:lnTo>
                <a:lnTo>
                  <a:pt x="6869" y="11001"/>
                </a:lnTo>
                <a:lnTo>
                  <a:pt x="6858" y="11009"/>
                </a:lnTo>
                <a:lnTo>
                  <a:pt x="6845" y="11018"/>
                </a:lnTo>
                <a:lnTo>
                  <a:pt x="6832" y="11026"/>
                </a:lnTo>
                <a:lnTo>
                  <a:pt x="6819" y="11032"/>
                </a:lnTo>
                <a:lnTo>
                  <a:pt x="6804" y="11038"/>
                </a:lnTo>
                <a:lnTo>
                  <a:pt x="6790" y="11044"/>
                </a:lnTo>
                <a:lnTo>
                  <a:pt x="6776" y="11050"/>
                </a:lnTo>
                <a:lnTo>
                  <a:pt x="6761" y="11054"/>
                </a:lnTo>
                <a:lnTo>
                  <a:pt x="6746" y="11057"/>
                </a:lnTo>
                <a:lnTo>
                  <a:pt x="6730" y="11060"/>
                </a:lnTo>
                <a:lnTo>
                  <a:pt x="6715" y="11062"/>
                </a:lnTo>
                <a:lnTo>
                  <a:pt x="6699" y="11063"/>
                </a:lnTo>
                <a:lnTo>
                  <a:pt x="6683" y="11063"/>
                </a:lnTo>
                <a:lnTo>
                  <a:pt x="6667" y="11063"/>
                </a:lnTo>
                <a:lnTo>
                  <a:pt x="6651" y="11062"/>
                </a:lnTo>
                <a:lnTo>
                  <a:pt x="6635" y="11060"/>
                </a:lnTo>
                <a:lnTo>
                  <a:pt x="6620" y="11057"/>
                </a:lnTo>
                <a:lnTo>
                  <a:pt x="6605" y="11054"/>
                </a:lnTo>
                <a:lnTo>
                  <a:pt x="6590" y="11050"/>
                </a:lnTo>
                <a:lnTo>
                  <a:pt x="6575" y="11044"/>
                </a:lnTo>
                <a:lnTo>
                  <a:pt x="6562" y="11038"/>
                </a:lnTo>
                <a:lnTo>
                  <a:pt x="6548" y="11032"/>
                </a:lnTo>
                <a:lnTo>
                  <a:pt x="6534" y="11026"/>
                </a:lnTo>
                <a:lnTo>
                  <a:pt x="6521" y="11018"/>
                </a:lnTo>
                <a:lnTo>
                  <a:pt x="6508" y="11009"/>
                </a:lnTo>
                <a:lnTo>
                  <a:pt x="6496" y="11001"/>
                </a:lnTo>
                <a:lnTo>
                  <a:pt x="6485" y="10992"/>
                </a:lnTo>
                <a:lnTo>
                  <a:pt x="6473" y="10982"/>
                </a:lnTo>
                <a:lnTo>
                  <a:pt x="6462" y="10971"/>
                </a:lnTo>
                <a:lnTo>
                  <a:pt x="6452" y="10961"/>
                </a:lnTo>
                <a:lnTo>
                  <a:pt x="6442" y="10950"/>
                </a:lnTo>
                <a:lnTo>
                  <a:pt x="6433" y="10937"/>
                </a:lnTo>
                <a:lnTo>
                  <a:pt x="6424" y="10925"/>
                </a:lnTo>
                <a:lnTo>
                  <a:pt x="6416" y="10913"/>
                </a:lnTo>
                <a:lnTo>
                  <a:pt x="6408" y="10899"/>
                </a:lnTo>
                <a:lnTo>
                  <a:pt x="6401" y="10886"/>
                </a:lnTo>
                <a:lnTo>
                  <a:pt x="6395" y="10872"/>
                </a:lnTo>
                <a:lnTo>
                  <a:pt x="6390" y="10858"/>
                </a:lnTo>
                <a:lnTo>
                  <a:pt x="6385" y="10844"/>
                </a:lnTo>
                <a:lnTo>
                  <a:pt x="6381" y="10829"/>
                </a:lnTo>
                <a:lnTo>
                  <a:pt x="6376" y="10814"/>
                </a:lnTo>
                <a:lnTo>
                  <a:pt x="6374" y="10798"/>
                </a:lnTo>
                <a:lnTo>
                  <a:pt x="6372" y="10783"/>
                </a:lnTo>
                <a:lnTo>
                  <a:pt x="6371" y="10767"/>
                </a:lnTo>
                <a:lnTo>
                  <a:pt x="6370" y="10751"/>
                </a:lnTo>
                <a:lnTo>
                  <a:pt x="6371" y="10735"/>
                </a:lnTo>
                <a:lnTo>
                  <a:pt x="6372" y="10719"/>
                </a:lnTo>
                <a:lnTo>
                  <a:pt x="6374" y="10703"/>
                </a:lnTo>
                <a:lnTo>
                  <a:pt x="6376" y="10688"/>
                </a:lnTo>
                <a:lnTo>
                  <a:pt x="6381" y="10673"/>
                </a:lnTo>
                <a:lnTo>
                  <a:pt x="6385" y="10658"/>
                </a:lnTo>
                <a:lnTo>
                  <a:pt x="6390" y="10644"/>
                </a:lnTo>
                <a:lnTo>
                  <a:pt x="6395" y="10629"/>
                </a:lnTo>
                <a:lnTo>
                  <a:pt x="6401" y="10616"/>
                </a:lnTo>
                <a:lnTo>
                  <a:pt x="6408" y="10603"/>
                </a:lnTo>
                <a:lnTo>
                  <a:pt x="6416" y="10589"/>
                </a:lnTo>
                <a:lnTo>
                  <a:pt x="6424" y="10577"/>
                </a:lnTo>
                <a:lnTo>
                  <a:pt x="6433" y="10564"/>
                </a:lnTo>
                <a:lnTo>
                  <a:pt x="6442" y="10552"/>
                </a:lnTo>
                <a:lnTo>
                  <a:pt x="6452" y="10541"/>
                </a:lnTo>
                <a:lnTo>
                  <a:pt x="6462" y="10530"/>
                </a:lnTo>
                <a:lnTo>
                  <a:pt x="6473" y="10520"/>
                </a:lnTo>
                <a:lnTo>
                  <a:pt x="6485" y="10510"/>
                </a:lnTo>
                <a:lnTo>
                  <a:pt x="6496" y="10501"/>
                </a:lnTo>
                <a:lnTo>
                  <a:pt x="6508" y="10492"/>
                </a:lnTo>
                <a:lnTo>
                  <a:pt x="6521" y="10484"/>
                </a:lnTo>
                <a:lnTo>
                  <a:pt x="6534" y="10477"/>
                </a:lnTo>
                <a:lnTo>
                  <a:pt x="6548" y="10470"/>
                </a:lnTo>
                <a:lnTo>
                  <a:pt x="6562" y="10464"/>
                </a:lnTo>
                <a:lnTo>
                  <a:pt x="6575" y="10457"/>
                </a:lnTo>
                <a:lnTo>
                  <a:pt x="6590" y="10453"/>
                </a:lnTo>
                <a:lnTo>
                  <a:pt x="6605" y="10449"/>
                </a:lnTo>
                <a:lnTo>
                  <a:pt x="6620" y="10445"/>
                </a:lnTo>
                <a:lnTo>
                  <a:pt x="6635" y="10442"/>
                </a:lnTo>
                <a:lnTo>
                  <a:pt x="6651" y="10440"/>
                </a:lnTo>
                <a:lnTo>
                  <a:pt x="6667" y="10439"/>
                </a:lnTo>
                <a:lnTo>
                  <a:pt x="6683" y="10439"/>
                </a:lnTo>
                <a:close/>
                <a:moveTo>
                  <a:pt x="6683" y="7927"/>
                </a:moveTo>
                <a:lnTo>
                  <a:pt x="6699" y="7927"/>
                </a:lnTo>
                <a:lnTo>
                  <a:pt x="6715" y="7928"/>
                </a:lnTo>
                <a:lnTo>
                  <a:pt x="6730" y="7930"/>
                </a:lnTo>
                <a:lnTo>
                  <a:pt x="6746" y="7933"/>
                </a:lnTo>
                <a:lnTo>
                  <a:pt x="6761" y="7936"/>
                </a:lnTo>
                <a:lnTo>
                  <a:pt x="6776" y="7941"/>
                </a:lnTo>
                <a:lnTo>
                  <a:pt x="6790" y="7945"/>
                </a:lnTo>
                <a:lnTo>
                  <a:pt x="6804" y="7952"/>
                </a:lnTo>
                <a:lnTo>
                  <a:pt x="6819" y="7958"/>
                </a:lnTo>
                <a:lnTo>
                  <a:pt x="6832" y="7965"/>
                </a:lnTo>
                <a:lnTo>
                  <a:pt x="6845" y="7972"/>
                </a:lnTo>
                <a:lnTo>
                  <a:pt x="6858" y="7981"/>
                </a:lnTo>
                <a:lnTo>
                  <a:pt x="6869" y="7989"/>
                </a:lnTo>
                <a:lnTo>
                  <a:pt x="6882" y="7998"/>
                </a:lnTo>
                <a:lnTo>
                  <a:pt x="6893" y="8008"/>
                </a:lnTo>
                <a:lnTo>
                  <a:pt x="6905" y="8019"/>
                </a:lnTo>
                <a:lnTo>
                  <a:pt x="6915" y="8029"/>
                </a:lnTo>
                <a:lnTo>
                  <a:pt x="6924" y="8040"/>
                </a:lnTo>
                <a:lnTo>
                  <a:pt x="6933" y="8053"/>
                </a:lnTo>
                <a:lnTo>
                  <a:pt x="6943" y="8065"/>
                </a:lnTo>
                <a:lnTo>
                  <a:pt x="6950" y="8077"/>
                </a:lnTo>
                <a:lnTo>
                  <a:pt x="6958" y="8091"/>
                </a:lnTo>
                <a:lnTo>
                  <a:pt x="6964" y="8104"/>
                </a:lnTo>
                <a:lnTo>
                  <a:pt x="6972" y="8117"/>
                </a:lnTo>
                <a:lnTo>
                  <a:pt x="6977" y="8132"/>
                </a:lnTo>
                <a:lnTo>
                  <a:pt x="6982" y="8146"/>
                </a:lnTo>
                <a:lnTo>
                  <a:pt x="6986" y="8161"/>
                </a:lnTo>
                <a:lnTo>
                  <a:pt x="6989" y="8176"/>
                </a:lnTo>
                <a:lnTo>
                  <a:pt x="6992" y="8192"/>
                </a:lnTo>
                <a:lnTo>
                  <a:pt x="6994" y="8207"/>
                </a:lnTo>
                <a:lnTo>
                  <a:pt x="6995" y="8223"/>
                </a:lnTo>
                <a:lnTo>
                  <a:pt x="6996" y="8239"/>
                </a:lnTo>
                <a:lnTo>
                  <a:pt x="6995" y="8255"/>
                </a:lnTo>
                <a:lnTo>
                  <a:pt x="6994" y="8271"/>
                </a:lnTo>
                <a:lnTo>
                  <a:pt x="6992" y="8286"/>
                </a:lnTo>
                <a:lnTo>
                  <a:pt x="6989" y="8302"/>
                </a:lnTo>
                <a:lnTo>
                  <a:pt x="6986" y="8317"/>
                </a:lnTo>
                <a:lnTo>
                  <a:pt x="6982" y="8332"/>
                </a:lnTo>
                <a:lnTo>
                  <a:pt x="6977" y="8346"/>
                </a:lnTo>
                <a:lnTo>
                  <a:pt x="6972" y="8361"/>
                </a:lnTo>
                <a:lnTo>
                  <a:pt x="6964" y="8374"/>
                </a:lnTo>
                <a:lnTo>
                  <a:pt x="6958" y="8387"/>
                </a:lnTo>
                <a:lnTo>
                  <a:pt x="6950" y="8401"/>
                </a:lnTo>
                <a:lnTo>
                  <a:pt x="6943" y="8413"/>
                </a:lnTo>
                <a:lnTo>
                  <a:pt x="6933" y="8425"/>
                </a:lnTo>
                <a:lnTo>
                  <a:pt x="6924" y="8438"/>
                </a:lnTo>
                <a:lnTo>
                  <a:pt x="6915" y="8449"/>
                </a:lnTo>
                <a:lnTo>
                  <a:pt x="6905" y="8459"/>
                </a:lnTo>
                <a:lnTo>
                  <a:pt x="6893" y="8470"/>
                </a:lnTo>
                <a:lnTo>
                  <a:pt x="6882" y="8480"/>
                </a:lnTo>
                <a:lnTo>
                  <a:pt x="6869" y="8489"/>
                </a:lnTo>
                <a:lnTo>
                  <a:pt x="6858" y="8497"/>
                </a:lnTo>
                <a:lnTo>
                  <a:pt x="6845" y="8506"/>
                </a:lnTo>
                <a:lnTo>
                  <a:pt x="6832" y="8514"/>
                </a:lnTo>
                <a:lnTo>
                  <a:pt x="6819" y="8520"/>
                </a:lnTo>
                <a:lnTo>
                  <a:pt x="6804" y="8526"/>
                </a:lnTo>
                <a:lnTo>
                  <a:pt x="6790" y="8533"/>
                </a:lnTo>
                <a:lnTo>
                  <a:pt x="6776" y="8538"/>
                </a:lnTo>
                <a:lnTo>
                  <a:pt x="6761" y="8542"/>
                </a:lnTo>
                <a:lnTo>
                  <a:pt x="6746" y="8545"/>
                </a:lnTo>
                <a:lnTo>
                  <a:pt x="6730" y="8548"/>
                </a:lnTo>
                <a:lnTo>
                  <a:pt x="6715" y="8550"/>
                </a:lnTo>
                <a:lnTo>
                  <a:pt x="6699" y="8551"/>
                </a:lnTo>
                <a:lnTo>
                  <a:pt x="6683" y="8551"/>
                </a:lnTo>
                <a:lnTo>
                  <a:pt x="6667" y="8551"/>
                </a:lnTo>
                <a:lnTo>
                  <a:pt x="6651" y="8550"/>
                </a:lnTo>
                <a:lnTo>
                  <a:pt x="6635" y="8548"/>
                </a:lnTo>
                <a:lnTo>
                  <a:pt x="6620" y="8545"/>
                </a:lnTo>
                <a:lnTo>
                  <a:pt x="6605" y="8542"/>
                </a:lnTo>
                <a:lnTo>
                  <a:pt x="6590" y="8538"/>
                </a:lnTo>
                <a:lnTo>
                  <a:pt x="6575" y="8533"/>
                </a:lnTo>
                <a:lnTo>
                  <a:pt x="6562" y="8526"/>
                </a:lnTo>
                <a:lnTo>
                  <a:pt x="6548" y="8520"/>
                </a:lnTo>
                <a:lnTo>
                  <a:pt x="6534" y="8514"/>
                </a:lnTo>
                <a:lnTo>
                  <a:pt x="6521" y="8506"/>
                </a:lnTo>
                <a:lnTo>
                  <a:pt x="6508" y="8497"/>
                </a:lnTo>
                <a:lnTo>
                  <a:pt x="6496" y="8489"/>
                </a:lnTo>
                <a:lnTo>
                  <a:pt x="6485" y="8480"/>
                </a:lnTo>
                <a:lnTo>
                  <a:pt x="6473" y="8470"/>
                </a:lnTo>
                <a:lnTo>
                  <a:pt x="6462" y="8459"/>
                </a:lnTo>
                <a:lnTo>
                  <a:pt x="6452" y="8449"/>
                </a:lnTo>
                <a:lnTo>
                  <a:pt x="6442" y="8438"/>
                </a:lnTo>
                <a:lnTo>
                  <a:pt x="6433" y="8425"/>
                </a:lnTo>
                <a:lnTo>
                  <a:pt x="6424" y="8413"/>
                </a:lnTo>
                <a:lnTo>
                  <a:pt x="6416" y="8401"/>
                </a:lnTo>
                <a:lnTo>
                  <a:pt x="6408" y="8387"/>
                </a:lnTo>
                <a:lnTo>
                  <a:pt x="6401" y="8374"/>
                </a:lnTo>
                <a:lnTo>
                  <a:pt x="6395" y="8361"/>
                </a:lnTo>
                <a:lnTo>
                  <a:pt x="6390" y="8346"/>
                </a:lnTo>
                <a:lnTo>
                  <a:pt x="6385" y="8332"/>
                </a:lnTo>
                <a:lnTo>
                  <a:pt x="6381" y="8317"/>
                </a:lnTo>
                <a:lnTo>
                  <a:pt x="6376" y="8302"/>
                </a:lnTo>
                <a:lnTo>
                  <a:pt x="6374" y="8286"/>
                </a:lnTo>
                <a:lnTo>
                  <a:pt x="6372" y="8271"/>
                </a:lnTo>
                <a:lnTo>
                  <a:pt x="6371" y="8255"/>
                </a:lnTo>
                <a:lnTo>
                  <a:pt x="6370" y="8239"/>
                </a:lnTo>
                <a:lnTo>
                  <a:pt x="6371" y="8223"/>
                </a:lnTo>
                <a:lnTo>
                  <a:pt x="6372" y="8207"/>
                </a:lnTo>
                <a:lnTo>
                  <a:pt x="6374" y="8192"/>
                </a:lnTo>
                <a:lnTo>
                  <a:pt x="6376" y="8176"/>
                </a:lnTo>
                <a:lnTo>
                  <a:pt x="6381" y="8161"/>
                </a:lnTo>
                <a:lnTo>
                  <a:pt x="6385" y="8146"/>
                </a:lnTo>
                <a:lnTo>
                  <a:pt x="6390" y="8132"/>
                </a:lnTo>
                <a:lnTo>
                  <a:pt x="6395" y="8117"/>
                </a:lnTo>
                <a:lnTo>
                  <a:pt x="6401" y="8104"/>
                </a:lnTo>
                <a:lnTo>
                  <a:pt x="6408" y="8091"/>
                </a:lnTo>
                <a:lnTo>
                  <a:pt x="6416" y="8077"/>
                </a:lnTo>
                <a:lnTo>
                  <a:pt x="6424" y="8065"/>
                </a:lnTo>
                <a:lnTo>
                  <a:pt x="6433" y="8053"/>
                </a:lnTo>
                <a:lnTo>
                  <a:pt x="6442" y="8040"/>
                </a:lnTo>
                <a:lnTo>
                  <a:pt x="6452" y="8029"/>
                </a:lnTo>
                <a:lnTo>
                  <a:pt x="6462" y="8019"/>
                </a:lnTo>
                <a:lnTo>
                  <a:pt x="6473" y="8008"/>
                </a:lnTo>
                <a:lnTo>
                  <a:pt x="6485" y="7998"/>
                </a:lnTo>
                <a:lnTo>
                  <a:pt x="6496" y="7989"/>
                </a:lnTo>
                <a:lnTo>
                  <a:pt x="6508" y="7981"/>
                </a:lnTo>
                <a:lnTo>
                  <a:pt x="6521" y="7972"/>
                </a:lnTo>
                <a:lnTo>
                  <a:pt x="6534" y="7965"/>
                </a:lnTo>
                <a:lnTo>
                  <a:pt x="6548" y="7958"/>
                </a:lnTo>
                <a:lnTo>
                  <a:pt x="6562" y="7952"/>
                </a:lnTo>
                <a:lnTo>
                  <a:pt x="6575" y="7945"/>
                </a:lnTo>
                <a:lnTo>
                  <a:pt x="6590" y="7941"/>
                </a:lnTo>
                <a:lnTo>
                  <a:pt x="6605" y="7936"/>
                </a:lnTo>
                <a:lnTo>
                  <a:pt x="6620" y="7933"/>
                </a:lnTo>
                <a:lnTo>
                  <a:pt x="6635" y="7930"/>
                </a:lnTo>
                <a:lnTo>
                  <a:pt x="6651" y="7928"/>
                </a:lnTo>
                <a:lnTo>
                  <a:pt x="6667" y="7927"/>
                </a:lnTo>
                <a:lnTo>
                  <a:pt x="6683" y="7927"/>
                </a:lnTo>
                <a:close/>
                <a:moveTo>
                  <a:pt x="6683" y="5415"/>
                </a:moveTo>
                <a:lnTo>
                  <a:pt x="6699" y="5415"/>
                </a:lnTo>
                <a:lnTo>
                  <a:pt x="6715" y="5416"/>
                </a:lnTo>
                <a:lnTo>
                  <a:pt x="6730" y="5418"/>
                </a:lnTo>
                <a:lnTo>
                  <a:pt x="6746" y="5421"/>
                </a:lnTo>
                <a:lnTo>
                  <a:pt x="6761" y="5424"/>
                </a:lnTo>
                <a:lnTo>
                  <a:pt x="6776" y="5430"/>
                </a:lnTo>
                <a:lnTo>
                  <a:pt x="6790" y="5434"/>
                </a:lnTo>
                <a:lnTo>
                  <a:pt x="6804" y="5440"/>
                </a:lnTo>
                <a:lnTo>
                  <a:pt x="6819" y="5446"/>
                </a:lnTo>
                <a:lnTo>
                  <a:pt x="6832" y="5453"/>
                </a:lnTo>
                <a:lnTo>
                  <a:pt x="6845" y="5460"/>
                </a:lnTo>
                <a:lnTo>
                  <a:pt x="6858" y="5469"/>
                </a:lnTo>
                <a:lnTo>
                  <a:pt x="6869" y="5477"/>
                </a:lnTo>
                <a:lnTo>
                  <a:pt x="6882" y="5486"/>
                </a:lnTo>
                <a:lnTo>
                  <a:pt x="6893" y="5496"/>
                </a:lnTo>
                <a:lnTo>
                  <a:pt x="6905" y="5507"/>
                </a:lnTo>
                <a:lnTo>
                  <a:pt x="6915" y="5517"/>
                </a:lnTo>
                <a:lnTo>
                  <a:pt x="6924" y="5528"/>
                </a:lnTo>
                <a:lnTo>
                  <a:pt x="6933" y="5541"/>
                </a:lnTo>
                <a:lnTo>
                  <a:pt x="6943" y="5553"/>
                </a:lnTo>
                <a:lnTo>
                  <a:pt x="6950" y="5565"/>
                </a:lnTo>
                <a:lnTo>
                  <a:pt x="6958" y="5579"/>
                </a:lnTo>
                <a:lnTo>
                  <a:pt x="6964" y="5592"/>
                </a:lnTo>
                <a:lnTo>
                  <a:pt x="6972" y="5606"/>
                </a:lnTo>
                <a:lnTo>
                  <a:pt x="6977" y="5620"/>
                </a:lnTo>
                <a:lnTo>
                  <a:pt x="6982" y="5634"/>
                </a:lnTo>
                <a:lnTo>
                  <a:pt x="6986" y="5649"/>
                </a:lnTo>
                <a:lnTo>
                  <a:pt x="6989" y="5664"/>
                </a:lnTo>
                <a:lnTo>
                  <a:pt x="6992" y="5680"/>
                </a:lnTo>
                <a:lnTo>
                  <a:pt x="6994" y="5695"/>
                </a:lnTo>
                <a:lnTo>
                  <a:pt x="6995" y="5711"/>
                </a:lnTo>
                <a:lnTo>
                  <a:pt x="6996" y="5727"/>
                </a:lnTo>
                <a:lnTo>
                  <a:pt x="6995" y="5744"/>
                </a:lnTo>
                <a:lnTo>
                  <a:pt x="6994" y="5759"/>
                </a:lnTo>
                <a:lnTo>
                  <a:pt x="6992" y="5775"/>
                </a:lnTo>
                <a:lnTo>
                  <a:pt x="6989" y="5790"/>
                </a:lnTo>
                <a:lnTo>
                  <a:pt x="6986" y="5805"/>
                </a:lnTo>
                <a:lnTo>
                  <a:pt x="6982" y="5820"/>
                </a:lnTo>
                <a:lnTo>
                  <a:pt x="6977" y="5834"/>
                </a:lnTo>
                <a:lnTo>
                  <a:pt x="6972" y="5849"/>
                </a:lnTo>
                <a:lnTo>
                  <a:pt x="6964" y="5862"/>
                </a:lnTo>
                <a:lnTo>
                  <a:pt x="6958" y="5875"/>
                </a:lnTo>
                <a:lnTo>
                  <a:pt x="6950" y="5889"/>
                </a:lnTo>
                <a:lnTo>
                  <a:pt x="6943" y="5901"/>
                </a:lnTo>
                <a:lnTo>
                  <a:pt x="6933" y="5914"/>
                </a:lnTo>
                <a:lnTo>
                  <a:pt x="6924" y="5926"/>
                </a:lnTo>
                <a:lnTo>
                  <a:pt x="6915" y="5937"/>
                </a:lnTo>
                <a:lnTo>
                  <a:pt x="6905" y="5948"/>
                </a:lnTo>
                <a:lnTo>
                  <a:pt x="6893" y="5958"/>
                </a:lnTo>
                <a:lnTo>
                  <a:pt x="6882" y="5968"/>
                </a:lnTo>
                <a:lnTo>
                  <a:pt x="6869" y="5977"/>
                </a:lnTo>
                <a:lnTo>
                  <a:pt x="6858" y="5986"/>
                </a:lnTo>
                <a:lnTo>
                  <a:pt x="6845" y="5994"/>
                </a:lnTo>
                <a:lnTo>
                  <a:pt x="6832" y="6001"/>
                </a:lnTo>
                <a:lnTo>
                  <a:pt x="6819" y="6008"/>
                </a:lnTo>
                <a:lnTo>
                  <a:pt x="6804" y="6014"/>
                </a:lnTo>
                <a:lnTo>
                  <a:pt x="6790" y="6021"/>
                </a:lnTo>
                <a:lnTo>
                  <a:pt x="6776" y="6025"/>
                </a:lnTo>
                <a:lnTo>
                  <a:pt x="6761" y="6030"/>
                </a:lnTo>
                <a:lnTo>
                  <a:pt x="6746" y="6033"/>
                </a:lnTo>
                <a:lnTo>
                  <a:pt x="6730" y="6036"/>
                </a:lnTo>
                <a:lnTo>
                  <a:pt x="6715" y="6038"/>
                </a:lnTo>
                <a:lnTo>
                  <a:pt x="6699" y="6039"/>
                </a:lnTo>
                <a:lnTo>
                  <a:pt x="6683" y="6039"/>
                </a:lnTo>
                <a:lnTo>
                  <a:pt x="6667" y="6039"/>
                </a:lnTo>
                <a:lnTo>
                  <a:pt x="6651" y="6038"/>
                </a:lnTo>
                <a:lnTo>
                  <a:pt x="6635" y="6036"/>
                </a:lnTo>
                <a:lnTo>
                  <a:pt x="6620" y="6033"/>
                </a:lnTo>
                <a:lnTo>
                  <a:pt x="6605" y="6030"/>
                </a:lnTo>
                <a:lnTo>
                  <a:pt x="6590" y="6025"/>
                </a:lnTo>
                <a:lnTo>
                  <a:pt x="6575" y="6021"/>
                </a:lnTo>
                <a:lnTo>
                  <a:pt x="6562" y="6014"/>
                </a:lnTo>
                <a:lnTo>
                  <a:pt x="6548" y="6008"/>
                </a:lnTo>
                <a:lnTo>
                  <a:pt x="6534" y="6001"/>
                </a:lnTo>
                <a:lnTo>
                  <a:pt x="6521" y="5994"/>
                </a:lnTo>
                <a:lnTo>
                  <a:pt x="6508" y="5986"/>
                </a:lnTo>
                <a:lnTo>
                  <a:pt x="6496" y="5977"/>
                </a:lnTo>
                <a:lnTo>
                  <a:pt x="6485" y="5968"/>
                </a:lnTo>
                <a:lnTo>
                  <a:pt x="6473" y="5958"/>
                </a:lnTo>
                <a:lnTo>
                  <a:pt x="6462" y="5948"/>
                </a:lnTo>
                <a:lnTo>
                  <a:pt x="6452" y="5937"/>
                </a:lnTo>
                <a:lnTo>
                  <a:pt x="6442" y="5926"/>
                </a:lnTo>
                <a:lnTo>
                  <a:pt x="6433" y="5914"/>
                </a:lnTo>
                <a:lnTo>
                  <a:pt x="6424" y="5901"/>
                </a:lnTo>
                <a:lnTo>
                  <a:pt x="6416" y="5889"/>
                </a:lnTo>
                <a:lnTo>
                  <a:pt x="6408" y="5875"/>
                </a:lnTo>
                <a:lnTo>
                  <a:pt x="6401" y="5862"/>
                </a:lnTo>
                <a:lnTo>
                  <a:pt x="6395" y="5849"/>
                </a:lnTo>
                <a:lnTo>
                  <a:pt x="6390" y="5834"/>
                </a:lnTo>
                <a:lnTo>
                  <a:pt x="6385" y="5820"/>
                </a:lnTo>
                <a:lnTo>
                  <a:pt x="6381" y="5805"/>
                </a:lnTo>
                <a:lnTo>
                  <a:pt x="6376" y="5790"/>
                </a:lnTo>
                <a:lnTo>
                  <a:pt x="6374" y="5775"/>
                </a:lnTo>
                <a:lnTo>
                  <a:pt x="6372" y="5759"/>
                </a:lnTo>
                <a:lnTo>
                  <a:pt x="6371" y="5744"/>
                </a:lnTo>
                <a:lnTo>
                  <a:pt x="6370" y="5727"/>
                </a:lnTo>
                <a:lnTo>
                  <a:pt x="6371" y="5711"/>
                </a:lnTo>
                <a:lnTo>
                  <a:pt x="6372" y="5695"/>
                </a:lnTo>
                <a:lnTo>
                  <a:pt x="6374" y="5680"/>
                </a:lnTo>
                <a:lnTo>
                  <a:pt x="6376" y="5664"/>
                </a:lnTo>
                <a:lnTo>
                  <a:pt x="6381" y="5649"/>
                </a:lnTo>
                <a:lnTo>
                  <a:pt x="6385" y="5634"/>
                </a:lnTo>
                <a:lnTo>
                  <a:pt x="6390" y="5620"/>
                </a:lnTo>
                <a:lnTo>
                  <a:pt x="6395" y="5606"/>
                </a:lnTo>
                <a:lnTo>
                  <a:pt x="6401" y="5592"/>
                </a:lnTo>
                <a:lnTo>
                  <a:pt x="6408" y="5579"/>
                </a:lnTo>
                <a:lnTo>
                  <a:pt x="6416" y="5565"/>
                </a:lnTo>
                <a:lnTo>
                  <a:pt x="6424" y="5553"/>
                </a:lnTo>
                <a:lnTo>
                  <a:pt x="6433" y="5541"/>
                </a:lnTo>
                <a:lnTo>
                  <a:pt x="6442" y="5528"/>
                </a:lnTo>
                <a:lnTo>
                  <a:pt x="6452" y="5517"/>
                </a:lnTo>
                <a:lnTo>
                  <a:pt x="6462" y="5507"/>
                </a:lnTo>
                <a:lnTo>
                  <a:pt x="6473" y="5496"/>
                </a:lnTo>
                <a:lnTo>
                  <a:pt x="6485" y="5486"/>
                </a:lnTo>
                <a:lnTo>
                  <a:pt x="6496" y="5477"/>
                </a:lnTo>
                <a:lnTo>
                  <a:pt x="6508" y="5469"/>
                </a:lnTo>
                <a:lnTo>
                  <a:pt x="6521" y="5460"/>
                </a:lnTo>
                <a:lnTo>
                  <a:pt x="6534" y="5453"/>
                </a:lnTo>
                <a:lnTo>
                  <a:pt x="6548" y="5446"/>
                </a:lnTo>
                <a:lnTo>
                  <a:pt x="6562" y="5440"/>
                </a:lnTo>
                <a:lnTo>
                  <a:pt x="6575" y="5434"/>
                </a:lnTo>
                <a:lnTo>
                  <a:pt x="6590" y="5430"/>
                </a:lnTo>
                <a:lnTo>
                  <a:pt x="6605" y="5424"/>
                </a:lnTo>
                <a:lnTo>
                  <a:pt x="6620" y="5421"/>
                </a:lnTo>
                <a:lnTo>
                  <a:pt x="6635" y="5418"/>
                </a:lnTo>
                <a:lnTo>
                  <a:pt x="6651" y="5416"/>
                </a:lnTo>
                <a:lnTo>
                  <a:pt x="6667" y="5415"/>
                </a:lnTo>
                <a:lnTo>
                  <a:pt x="6683" y="5415"/>
                </a:lnTo>
                <a:close/>
              </a:path>
            </a:pathLst>
          </a:custGeom>
          <a:solidFill>
            <a:srgbClr val="00B0F0"/>
          </a:solidFill>
          <a:ln>
            <a:noFill/>
          </a:ln>
          <a:effectLst/>
        </p:spPr>
        <p:txBody>
          <a:bodyPr vert="horz" wrap="square" lIns="91416" tIns="45708" rIns="91416" bIns="45708" numCol="1" rtlCol="0" anchor="t" anchorCtr="0" compatLnSpc="1">
            <a:prstTxWarp prst="textNoShape">
              <a:avLst/>
            </a:prstTxWarp>
          </a:bodyPr>
          <a:lstStyle/>
          <a:p>
            <a:pPr fontAlgn="ctr">
              <a:buClr>
                <a:srgbClr val="CC9900"/>
              </a:buClr>
              <a:buFont typeface="Wingdings" pitchFamily="2" charset="2"/>
              <a:buChar char="n"/>
            </a:pPr>
            <a:endParaRPr lang="en-US" altLang="zh-CN" sz="1799" dirty="0">
              <a:solidFill>
                <a:schemeClr val="bg1"/>
              </a:solidFill>
            </a:endParaRPr>
          </a:p>
        </p:txBody>
      </p:sp>
      <p:sp>
        <p:nvSpPr>
          <p:cNvPr id="210" name="311430852"/>
          <p:cNvSpPr txBox="1"/>
          <p:nvPr/>
        </p:nvSpPr>
        <p:spPr>
          <a:xfrm>
            <a:off x="3451182" y="2274635"/>
            <a:ext cx="946441" cy="369204"/>
          </a:xfrm>
          <a:prstGeom prst="rect">
            <a:avLst/>
          </a:prstGeom>
          <a:noFill/>
          <a:ln>
            <a:noFill/>
          </a:ln>
        </p:spPr>
        <p:txBody>
          <a:bodyPr wrap="square" rtlCol="0">
            <a:spAutoFit/>
          </a:bodyPr>
          <a:lstStyle/>
          <a:p>
            <a:pPr fontAlgn="ctr"/>
            <a:endParaRPr lang="en-US" altLang="zh-CN" sz="1799" dirty="0">
              <a:solidFill>
                <a:schemeClr val="bg1"/>
              </a:solidFill>
            </a:endParaRPr>
          </a:p>
        </p:txBody>
      </p:sp>
      <p:sp>
        <p:nvSpPr>
          <p:cNvPr id="211" name="矩形 370"/>
          <p:cNvSpPr>
            <a:spLocks noChangeArrowheads="1"/>
          </p:cNvSpPr>
          <p:nvPr/>
        </p:nvSpPr>
        <p:spPr bwMode="auto">
          <a:xfrm>
            <a:off x="3265254" y="2080185"/>
            <a:ext cx="1545687" cy="32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FrutigerNext LT BlackCn" panose="020B0A06040504020204" pitchFamily="34" charset="0"/>
                <a:ea typeface="ＭＳ Ｐゴシック" panose="020B0600070205080204" pitchFamily="34" charset="-128"/>
              </a:defRPr>
            </a:lvl1pPr>
            <a:lvl2pPr marL="742950" indent="-285750">
              <a:defRPr sz="2500">
                <a:solidFill>
                  <a:schemeClr val="tx1"/>
                </a:solidFill>
                <a:latin typeface="FrutigerNext LT BlackCn" panose="020B0A06040504020204" pitchFamily="34" charset="0"/>
                <a:ea typeface="ＭＳ Ｐゴシック" panose="020B0600070205080204" pitchFamily="34" charset="-128"/>
              </a:defRPr>
            </a:lvl2pPr>
            <a:lvl3pPr marL="1143000" indent="-228600">
              <a:defRPr sz="2500">
                <a:solidFill>
                  <a:schemeClr val="tx1"/>
                </a:solidFill>
                <a:latin typeface="FrutigerNext LT BlackCn" panose="020B0A06040504020204" pitchFamily="34" charset="0"/>
                <a:ea typeface="ＭＳ Ｐゴシック" panose="020B0600070205080204" pitchFamily="34" charset="-128"/>
              </a:defRPr>
            </a:lvl3pPr>
            <a:lvl4pPr marL="1600200" indent="-228600">
              <a:defRPr sz="2500">
                <a:solidFill>
                  <a:schemeClr val="tx1"/>
                </a:solidFill>
                <a:latin typeface="FrutigerNext LT BlackCn" panose="020B0A06040504020204" pitchFamily="34" charset="0"/>
                <a:ea typeface="ＭＳ Ｐゴシック" panose="020B0600070205080204" pitchFamily="34" charset="-128"/>
              </a:defRPr>
            </a:lvl4pPr>
            <a:lvl5pPr marL="2057400" indent="-228600">
              <a:defRPr sz="2500">
                <a:solidFill>
                  <a:schemeClr val="tx1"/>
                </a:solidFill>
                <a:latin typeface="FrutigerNext LT BlackCn" panose="020B0A06040504020204" pitchFamily="34" charset="0"/>
                <a:ea typeface="ＭＳ Ｐゴシック" panose="020B0600070205080204" pitchFamily="34" charset="-128"/>
              </a:defRPr>
            </a:lvl5pPr>
            <a:lvl6pPr marL="2514600" indent="-228600" eaLnBrk="0" fontAlgn="base" hangingPunct="0">
              <a:spcBef>
                <a:spcPct val="0"/>
              </a:spcBef>
              <a:spcAft>
                <a:spcPct val="0"/>
              </a:spcAft>
              <a:defRPr sz="2500">
                <a:solidFill>
                  <a:schemeClr val="tx1"/>
                </a:solidFill>
                <a:latin typeface="FrutigerNext LT BlackCn" panose="020B0A06040504020204" pitchFamily="34" charset="0"/>
                <a:ea typeface="ＭＳ Ｐゴシック" panose="020B0600070205080204" pitchFamily="34" charset="-128"/>
              </a:defRPr>
            </a:lvl6pPr>
            <a:lvl7pPr marL="2971800" indent="-228600" eaLnBrk="0" fontAlgn="base" hangingPunct="0">
              <a:spcBef>
                <a:spcPct val="0"/>
              </a:spcBef>
              <a:spcAft>
                <a:spcPct val="0"/>
              </a:spcAft>
              <a:defRPr sz="2500">
                <a:solidFill>
                  <a:schemeClr val="tx1"/>
                </a:solidFill>
                <a:latin typeface="FrutigerNext LT BlackCn" panose="020B0A06040504020204" pitchFamily="34" charset="0"/>
                <a:ea typeface="ＭＳ Ｐゴシック" panose="020B0600070205080204" pitchFamily="34" charset="-128"/>
              </a:defRPr>
            </a:lvl7pPr>
            <a:lvl8pPr marL="3429000" indent="-228600" eaLnBrk="0" fontAlgn="base" hangingPunct="0">
              <a:spcBef>
                <a:spcPct val="0"/>
              </a:spcBef>
              <a:spcAft>
                <a:spcPct val="0"/>
              </a:spcAft>
              <a:defRPr sz="2500">
                <a:solidFill>
                  <a:schemeClr val="tx1"/>
                </a:solidFill>
                <a:latin typeface="FrutigerNext LT BlackCn" panose="020B0A06040504020204" pitchFamily="34" charset="0"/>
                <a:ea typeface="ＭＳ Ｐゴシック" panose="020B0600070205080204" pitchFamily="34" charset="-128"/>
              </a:defRPr>
            </a:lvl8pPr>
            <a:lvl9pPr marL="3886200" indent="-228600" eaLnBrk="0" fontAlgn="base" hangingPunct="0">
              <a:spcBef>
                <a:spcPct val="0"/>
              </a:spcBef>
              <a:spcAft>
                <a:spcPct val="0"/>
              </a:spcAft>
              <a:defRPr sz="2500">
                <a:solidFill>
                  <a:schemeClr val="tx1"/>
                </a:solidFill>
                <a:latin typeface="FrutigerNext LT BlackCn" panose="020B0A06040504020204" pitchFamily="34" charset="0"/>
                <a:ea typeface="ＭＳ Ｐゴシック" panose="020B0600070205080204" pitchFamily="34" charset="-128"/>
              </a:defRPr>
            </a:lvl9pPr>
          </a:lstStyle>
          <a:p>
            <a:pPr algn="ctr" eaLnBrk="1" fontAlgn="ctr" hangingPunct="1">
              <a:buClr>
                <a:srgbClr val="CC9900"/>
              </a:buClr>
            </a:pPr>
            <a:r>
              <a:rPr lang="en-US" altLang="zh-CN" sz="1200" dirty="0" err="1">
                <a:solidFill>
                  <a:schemeClr val="bg1"/>
                </a:solidFill>
                <a:latin typeface="Calibri" panose="020F0502020204030204" pitchFamily="34" charset="0"/>
                <a:ea typeface="+mn-ea"/>
              </a:rPr>
              <a:t>Plataforma</a:t>
            </a:r>
            <a:r>
              <a:rPr lang="en-US" altLang="zh-CN" sz="1200" dirty="0">
                <a:solidFill>
                  <a:schemeClr val="bg1"/>
                </a:solidFill>
                <a:latin typeface="Calibri" panose="020F0502020204030204" pitchFamily="34" charset="0"/>
                <a:ea typeface="+mn-ea"/>
              </a:rPr>
              <a:t> de </a:t>
            </a:r>
            <a:r>
              <a:rPr lang="en-US" altLang="zh-CN" sz="1200" dirty="0" err="1">
                <a:solidFill>
                  <a:schemeClr val="bg1"/>
                </a:solidFill>
                <a:latin typeface="Calibri" panose="020F0502020204030204" pitchFamily="34" charset="0"/>
                <a:ea typeface="+mn-ea"/>
              </a:rPr>
              <a:t>Enseñanza</a:t>
            </a:r>
            <a:r>
              <a:rPr lang="en-US" altLang="zh-CN" sz="1200" dirty="0">
                <a:solidFill>
                  <a:schemeClr val="bg1"/>
                </a:solidFill>
                <a:latin typeface="Calibri" panose="020F0502020204030204" pitchFamily="34" charset="0"/>
                <a:ea typeface="+mn-ea"/>
              </a:rPr>
              <a:t> </a:t>
            </a:r>
            <a:r>
              <a:rPr lang="en-US" altLang="zh-CN" sz="1200" dirty="0" err="1">
                <a:solidFill>
                  <a:schemeClr val="bg1"/>
                </a:solidFill>
                <a:latin typeface="Calibri" panose="020F0502020204030204" pitchFamily="34" charset="0"/>
                <a:ea typeface="+mn-ea"/>
              </a:rPr>
              <a:t>Remota</a:t>
            </a:r>
            <a:endParaRPr lang="en-US" altLang="zh-CN" sz="1200" dirty="0">
              <a:solidFill>
                <a:schemeClr val="bg1"/>
              </a:solidFill>
              <a:latin typeface="Calibri" panose="020F0502020204030204" pitchFamily="34" charset="0"/>
              <a:ea typeface="+mn-ea"/>
            </a:endParaRPr>
          </a:p>
        </p:txBody>
      </p:sp>
      <p:sp>
        <p:nvSpPr>
          <p:cNvPr id="212" name="1871246210"/>
          <p:cNvSpPr txBox="1">
            <a:spLocks noChangeArrowheads="1"/>
          </p:cNvSpPr>
          <p:nvPr/>
        </p:nvSpPr>
        <p:spPr bwMode="auto">
          <a:xfrm>
            <a:off x="3284688" y="2940049"/>
            <a:ext cx="694400" cy="91975"/>
          </a:xfrm>
          <a:prstGeom prst="rect">
            <a:avLst/>
          </a:prstGeom>
          <a:noFill/>
          <a:ln w="9525">
            <a:noFill/>
            <a:miter lim="800000"/>
            <a:headEnd/>
            <a:tailEnd/>
          </a:ln>
        </p:spPr>
        <p:txBody>
          <a:bodyPr lIns="0" tIns="0" rIns="0" bIns="0"/>
          <a:lstStyle/>
          <a:p>
            <a:pPr algn="ctr" defTabSz="834844" fontAlgn="ctr">
              <a:defRPr/>
            </a:pPr>
            <a:r>
              <a:rPr lang="en-US" altLang="zh-CN" sz="1100" kern="0" dirty="0">
                <a:solidFill>
                  <a:schemeClr val="bg1"/>
                </a:solidFill>
                <a:latin typeface="Calibri" panose="020F0502020204030204" pitchFamily="34" charset="0"/>
              </a:rPr>
              <a:t>SMC 2.0</a:t>
            </a:r>
          </a:p>
        </p:txBody>
      </p:sp>
      <p:sp>
        <p:nvSpPr>
          <p:cNvPr id="213" name="74157590"/>
          <p:cNvSpPr txBox="1">
            <a:spLocks noChangeArrowheads="1"/>
          </p:cNvSpPr>
          <p:nvPr/>
        </p:nvSpPr>
        <p:spPr bwMode="auto">
          <a:xfrm>
            <a:off x="3982003" y="2940255"/>
            <a:ext cx="394093" cy="144920"/>
          </a:xfrm>
          <a:prstGeom prst="rect">
            <a:avLst/>
          </a:prstGeom>
          <a:noFill/>
          <a:ln w="9525">
            <a:noFill/>
            <a:miter lim="800000"/>
            <a:headEnd/>
            <a:tailEnd/>
          </a:ln>
        </p:spPr>
        <p:txBody>
          <a:bodyPr lIns="0" tIns="0" rIns="0" bIns="0"/>
          <a:lstStyle/>
          <a:p>
            <a:pPr algn="ctr" defTabSz="834844" fontAlgn="ctr">
              <a:defRPr/>
            </a:pPr>
            <a:r>
              <a:rPr lang="en-US" altLang="zh-CN" sz="1100" kern="0" dirty="0">
                <a:solidFill>
                  <a:schemeClr val="bg1"/>
                </a:solidFill>
                <a:latin typeface="Calibri" panose="020F0502020204030204" pitchFamily="34" charset="0"/>
              </a:rPr>
              <a:t>MCU</a:t>
            </a:r>
          </a:p>
        </p:txBody>
      </p:sp>
      <p:sp>
        <p:nvSpPr>
          <p:cNvPr id="214" name="1038901106"/>
          <p:cNvSpPr>
            <a:spLocks noChangeAspect="1" noEditPoints="1"/>
          </p:cNvSpPr>
          <p:nvPr/>
        </p:nvSpPr>
        <p:spPr bwMode="auto">
          <a:xfrm>
            <a:off x="3459414" y="2701127"/>
            <a:ext cx="372431" cy="107972"/>
          </a:xfrm>
          <a:custGeom>
            <a:avLst/>
            <a:gdLst/>
            <a:ahLst/>
            <a:cxnLst>
              <a:cxn ang="0">
                <a:pos x="16441" y="270"/>
              </a:cxn>
              <a:cxn ang="0">
                <a:pos x="15870" y="2835"/>
              </a:cxn>
              <a:cxn ang="0">
                <a:pos x="16008" y="3646"/>
              </a:cxn>
              <a:cxn ang="0">
                <a:pos x="16292" y="4426"/>
              </a:cxn>
              <a:cxn ang="0">
                <a:pos x="14815" y="94"/>
              </a:cxn>
              <a:cxn ang="0">
                <a:pos x="14835" y="4356"/>
              </a:cxn>
              <a:cxn ang="0">
                <a:pos x="1677" y="4417"/>
              </a:cxn>
              <a:cxn ang="0">
                <a:pos x="1576" y="167"/>
              </a:cxn>
              <a:cxn ang="0">
                <a:pos x="3638" y="3191"/>
              </a:cxn>
              <a:cxn ang="0">
                <a:pos x="3781" y="683"/>
              </a:cxn>
              <a:cxn ang="0">
                <a:pos x="3477" y="513"/>
              </a:cxn>
              <a:cxn ang="0">
                <a:pos x="3291" y="2997"/>
              </a:cxn>
              <a:cxn ang="0">
                <a:pos x="3553" y="3968"/>
              </a:cxn>
              <a:cxn ang="0">
                <a:pos x="3801" y="3707"/>
              </a:cxn>
              <a:cxn ang="0">
                <a:pos x="3553" y="3447"/>
              </a:cxn>
              <a:cxn ang="0">
                <a:pos x="3282" y="3680"/>
              </a:cxn>
              <a:cxn ang="0">
                <a:pos x="3501" y="3964"/>
              </a:cxn>
              <a:cxn ang="0">
                <a:pos x="5657" y="3021"/>
              </a:cxn>
              <a:cxn ang="0">
                <a:pos x="5500" y="520"/>
              </a:cxn>
              <a:cxn ang="0">
                <a:pos x="5180" y="659"/>
              </a:cxn>
              <a:cxn ang="0">
                <a:pos x="5293" y="3181"/>
              </a:cxn>
              <a:cxn ang="0">
                <a:pos x="5629" y="3852"/>
              </a:cxn>
              <a:cxn ang="0">
                <a:pos x="5569" y="3498"/>
              </a:cxn>
              <a:cxn ang="0">
                <a:pos x="5212" y="3541"/>
              </a:cxn>
              <a:cxn ang="0">
                <a:pos x="5239" y="3900"/>
              </a:cxn>
              <a:cxn ang="0">
                <a:pos x="7456" y="3146"/>
              </a:cxn>
              <a:cxn ang="0">
                <a:pos x="7489" y="606"/>
              </a:cxn>
              <a:cxn ang="0">
                <a:pos x="7145" y="548"/>
              </a:cxn>
              <a:cxn ang="0">
                <a:pos x="7064" y="3079"/>
              </a:cxn>
              <a:cxn ang="0">
                <a:pos x="7387" y="3947"/>
              </a:cxn>
              <a:cxn ang="0">
                <a:pos x="7531" y="3618"/>
              </a:cxn>
              <a:cxn ang="0">
                <a:pos x="7209" y="3458"/>
              </a:cxn>
              <a:cxn ang="0">
                <a:pos x="7034" y="3772"/>
              </a:cxn>
              <a:cxn ang="0">
                <a:pos x="9197" y="3209"/>
              </a:cxn>
              <a:cxn ang="0">
                <a:pos x="9411" y="744"/>
              </a:cxn>
              <a:cxn ang="0">
                <a:pos x="9159" y="504"/>
              </a:cxn>
              <a:cxn ang="0">
                <a:pos x="8907" y="744"/>
              </a:cxn>
              <a:cxn ang="0">
                <a:pos x="9121" y="3209"/>
              </a:cxn>
              <a:cxn ang="0">
                <a:pos x="9411" y="3772"/>
              </a:cxn>
              <a:cxn ang="0">
                <a:pos x="9236" y="3458"/>
              </a:cxn>
              <a:cxn ang="0">
                <a:pos x="8914" y="3618"/>
              </a:cxn>
              <a:cxn ang="0">
                <a:pos x="9058" y="3947"/>
              </a:cxn>
              <a:cxn ang="0">
                <a:pos x="11254" y="3079"/>
              </a:cxn>
              <a:cxn ang="0">
                <a:pos x="11172" y="548"/>
              </a:cxn>
              <a:cxn ang="0">
                <a:pos x="10830" y="606"/>
              </a:cxn>
              <a:cxn ang="0">
                <a:pos x="10862" y="3146"/>
              </a:cxn>
              <a:cxn ang="0">
                <a:pos x="11206" y="3900"/>
              </a:cxn>
              <a:cxn ang="0">
                <a:pos x="11233" y="3541"/>
              </a:cxn>
              <a:cxn ang="0">
                <a:pos x="10876" y="3498"/>
              </a:cxn>
              <a:cxn ang="0">
                <a:pos x="10816" y="3852"/>
              </a:cxn>
              <a:cxn ang="0">
                <a:pos x="13024" y="3181"/>
              </a:cxn>
              <a:cxn ang="0">
                <a:pos x="13137" y="659"/>
              </a:cxn>
              <a:cxn ang="0">
                <a:pos x="12818" y="520"/>
              </a:cxn>
              <a:cxn ang="0">
                <a:pos x="12661" y="3021"/>
              </a:cxn>
              <a:cxn ang="0">
                <a:pos x="12944" y="3964"/>
              </a:cxn>
              <a:cxn ang="0">
                <a:pos x="13163" y="3680"/>
              </a:cxn>
              <a:cxn ang="0">
                <a:pos x="12892" y="3447"/>
              </a:cxn>
              <a:cxn ang="0">
                <a:pos x="12644" y="3707"/>
              </a:cxn>
              <a:cxn ang="0">
                <a:pos x="12892" y="3968"/>
              </a:cxn>
              <a:cxn ang="0">
                <a:pos x="6" y="254"/>
              </a:cxn>
              <a:cxn ang="0">
                <a:pos x="570" y="2824"/>
              </a:cxn>
              <a:cxn ang="0">
                <a:pos x="447" y="3641"/>
              </a:cxn>
              <a:cxn ang="0">
                <a:pos x="140" y="4417"/>
              </a:cxn>
            </a:cxnLst>
            <a:rect l="0" t="0" r="r" b="b"/>
            <a:pathLst>
              <a:path w="16445" h="4472">
                <a:moveTo>
                  <a:pt x="15250" y="0"/>
                </a:moveTo>
                <a:lnTo>
                  <a:pt x="16127" y="0"/>
                </a:lnTo>
                <a:lnTo>
                  <a:pt x="16144" y="0"/>
                </a:lnTo>
                <a:lnTo>
                  <a:pt x="16160" y="2"/>
                </a:lnTo>
                <a:lnTo>
                  <a:pt x="16176" y="4"/>
                </a:lnTo>
                <a:lnTo>
                  <a:pt x="16191" y="6"/>
                </a:lnTo>
                <a:lnTo>
                  <a:pt x="16207" y="10"/>
                </a:lnTo>
                <a:lnTo>
                  <a:pt x="16222" y="14"/>
                </a:lnTo>
                <a:lnTo>
                  <a:pt x="16236" y="20"/>
                </a:lnTo>
                <a:lnTo>
                  <a:pt x="16251" y="25"/>
                </a:lnTo>
                <a:lnTo>
                  <a:pt x="16265" y="32"/>
                </a:lnTo>
                <a:lnTo>
                  <a:pt x="16278" y="38"/>
                </a:lnTo>
                <a:lnTo>
                  <a:pt x="16292" y="46"/>
                </a:lnTo>
                <a:lnTo>
                  <a:pt x="16305" y="55"/>
                </a:lnTo>
                <a:lnTo>
                  <a:pt x="16318" y="64"/>
                </a:lnTo>
                <a:lnTo>
                  <a:pt x="16329" y="73"/>
                </a:lnTo>
                <a:lnTo>
                  <a:pt x="16341" y="82"/>
                </a:lnTo>
                <a:lnTo>
                  <a:pt x="16351" y="94"/>
                </a:lnTo>
                <a:lnTo>
                  <a:pt x="16363" y="104"/>
                </a:lnTo>
                <a:lnTo>
                  <a:pt x="16372" y="116"/>
                </a:lnTo>
                <a:lnTo>
                  <a:pt x="16381" y="128"/>
                </a:lnTo>
                <a:lnTo>
                  <a:pt x="16391" y="140"/>
                </a:lnTo>
                <a:lnTo>
                  <a:pt x="16399" y="153"/>
                </a:lnTo>
                <a:lnTo>
                  <a:pt x="16407" y="167"/>
                </a:lnTo>
                <a:lnTo>
                  <a:pt x="16413" y="180"/>
                </a:lnTo>
                <a:lnTo>
                  <a:pt x="16420" y="195"/>
                </a:lnTo>
                <a:lnTo>
                  <a:pt x="16425" y="209"/>
                </a:lnTo>
                <a:lnTo>
                  <a:pt x="16431" y="223"/>
                </a:lnTo>
                <a:lnTo>
                  <a:pt x="16435" y="239"/>
                </a:lnTo>
                <a:lnTo>
                  <a:pt x="16439" y="254"/>
                </a:lnTo>
                <a:lnTo>
                  <a:pt x="16441" y="270"/>
                </a:lnTo>
                <a:lnTo>
                  <a:pt x="16443" y="285"/>
                </a:lnTo>
                <a:lnTo>
                  <a:pt x="16445" y="302"/>
                </a:lnTo>
                <a:lnTo>
                  <a:pt x="16445" y="318"/>
                </a:lnTo>
                <a:lnTo>
                  <a:pt x="16445" y="2663"/>
                </a:lnTo>
                <a:lnTo>
                  <a:pt x="16104" y="2663"/>
                </a:lnTo>
                <a:lnTo>
                  <a:pt x="16090" y="2664"/>
                </a:lnTo>
                <a:lnTo>
                  <a:pt x="16078" y="2665"/>
                </a:lnTo>
                <a:lnTo>
                  <a:pt x="16067" y="2666"/>
                </a:lnTo>
                <a:lnTo>
                  <a:pt x="16054" y="2668"/>
                </a:lnTo>
                <a:lnTo>
                  <a:pt x="16042" y="2671"/>
                </a:lnTo>
                <a:lnTo>
                  <a:pt x="16031" y="2675"/>
                </a:lnTo>
                <a:lnTo>
                  <a:pt x="16019" y="2679"/>
                </a:lnTo>
                <a:lnTo>
                  <a:pt x="16008" y="2683"/>
                </a:lnTo>
                <a:lnTo>
                  <a:pt x="15998" y="2688"/>
                </a:lnTo>
                <a:lnTo>
                  <a:pt x="15988" y="2693"/>
                </a:lnTo>
                <a:lnTo>
                  <a:pt x="15977" y="2699"/>
                </a:lnTo>
                <a:lnTo>
                  <a:pt x="15967" y="2705"/>
                </a:lnTo>
                <a:lnTo>
                  <a:pt x="15958" y="2713"/>
                </a:lnTo>
                <a:lnTo>
                  <a:pt x="15949" y="2720"/>
                </a:lnTo>
                <a:lnTo>
                  <a:pt x="15939" y="2727"/>
                </a:lnTo>
                <a:lnTo>
                  <a:pt x="15931" y="2735"/>
                </a:lnTo>
                <a:lnTo>
                  <a:pt x="15923" y="2744"/>
                </a:lnTo>
                <a:lnTo>
                  <a:pt x="15916" y="2753"/>
                </a:lnTo>
                <a:lnTo>
                  <a:pt x="15908" y="2762"/>
                </a:lnTo>
                <a:lnTo>
                  <a:pt x="15901" y="2771"/>
                </a:lnTo>
                <a:lnTo>
                  <a:pt x="15895" y="2782"/>
                </a:lnTo>
                <a:lnTo>
                  <a:pt x="15889" y="2792"/>
                </a:lnTo>
                <a:lnTo>
                  <a:pt x="15884" y="2802"/>
                </a:lnTo>
                <a:lnTo>
                  <a:pt x="15879" y="2814"/>
                </a:lnTo>
                <a:lnTo>
                  <a:pt x="15875" y="2824"/>
                </a:lnTo>
                <a:lnTo>
                  <a:pt x="15870" y="2835"/>
                </a:lnTo>
                <a:lnTo>
                  <a:pt x="15867" y="2848"/>
                </a:lnTo>
                <a:lnTo>
                  <a:pt x="15864" y="2859"/>
                </a:lnTo>
                <a:lnTo>
                  <a:pt x="15862" y="2871"/>
                </a:lnTo>
                <a:lnTo>
                  <a:pt x="15860" y="2884"/>
                </a:lnTo>
                <a:lnTo>
                  <a:pt x="15860" y="2896"/>
                </a:lnTo>
                <a:lnTo>
                  <a:pt x="15859" y="2908"/>
                </a:lnTo>
                <a:lnTo>
                  <a:pt x="15859" y="3421"/>
                </a:lnTo>
                <a:lnTo>
                  <a:pt x="15860" y="3433"/>
                </a:lnTo>
                <a:lnTo>
                  <a:pt x="15860" y="3447"/>
                </a:lnTo>
                <a:lnTo>
                  <a:pt x="15862" y="3458"/>
                </a:lnTo>
                <a:lnTo>
                  <a:pt x="15864" y="3470"/>
                </a:lnTo>
                <a:lnTo>
                  <a:pt x="15867" y="3482"/>
                </a:lnTo>
                <a:lnTo>
                  <a:pt x="15870" y="3494"/>
                </a:lnTo>
                <a:lnTo>
                  <a:pt x="15875" y="3505"/>
                </a:lnTo>
                <a:lnTo>
                  <a:pt x="15879" y="3516"/>
                </a:lnTo>
                <a:lnTo>
                  <a:pt x="15884" y="3527"/>
                </a:lnTo>
                <a:lnTo>
                  <a:pt x="15889" y="3537"/>
                </a:lnTo>
                <a:lnTo>
                  <a:pt x="15895" y="3548"/>
                </a:lnTo>
                <a:lnTo>
                  <a:pt x="15901" y="3558"/>
                </a:lnTo>
                <a:lnTo>
                  <a:pt x="15908" y="3567"/>
                </a:lnTo>
                <a:lnTo>
                  <a:pt x="15916" y="3576"/>
                </a:lnTo>
                <a:lnTo>
                  <a:pt x="15923" y="3586"/>
                </a:lnTo>
                <a:lnTo>
                  <a:pt x="15931" y="3594"/>
                </a:lnTo>
                <a:lnTo>
                  <a:pt x="15939" y="3602"/>
                </a:lnTo>
                <a:lnTo>
                  <a:pt x="15949" y="3609"/>
                </a:lnTo>
                <a:lnTo>
                  <a:pt x="15958" y="3617"/>
                </a:lnTo>
                <a:lnTo>
                  <a:pt x="15967" y="3624"/>
                </a:lnTo>
                <a:lnTo>
                  <a:pt x="15977" y="3630"/>
                </a:lnTo>
                <a:lnTo>
                  <a:pt x="15988" y="3636"/>
                </a:lnTo>
                <a:lnTo>
                  <a:pt x="15998" y="3641"/>
                </a:lnTo>
                <a:lnTo>
                  <a:pt x="16008" y="3646"/>
                </a:lnTo>
                <a:lnTo>
                  <a:pt x="16019" y="3650"/>
                </a:lnTo>
                <a:lnTo>
                  <a:pt x="16031" y="3655"/>
                </a:lnTo>
                <a:lnTo>
                  <a:pt x="16042" y="3658"/>
                </a:lnTo>
                <a:lnTo>
                  <a:pt x="16054" y="3661"/>
                </a:lnTo>
                <a:lnTo>
                  <a:pt x="16067" y="3663"/>
                </a:lnTo>
                <a:lnTo>
                  <a:pt x="16078" y="3664"/>
                </a:lnTo>
                <a:lnTo>
                  <a:pt x="16090" y="3665"/>
                </a:lnTo>
                <a:lnTo>
                  <a:pt x="16104" y="3666"/>
                </a:lnTo>
                <a:lnTo>
                  <a:pt x="16445" y="3666"/>
                </a:lnTo>
                <a:lnTo>
                  <a:pt x="16445" y="4154"/>
                </a:lnTo>
                <a:lnTo>
                  <a:pt x="16445" y="4170"/>
                </a:lnTo>
                <a:lnTo>
                  <a:pt x="16443" y="4187"/>
                </a:lnTo>
                <a:lnTo>
                  <a:pt x="16441" y="4202"/>
                </a:lnTo>
                <a:lnTo>
                  <a:pt x="16439" y="4218"/>
                </a:lnTo>
                <a:lnTo>
                  <a:pt x="16435" y="4233"/>
                </a:lnTo>
                <a:lnTo>
                  <a:pt x="16431" y="4249"/>
                </a:lnTo>
                <a:lnTo>
                  <a:pt x="16425" y="4263"/>
                </a:lnTo>
                <a:lnTo>
                  <a:pt x="16420" y="4277"/>
                </a:lnTo>
                <a:lnTo>
                  <a:pt x="16413" y="4292"/>
                </a:lnTo>
                <a:lnTo>
                  <a:pt x="16407" y="4305"/>
                </a:lnTo>
                <a:lnTo>
                  <a:pt x="16399" y="4319"/>
                </a:lnTo>
                <a:lnTo>
                  <a:pt x="16391" y="4332"/>
                </a:lnTo>
                <a:lnTo>
                  <a:pt x="16381" y="4344"/>
                </a:lnTo>
                <a:lnTo>
                  <a:pt x="16372" y="4356"/>
                </a:lnTo>
                <a:lnTo>
                  <a:pt x="16363" y="4368"/>
                </a:lnTo>
                <a:lnTo>
                  <a:pt x="16351" y="4378"/>
                </a:lnTo>
                <a:lnTo>
                  <a:pt x="16341" y="4390"/>
                </a:lnTo>
                <a:lnTo>
                  <a:pt x="16329" y="4399"/>
                </a:lnTo>
                <a:lnTo>
                  <a:pt x="16318" y="4409"/>
                </a:lnTo>
                <a:lnTo>
                  <a:pt x="16305" y="4417"/>
                </a:lnTo>
                <a:lnTo>
                  <a:pt x="16292" y="4426"/>
                </a:lnTo>
                <a:lnTo>
                  <a:pt x="16278" y="4434"/>
                </a:lnTo>
                <a:lnTo>
                  <a:pt x="16265" y="4441"/>
                </a:lnTo>
                <a:lnTo>
                  <a:pt x="16251" y="4447"/>
                </a:lnTo>
                <a:lnTo>
                  <a:pt x="16236" y="4452"/>
                </a:lnTo>
                <a:lnTo>
                  <a:pt x="16222" y="4458"/>
                </a:lnTo>
                <a:lnTo>
                  <a:pt x="16207" y="4462"/>
                </a:lnTo>
                <a:lnTo>
                  <a:pt x="16191" y="4466"/>
                </a:lnTo>
                <a:lnTo>
                  <a:pt x="16176" y="4468"/>
                </a:lnTo>
                <a:lnTo>
                  <a:pt x="16160" y="4470"/>
                </a:lnTo>
                <a:lnTo>
                  <a:pt x="16144" y="4472"/>
                </a:lnTo>
                <a:lnTo>
                  <a:pt x="16127" y="4472"/>
                </a:lnTo>
                <a:lnTo>
                  <a:pt x="15250" y="4472"/>
                </a:lnTo>
                <a:lnTo>
                  <a:pt x="15250" y="0"/>
                </a:lnTo>
                <a:close/>
                <a:moveTo>
                  <a:pt x="1854" y="0"/>
                </a:moveTo>
                <a:lnTo>
                  <a:pt x="14591" y="0"/>
                </a:lnTo>
                <a:lnTo>
                  <a:pt x="14607" y="0"/>
                </a:lnTo>
                <a:lnTo>
                  <a:pt x="14623" y="2"/>
                </a:lnTo>
                <a:lnTo>
                  <a:pt x="14639" y="4"/>
                </a:lnTo>
                <a:lnTo>
                  <a:pt x="14655" y="6"/>
                </a:lnTo>
                <a:lnTo>
                  <a:pt x="14670" y="10"/>
                </a:lnTo>
                <a:lnTo>
                  <a:pt x="14684" y="14"/>
                </a:lnTo>
                <a:lnTo>
                  <a:pt x="14700" y="20"/>
                </a:lnTo>
                <a:lnTo>
                  <a:pt x="14714" y="25"/>
                </a:lnTo>
                <a:lnTo>
                  <a:pt x="14728" y="32"/>
                </a:lnTo>
                <a:lnTo>
                  <a:pt x="14742" y="38"/>
                </a:lnTo>
                <a:lnTo>
                  <a:pt x="14754" y="46"/>
                </a:lnTo>
                <a:lnTo>
                  <a:pt x="14768" y="55"/>
                </a:lnTo>
                <a:lnTo>
                  <a:pt x="14780" y="64"/>
                </a:lnTo>
                <a:lnTo>
                  <a:pt x="14792" y="73"/>
                </a:lnTo>
                <a:lnTo>
                  <a:pt x="14804" y="82"/>
                </a:lnTo>
                <a:lnTo>
                  <a:pt x="14815" y="94"/>
                </a:lnTo>
                <a:lnTo>
                  <a:pt x="14825" y="104"/>
                </a:lnTo>
                <a:lnTo>
                  <a:pt x="14835" y="116"/>
                </a:lnTo>
                <a:lnTo>
                  <a:pt x="14845" y="128"/>
                </a:lnTo>
                <a:lnTo>
                  <a:pt x="14854" y="140"/>
                </a:lnTo>
                <a:lnTo>
                  <a:pt x="14862" y="153"/>
                </a:lnTo>
                <a:lnTo>
                  <a:pt x="14869" y="167"/>
                </a:lnTo>
                <a:lnTo>
                  <a:pt x="14877" y="180"/>
                </a:lnTo>
                <a:lnTo>
                  <a:pt x="14883" y="195"/>
                </a:lnTo>
                <a:lnTo>
                  <a:pt x="14889" y="209"/>
                </a:lnTo>
                <a:lnTo>
                  <a:pt x="14893" y="223"/>
                </a:lnTo>
                <a:lnTo>
                  <a:pt x="14898" y="239"/>
                </a:lnTo>
                <a:lnTo>
                  <a:pt x="14901" y="254"/>
                </a:lnTo>
                <a:lnTo>
                  <a:pt x="14904" y="270"/>
                </a:lnTo>
                <a:lnTo>
                  <a:pt x="14906" y="285"/>
                </a:lnTo>
                <a:lnTo>
                  <a:pt x="14907" y="302"/>
                </a:lnTo>
                <a:lnTo>
                  <a:pt x="14907" y="318"/>
                </a:lnTo>
                <a:lnTo>
                  <a:pt x="14907" y="4154"/>
                </a:lnTo>
                <a:lnTo>
                  <a:pt x="14907" y="4170"/>
                </a:lnTo>
                <a:lnTo>
                  <a:pt x="14906" y="4187"/>
                </a:lnTo>
                <a:lnTo>
                  <a:pt x="14904" y="4202"/>
                </a:lnTo>
                <a:lnTo>
                  <a:pt x="14901" y="4218"/>
                </a:lnTo>
                <a:lnTo>
                  <a:pt x="14898" y="4233"/>
                </a:lnTo>
                <a:lnTo>
                  <a:pt x="14893" y="4249"/>
                </a:lnTo>
                <a:lnTo>
                  <a:pt x="14889" y="4263"/>
                </a:lnTo>
                <a:lnTo>
                  <a:pt x="14883" y="4277"/>
                </a:lnTo>
                <a:lnTo>
                  <a:pt x="14877" y="4292"/>
                </a:lnTo>
                <a:lnTo>
                  <a:pt x="14869" y="4305"/>
                </a:lnTo>
                <a:lnTo>
                  <a:pt x="14862" y="4319"/>
                </a:lnTo>
                <a:lnTo>
                  <a:pt x="14854" y="4332"/>
                </a:lnTo>
                <a:lnTo>
                  <a:pt x="14845" y="4344"/>
                </a:lnTo>
                <a:lnTo>
                  <a:pt x="14835" y="4356"/>
                </a:lnTo>
                <a:lnTo>
                  <a:pt x="14825" y="4368"/>
                </a:lnTo>
                <a:lnTo>
                  <a:pt x="14815" y="4378"/>
                </a:lnTo>
                <a:lnTo>
                  <a:pt x="14804" y="4390"/>
                </a:lnTo>
                <a:lnTo>
                  <a:pt x="14792" y="4399"/>
                </a:lnTo>
                <a:lnTo>
                  <a:pt x="14780" y="4409"/>
                </a:lnTo>
                <a:lnTo>
                  <a:pt x="14768" y="4417"/>
                </a:lnTo>
                <a:lnTo>
                  <a:pt x="14754" y="4426"/>
                </a:lnTo>
                <a:lnTo>
                  <a:pt x="14742" y="4434"/>
                </a:lnTo>
                <a:lnTo>
                  <a:pt x="14728" y="4441"/>
                </a:lnTo>
                <a:lnTo>
                  <a:pt x="14714" y="4447"/>
                </a:lnTo>
                <a:lnTo>
                  <a:pt x="14700" y="4452"/>
                </a:lnTo>
                <a:lnTo>
                  <a:pt x="14684" y="4458"/>
                </a:lnTo>
                <a:lnTo>
                  <a:pt x="14670" y="4462"/>
                </a:lnTo>
                <a:lnTo>
                  <a:pt x="14655" y="4466"/>
                </a:lnTo>
                <a:lnTo>
                  <a:pt x="14639" y="4468"/>
                </a:lnTo>
                <a:lnTo>
                  <a:pt x="14623" y="4470"/>
                </a:lnTo>
                <a:lnTo>
                  <a:pt x="14607" y="4472"/>
                </a:lnTo>
                <a:lnTo>
                  <a:pt x="14591" y="4472"/>
                </a:lnTo>
                <a:lnTo>
                  <a:pt x="1854" y="4472"/>
                </a:lnTo>
                <a:lnTo>
                  <a:pt x="1838" y="4472"/>
                </a:lnTo>
                <a:lnTo>
                  <a:pt x="1822" y="4470"/>
                </a:lnTo>
                <a:lnTo>
                  <a:pt x="1806" y="4468"/>
                </a:lnTo>
                <a:lnTo>
                  <a:pt x="1790" y="4466"/>
                </a:lnTo>
                <a:lnTo>
                  <a:pt x="1775" y="4462"/>
                </a:lnTo>
                <a:lnTo>
                  <a:pt x="1761" y="4458"/>
                </a:lnTo>
                <a:lnTo>
                  <a:pt x="1745" y="4452"/>
                </a:lnTo>
                <a:lnTo>
                  <a:pt x="1731" y="4447"/>
                </a:lnTo>
                <a:lnTo>
                  <a:pt x="1717" y="4441"/>
                </a:lnTo>
                <a:lnTo>
                  <a:pt x="1703" y="4434"/>
                </a:lnTo>
                <a:lnTo>
                  <a:pt x="1690" y="4426"/>
                </a:lnTo>
                <a:lnTo>
                  <a:pt x="1677" y="4417"/>
                </a:lnTo>
                <a:lnTo>
                  <a:pt x="1665" y="4409"/>
                </a:lnTo>
                <a:lnTo>
                  <a:pt x="1653" y="4399"/>
                </a:lnTo>
                <a:lnTo>
                  <a:pt x="1641" y="4390"/>
                </a:lnTo>
                <a:lnTo>
                  <a:pt x="1630" y="4378"/>
                </a:lnTo>
                <a:lnTo>
                  <a:pt x="1620" y="4368"/>
                </a:lnTo>
                <a:lnTo>
                  <a:pt x="1610" y="4356"/>
                </a:lnTo>
                <a:lnTo>
                  <a:pt x="1600" y="4344"/>
                </a:lnTo>
                <a:lnTo>
                  <a:pt x="1591" y="4332"/>
                </a:lnTo>
                <a:lnTo>
                  <a:pt x="1583" y="4319"/>
                </a:lnTo>
                <a:lnTo>
                  <a:pt x="1576" y="4305"/>
                </a:lnTo>
                <a:lnTo>
                  <a:pt x="1568" y="4292"/>
                </a:lnTo>
                <a:lnTo>
                  <a:pt x="1562" y="4277"/>
                </a:lnTo>
                <a:lnTo>
                  <a:pt x="1556" y="4263"/>
                </a:lnTo>
                <a:lnTo>
                  <a:pt x="1551" y="4249"/>
                </a:lnTo>
                <a:lnTo>
                  <a:pt x="1547" y="4233"/>
                </a:lnTo>
                <a:lnTo>
                  <a:pt x="1544" y="4218"/>
                </a:lnTo>
                <a:lnTo>
                  <a:pt x="1541" y="4202"/>
                </a:lnTo>
                <a:lnTo>
                  <a:pt x="1539" y="4187"/>
                </a:lnTo>
                <a:lnTo>
                  <a:pt x="1538" y="4170"/>
                </a:lnTo>
                <a:lnTo>
                  <a:pt x="1538" y="4154"/>
                </a:lnTo>
                <a:lnTo>
                  <a:pt x="1538" y="318"/>
                </a:lnTo>
                <a:lnTo>
                  <a:pt x="1538" y="302"/>
                </a:lnTo>
                <a:lnTo>
                  <a:pt x="1539" y="285"/>
                </a:lnTo>
                <a:lnTo>
                  <a:pt x="1541" y="270"/>
                </a:lnTo>
                <a:lnTo>
                  <a:pt x="1544" y="254"/>
                </a:lnTo>
                <a:lnTo>
                  <a:pt x="1547" y="239"/>
                </a:lnTo>
                <a:lnTo>
                  <a:pt x="1551" y="223"/>
                </a:lnTo>
                <a:lnTo>
                  <a:pt x="1556" y="209"/>
                </a:lnTo>
                <a:lnTo>
                  <a:pt x="1562" y="195"/>
                </a:lnTo>
                <a:lnTo>
                  <a:pt x="1568" y="180"/>
                </a:lnTo>
                <a:lnTo>
                  <a:pt x="1576" y="167"/>
                </a:lnTo>
                <a:lnTo>
                  <a:pt x="1583" y="153"/>
                </a:lnTo>
                <a:lnTo>
                  <a:pt x="1591" y="140"/>
                </a:lnTo>
                <a:lnTo>
                  <a:pt x="1600" y="128"/>
                </a:lnTo>
                <a:lnTo>
                  <a:pt x="1610" y="116"/>
                </a:lnTo>
                <a:lnTo>
                  <a:pt x="1620" y="104"/>
                </a:lnTo>
                <a:lnTo>
                  <a:pt x="1630" y="94"/>
                </a:lnTo>
                <a:lnTo>
                  <a:pt x="1641" y="82"/>
                </a:lnTo>
                <a:lnTo>
                  <a:pt x="1653" y="73"/>
                </a:lnTo>
                <a:lnTo>
                  <a:pt x="1665" y="64"/>
                </a:lnTo>
                <a:lnTo>
                  <a:pt x="1677" y="55"/>
                </a:lnTo>
                <a:lnTo>
                  <a:pt x="1690" y="46"/>
                </a:lnTo>
                <a:lnTo>
                  <a:pt x="1703" y="38"/>
                </a:lnTo>
                <a:lnTo>
                  <a:pt x="1717" y="32"/>
                </a:lnTo>
                <a:lnTo>
                  <a:pt x="1731" y="25"/>
                </a:lnTo>
                <a:lnTo>
                  <a:pt x="1745" y="20"/>
                </a:lnTo>
                <a:lnTo>
                  <a:pt x="1761" y="14"/>
                </a:lnTo>
                <a:lnTo>
                  <a:pt x="1775" y="10"/>
                </a:lnTo>
                <a:lnTo>
                  <a:pt x="1790" y="6"/>
                </a:lnTo>
                <a:lnTo>
                  <a:pt x="1806" y="4"/>
                </a:lnTo>
                <a:lnTo>
                  <a:pt x="1822" y="2"/>
                </a:lnTo>
                <a:lnTo>
                  <a:pt x="1838" y="0"/>
                </a:lnTo>
                <a:lnTo>
                  <a:pt x="1854" y="0"/>
                </a:lnTo>
                <a:close/>
                <a:moveTo>
                  <a:pt x="3540" y="3211"/>
                </a:moveTo>
                <a:lnTo>
                  <a:pt x="3553" y="3211"/>
                </a:lnTo>
                <a:lnTo>
                  <a:pt x="3565" y="3210"/>
                </a:lnTo>
                <a:lnTo>
                  <a:pt x="3579" y="3209"/>
                </a:lnTo>
                <a:lnTo>
                  <a:pt x="3591" y="3206"/>
                </a:lnTo>
                <a:lnTo>
                  <a:pt x="3604" y="3204"/>
                </a:lnTo>
                <a:lnTo>
                  <a:pt x="3615" y="3200"/>
                </a:lnTo>
                <a:lnTo>
                  <a:pt x="3627" y="3196"/>
                </a:lnTo>
                <a:lnTo>
                  <a:pt x="3638" y="3191"/>
                </a:lnTo>
                <a:lnTo>
                  <a:pt x="3650" y="3186"/>
                </a:lnTo>
                <a:lnTo>
                  <a:pt x="3660" y="3181"/>
                </a:lnTo>
                <a:lnTo>
                  <a:pt x="3671" y="3175"/>
                </a:lnTo>
                <a:lnTo>
                  <a:pt x="3682" y="3168"/>
                </a:lnTo>
                <a:lnTo>
                  <a:pt x="3691" y="3161"/>
                </a:lnTo>
                <a:lnTo>
                  <a:pt x="3700" y="3153"/>
                </a:lnTo>
                <a:lnTo>
                  <a:pt x="3709" y="3146"/>
                </a:lnTo>
                <a:lnTo>
                  <a:pt x="3719" y="3137"/>
                </a:lnTo>
                <a:lnTo>
                  <a:pt x="3727" y="3129"/>
                </a:lnTo>
                <a:lnTo>
                  <a:pt x="3735" y="3119"/>
                </a:lnTo>
                <a:lnTo>
                  <a:pt x="3742" y="3110"/>
                </a:lnTo>
                <a:lnTo>
                  <a:pt x="3749" y="3100"/>
                </a:lnTo>
                <a:lnTo>
                  <a:pt x="3756" y="3089"/>
                </a:lnTo>
                <a:lnTo>
                  <a:pt x="3762" y="3079"/>
                </a:lnTo>
                <a:lnTo>
                  <a:pt x="3768" y="3068"/>
                </a:lnTo>
                <a:lnTo>
                  <a:pt x="3773" y="3056"/>
                </a:lnTo>
                <a:lnTo>
                  <a:pt x="3777" y="3045"/>
                </a:lnTo>
                <a:lnTo>
                  <a:pt x="3781" y="3034"/>
                </a:lnTo>
                <a:lnTo>
                  <a:pt x="3784" y="3021"/>
                </a:lnTo>
                <a:lnTo>
                  <a:pt x="3787" y="3009"/>
                </a:lnTo>
                <a:lnTo>
                  <a:pt x="3790" y="2997"/>
                </a:lnTo>
                <a:lnTo>
                  <a:pt x="3792" y="2984"/>
                </a:lnTo>
                <a:lnTo>
                  <a:pt x="3793" y="2971"/>
                </a:lnTo>
                <a:lnTo>
                  <a:pt x="3793" y="2959"/>
                </a:lnTo>
                <a:lnTo>
                  <a:pt x="3793" y="757"/>
                </a:lnTo>
                <a:lnTo>
                  <a:pt x="3793" y="744"/>
                </a:lnTo>
                <a:lnTo>
                  <a:pt x="3792" y="731"/>
                </a:lnTo>
                <a:lnTo>
                  <a:pt x="3790" y="719"/>
                </a:lnTo>
                <a:lnTo>
                  <a:pt x="3787" y="706"/>
                </a:lnTo>
                <a:lnTo>
                  <a:pt x="3784" y="694"/>
                </a:lnTo>
                <a:lnTo>
                  <a:pt x="3781" y="683"/>
                </a:lnTo>
                <a:lnTo>
                  <a:pt x="3777" y="670"/>
                </a:lnTo>
                <a:lnTo>
                  <a:pt x="3773" y="659"/>
                </a:lnTo>
                <a:lnTo>
                  <a:pt x="3768" y="648"/>
                </a:lnTo>
                <a:lnTo>
                  <a:pt x="3762" y="637"/>
                </a:lnTo>
                <a:lnTo>
                  <a:pt x="3756" y="626"/>
                </a:lnTo>
                <a:lnTo>
                  <a:pt x="3749" y="616"/>
                </a:lnTo>
                <a:lnTo>
                  <a:pt x="3742" y="606"/>
                </a:lnTo>
                <a:lnTo>
                  <a:pt x="3735" y="596"/>
                </a:lnTo>
                <a:lnTo>
                  <a:pt x="3727" y="587"/>
                </a:lnTo>
                <a:lnTo>
                  <a:pt x="3719" y="579"/>
                </a:lnTo>
                <a:lnTo>
                  <a:pt x="3709" y="570"/>
                </a:lnTo>
                <a:lnTo>
                  <a:pt x="3700" y="562"/>
                </a:lnTo>
                <a:lnTo>
                  <a:pt x="3691" y="555"/>
                </a:lnTo>
                <a:lnTo>
                  <a:pt x="3682" y="548"/>
                </a:lnTo>
                <a:lnTo>
                  <a:pt x="3671" y="540"/>
                </a:lnTo>
                <a:lnTo>
                  <a:pt x="3660" y="535"/>
                </a:lnTo>
                <a:lnTo>
                  <a:pt x="3650" y="529"/>
                </a:lnTo>
                <a:lnTo>
                  <a:pt x="3638" y="524"/>
                </a:lnTo>
                <a:lnTo>
                  <a:pt x="3627" y="520"/>
                </a:lnTo>
                <a:lnTo>
                  <a:pt x="3615" y="516"/>
                </a:lnTo>
                <a:lnTo>
                  <a:pt x="3604" y="513"/>
                </a:lnTo>
                <a:lnTo>
                  <a:pt x="3591" y="510"/>
                </a:lnTo>
                <a:lnTo>
                  <a:pt x="3579" y="508"/>
                </a:lnTo>
                <a:lnTo>
                  <a:pt x="3565" y="505"/>
                </a:lnTo>
                <a:lnTo>
                  <a:pt x="3553" y="504"/>
                </a:lnTo>
                <a:lnTo>
                  <a:pt x="3540" y="504"/>
                </a:lnTo>
                <a:lnTo>
                  <a:pt x="3527" y="504"/>
                </a:lnTo>
                <a:lnTo>
                  <a:pt x="3514" y="505"/>
                </a:lnTo>
                <a:lnTo>
                  <a:pt x="3502" y="508"/>
                </a:lnTo>
                <a:lnTo>
                  <a:pt x="3489" y="510"/>
                </a:lnTo>
                <a:lnTo>
                  <a:pt x="3477" y="513"/>
                </a:lnTo>
                <a:lnTo>
                  <a:pt x="3466" y="516"/>
                </a:lnTo>
                <a:lnTo>
                  <a:pt x="3453" y="520"/>
                </a:lnTo>
                <a:lnTo>
                  <a:pt x="3442" y="524"/>
                </a:lnTo>
                <a:lnTo>
                  <a:pt x="3431" y="529"/>
                </a:lnTo>
                <a:lnTo>
                  <a:pt x="3421" y="535"/>
                </a:lnTo>
                <a:lnTo>
                  <a:pt x="3409" y="540"/>
                </a:lnTo>
                <a:lnTo>
                  <a:pt x="3399" y="548"/>
                </a:lnTo>
                <a:lnTo>
                  <a:pt x="3390" y="555"/>
                </a:lnTo>
                <a:lnTo>
                  <a:pt x="3379" y="562"/>
                </a:lnTo>
                <a:lnTo>
                  <a:pt x="3370" y="570"/>
                </a:lnTo>
                <a:lnTo>
                  <a:pt x="3362" y="579"/>
                </a:lnTo>
                <a:lnTo>
                  <a:pt x="3354" y="587"/>
                </a:lnTo>
                <a:lnTo>
                  <a:pt x="3346" y="596"/>
                </a:lnTo>
                <a:lnTo>
                  <a:pt x="3338" y="606"/>
                </a:lnTo>
                <a:lnTo>
                  <a:pt x="3331" y="616"/>
                </a:lnTo>
                <a:lnTo>
                  <a:pt x="3324" y="626"/>
                </a:lnTo>
                <a:lnTo>
                  <a:pt x="3319" y="637"/>
                </a:lnTo>
                <a:lnTo>
                  <a:pt x="3313" y="648"/>
                </a:lnTo>
                <a:lnTo>
                  <a:pt x="3308" y="659"/>
                </a:lnTo>
                <a:lnTo>
                  <a:pt x="3303" y="670"/>
                </a:lnTo>
                <a:lnTo>
                  <a:pt x="3299" y="683"/>
                </a:lnTo>
                <a:lnTo>
                  <a:pt x="3296" y="694"/>
                </a:lnTo>
                <a:lnTo>
                  <a:pt x="3293" y="706"/>
                </a:lnTo>
                <a:lnTo>
                  <a:pt x="3291" y="719"/>
                </a:lnTo>
                <a:lnTo>
                  <a:pt x="3289" y="731"/>
                </a:lnTo>
                <a:lnTo>
                  <a:pt x="3288" y="744"/>
                </a:lnTo>
                <a:lnTo>
                  <a:pt x="3288" y="757"/>
                </a:lnTo>
                <a:lnTo>
                  <a:pt x="3288" y="2959"/>
                </a:lnTo>
                <a:lnTo>
                  <a:pt x="3288" y="2971"/>
                </a:lnTo>
                <a:lnTo>
                  <a:pt x="3289" y="2984"/>
                </a:lnTo>
                <a:lnTo>
                  <a:pt x="3291" y="2997"/>
                </a:lnTo>
                <a:lnTo>
                  <a:pt x="3293" y="3009"/>
                </a:lnTo>
                <a:lnTo>
                  <a:pt x="3296" y="3021"/>
                </a:lnTo>
                <a:lnTo>
                  <a:pt x="3299" y="3034"/>
                </a:lnTo>
                <a:lnTo>
                  <a:pt x="3303" y="3045"/>
                </a:lnTo>
                <a:lnTo>
                  <a:pt x="3308" y="3056"/>
                </a:lnTo>
                <a:lnTo>
                  <a:pt x="3313" y="3068"/>
                </a:lnTo>
                <a:lnTo>
                  <a:pt x="3319" y="3079"/>
                </a:lnTo>
                <a:lnTo>
                  <a:pt x="3324" y="3089"/>
                </a:lnTo>
                <a:lnTo>
                  <a:pt x="3331" y="3100"/>
                </a:lnTo>
                <a:lnTo>
                  <a:pt x="3338" y="3110"/>
                </a:lnTo>
                <a:lnTo>
                  <a:pt x="3346" y="3119"/>
                </a:lnTo>
                <a:lnTo>
                  <a:pt x="3354" y="3129"/>
                </a:lnTo>
                <a:lnTo>
                  <a:pt x="3362" y="3137"/>
                </a:lnTo>
                <a:lnTo>
                  <a:pt x="3370" y="3146"/>
                </a:lnTo>
                <a:lnTo>
                  <a:pt x="3379" y="3153"/>
                </a:lnTo>
                <a:lnTo>
                  <a:pt x="3390" y="3161"/>
                </a:lnTo>
                <a:lnTo>
                  <a:pt x="3399" y="3168"/>
                </a:lnTo>
                <a:lnTo>
                  <a:pt x="3409" y="3175"/>
                </a:lnTo>
                <a:lnTo>
                  <a:pt x="3421" y="3181"/>
                </a:lnTo>
                <a:lnTo>
                  <a:pt x="3431" y="3186"/>
                </a:lnTo>
                <a:lnTo>
                  <a:pt x="3442" y="3191"/>
                </a:lnTo>
                <a:lnTo>
                  <a:pt x="3453" y="3196"/>
                </a:lnTo>
                <a:lnTo>
                  <a:pt x="3466" y="3200"/>
                </a:lnTo>
                <a:lnTo>
                  <a:pt x="3477" y="3204"/>
                </a:lnTo>
                <a:lnTo>
                  <a:pt x="3489" y="3206"/>
                </a:lnTo>
                <a:lnTo>
                  <a:pt x="3502" y="3209"/>
                </a:lnTo>
                <a:lnTo>
                  <a:pt x="3514" y="3210"/>
                </a:lnTo>
                <a:lnTo>
                  <a:pt x="3527" y="3211"/>
                </a:lnTo>
                <a:lnTo>
                  <a:pt x="3540" y="3211"/>
                </a:lnTo>
                <a:close/>
                <a:moveTo>
                  <a:pt x="3540" y="3968"/>
                </a:moveTo>
                <a:lnTo>
                  <a:pt x="3553" y="3968"/>
                </a:lnTo>
                <a:lnTo>
                  <a:pt x="3567" y="3967"/>
                </a:lnTo>
                <a:lnTo>
                  <a:pt x="3580" y="3964"/>
                </a:lnTo>
                <a:lnTo>
                  <a:pt x="3592" y="3962"/>
                </a:lnTo>
                <a:lnTo>
                  <a:pt x="3606" y="3959"/>
                </a:lnTo>
                <a:lnTo>
                  <a:pt x="3618" y="3956"/>
                </a:lnTo>
                <a:lnTo>
                  <a:pt x="3629" y="3952"/>
                </a:lnTo>
                <a:lnTo>
                  <a:pt x="3642" y="3947"/>
                </a:lnTo>
                <a:lnTo>
                  <a:pt x="3653" y="3942"/>
                </a:lnTo>
                <a:lnTo>
                  <a:pt x="3664" y="3937"/>
                </a:lnTo>
                <a:lnTo>
                  <a:pt x="3675" y="3931"/>
                </a:lnTo>
                <a:lnTo>
                  <a:pt x="3686" y="3923"/>
                </a:lnTo>
                <a:lnTo>
                  <a:pt x="3696" y="3916"/>
                </a:lnTo>
                <a:lnTo>
                  <a:pt x="3705" y="3908"/>
                </a:lnTo>
                <a:lnTo>
                  <a:pt x="3716" y="3900"/>
                </a:lnTo>
                <a:lnTo>
                  <a:pt x="3724" y="3891"/>
                </a:lnTo>
                <a:lnTo>
                  <a:pt x="3733" y="3882"/>
                </a:lnTo>
                <a:lnTo>
                  <a:pt x="3741" y="3873"/>
                </a:lnTo>
                <a:lnTo>
                  <a:pt x="3748" y="3863"/>
                </a:lnTo>
                <a:lnTo>
                  <a:pt x="3756" y="3852"/>
                </a:lnTo>
                <a:lnTo>
                  <a:pt x="3763" y="3842"/>
                </a:lnTo>
                <a:lnTo>
                  <a:pt x="3769" y="3832"/>
                </a:lnTo>
                <a:lnTo>
                  <a:pt x="3775" y="3820"/>
                </a:lnTo>
                <a:lnTo>
                  <a:pt x="3780" y="3808"/>
                </a:lnTo>
                <a:lnTo>
                  <a:pt x="3784" y="3797"/>
                </a:lnTo>
                <a:lnTo>
                  <a:pt x="3789" y="3784"/>
                </a:lnTo>
                <a:lnTo>
                  <a:pt x="3793" y="3772"/>
                </a:lnTo>
                <a:lnTo>
                  <a:pt x="3796" y="3760"/>
                </a:lnTo>
                <a:lnTo>
                  <a:pt x="3798" y="3747"/>
                </a:lnTo>
                <a:lnTo>
                  <a:pt x="3799" y="3734"/>
                </a:lnTo>
                <a:lnTo>
                  <a:pt x="3800" y="3720"/>
                </a:lnTo>
                <a:lnTo>
                  <a:pt x="3801" y="3707"/>
                </a:lnTo>
                <a:lnTo>
                  <a:pt x="3800" y="3694"/>
                </a:lnTo>
                <a:lnTo>
                  <a:pt x="3799" y="3680"/>
                </a:lnTo>
                <a:lnTo>
                  <a:pt x="3798" y="3668"/>
                </a:lnTo>
                <a:lnTo>
                  <a:pt x="3796" y="3655"/>
                </a:lnTo>
                <a:lnTo>
                  <a:pt x="3793" y="3642"/>
                </a:lnTo>
                <a:lnTo>
                  <a:pt x="3789" y="3630"/>
                </a:lnTo>
                <a:lnTo>
                  <a:pt x="3784" y="3618"/>
                </a:lnTo>
                <a:lnTo>
                  <a:pt x="3780" y="3606"/>
                </a:lnTo>
                <a:lnTo>
                  <a:pt x="3775" y="3595"/>
                </a:lnTo>
                <a:lnTo>
                  <a:pt x="3769" y="3584"/>
                </a:lnTo>
                <a:lnTo>
                  <a:pt x="3763" y="3572"/>
                </a:lnTo>
                <a:lnTo>
                  <a:pt x="3756" y="3562"/>
                </a:lnTo>
                <a:lnTo>
                  <a:pt x="3748" y="3552"/>
                </a:lnTo>
                <a:lnTo>
                  <a:pt x="3741" y="3541"/>
                </a:lnTo>
                <a:lnTo>
                  <a:pt x="3733" y="3532"/>
                </a:lnTo>
                <a:lnTo>
                  <a:pt x="3724" y="3523"/>
                </a:lnTo>
                <a:lnTo>
                  <a:pt x="3716" y="3515"/>
                </a:lnTo>
                <a:lnTo>
                  <a:pt x="3705" y="3506"/>
                </a:lnTo>
                <a:lnTo>
                  <a:pt x="3696" y="3498"/>
                </a:lnTo>
                <a:lnTo>
                  <a:pt x="3686" y="3491"/>
                </a:lnTo>
                <a:lnTo>
                  <a:pt x="3675" y="3485"/>
                </a:lnTo>
                <a:lnTo>
                  <a:pt x="3664" y="3479"/>
                </a:lnTo>
                <a:lnTo>
                  <a:pt x="3653" y="3472"/>
                </a:lnTo>
                <a:lnTo>
                  <a:pt x="3642" y="3467"/>
                </a:lnTo>
                <a:lnTo>
                  <a:pt x="3629" y="3462"/>
                </a:lnTo>
                <a:lnTo>
                  <a:pt x="3618" y="3458"/>
                </a:lnTo>
                <a:lnTo>
                  <a:pt x="3606" y="3455"/>
                </a:lnTo>
                <a:lnTo>
                  <a:pt x="3592" y="3452"/>
                </a:lnTo>
                <a:lnTo>
                  <a:pt x="3580" y="3450"/>
                </a:lnTo>
                <a:lnTo>
                  <a:pt x="3567" y="3448"/>
                </a:lnTo>
                <a:lnTo>
                  <a:pt x="3553" y="3447"/>
                </a:lnTo>
                <a:lnTo>
                  <a:pt x="3540" y="3447"/>
                </a:lnTo>
                <a:lnTo>
                  <a:pt x="3526" y="3447"/>
                </a:lnTo>
                <a:lnTo>
                  <a:pt x="3514" y="3448"/>
                </a:lnTo>
                <a:lnTo>
                  <a:pt x="3501" y="3450"/>
                </a:lnTo>
                <a:lnTo>
                  <a:pt x="3488" y="3452"/>
                </a:lnTo>
                <a:lnTo>
                  <a:pt x="3475" y="3455"/>
                </a:lnTo>
                <a:lnTo>
                  <a:pt x="3463" y="3458"/>
                </a:lnTo>
                <a:lnTo>
                  <a:pt x="3451" y="3462"/>
                </a:lnTo>
                <a:lnTo>
                  <a:pt x="3439" y="3467"/>
                </a:lnTo>
                <a:lnTo>
                  <a:pt x="3428" y="3472"/>
                </a:lnTo>
                <a:lnTo>
                  <a:pt x="3416" y="3479"/>
                </a:lnTo>
                <a:lnTo>
                  <a:pt x="3405" y="3485"/>
                </a:lnTo>
                <a:lnTo>
                  <a:pt x="3395" y="3491"/>
                </a:lnTo>
                <a:lnTo>
                  <a:pt x="3385" y="3498"/>
                </a:lnTo>
                <a:lnTo>
                  <a:pt x="3375" y="3506"/>
                </a:lnTo>
                <a:lnTo>
                  <a:pt x="3365" y="3515"/>
                </a:lnTo>
                <a:lnTo>
                  <a:pt x="3357" y="3523"/>
                </a:lnTo>
                <a:lnTo>
                  <a:pt x="3348" y="3532"/>
                </a:lnTo>
                <a:lnTo>
                  <a:pt x="3339" y="3541"/>
                </a:lnTo>
                <a:lnTo>
                  <a:pt x="3332" y="3552"/>
                </a:lnTo>
                <a:lnTo>
                  <a:pt x="3325" y="3562"/>
                </a:lnTo>
                <a:lnTo>
                  <a:pt x="3318" y="3572"/>
                </a:lnTo>
                <a:lnTo>
                  <a:pt x="3312" y="3584"/>
                </a:lnTo>
                <a:lnTo>
                  <a:pt x="3305" y="3595"/>
                </a:lnTo>
                <a:lnTo>
                  <a:pt x="3300" y="3606"/>
                </a:lnTo>
                <a:lnTo>
                  <a:pt x="3296" y="3618"/>
                </a:lnTo>
                <a:lnTo>
                  <a:pt x="3292" y="3630"/>
                </a:lnTo>
                <a:lnTo>
                  <a:pt x="3288" y="3642"/>
                </a:lnTo>
                <a:lnTo>
                  <a:pt x="3285" y="3655"/>
                </a:lnTo>
                <a:lnTo>
                  <a:pt x="3283" y="3668"/>
                </a:lnTo>
                <a:lnTo>
                  <a:pt x="3282" y="3680"/>
                </a:lnTo>
                <a:lnTo>
                  <a:pt x="3281" y="3694"/>
                </a:lnTo>
                <a:lnTo>
                  <a:pt x="3280" y="3707"/>
                </a:lnTo>
                <a:lnTo>
                  <a:pt x="3281" y="3720"/>
                </a:lnTo>
                <a:lnTo>
                  <a:pt x="3282" y="3734"/>
                </a:lnTo>
                <a:lnTo>
                  <a:pt x="3283" y="3747"/>
                </a:lnTo>
                <a:lnTo>
                  <a:pt x="3285" y="3760"/>
                </a:lnTo>
                <a:lnTo>
                  <a:pt x="3288" y="3772"/>
                </a:lnTo>
                <a:lnTo>
                  <a:pt x="3292" y="3784"/>
                </a:lnTo>
                <a:lnTo>
                  <a:pt x="3296" y="3797"/>
                </a:lnTo>
                <a:lnTo>
                  <a:pt x="3300" y="3808"/>
                </a:lnTo>
                <a:lnTo>
                  <a:pt x="3305" y="3820"/>
                </a:lnTo>
                <a:lnTo>
                  <a:pt x="3312" y="3832"/>
                </a:lnTo>
                <a:lnTo>
                  <a:pt x="3318" y="3842"/>
                </a:lnTo>
                <a:lnTo>
                  <a:pt x="3325" y="3852"/>
                </a:lnTo>
                <a:lnTo>
                  <a:pt x="3332" y="3863"/>
                </a:lnTo>
                <a:lnTo>
                  <a:pt x="3339" y="3873"/>
                </a:lnTo>
                <a:lnTo>
                  <a:pt x="3348" y="3882"/>
                </a:lnTo>
                <a:lnTo>
                  <a:pt x="3357" y="3891"/>
                </a:lnTo>
                <a:lnTo>
                  <a:pt x="3365" y="3900"/>
                </a:lnTo>
                <a:lnTo>
                  <a:pt x="3375" y="3908"/>
                </a:lnTo>
                <a:lnTo>
                  <a:pt x="3385" y="3916"/>
                </a:lnTo>
                <a:lnTo>
                  <a:pt x="3395" y="3923"/>
                </a:lnTo>
                <a:lnTo>
                  <a:pt x="3405" y="3931"/>
                </a:lnTo>
                <a:lnTo>
                  <a:pt x="3416" y="3937"/>
                </a:lnTo>
                <a:lnTo>
                  <a:pt x="3428" y="3942"/>
                </a:lnTo>
                <a:lnTo>
                  <a:pt x="3439" y="3947"/>
                </a:lnTo>
                <a:lnTo>
                  <a:pt x="3451" y="3952"/>
                </a:lnTo>
                <a:lnTo>
                  <a:pt x="3463" y="3956"/>
                </a:lnTo>
                <a:lnTo>
                  <a:pt x="3475" y="3959"/>
                </a:lnTo>
                <a:lnTo>
                  <a:pt x="3488" y="3962"/>
                </a:lnTo>
                <a:lnTo>
                  <a:pt x="3501" y="3964"/>
                </a:lnTo>
                <a:lnTo>
                  <a:pt x="3514" y="3967"/>
                </a:lnTo>
                <a:lnTo>
                  <a:pt x="3526" y="3968"/>
                </a:lnTo>
                <a:lnTo>
                  <a:pt x="3540" y="3968"/>
                </a:lnTo>
                <a:close/>
                <a:moveTo>
                  <a:pt x="5413" y="3211"/>
                </a:moveTo>
                <a:lnTo>
                  <a:pt x="5426" y="3211"/>
                </a:lnTo>
                <a:lnTo>
                  <a:pt x="5439" y="3210"/>
                </a:lnTo>
                <a:lnTo>
                  <a:pt x="5452" y="3209"/>
                </a:lnTo>
                <a:lnTo>
                  <a:pt x="5464" y="3206"/>
                </a:lnTo>
                <a:lnTo>
                  <a:pt x="5476" y="3204"/>
                </a:lnTo>
                <a:lnTo>
                  <a:pt x="5487" y="3200"/>
                </a:lnTo>
                <a:lnTo>
                  <a:pt x="5500" y="3196"/>
                </a:lnTo>
                <a:lnTo>
                  <a:pt x="5511" y="3191"/>
                </a:lnTo>
                <a:lnTo>
                  <a:pt x="5522" y="3186"/>
                </a:lnTo>
                <a:lnTo>
                  <a:pt x="5533" y="3181"/>
                </a:lnTo>
                <a:lnTo>
                  <a:pt x="5544" y="3175"/>
                </a:lnTo>
                <a:lnTo>
                  <a:pt x="5554" y="3168"/>
                </a:lnTo>
                <a:lnTo>
                  <a:pt x="5564" y="3161"/>
                </a:lnTo>
                <a:lnTo>
                  <a:pt x="5574" y="3153"/>
                </a:lnTo>
                <a:lnTo>
                  <a:pt x="5583" y="3146"/>
                </a:lnTo>
                <a:lnTo>
                  <a:pt x="5591" y="3137"/>
                </a:lnTo>
                <a:lnTo>
                  <a:pt x="5600" y="3129"/>
                </a:lnTo>
                <a:lnTo>
                  <a:pt x="5608" y="3119"/>
                </a:lnTo>
                <a:lnTo>
                  <a:pt x="5615" y="3110"/>
                </a:lnTo>
                <a:lnTo>
                  <a:pt x="5622" y="3100"/>
                </a:lnTo>
                <a:lnTo>
                  <a:pt x="5629" y="3089"/>
                </a:lnTo>
                <a:lnTo>
                  <a:pt x="5635" y="3079"/>
                </a:lnTo>
                <a:lnTo>
                  <a:pt x="5641" y="3068"/>
                </a:lnTo>
                <a:lnTo>
                  <a:pt x="5646" y="3056"/>
                </a:lnTo>
                <a:lnTo>
                  <a:pt x="5650" y="3045"/>
                </a:lnTo>
                <a:lnTo>
                  <a:pt x="5654" y="3034"/>
                </a:lnTo>
                <a:lnTo>
                  <a:pt x="5657" y="3021"/>
                </a:lnTo>
                <a:lnTo>
                  <a:pt x="5660" y="3009"/>
                </a:lnTo>
                <a:lnTo>
                  <a:pt x="5662" y="2997"/>
                </a:lnTo>
                <a:lnTo>
                  <a:pt x="5664" y="2984"/>
                </a:lnTo>
                <a:lnTo>
                  <a:pt x="5665" y="2971"/>
                </a:lnTo>
                <a:lnTo>
                  <a:pt x="5665" y="2959"/>
                </a:lnTo>
                <a:lnTo>
                  <a:pt x="5665" y="757"/>
                </a:lnTo>
                <a:lnTo>
                  <a:pt x="5665" y="744"/>
                </a:lnTo>
                <a:lnTo>
                  <a:pt x="5664" y="731"/>
                </a:lnTo>
                <a:lnTo>
                  <a:pt x="5662" y="719"/>
                </a:lnTo>
                <a:lnTo>
                  <a:pt x="5660" y="706"/>
                </a:lnTo>
                <a:lnTo>
                  <a:pt x="5657" y="694"/>
                </a:lnTo>
                <a:lnTo>
                  <a:pt x="5654" y="683"/>
                </a:lnTo>
                <a:lnTo>
                  <a:pt x="5650" y="670"/>
                </a:lnTo>
                <a:lnTo>
                  <a:pt x="5646" y="659"/>
                </a:lnTo>
                <a:lnTo>
                  <a:pt x="5641" y="648"/>
                </a:lnTo>
                <a:lnTo>
                  <a:pt x="5635" y="637"/>
                </a:lnTo>
                <a:lnTo>
                  <a:pt x="5629" y="626"/>
                </a:lnTo>
                <a:lnTo>
                  <a:pt x="5622" y="616"/>
                </a:lnTo>
                <a:lnTo>
                  <a:pt x="5615" y="606"/>
                </a:lnTo>
                <a:lnTo>
                  <a:pt x="5608" y="596"/>
                </a:lnTo>
                <a:lnTo>
                  <a:pt x="5600" y="587"/>
                </a:lnTo>
                <a:lnTo>
                  <a:pt x="5591" y="579"/>
                </a:lnTo>
                <a:lnTo>
                  <a:pt x="5583" y="570"/>
                </a:lnTo>
                <a:lnTo>
                  <a:pt x="5574" y="562"/>
                </a:lnTo>
                <a:lnTo>
                  <a:pt x="5564" y="555"/>
                </a:lnTo>
                <a:lnTo>
                  <a:pt x="5554" y="548"/>
                </a:lnTo>
                <a:lnTo>
                  <a:pt x="5544" y="540"/>
                </a:lnTo>
                <a:lnTo>
                  <a:pt x="5533" y="535"/>
                </a:lnTo>
                <a:lnTo>
                  <a:pt x="5522" y="529"/>
                </a:lnTo>
                <a:lnTo>
                  <a:pt x="5511" y="524"/>
                </a:lnTo>
                <a:lnTo>
                  <a:pt x="5500" y="520"/>
                </a:lnTo>
                <a:lnTo>
                  <a:pt x="5487" y="516"/>
                </a:lnTo>
                <a:lnTo>
                  <a:pt x="5476" y="513"/>
                </a:lnTo>
                <a:lnTo>
                  <a:pt x="5464" y="510"/>
                </a:lnTo>
                <a:lnTo>
                  <a:pt x="5452" y="508"/>
                </a:lnTo>
                <a:lnTo>
                  <a:pt x="5439" y="505"/>
                </a:lnTo>
                <a:lnTo>
                  <a:pt x="5426" y="504"/>
                </a:lnTo>
                <a:lnTo>
                  <a:pt x="5413" y="504"/>
                </a:lnTo>
                <a:lnTo>
                  <a:pt x="5400" y="504"/>
                </a:lnTo>
                <a:lnTo>
                  <a:pt x="5388" y="505"/>
                </a:lnTo>
                <a:lnTo>
                  <a:pt x="5374" y="508"/>
                </a:lnTo>
                <a:lnTo>
                  <a:pt x="5362" y="510"/>
                </a:lnTo>
                <a:lnTo>
                  <a:pt x="5350" y="513"/>
                </a:lnTo>
                <a:lnTo>
                  <a:pt x="5338" y="516"/>
                </a:lnTo>
                <a:lnTo>
                  <a:pt x="5326" y="520"/>
                </a:lnTo>
                <a:lnTo>
                  <a:pt x="5315" y="524"/>
                </a:lnTo>
                <a:lnTo>
                  <a:pt x="5304" y="529"/>
                </a:lnTo>
                <a:lnTo>
                  <a:pt x="5293" y="535"/>
                </a:lnTo>
                <a:lnTo>
                  <a:pt x="5282" y="540"/>
                </a:lnTo>
                <a:lnTo>
                  <a:pt x="5273" y="548"/>
                </a:lnTo>
                <a:lnTo>
                  <a:pt x="5262" y="555"/>
                </a:lnTo>
                <a:lnTo>
                  <a:pt x="5253" y="562"/>
                </a:lnTo>
                <a:lnTo>
                  <a:pt x="5244" y="570"/>
                </a:lnTo>
                <a:lnTo>
                  <a:pt x="5235" y="579"/>
                </a:lnTo>
                <a:lnTo>
                  <a:pt x="5226" y="587"/>
                </a:lnTo>
                <a:lnTo>
                  <a:pt x="5218" y="596"/>
                </a:lnTo>
                <a:lnTo>
                  <a:pt x="5211" y="606"/>
                </a:lnTo>
                <a:lnTo>
                  <a:pt x="5204" y="616"/>
                </a:lnTo>
                <a:lnTo>
                  <a:pt x="5198" y="626"/>
                </a:lnTo>
                <a:lnTo>
                  <a:pt x="5191" y="637"/>
                </a:lnTo>
                <a:lnTo>
                  <a:pt x="5185" y="648"/>
                </a:lnTo>
                <a:lnTo>
                  <a:pt x="5180" y="659"/>
                </a:lnTo>
                <a:lnTo>
                  <a:pt x="5176" y="670"/>
                </a:lnTo>
                <a:lnTo>
                  <a:pt x="5172" y="683"/>
                </a:lnTo>
                <a:lnTo>
                  <a:pt x="5169" y="694"/>
                </a:lnTo>
                <a:lnTo>
                  <a:pt x="5166" y="706"/>
                </a:lnTo>
                <a:lnTo>
                  <a:pt x="5164" y="719"/>
                </a:lnTo>
                <a:lnTo>
                  <a:pt x="5162" y="731"/>
                </a:lnTo>
                <a:lnTo>
                  <a:pt x="5161" y="744"/>
                </a:lnTo>
                <a:lnTo>
                  <a:pt x="5161" y="757"/>
                </a:lnTo>
                <a:lnTo>
                  <a:pt x="5161" y="2959"/>
                </a:lnTo>
                <a:lnTo>
                  <a:pt x="5161" y="2971"/>
                </a:lnTo>
                <a:lnTo>
                  <a:pt x="5162" y="2984"/>
                </a:lnTo>
                <a:lnTo>
                  <a:pt x="5164" y="2997"/>
                </a:lnTo>
                <a:lnTo>
                  <a:pt x="5166" y="3009"/>
                </a:lnTo>
                <a:lnTo>
                  <a:pt x="5169" y="3021"/>
                </a:lnTo>
                <a:lnTo>
                  <a:pt x="5172" y="3034"/>
                </a:lnTo>
                <a:lnTo>
                  <a:pt x="5176" y="3045"/>
                </a:lnTo>
                <a:lnTo>
                  <a:pt x="5180" y="3056"/>
                </a:lnTo>
                <a:lnTo>
                  <a:pt x="5185" y="3068"/>
                </a:lnTo>
                <a:lnTo>
                  <a:pt x="5191" y="3079"/>
                </a:lnTo>
                <a:lnTo>
                  <a:pt x="5198" y="3089"/>
                </a:lnTo>
                <a:lnTo>
                  <a:pt x="5204" y="3100"/>
                </a:lnTo>
                <a:lnTo>
                  <a:pt x="5211" y="3110"/>
                </a:lnTo>
                <a:lnTo>
                  <a:pt x="5218" y="3119"/>
                </a:lnTo>
                <a:lnTo>
                  <a:pt x="5226" y="3129"/>
                </a:lnTo>
                <a:lnTo>
                  <a:pt x="5235" y="3137"/>
                </a:lnTo>
                <a:lnTo>
                  <a:pt x="5244" y="3146"/>
                </a:lnTo>
                <a:lnTo>
                  <a:pt x="5253" y="3153"/>
                </a:lnTo>
                <a:lnTo>
                  <a:pt x="5262" y="3161"/>
                </a:lnTo>
                <a:lnTo>
                  <a:pt x="5273" y="3168"/>
                </a:lnTo>
                <a:lnTo>
                  <a:pt x="5282" y="3175"/>
                </a:lnTo>
                <a:lnTo>
                  <a:pt x="5293" y="3181"/>
                </a:lnTo>
                <a:lnTo>
                  <a:pt x="5304" y="3186"/>
                </a:lnTo>
                <a:lnTo>
                  <a:pt x="5315" y="3191"/>
                </a:lnTo>
                <a:lnTo>
                  <a:pt x="5326" y="3196"/>
                </a:lnTo>
                <a:lnTo>
                  <a:pt x="5338" y="3200"/>
                </a:lnTo>
                <a:lnTo>
                  <a:pt x="5350" y="3204"/>
                </a:lnTo>
                <a:lnTo>
                  <a:pt x="5362" y="3206"/>
                </a:lnTo>
                <a:lnTo>
                  <a:pt x="5374" y="3209"/>
                </a:lnTo>
                <a:lnTo>
                  <a:pt x="5388" y="3210"/>
                </a:lnTo>
                <a:lnTo>
                  <a:pt x="5400" y="3211"/>
                </a:lnTo>
                <a:lnTo>
                  <a:pt x="5413" y="3211"/>
                </a:lnTo>
                <a:close/>
                <a:moveTo>
                  <a:pt x="5413" y="3968"/>
                </a:moveTo>
                <a:lnTo>
                  <a:pt x="5427" y="3968"/>
                </a:lnTo>
                <a:lnTo>
                  <a:pt x="5439" y="3967"/>
                </a:lnTo>
                <a:lnTo>
                  <a:pt x="5453" y="3964"/>
                </a:lnTo>
                <a:lnTo>
                  <a:pt x="5466" y="3962"/>
                </a:lnTo>
                <a:lnTo>
                  <a:pt x="5478" y="3959"/>
                </a:lnTo>
                <a:lnTo>
                  <a:pt x="5491" y="3956"/>
                </a:lnTo>
                <a:lnTo>
                  <a:pt x="5503" y="3952"/>
                </a:lnTo>
                <a:lnTo>
                  <a:pt x="5514" y="3947"/>
                </a:lnTo>
                <a:lnTo>
                  <a:pt x="5526" y="3942"/>
                </a:lnTo>
                <a:lnTo>
                  <a:pt x="5537" y="3937"/>
                </a:lnTo>
                <a:lnTo>
                  <a:pt x="5548" y="3931"/>
                </a:lnTo>
                <a:lnTo>
                  <a:pt x="5558" y="3923"/>
                </a:lnTo>
                <a:lnTo>
                  <a:pt x="5569" y="3916"/>
                </a:lnTo>
                <a:lnTo>
                  <a:pt x="5579" y="3908"/>
                </a:lnTo>
                <a:lnTo>
                  <a:pt x="5588" y="3900"/>
                </a:lnTo>
                <a:lnTo>
                  <a:pt x="5597" y="3891"/>
                </a:lnTo>
                <a:lnTo>
                  <a:pt x="5606" y="3882"/>
                </a:lnTo>
                <a:lnTo>
                  <a:pt x="5614" y="3873"/>
                </a:lnTo>
                <a:lnTo>
                  <a:pt x="5621" y="3863"/>
                </a:lnTo>
                <a:lnTo>
                  <a:pt x="5629" y="3852"/>
                </a:lnTo>
                <a:lnTo>
                  <a:pt x="5635" y="3842"/>
                </a:lnTo>
                <a:lnTo>
                  <a:pt x="5642" y="3832"/>
                </a:lnTo>
                <a:lnTo>
                  <a:pt x="5648" y="3820"/>
                </a:lnTo>
                <a:lnTo>
                  <a:pt x="5653" y="3808"/>
                </a:lnTo>
                <a:lnTo>
                  <a:pt x="5657" y="3797"/>
                </a:lnTo>
                <a:lnTo>
                  <a:pt x="5661" y="3784"/>
                </a:lnTo>
                <a:lnTo>
                  <a:pt x="5665" y="3772"/>
                </a:lnTo>
                <a:lnTo>
                  <a:pt x="5668" y="3760"/>
                </a:lnTo>
                <a:lnTo>
                  <a:pt x="5670" y="3747"/>
                </a:lnTo>
                <a:lnTo>
                  <a:pt x="5672" y="3734"/>
                </a:lnTo>
                <a:lnTo>
                  <a:pt x="5674" y="3720"/>
                </a:lnTo>
                <a:lnTo>
                  <a:pt x="5674" y="3707"/>
                </a:lnTo>
                <a:lnTo>
                  <a:pt x="5674" y="3694"/>
                </a:lnTo>
                <a:lnTo>
                  <a:pt x="5672" y="3680"/>
                </a:lnTo>
                <a:lnTo>
                  <a:pt x="5670" y="3668"/>
                </a:lnTo>
                <a:lnTo>
                  <a:pt x="5668" y="3655"/>
                </a:lnTo>
                <a:lnTo>
                  <a:pt x="5665" y="3642"/>
                </a:lnTo>
                <a:lnTo>
                  <a:pt x="5661" y="3630"/>
                </a:lnTo>
                <a:lnTo>
                  <a:pt x="5657" y="3618"/>
                </a:lnTo>
                <a:lnTo>
                  <a:pt x="5653" y="3606"/>
                </a:lnTo>
                <a:lnTo>
                  <a:pt x="5648" y="3595"/>
                </a:lnTo>
                <a:lnTo>
                  <a:pt x="5642" y="3584"/>
                </a:lnTo>
                <a:lnTo>
                  <a:pt x="5635" y="3572"/>
                </a:lnTo>
                <a:lnTo>
                  <a:pt x="5629" y="3562"/>
                </a:lnTo>
                <a:lnTo>
                  <a:pt x="5621" y="3552"/>
                </a:lnTo>
                <a:lnTo>
                  <a:pt x="5614" y="3541"/>
                </a:lnTo>
                <a:lnTo>
                  <a:pt x="5606" y="3532"/>
                </a:lnTo>
                <a:lnTo>
                  <a:pt x="5597" y="3523"/>
                </a:lnTo>
                <a:lnTo>
                  <a:pt x="5588" y="3515"/>
                </a:lnTo>
                <a:lnTo>
                  <a:pt x="5579" y="3506"/>
                </a:lnTo>
                <a:lnTo>
                  <a:pt x="5569" y="3498"/>
                </a:lnTo>
                <a:lnTo>
                  <a:pt x="5558" y="3491"/>
                </a:lnTo>
                <a:lnTo>
                  <a:pt x="5548" y="3485"/>
                </a:lnTo>
                <a:lnTo>
                  <a:pt x="5537" y="3479"/>
                </a:lnTo>
                <a:lnTo>
                  <a:pt x="5526" y="3472"/>
                </a:lnTo>
                <a:lnTo>
                  <a:pt x="5514" y="3467"/>
                </a:lnTo>
                <a:lnTo>
                  <a:pt x="5503" y="3462"/>
                </a:lnTo>
                <a:lnTo>
                  <a:pt x="5491" y="3458"/>
                </a:lnTo>
                <a:lnTo>
                  <a:pt x="5478" y="3455"/>
                </a:lnTo>
                <a:lnTo>
                  <a:pt x="5466" y="3452"/>
                </a:lnTo>
                <a:lnTo>
                  <a:pt x="5453" y="3450"/>
                </a:lnTo>
                <a:lnTo>
                  <a:pt x="5439" y="3448"/>
                </a:lnTo>
                <a:lnTo>
                  <a:pt x="5427" y="3447"/>
                </a:lnTo>
                <a:lnTo>
                  <a:pt x="5413" y="3447"/>
                </a:lnTo>
                <a:lnTo>
                  <a:pt x="5400" y="3447"/>
                </a:lnTo>
                <a:lnTo>
                  <a:pt x="5387" y="3448"/>
                </a:lnTo>
                <a:lnTo>
                  <a:pt x="5373" y="3450"/>
                </a:lnTo>
                <a:lnTo>
                  <a:pt x="5361" y="3452"/>
                </a:lnTo>
                <a:lnTo>
                  <a:pt x="5349" y="3455"/>
                </a:lnTo>
                <a:lnTo>
                  <a:pt x="5336" y="3458"/>
                </a:lnTo>
                <a:lnTo>
                  <a:pt x="5324" y="3462"/>
                </a:lnTo>
                <a:lnTo>
                  <a:pt x="5312" y="3467"/>
                </a:lnTo>
                <a:lnTo>
                  <a:pt x="5300" y="3472"/>
                </a:lnTo>
                <a:lnTo>
                  <a:pt x="5289" y="3479"/>
                </a:lnTo>
                <a:lnTo>
                  <a:pt x="5279" y="3485"/>
                </a:lnTo>
                <a:lnTo>
                  <a:pt x="5268" y="3491"/>
                </a:lnTo>
                <a:lnTo>
                  <a:pt x="5257" y="3498"/>
                </a:lnTo>
                <a:lnTo>
                  <a:pt x="5248" y="3506"/>
                </a:lnTo>
                <a:lnTo>
                  <a:pt x="5239" y="3515"/>
                </a:lnTo>
                <a:lnTo>
                  <a:pt x="5230" y="3523"/>
                </a:lnTo>
                <a:lnTo>
                  <a:pt x="5220" y="3532"/>
                </a:lnTo>
                <a:lnTo>
                  <a:pt x="5212" y="3541"/>
                </a:lnTo>
                <a:lnTo>
                  <a:pt x="5205" y="3552"/>
                </a:lnTo>
                <a:lnTo>
                  <a:pt x="5198" y="3562"/>
                </a:lnTo>
                <a:lnTo>
                  <a:pt x="5190" y="3572"/>
                </a:lnTo>
                <a:lnTo>
                  <a:pt x="5184" y="3584"/>
                </a:lnTo>
                <a:lnTo>
                  <a:pt x="5178" y="3595"/>
                </a:lnTo>
                <a:lnTo>
                  <a:pt x="5173" y="3606"/>
                </a:lnTo>
                <a:lnTo>
                  <a:pt x="5169" y="3618"/>
                </a:lnTo>
                <a:lnTo>
                  <a:pt x="5165" y="3630"/>
                </a:lnTo>
                <a:lnTo>
                  <a:pt x="5161" y="3642"/>
                </a:lnTo>
                <a:lnTo>
                  <a:pt x="5159" y="3655"/>
                </a:lnTo>
                <a:lnTo>
                  <a:pt x="5156" y="3668"/>
                </a:lnTo>
                <a:lnTo>
                  <a:pt x="5154" y="3680"/>
                </a:lnTo>
                <a:lnTo>
                  <a:pt x="5153" y="3694"/>
                </a:lnTo>
                <a:lnTo>
                  <a:pt x="5152" y="3707"/>
                </a:lnTo>
                <a:lnTo>
                  <a:pt x="5153" y="3720"/>
                </a:lnTo>
                <a:lnTo>
                  <a:pt x="5154" y="3734"/>
                </a:lnTo>
                <a:lnTo>
                  <a:pt x="5156" y="3747"/>
                </a:lnTo>
                <a:lnTo>
                  <a:pt x="5159" y="3760"/>
                </a:lnTo>
                <a:lnTo>
                  <a:pt x="5161" y="3772"/>
                </a:lnTo>
                <a:lnTo>
                  <a:pt x="5165" y="3784"/>
                </a:lnTo>
                <a:lnTo>
                  <a:pt x="5169" y="3797"/>
                </a:lnTo>
                <a:lnTo>
                  <a:pt x="5173" y="3808"/>
                </a:lnTo>
                <a:lnTo>
                  <a:pt x="5178" y="3820"/>
                </a:lnTo>
                <a:lnTo>
                  <a:pt x="5184" y="3832"/>
                </a:lnTo>
                <a:lnTo>
                  <a:pt x="5190" y="3842"/>
                </a:lnTo>
                <a:lnTo>
                  <a:pt x="5198" y="3852"/>
                </a:lnTo>
                <a:lnTo>
                  <a:pt x="5205" y="3863"/>
                </a:lnTo>
                <a:lnTo>
                  <a:pt x="5212" y="3873"/>
                </a:lnTo>
                <a:lnTo>
                  <a:pt x="5220" y="3882"/>
                </a:lnTo>
                <a:lnTo>
                  <a:pt x="5230" y="3891"/>
                </a:lnTo>
                <a:lnTo>
                  <a:pt x="5239" y="3900"/>
                </a:lnTo>
                <a:lnTo>
                  <a:pt x="5248" y="3908"/>
                </a:lnTo>
                <a:lnTo>
                  <a:pt x="5257" y="3916"/>
                </a:lnTo>
                <a:lnTo>
                  <a:pt x="5268" y="3923"/>
                </a:lnTo>
                <a:lnTo>
                  <a:pt x="5279" y="3931"/>
                </a:lnTo>
                <a:lnTo>
                  <a:pt x="5289" y="3937"/>
                </a:lnTo>
                <a:lnTo>
                  <a:pt x="5300" y="3942"/>
                </a:lnTo>
                <a:lnTo>
                  <a:pt x="5312" y="3947"/>
                </a:lnTo>
                <a:lnTo>
                  <a:pt x="5324" y="3952"/>
                </a:lnTo>
                <a:lnTo>
                  <a:pt x="5336" y="3956"/>
                </a:lnTo>
                <a:lnTo>
                  <a:pt x="5349" y="3959"/>
                </a:lnTo>
                <a:lnTo>
                  <a:pt x="5361" y="3962"/>
                </a:lnTo>
                <a:lnTo>
                  <a:pt x="5373" y="3964"/>
                </a:lnTo>
                <a:lnTo>
                  <a:pt x="5387" y="3967"/>
                </a:lnTo>
                <a:lnTo>
                  <a:pt x="5400" y="3968"/>
                </a:lnTo>
                <a:lnTo>
                  <a:pt x="5413" y="3968"/>
                </a:lnTo>
                <a:close/>
                <a:moveTo>
                  <a:pt x="7286" y="3211"/>
                </a:moveTo>
                <a:lnTo>
                  <a:pt x="7298" y="3211"/>
                </a:lnTo>
                <a:lnTo>
                  <a:pt x="7312" y="3210"/>
                </a:lnTo>
                <a:lnTo>
                  <a:pt x="7324" y="3209"/>
                </a:lnTo>
                <a:lnTo>
                  <a:pt x="7337" y="3206"/>
                </a:lnTo>
                <a:lnTo>
                  <a:pt x="7349" y="3204"/>
                </a:lnTo>
                <a:lnTo>
                  <a:pt x="7361" y="3200"/>
                </a:lnTo>
                <a:lnTo>
                  <a:pt x="7372" y="3196"/>
                </a:lnTo>
                <a:lnTo>
                  <a:pt x="7384" y="3191"/>
                </a:lnTo>
                <a:lnTo>
                  <a:pt x="7395" y="3186"/>
                </a:lnTo>
                <a:lnTo>
                  <a:pt x="7406" y="3181"/>
                </a:lnTo>
                <a:lnTo>
                  <a:pt x="7417" y="3175"/>
                </a:lnTo>
                <a:lnTo>
                  <a:pt x="7427" y="3168"/>
                </a:lnTo>
                <a:lnTo>
                  <a:pt x="7437" y="3161"/>
                </a:lnTo>
                <a:lnTo>
                  <a:pt x="7447" y="3153"/>
                </a:lnTo>
                <a:lnTo>
                  <a:pt x="7456" y="3146"/>
                </a:lnTo>
                <a:lnTo>
                  <a:pt x="7464" y="3137"/>
                </a:lnTo>
                <a:lnTo>
                  <a:pt x="7472" y="3129"/>
                </a:lnTo>
                <a:lnTo>
                  <a:pt x="7480" y="3119"/>
                </a:lnTo>
                <a:lnTo>
                  <a:pt x="7489" y="3110"/>
                </a:lnTo>
                <a:lnTo>
                  <a:pt x="7495" y="3100"/>
                </a:lnTo>
                <a:lnTo>
                  <a:pt x="7502" y="3089"/>
                </a:lnTo>
                <a:lnTo>
                  <a:pt x="7508" y="3079"/>
                </a:lnTo>
                <a:lnTo>
                  <a:pt x="7513" y="3068"/>
                </a:lnTo>
                <a:lnTo>
                  <a:pt x="7518" y="3056"/>
                </a:lnTo>
                <a:lnTo>
                  <a:pt x="7524" y="3045"/>
                </a:lnTo>
                <a:lnTo>
                  <a:pt x="7527" y="3034"/>
                </a:lnTo>
                <a:lnTo>
                  <a:pt x="7531" y="3021"/>
                </a:lnTo>
                <a:lnTo>
                  <a:pt x="7533" y="3009"/>
                </a:lnTo>
                <a:lnTo>
                  <a:pt x="7536" y="2997"/>
                </a:lnTo>
                <a:lnTo>
                  <a:pt x="7537" y="2984"/>
                </a:lnTo>
                <a:lnTo>
                  <a:pt x="7538" y="2971"/>
                </a:lnTo>
                <a:lnTo>
                  <a:pt x="7539" y="2959"/>
                </a:lnTo>
                <a:lnTo>
                  <a:pt x="7539" y="757"/>
                </a:lnTo>
                <a:lnTo>
                  <a:pt x="7538" y="744"/>
                </a:lnTo>
                <a:lnTo>
                  <a:pt x="7537" y="731"/>
                </a:lnTo>
                <a:lnTo>
                  <a:pt x="7536" y="719"/>
                </a:lnTo>
                <a:lnTo>
                  <a:pt x="7533" y="706"/>
                </a:lnTo>
                <a:lnTo>
                  <a:pt x="7531" y="694"/>
                </a:lnTo>
                <a:lnTo>
                  <a:pt x="7527" y="683"/>
                </a:lnTo>
                <a:lnTo>
                  <a:pt x="7524" y="670"/>
                </a:lnTo>
                <a:lnTo>
                  <a:pt x="7518" y="659"/>
                </a:lnTo>
                <a:lnTo>
                  <a:pt x="7513" y="648"/>
                </a:lnTo>
                <a:lnTo>
                  <a:pt x="7508" y="637"/>
                </a:lnTo>
                <a:lnTo>
                  <a:pt x="7502" y="626"/>
                </a:lnTo>
                <a:lnTo>
                  <a:pt x="7495" y="616"/>
                </a:lnTo>
                <a:lnTo>
                  <a:pt x="7489" y="606"/>
                </a:lnTo>
                <a:lnTo>
                  <a:pt x="7480" y="596"/>
                </a:lnTo>
                <a:lnTo>
                  <a:pt x="7472" y="587"/>
                </a:lnTo>
                <a:lnTo>
                  <a:pt x="7464" y="579"/>
                </a:lnTo>
                <a:lnTo>
                  <a:pt x="7456" y="570"/>
                </a:lnTo>
                <a:lnTo>
                  <a:pt x="7447" y="562"/>
                </a:lnTo>
                <a:lnTo>
                  <a:pt x="7437" y="555"/>
                </a:lnTo>
                <a:lnTo>
                  <a:pt x="7427" y="548"/>
                </a:lnTo>
                <a:lnTo>
                  <a:pt x="7417" y="540"/>
                </a:lnTo>
                <a:lnTo>
                  <a:pt x="7406" y="535"/>
                </a:lnTo>
                <a:lnTo>
                  <a:pt x="7395" y="529"/>
                </a:lnTo>
                <a:lnTo>
                  <a:pt x="7384" y="524"/>
                </a:lnTo>
                <a:lnTo>
                  <a:pt x="7372" y="520"/>
                </a:lnTo>
                <a:lnTo>
                  <a:pt x="7361" y="516"/>
                </a:lnTo>
                <a:lnTo>
                  <a:pt x="7349" y="513"/>
                </a:lnTo>
                <a:lnTo>
                  <a:pt x="7337" y="510"/>
                </a:lnTo>
                <a:lnTo>
                  <a:pt x="7324" y="508"/>
                </a:lnTo>
                <a:lnTo>
                  <a:pt x="7312" y="505"/>
                </a:lnTo>
                <a:lnTo>
                  <a:pt x="7298" y="504"/>
                </a:lnTo>
                <a:lnTo>
                  <a:pt x="7286" y="504"/>
                </a:lnTo>
                <a:lnTo>
                  <a:pt x="7273" y="504"/>
                </a:lnTo>
                <a:lnTo>
                  <a:pt x="7260" y="505"/>
                </a:lnTo>
                <a:lnTo>
                  <a:pt x="7248" y="508"/>
                </a:lnTo>
                <a:lnTo>
                  <a:pt x="7235" y="510"/>
                </a:lnTo>
                <a:lnTo>
                  <a:pt x="7223" y="513"/>
                </a:lnTo>
                <a:lnTo>
                  <a:pt x="7211" y="516"/>
                </a:lnTo>
                <a:lnTo>
                  <a:pt x="7200" y="520"/>
                </a:lnTo>
                <a:lnTo>
                  <a:pt x="7187" y="524"/>
                </a:lnTo>
                <a:lnTo>
                  <a:pt x="7177" y="529"/>
                </a:lnTo>
                <a:lnTo>
                  <a:pt x="7166" y="535"/>
                </a:lnTo>
                <a:lnTo>
                  <a:pt x="7156" y="540"/>
                </a:lnTo>
                <a:lnTo>
                  <a:pt x="7145" y="548"/>
                </a:lnTo>
                <a:lnTo>
                  <a:pt x="7135" y="555"/>
                </a:lnTo>
                <a:lnTo>
                  <a:pt x="7126" y="562"/>
                </a:lnTo>
                <a:lnTo>
                  <a:pt x="7117" y="570"/>
                </a:lnTo>
                <a:lnTo>
                  <a:pt x="7107" y="579"/>
                </a:lnTo>
                <a:lnTo>
                  <a:pt x="7099" y="587"/>
                </a:lnTo>
                <a:lnTo>
                  <a:pt x="7091" y="596"/>
                </a:lnTo>
                <a:lnTo>
                  <a:pt x="7084" y="606"/>
                </a:lnTo>
                <a:lnTo>
                  <a:pt x="7076" y="616"/>
                </a:lnTo>
                <a:lnTo>
                  <a:pt x="7070" y="626"/>
                </a:lnTo>
                <a:lnTo>
                  <a:pt x="7064" y="637"/>
                </a:lnTo>
                <a:lnTo>
                  <a:pt x="7059" y="648"/>
                </a:lnTo>
                <a:lnTo>
                  <a:pt x="7054" y="659"/>
                </a:lnTo>
                <a:lnTo>
                  <a:pt x="7049" y="670"/>
                </a:lnTo>
                <a:lnTo>
                  <a:pt x="7045" y="683"/>
                </a:lnTo>
                <a:lnTo>
                  <a:pt x="7042" y="694"/>
                </a:lnTo>
                <a:lnTo>
                  <a:pt x="7038" y="706"/>
                </a:lnTo>
                <a:lnTo>
                  <a:pt x="7036" y="719"/>
                </a:lnTo>
                <a:lnTo>
                  <a:pt x="7035" y="731"/>
                </a:lnTo>
                <a:lnTo>
                  <a:pt x="7034" y="744"/>
                </a:lnTo>
                <a:lnTo>
                  <a:pt x="7033" y="757"/>
                </a:lnTo>
                <a:lnTo>
                  <a:pt x="7033" y="2959"/>
                </a:lnTo>
                <a:lnTo>
                  <a:pt x="7034" y="2971"/>
                </a:lnTo>
                <a:lnTo>
                  <a:pt x="7035" y="2984"/>
                </a:lnTo>
                <a:lnTo>
                  <a:pt x="7036" y="2997"/>
                </a:lnTo>
                <a:lnTo>
                  <a:pt x="7038" y="3009"/>
                </a:lnTo>
                <a:lnTo>
                  <a:pt x="7042" y="3021"/>
                </a:lnTo>
                <a:lnTo>
                  <a:pt x="7045" y="3034"/>
                </a:lnTo>
                <a:lnTo>
                  <a:pt x="7049" y="3045"/>
                </a:lnTo>
                <a:lnTo>
                  <a:pt x="7054" y="3056"/>
                </a:lnTo>
                <a:lnTo>
                  <a:pt x="7059" y="3068"/>
                </a:lnTo>
                <a:lnTo>
                  <a:pt x="7064" y="3079"/>
                </a:lnTo>
                <a:lnTo>
                  <a:pt x="7070" y="3089"/>
                </a:lnTo>
                <a:lnTo>
                  <a:pt x="7076" y="3100"/>
                </a:lnTo>
                <a:lnTo>
                  <a:pt x="7084" y="3110"/>
                </a:lnTo>
                <a:lnTo>
                  <a:pt x="7091" y="3119"/>
                </a:lnTo>
                <a:lnTo>
                  <a:pt x="7099" y="3129"/>
                </a:lnTo>
                <a:lnTo>
                  <a:pt x="7107" y="3137"/>
                </a:lnTo>
                <a:lnTo>
                  <a:pt x="7117" y="3146"/>
                </a:lnTo>
                <a:lnTo>
                  <a:pt x="7126" y="3153"/>
                </a:lnTo>
                <a:lnTo>
                  <a:pt x="7135" y="3161"/>
                </a:lnTo>
                <a:lnTo>
                  <a:pt x="7145" y="3168"/>
                </a:lnTo>
                <a:lnTo>
                  <a:pt x="7156" y="3175"/>
                </a:lnTo>
                <a:lnTo>
                  <a:pt x="7166" y="3181"/>
                </a:lnTo>
                <a:lnTo>
                  <a:pt x="7177" y="3186"/>
                </a:lnTo>
                <a:lnTo>
                  <a:pt x="7187" y="3191"/>
                </a:lnTo>
                <a:lnTo>
                  <a:pt x="7200" y="3196"/>
                </a:lnTo>
                <a:lnTo>
                  <a:pt x="7211" y="3200"/>
                </a:lnTo>
                <a:lnTo>
                  <a:pt x="7223" y="3204"/>
                </a:lnTo>
                <a:lnTo>
                  <a:pt x="7235" y="3206"/>
                </a:lnTo>
                <a:lnTo>
                  <a:pt x="7248" y="3209"/>
                </a:lnTo>
                <a:lnTo>
                  <a:pt x="7260" y="3210"/>
                </a:lnTo>
                <a:lnTo>
                  <a:pt x="7273" y="3211"/>
                </a:lnTo>
                <a:lnTo>
                  <a:pt x="7286" y="3211"/>
                </a:lnTo>
                <a:close/>
                <a:moveTo>
                  <a:pt x="7286" y="3968"/>
                </a:moveTo>
                <a:lnTo>
                  <a:pt x="7300" y="3968"/>
                </a:lnTo>
                <a:lnTo>
                  <a:pt x="7313" y="3967"/>
                </a:lnTo>
                <a:lnTo>
                  <a:pt x="7325" y="3964"/>
                </a:lnTo>
                <a:lnTo>
                  <a:pt x="7339" y="3962"/>
                </a:lnTo>
                <a:lnTo>
                  <a:pt x="7351" y="3959"/>
                </a:lnTo>
                <a:lnTo>
                  <a:pt x="7363" y="3956"/>
                </a:lnTo>
                <a:lnTo>
                  <a:pt x="7376" y="3952"/>
                </a:lnTo>
                <a:lnTo>
                  <a:pt x="7387" y="3947"/>
                </a:lnTo>
                <a:lnTo>
                  <a:pt x="7398" y="3942"/>
                </a:lnTo>
                <a:lnTo>
                  <a:pt x="7410" y="3937"/>
                </a:lnTo>
                <a:lnTo>
                  <a:pt x="7421" y="3931"/>
                </a:lnTo>
                <a:lnTo>
                  <a:pt x="7431" y="3923"/>
                </a:lnTo>
                <a:lnTo>
                  <a:pt x="7441" y="3916"/>
                </a:lnTo>
                <a:lnTo>
                  <a:pt x="7452" y="3908"/>
                </a:lnTo>
                <a:lnTo>
                  <a:pt x="7461" y="3900"/>
                </a:lnTo>
                <a:lnTo>
                  <a:pt x="7470" y="3891"/>
                </a:lnTo>
                <a:lnTo>
                  <a:pt x="7478" y="3882"/>
                </a:lnTo>
                <a:lnTo>
                  <a:pt x="7487" y="3873"/>
                </a:lnTo>
                <a:lnTo>
                  <a:pt x="7495" y="3863"/>
                </a:lnTo>
                <a:lnTo>
                  <a:pt x="7502" y="3852"/>
                </a:lnTo>
                <a:lnTo>
                  <a:pt x="7508" y="3842"/>
                </a:lnTo>
                <a:lnTo>
                  <a:pt x="7514" y="3832"/>
                </a:lnTo>
                <a:lnTo>
                  <a:pt x="7521" y="3820"/>
                </a:lnTo>
                <a:lnTo>
                  <a:pt x="7526" y="3808"/>
                </a:lnTo>
                <a:lnTo>
                  <a:pt x="7531" y="3797"/>
                </a:lnTo>
                <a:lnTo>
                  <a:pt x="7535" y="3784"/>
                </a:lnTo>
                <a:lnTo>
                  <a:pt x="7538" y="3772"/>
                </a:lnTo>
                <a:lnTo>
                  <a:pt x="7541" y="3760"/>
                </a:lnTo>
                <a:lnTo>
                  <a:pt x="7543" y="3747"/>
                </a:lnTo>
                <a:lnTo>
                  <a:pt x="7545" y="3734"/>
                </a:lnTo>
                <a:lnTo>
                  <a:pt x="7546" y="3720"/>
                </a:lnTo>
                <a:lnTo>
                  <a:pt x="7546" y="3707"/>
                </a:lnTo>
                <a:lnTo>
                  <a:pt x="7546" y="3694"/>
                </a:lnTo>
                <a:lnTo>
                  <a:pt x="7545" y="3680"/>
                </a:lnTo>
                <a:lnTo>
                  <a:pt x="7543" y="3668"/>
                </a:lnTo>
                <a:lnTo>
                  <a:pt x="7541" y="3655"/>
                </a:lnTo>
                <a:lnTo>
                  <a:pt x="7538" y="3642"/>
                </a:lnTo>
                <a:lnTo>
                  <a:pt x="7535" y="3630"/>
                </a:lnTo>
                <a:lnTo>
                  <a:pt x="7531" y="3618"/>
                </a:lnTo>
                <a:lnTo>
                  <a:pt x="7526" y="3606"/>
                </a:lnTo>
                <a:lnTo>
                  <a:pt x="7521" y="3595"/>
                </a:lnTo>
                <a:lnTo>
                  <a:pt x="7514" y="3584"/>
                </a:lnTo>
                <a:lnTo>
                  <a:pt x="7508" y="3572"/>
                </a:lnTo>
                <a:lnTo>
                  <a:pt x="7502" y="3562"/>
                </a:lnTo>
                <a:lnTo>
                  <a:pt x="7495" y="3552"/>
                </a:lnTo>
                <a:lnTo>
                  <a:pt x="7487" y="3541"/>
                </a:lnTo>
                <a:lnTo>
                  <a:pt x="7478" y="3532"/>
                </a:lnTo>
                <a:lnTo>
                  <a:pt x="7470" y="3523"/>
                </a:lnTo>
                <a:lnTo>
                  <a:pt x="7461" y="3515"/>
                </a:lnTo>
                <a:lnTo>
                  <a:pt x="7452" y="3506"/>
                </a:lnTo>
                <a:lnTo>
                  <a:pt x="7441" y="3498"/>
                </a:lnTo>
                <a:lnTo>
                  <a:pt x="7431" y="3491"/>
                </a:lnTo>
                <a:lnTo>
                  <a:pt x="7421" y="3485"/>
                </a:lnTo>
                <a:lnTo>
                  <a:pt x="7410" y="3479"/>
                </a:lnTo>
                <a:lnTo>
                  <a:pt x="7398" y="3472"/>
                </a:lnTo>
                <a:lnTo>
                  <a:pt x="7387" y="3467"/>
                </a:lnTo>
                <a:lnTo>
                  <a:pt x="7376" y="3462"/>
                </a:lnTo>
                <a:lnTo>
                  <a:pt x="7363" y="3458"/>
                </a:lnTo>
                <a:lnTo>
                  <a:pt x="7351" y="3455"/>
                </a:lnTo>
                <a:lnTo>
                  <a:pt x="7339" y="3452"/>
                </a:lnTo>
                <a:lnTo>
                  <a:pt x="7325" y="3450"/>
                </a:lnTo>
                <a:lnTo>
                  <a:pt x="7313" y="3448"/>
                </a:lnTo>
                <a:lnTo>
                  <a:pt x="7300" y="3447"/>
                </a:lnTo>
                <a:lnTo>
                  <a:pt x="7286" y="3447"/>
                </a:lnTo>
                <a:lnTo>
                  <a:pt x="7273" y="3447"/>
                </a:lnTo>
                <a:lnTo>
                  <a:pt x="7259" y="3448"/>
                </a:lnTo>
                <a:lnTo>
                  <a:pt x="7246" y="3450"/>
                </a:lnTo>
                <a:lnTo>
                  <a:pt x="7234" y="3452"/>
                </a:lnTo>
                <a:lnTo>
                  <a:pt x="7221" y="3455"/>
                </a:lnTo>
                <a:lnTo>
                  <a:pt x="7209" y="3458"/>
                </a:lnTo>
                <a:lnTo>
                  <a:pt x="7197" y="3462"/>
                </a:lnTo>
                <a:lnTo>
                  <a:pt x="7184" y="3467"/>
                </a:lnTo>
                <a:lnTo>
                  <a:pt x="7173" y="3472"/>
                </a:lnTo>
                <a:lnTo>
                  <a:pt x="7162" y="3479"/>
                </a:lnTo>
                <a:lnTo>
                  <a:pt x="7152" y="3485"/>
                </a:lnTo>
                <a:lnTo>
                  <a:pt x="7140" y="3491"/>
                </a:lnTo>
                <a:lnTo>
                  <a:pt x="7131" y="3498"/>
                </a:lnTo>
                <a:lnTo>
                  <a:pt x="7121" y="3506"/>
                </a:lnTo>
                <a:lnTo>
                  <a:pt x="7111" y="3515"/>
                </a:lnTo>
                <a:lnTo>
                  <a:pt x="7102" y="3523"/>
                </a:lnTo>
                <a:lnTo>
                  <a:pt x="7094" y="3532"/>
                </a:lnTo>
                <a:lnTo>
                  <a:pt x="7086" y="3541"/>
                </a:lnTo>
                <a:lnTo>
                  <a:pt x="7078" y="3552"/>
                </a:lnTo>
                <a:lnTo>
                  <a:pt x="7070" y="3562"/>
                </a:lnTo>
                <a:lnTo>
                  <a:pt x="7063" y="3572"/>
                </a:lnTo>
                <a:lnTo>
                  <a:pt x="7057" y="3584"/>
                </a:lnTo>
                <a:lnTo>
                  <a:pt x="7052" y="3595"/>
                </a:lnTo>
                <a:lnTo>
                  <a:pt x="7047" y="3606"/>
                </a:lnTo>
                <a:lnTo>
                  <a:pt x="7042" y="3618"/>
                </a:lnTo>
                <a:lnTo>
                  <a:pt x="7037" y="3630"/>
                </a:lnTo>
                <a:lnTo>
                  <a:pt x="7034" y="3642"/>
                </a:lnTo>
                <a:lnTo>
                  <a:pt x="7031" y="3655"/>
                </a:lnTo>
                <a:lnTo>
                  <a:pt x="7029" y="3668"/>
                </a:lnTo>
                <a:lnTo>
                  <a:pt x="7027" y="3680"/>
                </a:lnTo>
                <a:lnTo>
                  <a:pt x="7026" y="3694"/>
                </a:lnTo>
                <a:lnTo>
                  <a:pt x="7026" y="3707"/>
                </a:lnTo>
                <a:lnTo>
                  <a:pt x="7026" y="3720"/>
                </a:lnTo>
                <a:lnTo>
                  <a:pt x="7027" y="3734"/>
                </a:lnTo>
                <a:lnTo>
                  <a:pt x="7029" y="3747"/>
                </a:lnTo>
                <a:lnTo>
                  <a:pt x="7031" y="3760"/>
                </a:lnTo>
                <a:lnTo>
                  <a:pt x="7034" y="3772"/>
                </a:lnTo>
                <a:lnTo>
                  <a:pt x="7037" y="3784"/>
                </a:lnTo>
                <a:lnTo>
                  <a:pt x="7042" y="3797"/>
                </a:lnTo>
                <a:lnTo>
                  <a:pt x="7047" y="3808"/>
                </a:lnTo>
                <a:lnTo>
                  <a:pt x="7052" y="3820"/>
                </a:lnTo>
                <a:lnTo>
                  <a:pt x="7057" y="3832"/>
                </a:lnTo>
                <a:lnTo>
                  <a:pt x="7063" y="3842"/>
                </a:lnTo>
                <a:lnTo>
                  <a:pt x="7070" y="3852"/>
                </a:lnTo>
                <a:lnTo>
                  <a:pt x="7078" y="3863"/>
                </a:lnTo>
                <a:lnTo>
                  <a:pt x="7086" y="3873"/>
                </a:lnTo>
                <a:lnTo>
                  <a:pt x="7094" y="3882"/>
                </a:lnTo>
                <a:lnTo>
                  <a:pt x="7102" y="3891"/>
                </a:lnTo>
                <a:lnTo>
                  <a:pt x="7111" y="3900"/>
                </a:lnTo>
                <a:lnTo>
                  <a:pt x="7121" y="3908"/>
                </a:lnTo>
                <a:lnTo>
                  <a:pt x="7131" y="3916"/>
                </a:lnTo>
                <a:lnTo>
                  <a:pt x="7140" y="3923"/>
                </a:lnTo>
                <a:lnTo>
                  <a:pt x="7152" y="3931"/>
                </a:lnTo>
                <a:lnTo>
                  <a:pt x="7162" y="3937"/>
                </a:lnTo>
                <a:lnTo>
                  <a:pt x="7173" y="3942"/>
                </a:lnTo>
                <a:lnTo>
                  <a:pt x="7184" y="3947"/>
                </a:lnTo>
                <a:lnTo>
                  <a:pt x="7197" y="3952"/>
                </a:lnTo>
                <a:lnTo>
                  <a:pt x="7209" y="3956"/>
                </a:lnTo>
                <a:lnTo>
                  <a:pt x="7221" y="3959"/>
                </a:lnTo>
                <a:lnTo>
                  <a:pt x="7234" y="3962"/>
                </a:lnTo>
                <a:lnTo>
                  <a:pt x="7246" y="3964"/>
                </a:lnTo>
                <a:lnTo>
                  <a:pt x="7259" y="3967"/>
                </a:lnTo>
                <a:lnTo>
                  <a:pt x="7273" y="3968"/>
                </a:lnTo>
                <a:lnTo>
                  <a:pt x="7286" y="3968"/>
                </a:lnTo>
                <a:close/>
                <a:moveTo>
                  <a:pt x="9159" y="3211"/>
                </a:moveTo>
                <a:lnTo>
                  <a:pt x="9172" y="3211"/>
                </a:lnTo>
                <a:lnTo>
                  <a:pt x="9185" y="3210"/>
                </a:lnTo>
                <a:lnTo>
                  <a:pt x="9197" y="3209"/>
                </a:lnTo>
                <a:lnTo>
                  <a:pt x="9209" y="3206"/>
                </a:lnTo>
                <a:lnTo>
                  <a:pt x="9222" y="3204"/>
                </a:lnTo>
                <a:lnTo>
                  <a:pt x="9234" y="3200"/>
                </a:lnTo>
                <a:lnTo>
                  <a:pt x="9245" y="3196"/>
                </a:lnTo>
                <a:lnTo>
                  <a:pt x="9256" y="3191"/>
                </a:lnTo>
                <a:lnTo>
                  <a:pt x="9268" y="3186"/>
                </a:lnTo>
                <a:lnTo>
                  <a:pt x="9279" y="3181"/>
                </a:lnTo>
                <a:lnTo>
                  <a:pt x="9289" y="3175"/>
                </a:lnTo>
                <a:lnTo>
                  <a:pt x="9300" y="3168"/>
                </a:lnTo>
                <a:lnTo>
                  <a:pt x="9310" y="3161"/>
                </a:lnTo>
                <a:lnTo>
                  <a:pt x="9319" y="3153"/>
                </a:lnTo>
                <a:lnTo>
                  <a:pt x="9328" y="3146"/>
                </a:lnTo>
                <a:lnTo>
                  <a:pt x="9338" y="3137"/>
                </a:lnTo>
                <a:lnTo>
                  <a:pt x="9346" y="3129"/>
                </a:lnTo>
                <a:lnTo>
                  <a:pt x="9353" y="3119"/>
                </a:lnTo>
                <a:lnTo>
                  <a:pt x="9361" y="3110"/>
                </a:lnTo>
                <a:lnTo>
                  <a:pt x="9369" y="3100"/>
                </a:lnTo>
                <a:lnTo>
                  <a:pt x="9375" y="3089"/>
                </a:lnTo>
                <a:lnTo>
                  <a:pt x="9381" y="3079"/>
                </a:lnTo>
                <a:lnTo>
                  <a:pt x="9386" y="3068"/>
                </a:lnTo>
                <a:lnTo>
                  <a:pt x="9391" y="3056"/>
                </a:lnTo>
                <a:lnTo>
                  <a:pt x="9396" y="3045"/>
                </a:lnTo>
                <a:lnTo>
                  <a:pt x="9400" y="3034"/>
                </a:lnTo>
                <a:lnTo>
                  <a:pt x="9403" y="3021"/>
                </a:lnTo>
                <a:lnTo>
                  <a:pt x="9407" y="3009"/>
                </a:lnTo>
                <a:lnTo>
                  <a:pt x="9409" y="2997"/>
                </a:lnTo>
                <a:lnTo>
                  <a:pt x="9410" y="2984"/>
                </a:lnTo>
                <a:lnTo>
                  <a:pt x="9411" y="2971"/>
                </a:lnTo>
                <a:lnTo>
                  <a:pt x="9412" y="2959"/>
                </a:lnTo>
                <a:lnTo>
                  <a:pt x="9412" y="757"/>
                </a:lnTo>
                <a:lnTo>
                  <a:pt x="9411" y="744"/>
                </a:lnTo>
                <a:lnTo>
                  <a:pt x="9410" y="731"/>
                </a:lnTo>
                <a:lnTo>
                  <a:pt x="9409" y="719"/>
                </a:lnTo>
                <a:lnTo>
                  <a:pt x="9407" y="706"/>
                </a:lnTo>
                <a:lnTo>
                  <a:pt x="9403" y="694"/>
                </a:lnTo>
                <a:lnTo>
                  <a:pt x="9400" y="683"/>
                </a:lnTo>
                <a:lnTo>
                  <a:pt x="9396" y="670"/>
                </a:lnTo>
                <a:lnTo>
                  <a:pt x="9391" y="659"/>
                </a:lnTo>
                <a:lnTo>
                  <a:pt x="9386" y="648"/>
                </a:lnTo>
                <a:lnTo>
                  <a:pt x="9381" y="637"/>
                </a:lnTo>
                <a:lnTo>
                  <a:pt x="9375" y="626"/>
                </a:lnTo>
                <a:lnTo>
                  <a:pt x="9369" y="616"/>
                </a:lnTo>
                <a:lnTo>
                  <a:pt x="9361" y="606"/>
                </a:lnTo>
                <a:lnTo>
                  <a:pt x="9353" y="596"/>
                </a:lnTo>
                <a:lnTo>
                  <a:pt x="9346" y="587"/>
                </a:lnTo>
                <a:lnTo>
                  <a:pt x="9338" y="579"/>
                </a:lnTo>
                <a:lnTo>
                  <a:pt x="9328" y="570"/>
                </a:lnTo>
                <a:lnTo>
                  <a:pt x="9319" y="562"/>
                </a:lnTo>
                <a:lnTo>
                  <a:pt x="9310" y="555"/>
                </a:lnTo>
                <a:lnTo>
                  <a:pt x="9300" y="548"/>
                </a:lnTo>
                <a:lnTo>
                  <a:pt x="9289" y="540"/>
                </a:lnTo>
                <a:lnTo>
                  <a:pt x="9279" y="535"/>
                </a:lnTo>
                <a:lnTo>
                  <a:pt x="9268" y="529"/>
                </a:lnTo>
                <a:lnTo>
                  <a:pt x="9256" y="524"/>
                </a:lnTo>
                <a:lnTo>
                  <a:pt x="9245" y="520"/>
                </a:lnTo>
                <a:lnTo>
                  <a:pt x="9234" y="516"/>
                </a:lnTo>
                <a:lnTo>
                  <a:pt x="9222" y="513"/>
                </a:lnTo>
                <a:lnTo>
                  <a:pt x="9209" y="510"/>
                </a:lnTo>
                <a:lnTo>
                  <a:pt x="9197" y="508"/>
                </a:lnTo>
                <a:lnTo>
                  <a:pt x="9185" y="505"/>
                </a:lnTo>
                <a:lnTo>
                  <a:pt x="9172" y="504"/>
                </a:lnTo>
                <a:lnTo>
                  <a:pt x="9159" y="504"/>
                </a:lnTo>
                <a:lnTo>
                  <a:pt x="9145" y="504"/>
                </a:lnTo>
                <a:lnTo>
                  <a:pt x="9133" y="505"/>
                </a:lnTo>
                <a:lnTo>
                  <a:pt x="9121" y="508"/>
                </a:lnTo>
                <a:lnTo>
                  <a:pt x="9108" y="510"/>
                </a:lnTo>
                <a:lnTo>
                  <a:pt x="9096" y="513"/>
                </a:lnTo>
                <a:lnTo>
                  <a:pt x="9084" y="516"/>
                </a:lnTo>
                <a:lnTo>
                  <a:pt x="9073" y="520"/>
                </a:lnTo>
                <a:lnTo>
                  <a:pt x="9061" y="524"/>
                </a:lnTo>
                <a:lnTo>
                  <a:pt x="9050" y="529"/>
                </a:lnTo>
                <a:lnTo>
                  <a:pt x="9039" y="535"/>
                </a:lnTo>
                <a:lnTo>
                  <a:pt x="9028" y="540"/>
                </a:lnTo>
                <a:lnTo>
                  <a:pt x="9018" y="548"/>
                </a:lnTo>
                <a:lnTo>
                  <a:pt x="9008" y="555"/>
                </a:lnTo>
                <a:lnTo>
                  <a:pt x="8998" y="562"/>
                </a:lnTo>
                <a:lnTo>
                  <a:pt x="8989" y="570"/>
                </a:lnTo>
                <a:lnTo>
                  <a:pt x="8981" y="579"/>
                </a:lnTo>
                <a:lnTo>
                  <a:pt x="8972" y="587"/>
                </a:lnTo>
                <a:lnTo>
                  <a:pt x="8965" y="596"/>
                </a:lnTo>
                <a:lnTo>
                  <a:pt x="8956" y="606"/>
                </a:lnTo>
                <a:lnTo>
                  <a:pt x="8949" y="616"/>
                </a:lnTo>
                <a:lnTo>
                  <a:pt x="8943" y="626"/>
                </a:lnTo>
                <a:lnTo>
                  <a:pt x="8937" y="637"/>
                </a:lnTo>
                <a:lnTo>
                  <a:pt x="8932" y="648"/>
                </a:lnTo>
                <a:lnTo>
                  <a:pt x="8927" y="659"/>
                </a:lnTo>
                <a:lnTo>
                  <a:pt x="8921" y="670"/>
                </a:lnTo>
                <a:lnTo>
                  <a:pt x="8918" y="683"/>
                </a:lnTo>
                <a:lnTo>
                  <a:pt x="8914" y="694"/>
                </a:lnTo>
                <a:lnTo>
                  <a:pt x="8911" y="706"/>
                </a:lnTo>
                <a:lnTo>
                  <a:pt x="8909" y="719"/>
                </a:lnTo>
                <a:lnTo>
                  <a:pt x="8908" y="731"/>
                </a:lnTo>
                <a:lnTo>
                  <a:pt x="8907" y="744"/>
                </a:lnTo>
                <a:lnTo>
                  <a:pt x="8906" y="757"/>
                </a:lnTo>
                <a:lnTo>
                  <a:pt x="8906" y="2959"/>
                </a:lnTo>
                <a:lnTo>
                  <a:pt x="8907" y="2971"/>
                </a:lnTo>
                <a:lnTo>
                  <a:pt x="8908" y="2984"/>
                </a:lnTo>
                <a:lnTo>
                  <a:pt x="8909" y="2997"/>
                </a:lnTo>
                <a:lnTo>
                  <a:pt x="8911" y="3009"/>
                </a:lnTo>
                <a:lnTo>
                  <a:pt x="8914" y="3021"/>
                </a:lnTo>
                <a:lnTo>
                  <a:pt x="8918" y="3034"/>
                </a:lnTo>
                <a:lnTo>
                  <a:pt x="8921" y="3045"/>
                </a:lnTo>
                <a:lnTo>
                  <a:pt x="8927" y="3056"/>
                </a:lnTo>
                <a:lnTo>
                  <a:pt x="8932" y="3068"/>
                </a:lnTo>
                <a:lnTo>
                  <a:pt x="8937" y="3079"/>
                </a:lnTo>
                <a:lnTo>
                  <a:pt x="8943" y="3089"/>
                </a:lnTo>
                <a:lnTo>
                  <a:pt x="8949" y="3100"/>
                </a:lnTo>
                <a:lnTo>
                  <a:pt x="8956" y="3110"/>
                </a:lnTo>
                <a:lnTo>
                  <a:pt x="8965" y="3119"/>
                </a:lnTo>
                <a:lnTo>
                  <a:pt x="8972" y="3129"/>
                </a:lnTo>
                <a:lnTo>
                  <a:pt x="8981" y="3137"/>
                </a:lnTo>
                <a:lnTo>
                  <a:pt x="8989" y="3146"/>
                </a:lnTo>
                <a:lnTo>
                  <a:pt x="8998" y="3153"/>
                </a:lnTo>
                <a:lnTo>
                  <a:pt x="9008" y="3161"/>
                </a:lnTo>
                <a:lnTo>
                  <a:pt x="9018" y="3168"/>
                </a:lnTo>
                <a:lnTo>
                  <a:pt x="9028" y="3175"/>
                </a:lnTo>
                <a:lnTo>
                  <a:pt x="9039" y="3181"/>
                </a:lnTo>
                <a:lnTo>
                  <a:pt x="9050" y="3186"/>
                </a:lnTo>
                <a:lnTo>
                  <a:pt x="9061" y="3191"/>
                </a:lnTo>
                <a:lnTo>
                  <a:pt x="9073" y="3196"/>
                </a:lnTo>
                <a:lnTo>
                  <a:pt x="9084" y="3200"/>
                </a:lnTo>
                <a:lnTo>
                  <a:pt x="9096" y="3204"/>
                </a:lnTo>
                <a:lnTo>
                  <a:pt x="9108" y="3206"/>
                </a:lnTo>
                <a:lnTo>
                  <a:pt x="9121" y="3209"/>
                </a:lnTo>
                <a:lnTo>
                  <a:pt x="9133" y="3210"/>
                </a:lnTo>
                <a:lnTo>
                  <a:pt x="9145" y="3211"/>
                </a:lnTo>
                <a:lnTo>
                  <a:pt x="9159" y="3211"/>
                </a:lnTo>
                <a:close/>
                <a:moveTo>
                  <a:pt x="9159" y="3968"/>
                </a:moveTo>
                <a:lnTo>
                  <a:pt x="9172" y="3968"/>
                </a:lnTo>
                <a:lnTo>
                  <a:pt x="9186" y="3967"/>
                </a:lnTo>
                <a:lnTo>
                  <a:pt x="9199" y="3964"/>
                </a:lnTo>
                <a:lnTo>
                  <a:pt x="9211" y="3962"/>
                </a:lnTo>
                <a:lnTo>
                  <a:pt x="9224" y="3959"/>
                </a:lnTo>
                <a:lnTo>
                  <a:pt x="9236" y="3956"/>
                </a:lnTo>
                <a:lnTo>
                  <a:pt x="9248" y="3952"/>
                </a:lnTo>
                <a:lnTo>
                  <a:pt x="9261" y="3947"/>
                </a:lnTo>
                <a:lnTo>
                  <a:pt x="9272" y="3942"/>
                </a:lnTo>
                <a:lnTo>
                  <a:pt x="9283" y="3937"/>
                </a:lnTo>
                <a:lnTo>
                  <a:pt x="9293" y="3931"/>
                </a:lnTo>
                <a:lnTo>
                  <a:pt x="9305" y="3923"/>
                </a:lnTo>
                <a:lnTo>
                  <a:pt x="9314" y="3916"/>
                </a:lnTo>
                <a:lnTo>
                  <a:pt x="9324" y="3908"/>
                </a:lnTo>
                <a:lnTo>
                  <a:pt x="9334" y="3900"/>
                </a:lnTo>
                <a:lnTo>
                  <a:pt x="9343" y="3891"/>
                </a:lnTo>
                <a:lnTo>
                  <a:pt x="9351" y="3882"/>
                </a:lnTo>
                <a:lnTo>
                  <a:pt x="9359" y="3873"/>
                </a:lnTo>
                <a:lnTo>
                  <a:pt x="9367" y="3863"/>
                </a:lnTo>
                <a:lnTo>
                  <a:pt x="9375" y="3852"/>
                </a:lnTo>
                <a:lnTo>
                  <a:pt x="9382" y="3842"/>
                </a:lnTo>
                <a:lnTo>
                  <a:pt x="9388" y="3832"/>
                </a:lnTo>
                <a:lnTo>
                  <a:pt x="9393" y="3820"/>
                </a:lnTo>
                <a:lnTo>
                  <a:pt x="9398" y="3808"/>
                </a:lnTo>
                <a:lnTo>
                  <a:pt x="9403" y="3797"/>
                </a:lnTo>
                <a:lnTo>
                  <a:pt x="9408" y="3784"/>
                </a:lnTo>
                <a:lnTo>
                  <a:pt x="9411" y="3772"/>
                </a:lnTo>
                <a:lnTo>
                  <a:pt x="9414" y="3760"/>
                </a:lnTo>
                <a:lnTo>
                  <a:pt x="9416" y="3747"/>
                </a:lnTo>
                <a:lnTo>
                  <a:pt x="9418" y="3734"/>
                </a:lnTo>
                <a:lnTo>
                  <a:pt x="9419" y="3720"/>
                </a:lnTo>
                <a:lnTo>
                  <a:pt x="9419" y="3707"/>
                </a:lnTo>
                <a:lnTo>
                  <a:pt x="9419" y="3694"/>
                </a:lnTo>
                <a:lnTo>
                  <a:pt x="9418" y="3680"/>
                </a:lnTo>
                <a:lnTo>
                  <a:pt x="9416" y="3668"/>
                </a:lnTo>
                <a:lnTo>
                  <a:pt x="9414" y="3655"/>
                </a:lnTo>
                <a:lnTo>
                  <a:pt x="9411" y="3642"/>
                </a:lnTo>
                <a:lnTo>
                  <a:pt x="9408" y="3630"/>
                </a:lnTo>
                <a:lnTo>
                  <a:pt x="9403" y="3618"/>
                </a:lnTo>
                <a:lnTo>
                  <a:pt x="9398" y="3606"/>
                </a:lnTo>
                <a:lnTo>
                  <a:pt x="9393" y="3595"/>
                </a:lnTo>
                <a:lnTo>
                  <a:pt x="9388" y="3584"/>
                </a:lnTo>
                <a:lnTo>
                  <a:pt x="9382" y="3572"/>
                </a:lnTo>
                <a:lnTo>
                  <a:pt x="9375" y="3562"/>
                </a:lnTo>
                <a:lnTo>
                  <a:pt x="9367" y="3552"/>
                </a:lnTo>
                <a:lnTo>
                  <a:pt x="9359" y="3541"/>
                </a:lnTo>
                <a:lnTo>
                  <a:pt x="9351" y="3532"/>
                </a:lnTo>
                <a:lnTo>
                  <a:pt x="9343" y="3523"/>
                </a:lnTo>
                <a:lnTo>
                  <a:pt x="9334" y="3515"/>
                </a:lnTo>
                <a:lnTo>
                  <a:pt x="9324" y="3506"/>
                </a:lnTo>
                <a:lnTo>
                  <a:pt x="9314" y="3498"/>
                </a:lnTo>
                <a:lnTo>
                  <a:pt x="9305" y="3491"/>
                </a:lnTo>
                <a:lnTo>
                  <a:pt x="9293" y="3485"/>
                </a:lnTo>
                <a:lnTo>
                  <a:pt x="9283" y="3479"/>
                </a:lnTo>
                <a:lnTo>
                  <a:pt x="9272" y="3472"/>
                </a:lnTo>
                <a:lnTo>
                  <a:pt x="9261" y="3467"/>
                </a:lnTo>
                <a:lnTo>
                  <a:pt x="9248" y="3462"/>
                </a:lnTo>
                <a:lnTo>
                  <a:pt x="9236" y="3458"/>
                </a:lnTo>
                <a:lnTo>
                  <a:pt x="9224" y="3455"/>
                </a:lnTo>
                <a:lnTo>
                  <a:pt x="9211" y="3452"/>
                </a:lnTo>
                <a:lnTo>
                  <a:pt x="9199" y="3450"/>
                </a:lnTo>
                <a:lnTo>
                  <a:pt x="9186" y="3448"/>
                </a:lnTo>
                <a:lnTo>
                  <a:pt x="9172" y="3447"/>
                </a:lnTo>
                <a:lnTo>
                  <a:pt x="9159" y="3447"/>
                </a:lnTo>
                <a:lnTo>
                  <a:pt x="9145" y="3447"/>
                </a:lnTo>
                <a:lnTo>
                  <a:pt x="9132" y="3448"/>
                </a:lnTo>
                <a:lnTo>
                  <a:pt x="9120" y="3450"/>
                </a:lnTo>
                <a:lnTo>
                  <a:pt x="9106" y="3452"/>
                </a:lnTo>
                <a:lnTo>
                  <a:pt x="9094" y="3455"/>
                </a:lnTo>
                <a:lnTo>
                  <a:pt x="9082" y="3458"/>
                </a:lnTo>
                <a:lnTo>
                  <a:pt x="9069" y="3462"/>
                </a:lnTo>
                <a:lnTo>
                  <a:pt x="9058" y="3467"/>
                </a:lnTo>
                <a:lnTo>
                  <a:pt x="9046" y="3472"/>
                </a:lnTo>
                <a:lnTo>
                  <a:pt x="9035" y="3479"/>
                </a:lnTo>
                <a:lnTo>
                  <a:pt x="9024" y="3485"/>
                </a:lnTo>
                <a:lnTo>
                  <a:pt x="9014" y="3491"/>
                </a:lnTo>
                <a:lnTo>
                  <a:pt x="9004" y="3498"/>
                </a:lnTo>
                <a:lnTo>
                  <a:pt x="8993" y="3506"/>
                </a:lnTo>
                <a:lnTo>
                  <a:pt x="8984" y="3515"/>
                </a:lnTo>
                <a:lnTo>
                  <a:pt x="8975" y="3523"/>
                </a:lnTo>
                <a:lnTo>
                  <a:pt x="8967" y="3532"/>
                </a:lnTo>
                <a:lnTo>
                  <a:pt x="8958" y="3541"/>
                </a:lnTo>
                <a:lnTo>
                  <a:pt x="8950" y="3552"/>
                </a:lnTo>
                <a:lnTo>
                  <a:pt x="8943" y="3562"/>
                </a:lnTo>
                <a:lnTo>
                  <a:pt x="8937" y="3572"/>
                </a:lnTo>
                <a:lnTo>
                  <a:pt x="8931" y="3584"/>
                </a:lnTo>
                <a:lnTo>
                  <a:pt x="8924" y="3595"/>
                </a:lnTo>
                <a:lnTo>
                  <a:pt x="8919" y="3606"/>
                </a:lnTo>
                <a:lnTo>
                  <a:pt x="8914" y="3618"/>
                </a:lnTo>
                <a:lnTo>
                  <a:pt x="8910" y="3630"/>
                </a:lnTo>
                <a:lnTo>
                  <a:pt x="8907" y="3642"/>
                </a:lnTo>
                <a:lnTo>
                  <a:pt x="8904" y="3655"/>
                </a:lnTo>
                <a:lnTo>
                  <a:pt x="8902" y="3668"/>
                </a:lnTo>
                <a:lnTo>
                  <a:pt x="8900" y="3680"/>
                </a:lnTo>
                <a:lnTo>
                  <a:pt x="8899" y="3694"/>
                </a:lnTo>
                <a:lnTo>
                  <a:pt x="8899" y="3707"/>
                </a:lnTo>
                <a:lnTo>
                  <a:pt x="8899" y="3720"/>
                </a:lnTo>
                <a:lnTo>
                  <a:pt x="8900" y="3734"/>
                </a:lnTo>
                <a:lnTo>
                  <a:pt x="8902" y="3747"/>
                </a:lnTo>
                <a:lnTo>
                  <a:pt x="8904" y="3760"/>
                </a:lnTo>
                <a:lnTo>
                  <a:pt x="8907" y="3772"/>
                </a:lnTo>
                <a:lnTo>
                  <a:pt x="8910" y="3784"/>
                </a:lnTo>
                <a:lnTo>
                  <a:pt x="8914" y="3797"/>
                </a:lnTo>
                <a:lnTo>
                  <a:pt x="8919" y="3808"/>
                </a:lnTo>
                <a:lnTo>
                  <a:pt x="8924" y="3820"/>
                </a:lnTo>
                <a:lnTo>
                  <a:pt x="8931" y="3832"/>
                </a:lnTo>
                <a:lnTo>
                  <a:pt x="8937" y="3842"/>
                </a:lnTo>
                <a:lnTo>
                  <a:pt x="8943" y="3852"/>
                </a:lnTo>
                <a:lnTo>
                  <a:pt x="8950" y="3863"/>
                </a:lnTo>
                <a:lnTo>
                  <a:pt x="8958" y="3873"/>
                </a:lnTo>
                <a:lnTo>
                  <a:pt x="8967" y="3882"/>
                </a:lnTo>
                <a:lnTo>
                  <a:pt x="8975" y="3891"/>
                </a:lnTo>
                <a:lnTo>
                  <a:pt x="8984" y="3900"/>
                </a:lnTo>
                <a:lnTo>
                  <a:pt x="8993" y="3908"/>
                </a:lnTo>
                <a:lnTo>
                  <a:pt x="9004" y="3916"/>
                </a:lnTo>
                <a:lnTo>
                  <a:pt x="9014" y="3923"/>
                </a:lnTo>
                <a:lnTo>
                  <a:pt x="9024" y="3931"/>
                </a:lnTo>
                <a:lnTo>
                  <a:pt x="9035" y="3937"/>
                </a:lnTo>
                <a:lnTo>
                  <a:pt x="9046" y="3942"/>
                </a:lnTo>
                <a:lnTo>
                  <a:pt x="9058" y="3947"/>
                </a:lnTo>
                <a:lnTo>
                  <a:pt x="9069" y="3952"/>
                </a:lnTo>
                <a:lnTo>
                  <a:pt x="9082" y="3956"/>
                </a:lnTo>
                <a:lnTo>
                  <a:pt x="9094" y="3959"/>
                </a:lnTo>
                <a:lnTo>
                  <a:pt x="9106" y="3962"/>
                </a:lnTo>
                <a:lnTo>
                  <a:pt x="9120" y="3964"/>
                </a:lnTo>
                <a:lnTo>
                  <a:pt x="9132" y="3967"/>
                </a:lnTo>
                <a:lnTo>
                  <a:pt x="9145" y="3968"/>
                </a:lnTo>
                <a:lnTo>
                  <a:pt x="9159" y="3968"/>
                </a:lnTo>
                <a:close/>
                <a:moveTo>
                  <a:pt x="11032" y="3211"/>
                </a:moveTo>
                <a:lnTo>
                  <a:pt x="11045" y="3211"/>
                </a:lnTo>
                <a:lnTo>
                  <a:pt x="11057" y="3210"/>
                </a:lnTo>
                <a:lnTo>
                  <a:pt x="11071" y="3209"/>
                </a:lnTo>
                <a:lnTo>
                  <a:pt x="11083" y="3206"/>
                </a:lnTo>
                <a:lnTo>
                  <a:pt x="11094" y="3204"/>
                </a:lnTo>
                <a:lnTo>
                  <a:pt x="11107" y="3200"/>
                </a:lnTo>
                <a:lnTo>
                  <a:pt x="11119" y="3196"/>
                </a:lnTo>
                <a:lnTo>
                  <a:pt x="11130" y="3191"/>
                </a:lnTo>
                <a:lnTo>
                  <a:pt x="11141" y="3186"/>
                </a:lnTo>
                <a:lnTo>
                  <a:pt x="11152" y="3181"/>
                </a:lnTo>
                <a:lnTo>
                  <a:pt x="11162" y="3175"/>
                </a:lnTo>
                <a:lnTo>
                  <a:pt x="11172" y="3168"/>
                </a:lnTo>
                <a:lnTo>
                  <a:pt x="11183" y="3161"/>
                </a:lnTo>
                <a:lnTo>
                  <a:pt x="11192" y="3153"/>
                </a:lnTo>
                <a:lnTo>
                  <a:pt x="11201" y="3146"/>
                </a:lnTo>
                <a:lnTo>
                  <a:pt x="11210" y="3137"/>
                </a:lnTo>
                <a:lnTo>
                  <a:pt x="11219" y="3129"/>
                </a:lnTo>
                <a:lnTo>
                  <a:pt x="11227" y="3119"/>
                </a:lnTo>
                <a:lnTo>
                  <a:pt x="11234" y="3110"/>
                </a:lnTo>
                <a:lnTo>
                  <a:pt x="11241" y="3100"/>
                </a:lnTo>
                <a:lnTo>
                  <a:pt x="11247" y="3089"/>
                </a:lnTo>
                <a:lnTo>
                  <a:pt x="11254" y="3079"/>
                </a:lnTo>
                <a:lnTo>
                  <a:pt x="11260" y="3068"/>
                </a:lnTo>
                <a:lnTo>
                  <a:pt x="11265" y="3056"/>
                </a:lnTo>
                <a:lnTo>
                  <a:pt x="11269" y="3045"/>
                </a:lnTo>
                <a:lnTo>
                  <a:pt x="11273" y="3034"/>
                </a:lnTo>
                <a:lnTo>
                  <a:pt x="11276" y="3021"/>
                </a:lnTo>
                <a:lnTo>
                  <a:pt x="11279" y="3009"/>
                </a:lnTo>
                <a:lnTo>
                  <a:pt x="11281" y="2997"/>
                </a:lnTo>
                <a:lnTo>
                  <a:pt x="11283" y="2984"/>
                </a:lnTo>
                <a:lnTo>
                  <a:pt x="11284" y="2971"/>
                </a:lnTo>
                <a:lnTo>
                  <a:pt x="11284" y="2959"/>
                </a:lnTo>
                <a:lnTo>
                  <a:pt x="11284" y="757"/>
                </a:lnTo>
                <a:lnTo>
                  <a:pt x="11284" y="744"/>
                </a:lnTo>
                <a:lnTo>
                  <a:pt x="11283" y="731"/>
                </a:lnTo>
                <a:lnTo>
                  <a:pt x="11281" y="719"/>
                </a:lnTo>
                <a:lnTo>
                  <a:pt x="11279" y="706"/>
                </a:lnTo>
                <a:lnTo>
                  <a:pt x="11276" y="694"/>
                </a:lnTo>
                <a:lnTo>
                  <a:pt x="11273" y="683"/>
                </a:lnTo>
                <a:lnTo>
                  <a:pt x="11269" y="670"/>
                </a:lnTo>
                <a:lnTo>
                  <a:pt x="11265" y="659"/>
                </a:lnTo>
                <a:lnTo>
                  <a:pt x="11260" y="648"/>
                </a:lnTo>
                <a:lnTo>
                  <a:pt x="11254" y="637"/>
                </a:lnTo>
                <a:lnTo>
                  <a:pt x="11247" y="626"/>
                </a:lnTo>
                <a:lnTo>
                  <a:pt x="11241" y="616"/>
                </a:lnTo>
                <a:lnTo>
                  <a:pt x="11234" y="606"/>
                </a:lnTo>
                <a:lnTo>
                  <a:pt x="11227" y="596"/>
                </a:lnTo>
                <a:lnTo>
                  <a:pt x="11219" y="587"/>
                </a:lnTo>
                <a:lnTo>
                  <a:pt x="11210" y="579"/>
                </a:lnTo>
                <a:lnTo>
                  <a:pt x="11201" y="570"/>
                </a:lnTo>
                <a:lnTo>
                  <a:pt x="11192" y="562"/>
                </a:lnTo>
                <a:lnTo>
                  <a:pt x="11183" y="555"/>
                </a:lnTo>
                <a:lnTo>
                  <a:pt x="11172" y="548"/>
                </a:lnTo>
                <a:lnTo>
                  <a:pt x="11162" y="540"/>
                </a:lnTo>
                <a:lnTo>
                  <a:pt x="11152" y="535"/>
                </a:lnTo>
                <a:lnTo>
                  <a:pt x="11141" y="529"/>
                </a:lnTo>
                <a:lnTo>
                  <a:pt x="11130" y="524"/>
                </a:lnTo>
                <a:lnTo>
                  <a:pt x="11119" y="520"/>
                </a:lnTo>
                <a:lnTo>
                  <a:pt x="11107" y="516"/>
                </a:lnTo>
                <a:lnTo>
                  <a:pt x="11094" y="513"/>
                </a:lnTo>
                <a:lnTo>
                  <a:pt x="11083" y="510"/>
                </a:lnTo>
                <a:lnTo>
                  <a:pt x="11071" y="508"/>
                </a:lnTo>
                <a:lnTo>
                  <a:pt x="11057" y="505"/>
                </a:lnTo>
                <a:lnTo>
                  <a:pt x="11045" y="504"/>
                </a:lnTo>
                <a:lnTo>
                  <a:pt x="11032" y="504"/>
                </a:lnTo>
                <a:lnTo>
                  <a:pt x="11019" y="504"/>
                </a:lnTo>
                <a:lnTo>
                  <a:pt x="11006" y="505"/>
                </a:lnTo>
                <a:lnTo>
                  <a:pt x="10993" y="508"/>
                </a:lnTo>
                <a:lnTo>
                  <a:pt x="10981" y="510"/>
                </a:lnTo>
                <a:lnTo>
                  <a:pt x="10969" y="513"/>
                </a:lnTo>
                <a:lnTo>
                  <a:pt x="10956" y="516"/>
                </a:lnTo>
                <a:lnTo>
                  <a:pt x="10945" y="520"/>
                </a:lnTo>
                <a:lnTo>
                  <a:pt x="10934" y="524"/>
                </a:lnTo>
                <a:lnTo>
                  <a:pt x="10923" y="529"/>
                </a:lnTo>
                <a:lnTo>
                  <a:pt x="10911" y="535"/>
                </a:lnTo>
                <a:lnTo>
                  <a:pt x="10901" y="540"/>
                </a:lnTo>
                <a:lnTo>
                  <a:pt x="10891" y="548"/>
                </a:lnTo>
                <a:lnTo>
                  <a:pt x="10881" y="555"/>
                </a:lnTo>
                <a:lnTo>
                  <a:pt x="10871" y="562"/>
                </a:lnTo>
                <a:lnTo>
                  <a:pt x="10862" y="570"/>
                </a:lnTo>
                <a:lnTo>
                  <a:pt x="10854" y="579"/>
                </a:lnTo>
                <a:lnTo>
                  <a:pt x="10845" y="587"/>
                </a:lnTo>
                <a:lnTo>
                  <a:pt x="10837" y="596"/>
                </a:lnTo>
                <a:lnTo>
                  <a:pt x="10830" y="606"/>
                </a:lnTo>
                <a:lnTo>
                  <a:pt x="10823" y="616"/>
                </a:lnTo>
                <a:lnTo>
                  <a:pt x="10816" y="626"/>
                </a:lnTo>
                <a:lnTo>
                  <a:pt x="10810" y="637"/>
                </a:lnTo>
                <a:lnTo>
                  <a:pt x="10804" y="648"/>
                </a:lnTo>
                <a:lnTo>
                  <a:pt x="10799" y="659"/>
                </a:lnTo>
                <a:lnTo>
                  <a:pt x="10795" y="670"/>
                </a:lnTo>
                <a:lnTo>
                  <a:pt x="10791" y="683"/>
                </a:lnTo>
                <a:lnTo>
                  <a:pt x="10787" y="694"/>
                </a:lnTo>
                <a:lnTo>
                  <a:pt x="10785" y="706"/>
                </a:lnTo>
                <a:lnTo>
                  <a:pt x="10782" y="719"/>
                </a:lnTo>
                <a:lnTo>
                  <a:pt x="10781" y="731"/>
                </a:lnTo>
                <a:lnTo>
                  <a:pt x="10780" y="744"/>
                </a:lnTo>
                <a:lnTo>
                  <a:pt x="10780" y="757"/>
                </a:lnTo>
                <a:lnTo>
                  <a:pt x="10780" y="2959"/>
                </a:lnTo>
                <a:lnTo>
                  <a:pt x="10780" y="2971"/>
                </a:lnTo>
                <a:lnTo>
                  <a:pt x="10781" y="2984"/>
                </a:lnTo>
                <a:lnTo>
                  <a:pt x="10782" y="2997"/>
                </a:lnTo>
                <a:lnTo>
                  <a:pt x="10785" y="3009"/>
                </a:lnTo>
                <a:lnTo>
                  <a:pt x="10787" y="3021"/>
                </a:lnTo>
                <a:lnTo>
                  <a:pt x="10791" y="3034"/>
                </a:lnTo>
                <a:lnTo>
                  <a:pt x="10795" y="3045"/>
                </a:lnTo>
                <a:lnTo>
                  <a:pt x="10799" y="3056"/>
                </a:lnTo>
                <a:lnTo>
                  <a:pt x="10804" y="3068"/>
                </a:lnTo>
                <a:lnTo>
                  <a:pt x="10810" y="3079"/>
                </a:lnTo>
                <a:lnTo>
                  <a:pt x="10816" y="3089"/>
                </a:lnTo>
                <a:lnTo>
                  <a:pt x="10823" y="3100"/>
                </a:lnTo>
                <a:lnTo>
                  <a:pt x="10830" y="3110"/>
                </a:lnTo>
                <a:lnTo>
                  <a:pt x="10837" y="3119"/>
                </a:lnTo>
                <a:lnTo>
                  <a:pt x="10845" y="3129"/>
                </a:lnTo>
                <a:lnTo>
                  <a:pt x="10854" y="3137"/>
                </a:lnTo>
                <a:lnTo>
                  <a:pt x="10862" y="3146"/>
                </a:lnTo>
                <a:lnTo>
                  <a:pt x="10871" y="3153"/>
                </a:lnTo>
                <a:lnTo>
                  <a:pt x="10881" y="3161"/>
                </a:lnTo>
                <a:lnTo>
                  <a:pt x="10891" y="3168"/>
                </a:lnTo>
                <a:lnTo>
                  <a:pt x="10901" y="3175"/>
                </a:lnTo>
                <a:lnTo>
                  <a:pt x="10911" y="3181"/>
                </a:lnTo>
                <a:lnTo>
                  <a:pt x="10923" y="3186"/>
                </a:lnTo>
                <a:lnTo>
                  <a:pt x="10934" y="3191"/>
                </a:lnTo>
                <a:lnTo>
                  <a:pt x="10945" y="3196"/>
                </a:lnTo>
                <a:lnTo>
                  <a:pt x="10956" y="3200"/>
                </a:lnTo>
                <a:lnTo>
                  <a:pt x="10969" y="3204"/>
                </a:lnTo>
                <a:lnTo>
                  <a:pt x="10981" y="3206"/>
                </a:lnTo>
                <a:lnTo>
                  <a:pt x="10993" y="3209"/>
                </a:lnTo>
                <a:lnTo>
                  <a:pt x="11006" y="3210"/>
                </a:lnTo>
                <a:lnTo>
                  <a:pt x="11019" y="3211"/>
                </a:lnTo>
                <a:lnTo>
                  <a:pt x="11032" y="3211"/>
                </a:lnTo>
                <a:close/>
                <a:moveTo>
                  <a:pt x="11032" y="3968"/>
                </a:moveTo>
                <a:lnTo>
                  <a:pt x="11045" y="3968"/>
                </a:lnTo>
                <a:lnTo>
                  <a:pt x="11058" y="3967"/>
                </a:lnTo>
                <a:lnTo>
                  <a:pt x="11072" y="3964"/>
                </a:lnTo>
                <a:lnTo>
                  <a:pt x="11084" y="3962"/>
                </a:lnTo>
                <a:lnTo>
                  <a:pt x="11096" y="3959"/>
                </a:lnTo>
                <a:lnTo>
                  <a:pt x="11109" y="3956"/>
                </a:lnTo>
                <a:lnTo>
                  <a:pt x="11121" y="3952"/>
                </a:lnTo>
                <a:lnTo>
                  <a:pt x="11133" y="3947"/>
                </a:lnTo>
                <a:lnTo>
                  <a:pt x="11145" y="3942"/>
                </a:lnTo>
                <a:lnTo>
                  <a:pt x="11156" y="3937"/>
                </a:lnTo>
                <a:lnTo>
                  <a:pt x="11166" y="3931"/>
                </a:lnTo>
                <a:lnTo>
                  <a:pt x="11177" y="3923"/>
                </a:lnTo>
                <a:lnTo>
                  <a:pt x="11188" y="3916"/>
                </a:lnTo>
                <a:lnTo>
                  <a:pt x="11197" y="3908"/>
                </a:lnTo>
                <a:lnTo>
                  <a:pt x="11206" y="3900"/>
                </a:lnTo>
                <a:lnTo>
                  <a:pt x="11215" y="3891"/>
                </a:lnTo>
                <a:lnTo>
                  <a:pt x="11225" y="3882"/>
                </a:lnTo>
                <a:lnTo>
                  <a:pt x="11233" y="3873"/>
                </a:lnTo>
                <a:lnTo>
                  <a:pt x="11240" y="3863"/>
                </a:lnTo>
                <a:lnTo>
                  <a:pt x="11247" y="3852"/>
                </a:lnTo>
                <a:lnTo>
                  <a:pt x="11255" y="3842"/>
                </a:lnTo>
                <a:lnTo>
                  <a:pt x="11261" y="3832"/>
                </a:lnTo>
                <a:lnTo>
                  <a:pt x="11266" y="3820"/>
                </a:lnTo>
                <a:lnTo>
                  <a:pt x="11272" y="3808"/>
                </a:lnTo>
                <a:lnTo>
                  <a:pt x="11276" y="3797"/>
                </a:lnTo>
                <a:lnTo>
                  <a:pt x="11280" y="3784"/>
                </a:lnTo>
                <a:lnTo>
                  <a:pt x="11284" y="3772"/>
                </a:lnTo>
                <a:lnTo>
                  <a:pt x="11286" y="3760"/>
                </a:lnTo>
                <a:lnTo>
                  <a:pt x="11289" y="3747"/>
                </a:lnTo>
                <a:lnTo>
                  <a:pt x="11291" y="3734"/>
                </a:lnTo>
                <a:lnTo>
                  <a:pt x="11292" y="3720"/>
                </a:lnTo>
                <a:lnTo>
                  <a:pt x="11293" y="3707"/>
                </a:lnTo>
                <a:lnTo>
                  <a:pt x="11292" y="3694"/>
                </a:lnTo>
                <a:lnTo>
                  <a:pt x="11291" y="3680"/>
                </a:lnTo>
                <a:lnTo>
                  <a:pt x="11289" y="3668"/>
                </a:lnTo>
                <a:lnTo>
                  <a:pt x="11286" y="3655"/>
                </a:lnTo>
                <a:lnTo>
                  <a:pt x="11284" y="3642"/>
                </a:lnTo>
                <a:lnTo>
                  <a:pt x="11280" y="3630"/>
                </a:lnTo>
                <a:lnTo>
                  <a:pt x="11276" y="3618"/>
                </a:lnTo>
                <a:lnTo>
                  <a:pt x="11272" y="3606"/>
                </a:lnTo>
                <a:lnTo>
                  <a:pt x="11266" y="3595"/>
                </a:lnTo>
                <a:lnTo>
                  <a:pt x="11261" y="3584"/>
                </a:lnTo>
                <a:lnTo>
                  <a:pt x="11255" y="3572"/>
                </a:lnTo>
                <a:lnTo>
                  <a:pt x="11247" y="3562"/>
                </a:lnTo>
                <a:lnTo>
                  <a:pt x="11240" y="3552"/>
                </a:lnTo>
                <a:lnTo>
                  <a:pt x="11233" y="3541"/>
                </a:lnTo>
                <a:lnTo>
                  <a:pt x="11225" y="3532"/>
                </a:lnTo>
                <a:lnTo>
                  <a:pt x="11215" y="3523"/>
                </a:lnTo>
                <a:lnTo>
                  <a:pt x="11206" y="3515"/>
                </a:lnTo>
                <a:lnTo>
                  <a:pt x="11197" y="3506"/>
                </a:lnTo>
                <a:lnTo>
                  <a:pt x="11188" y="3498"/>
                </a:lnTo>
                <a:lnTo>
                  <a:pt x="11177" y="3491"/>
                </a:lnTo>
                <a:lnTo>
                  <a:pt x="11166" y="3485"/>
                </a:lnTo>
                <a:lnTo>
                  <a:pt x="11156" y="3479"/>
                </a:lnTo>
                <a:lnTo>
                  <a:pt x="11145" y="3472"/>
                </a:lnTo>
                <a:lnTo>
                  <a:pt x="11133" y="3467"/>
                </a:lnTo>
                <a:lnTo>
                  <a:pt x="11121" y="3462"/>
                </a:lnTo>
                <a:lnTo>
                  <a:pt x="11109" y="3458"/>
                </a:lnTo>
                <a:lnTo>
                  <a:pt x="11096" y="3455"/>
                </a:lnTo>
                <a:lnTo>
                  <a:pt x="11084" y="3452"/>
                </a:lnTo>
                <a:lnTo>
                  <a:pt x="11072" y="3450"/>
                </a:lnTo>
                <a:lnTo>
                  <a:pt x="11058" y="3448"/>
                </a:lnTo>
                <a:lnTo>
                  <a:pt x="11045" y="3447"/>
                </a:lnTo>
                <a:lnTo>
                  <a:pt x="11032" y="3447"/>
                </a:lnTo>
                <a:lnTo>
                  <a:pt x="11018" y="3447"/>
                </a:lnTo>
                <a:lnTo>
                  <a:pt x="11005" y="3448"/>
                </a:lnTo>
                <a:lnTo>
                  <a:pt x="10992" y="3450"/>
                </a:lnTo>
                <a:lnTo>
                  <a:pt x="10979" y="3452"/>
                </a:lnTo>
                <a:lnTo>
                  <a:pt x="10967" y="3455"/>
                </a:lnTo>
                <a:lnTo>
                  <a:pt x="10954" y="3458"/>
                </a:lnTo>
                <a:lnTo>
                  <a:pt x="10942" y="3462"/>
                </a:lnTo>
                <a:lnTo>
                  <a:pt x="10931" y="3467"/>
                </a:lnTo>
                <a:lnTo>
                  <a:pt x="10919" y="3472"/>
                </a:lnTo>
                <a:lnTo>
                  <a:pt x="10908" y="3479"/>
                </a:lnTo>
                <a:lnTo>
                  <a:pt x="10897" y="3485"/>
                </a:lnTo>
                <a:lnTo>
                  <a:pt x="10887" y="3491"/>
                </a:lnTo>
                <a:lnTo>
                  <a:pt x="10876" y="3498"/>
                </a:lnTo>
                <a:lnTo>
                  <a:pt x="10866" y="3506"/>
                </a:lnTo>
                <a:lnTo>
                  <a:pt x="10857" y="3515"/>
                </a:lnTo>
                <a:lnTo>
                  <a:pt x="10848" y="3523"/>
                </a:lnTo>
                <a:lnTo>
                  <a:pt x="10839" y="3532"/>
                </a:lnTo>
                <a:lnTo>
                  <a:pt x="10831" y="3541"/>
                </a:lnTo>
                <a:lnTo>
                  <a:pt x="10824" y="3552"/>
                </a:lnTo>
                <a:lnTo>
                  <a:pt x="10816" y="3562"/>
                </a:lnTo>
                <a:lnTo>
                  <a:pt x="10810" y="3572"/>
                </a:lnTo>
                <a:lnTo>
                  <a:pt x="10803" y="3584"/>
                </a:lnTo>
                <a:lnTo>
                  <a:pt x="10797" y="3595"/>
                </a:lnTo>
                <a:lnTo>
                  <a:pt x="10792" y="3606"/>
                </a:lnTo>
                <a:lnTo>
                  <a:pt x="10788" y="3618"/>
                </a:lnTo>
                <a:lnTo>
                  <a:pt x="10784" y="3630"/>
                </a:lnTo>
                <a:lnTo>
                  <a:pt x="10780" y="3642"/>
                </a:lnTo>
                <a:lnTo>
                  <a:pt x="10777" y="3655"/>
                </a:lnTo>
                <a:lnTo>
                  <a:pt x="10775" y="3668"/>
                </a:lnTo>
                <a:lnTo>
                  <a:pt x="10773" y="3680"/>
                </a:lnTo>
                <a:lnTo>
                  <a:pt x="10771" y="3694"/>
                </a:lnTo>
                <a:lnTo>
                  <a:pt x="10771" y="3707"/>
                </a:lnTo>
                <a:lnTo>
                  <a:pt x="10771" y="3720"/>
                </a:lnTo>
                <a:lnTo>
                  <a:pt x="10773" y="3734"/>
                </a:lnTo>
                <a:lnTo>
                  <a:pt x="10775" y="3747"/>
                </a:lnTo>
                <a:lnTo>
                  <a:pt x="10777" y="3760"/>
                </a:lnTo>
                <a:lnTo>
                  <a:pt x="10780" y="3772"/>
                </a:lnTo>
                <a:lnTo>
                  <a:pt x="10784" y="3784"/>
                </a:lnTo>
                <a:lnTo>
                  <a:pt x="10788" y="3797"/>
                </a:lnTo>
                <a:lnTo>
                  <a:pt x="10792" y="3808"/>
                </a:lnTo>
                <a:lnTo>
                  <a:pt x="10797" y="3820"/>
                </a:lnTo>
                <a:lnTo>
                  <a:pt x="10803" y="3832"/>
                </a:lnTo>
                <a:lnTo>
                  <a:pt x="10810" y="3842"/>
                </a:lnTo>
                <a:lnTo>
                  <a:pt x="10816" y="3852"/>
                </a:lnTo>
                <a:lnTo>
                  <a:pt x="10824" y="3863"/>
                </a:lnTo>
                <a:lnTo>
                  <a:pt x="10831" y="3873"/>
                </a:lnTo>
                <a:lnTo>
                  <a:pt x="10839" y="3882"/>
                </a:lnTo>
                <a:lnTo>
                  <a:pt x="10848" y="3891"/>
                </a:lnTo>
                <a:lnTo>
                  <a:pt x="10857" y="3900"/>
                </a:lnTo>
                <a:lnTo>
                  <a:pt x="10866" y="3908"/>
                </a:lnTo>
                <a:lnTo>
                  <a:pt x="10876" y="3916"/>
                </a:lnTo>
                <a:lnTo>
                  <a:pt x="10887" y="3923"/>
                </a:lnTo>
                <a:lnTo>
                  <a:pt x="10897" y="3931"/>
                </a:lnTo>
                <a:lnTo>
                  <a:pt x="10908" y="3937"/>
                </a:lnTo>
                <a:lnTo>
                  <a:pt x="10919" y="3942"/>
                </a:lnTo>
                <a:lnTo>
                  <a:pt x="10931" y="3947"/>
                </a:lnTo>
                <a:lnTo>
                  <a:pt x="10942" y="3952"/>
                </a:lnTo>
                <a:lnTo>
                  <a:pt x="10954" y="3956"/>
                </a:lnTo>
                <a:lnTo>
                  <a:pt x="10967" y="3959"/>
                </a:lnTo>
                <a:lnTo>
                  <a:pt x="10979" y="3962"/>
                </a:lnTo>
                <a:lnTo>
                  <a:pt x="10992" y="3964"/>
                </a:lnTo>
                <a:lnTo>
                  <a:pt x="11005" y="3967"/>
                </a:lnTo>
                <a:lnTo>
                  <a:pt x="11018" y="3968"/>
                </a:lnTo>
                <a:lnTo>
                  <a:pt x="11032" y="3968"/>
                </a:lnTo>
                <a:close/>
                <a:moveTo>
                  <a:pt x="12905" y="3211"/>
                </a:moveTo>
                <a:lnTo>
                  <a:pt x="12918" y="3211"/>
                </a:lnTo>
                <a:lnTo>
                  <a:pt x="12931" y="3210"/>
                </a:lnTo>
                <a:lnTo>
                  <a:pt x="12943" y="3209"/>
                </a:lnTo>
                <a:lnTo>
                  <a:pt x="12956" y="3206"/>
                </a:lnTo>
                <a:lnTo>
                  <a:pt x="12968" y="3204"/>
                </a:lnTo>
                <a:lnTo>
                  <a:pt x="12979" y="3200"/>
                </a:lnTo>
                <a:lnTo>
                  <a:pt x="12992" y="3196"/>
                </a:lnTo>
                <a:lnTo>
                  <a:pt x="13003" y="3191"/>
                </a:lnTo>
                <a:lnTo>
                  <a:pt x="13014" y="3186"/>
                </a:lnTo>
                <a:lnTo>
                  <a:pt x="13024" y="3181"/>
                </a:lnTo>
                <a:lnTo>
                  <a:pt x="13036" y="3175"/>
                </a:lnTo>
                <a:lnTo>
                  <a:pt x="13046" y="3168"/>
                </a:lnTo>
                <a:lnTo>
                  <a:pt x="13055" y="3161"/>
                </a:lnTo>
                <a:lnTo>
                  <a:pt x="13066" y="3153"/>
                </a:lnTo>
                <a:lnTo>
                  <a:pt x="13074" y="3146"/>
                </a:lnTo>
                <a:lnTo>
                  <a:pt x="13083" y="3137"/>
                </a:lnTo>
                <a:lnTo>
                  <a:pt x="13091" y="3129"/>
                </a:lnTo>
                <a:lnTo>
                  <a:pt x="13099" y="3119"/>
                </a:lnTo>
                <a:lnTo>
                  <a:pt x="13107" y="3110"/>
                </a:lnTo>
                <a:lnTo>
                  <a:pt x="13114" y="3100"/>
                </a:lnTo>
                <a:lnTo>
                  <a:pt x="13120" y="3089"/>
                </a:lnTo>
                <a:lnTo>
                  <a:pt x="13126" y="3079"/>
                </a:lnTo>
                <a:lnTo>
                  <a:pt x="13132" y="3068"/>
                </a:lnTo>
                <a:lnTo>
                  <a:pt x="13137" y="3056"/>
                </a:lnTo>
                <a:lnTo>
                  <a:pt x="13142" y="3045"/>
                </a:lnTo>
                <a:lnTo>
                  <a:pt x="13146" y="3034"/>
                </a:lnTo>
                <a:lnTo>
                  <a:pt x="13149" y="3021"/>
                </a:lnTo>
                <a:lnTo>
                  <a:pt x="13152" y="3009"/>
                </a:lnTo>
                <a:lnTo>
                  <a:pt x="13154" y="2997"/>
                </a:lnTo>
                <a:lnTo>
                  <a:pt x="13156" y="2984"/>
                </a:lnTo>
                <a:lnTo>
                  <a:pt x="13157" y="2971"/>
                </a:lnTo>
                <a:lnTo>
                  <a:pt x="13157" y="2959"/>
                </a:lnTo>
                <a:lnTo>
                  <a:pt x="13157" y="757"/>
                </a:lnTo>
                <a:lnTo>
                  <a:pt x="13157" y="744"/>
                </a:lnTo>
                <a:lnTo>
                  <a:pt x="13156" y="731"/>
                </a:lnTo>
                <a:lnTo>
                  <a:pt x="13154" y="719"/>
                </a:lnTo>
                <a:lnTo>
                  <a:pt x="13152" y="706"/>
                </a:lnTo>
                <a:lnTo>
                  <a:pt x="13149" y="694"/>
                </a:lnTo>
                <a:lnTo>
                  <a:pt x="13146" y="683"/>
                </a:lnTo>
                <a:lnTo>
                  <a:pt x="13142" y="670"/>
                </a:lnTo>
                <a:lnTo>
                  <a:pt x="13137" y="659"/>
                </a:lnTo>
                <a:lnTo>
                  <a:pt x="13132" y="648"/>
                </a:lnTo>
                <a:lnTo>
                  <a:pt x="13126" y="637"/>
                </a:lnTo>
                <a:lnTo>
                  <a:pt x="13120" y="626"/>
                </a:lnTo>
                <a:lnTo>
                  <a:pt x="13114" y="616"/>
                </a:lnTo>
                <a:lnTo>
                  <a:pt x="13107" y="606"/>
                </a:lnTo>
                <a:lnTo>
                  <a:pt x="13099" y="596"/>
                </a:lnTo>
                <a:lnTo>
                  <a:pt x="13091" y="587"/>
                </a:lnTo>
                <a:lnTo>
                  <a:pt x="13083" y="579"/>
                </a:lnTo>
                <a:lnTo>
                  <a:pt x="13074" y="570"/>
                </a:lnTo>
                <a:lnTo>
                  <a:pt x="13066" y="562"/>
                </a:lnTo>
                <a:lnTo>
                  <a:pt x="13055" y="555"/>
                </a:lnTo>
                <a:lnTo>
                  <a:pt x="13046" y="548"/>
                </a:lnTo>
                <a:lnTo>
                  <a:pt x="13036" y="540"/>
                </a:lnTo>
                <a:lnTo>
                  <a:pt x="13024" y="535"/>
                </a:lnTo>
                <a:lnTo>
                  <a:pt x="13014" y="529"/>
                </a:lnTo>
                <a:lnTo>
                  <a:pt x="13003" y="524"/>
                </a:lnTo>
                <a:lnTo>
                  <a:pt x="12992" y="520"/>
                </a:lnTo>
                <a:lnTo>
                  <a:pt x="12979" y="516"/>
                </a:lnTo>
                <a:lnTo>
                  <a:pt x="12968" y="513"/>
                </a:lnTo>
                <a:lnTo>
                  <a:pt x="12956" y="510"/>
                </a:lnTo>
                <a:lnTo>
                  <a:pt x="12943" y="508"/>
                </a:lnTo>
                <a:lnTo>
                  <a:pt x="12931" y="505"/>
                </a:lnTo>
                <a:lnTo>
                  <a:pt x="12918" y="504"/>
                </a:lnTo>
                <a:lnTo>
                  <a:pt x="12905" y="504"/>
                </a:lnTo>
                <a:lnTo>
                  <a:pt x="12892" y="504"/>
                </a:lnTo>
                <a:lnTo>
                  <a:pt x="12878" y="505"/>
                </a:lnTo>
                <a:lnTo>
                  <a:pt x="12866" y="508"/>
                </a:lnTo>
                <a:lnTo>
                  <a:pt x="12854" y="510"/>
                </a:lnTo>
                <a:lnTo>
                  <a:pt x="12841" y="513"/>
                </a:lnTo>
                <a:lnTo>
                  <a:pt x="12830" y="516"/>
                </a:lnTo>
                <a:lnTo>
                  <a:pt x="12818" y="520"/>
                </a:lnTo>
                <a:lnTo>
                  <a:pt x="12807" y="524"/>
                </a:lnTo>
                <a:lnTo>
                  <a:pt x="12795" y="529"/>
                </a:lnTo>
                <a:lnTo>
                  <a:pt x="12785" y="535"/>
                </a:lnTo>
                <a:lnTo>
                  <a:pt x="12774" y="540"/>
                </a:lnTo>
                <a:lnTo>
                  <a:pt x="12763" y="548"/>
                </a:lnTo>
                <a:lnTo>
                  <a:pt x="12754" y="555"/>
                </a:lnTo>
                <a:lnTo>
                  <a:pt x="12744" y="562"/>
                </a:lnTo>
                <a:lnTo>
                  <a:pt x="12736" y="570"/>
                </a:lnTo>
                <a:lnTo>
                  <a:pt x="12726" y="579"/>
                </a:lnTo>
                <a:lnTo>
                  <a:pt x="12718" y="587"/>
                </a:lnTo>
                <a:lnTo>
                  <a:pt x="12710" y="596"/>
                </a:lnTo>
                <a:lnTo>
                  <a:pt x="12703" y="606"/>
                </a:lnTo>
                <a:lnTo>
                  <a:pt x="12696" y="616"/>
                </a:lnTo>
                <a:lnTo>
                  <a:pt x="12689" y="626"/>
                </a:lnTo>
                <a:lnTo>
                  <a:pt x="12683" y="637"/>
                </a:lnTo>
                <a:lnTo>
                  <a:pt x="12677" y="648"/>
                </a:lnTo>
                <a:lnTo>
                  <a:pt x="12672" y="659"/>
                </a:lnTo>
                <a:lnTo>
                  <a:pt x="12668" y="670"/>
                </a:lnTo>
                <a:lnTo>
                  <a:pt x="12664" y="683"/>
                </a:lnTo>
                <a:lnTo>
                  <a:pt x="12661" y="694"/>
                </a:lnTo>
                <a:lnTo>
                  <a:pt x="12658" y="706"/>
                </a:lnTo>
                <a:lnTo>
                  <a:pt x="12655" y="719"/>
                </a:lnTo>
                <a:lnTo>
                  <a:pt x="12653" y="731"/>
                </a:lnTo>
                <a:lnTo>
                  <a:pt x="12652" y="744"/>
                </a:lnTo>
                <a:lnTo>
                  <a:pt x="12652" y="757"/>
                </a:lnTo>
                <a:lnTo>
                  <a:pt x="12652" y="2959"/>
                </a:lnTo>
                <a:lnTo>
                  <a:pt x="12652" y="2971"/>
                </a:lnTo>
                <a:lnTo>
                  <a:pt x="12653" y="2984"/>
                </a:lnTo>
                <a:lnTo>
                  <a:pt x="12655" y="2997"/>
                </a:lnTo>
                <a:lnTo>
                  <a:pt x="12658" y="3009"/>
                </a:lnTo>
                <a:lnTo>
                  <a:pt x="12661" y="3021"/>
                </a:lnTo>
                <a:lnTo>
                  <a:pt x="12664" y="3034"/>
                </a:lnTo>
                <a:lnTo>
                  <a:pt x="12668" y="3045"/>
                </a:lnTo>
                <a:lnTo>
                  <a:pt x="12672" y="3056"/>
                </a:lnTo>
                <a:lnTo>
                  <a:pt x="12677" y="3068"/>
                </a:lnTo>
                <a:lnTo>
                  <a:pt x="12683" y="3079"/>
                </a:lnTo>
                <a:lnTo>
                  <a:pt x="12689" y="3089"/>
                </a:lnTo>
                <a:lnTo>
                  <a:pt x="12696" y="3100"/>
                </a:lnTo>
                <a:lnTo>
                  <a:pt x="12703" y="3110"/>
                </a:lnTo>
                <a:lnTo>
                  <a:pt x="12710" y="3119"/>
                </a:lnTo>
                <a:lnTo>
                  <a:pt x="12718" y="3129"/>
                </a:lnTo>
                <a:lnTo>
                  <a:pt x="12726" y="3137"/>
                </a:lnTo>
                <a:lnTo>
                  <a:pt x="12736" y="3146"/>
                </a:lnTo>
                <a:lnTo>
                  <a:pt x="12744" y="3153"/>
                </a:lnTo>
                <a:lnTo>
                  <a:pt x="12754" y="3161"/>
                </a:lnTo>
                <a:lnTo>
                  <a:pt x="12763" y="3168"/>
                </a:lnTo>
                <a:lnTo>
                  <a:pt x="12774" y="3175"/>
                </a:lnTo>
                <a:lnTo>
                  <a:pt x="12785" y="3181"/>
                </a:lnTo>
                <a:lnTo>
                  <a:pt x="12795" y="3186"/>
                </a:lnTo>
                <a:lnTo>
                  <a:pt x="12807" y="3191"/>
                </a:lnTo>
                <a:lnTo>
                  <a:pt x="12818" y="3196"/>
                </a:lnTo>
                <a:lnTo>
                  <a:pt x="12830" y="3200"/>
                </a:lnTo>
                <a:lnTo>
                  <a:pt x="12841" y="3204"/>
                </a:lnTo>
                <a:lnTo>
                  <a:pt x="12854" y="3206"/>
                </a:lnTo>
                <a:lnTo>
                  <a:pt x="12866" y="3209"/>
                </a:lnTo>
                <a:lnTo>
                  <a:pt x="12878" y="3210"/>
                </a:lnTo>
                <a:lnTo>
                  <a:pt x="12892" y="3211"/>
                </a:lnTo>
                <a:lnTo>
                  <a:pt x="12905" y="3211"/>
                </a:lnTo>
                <a:close/>
                <a:moveTo>
                  <a:pt x="12905" y="3968"/>
                </a:moveTo>
                <a:lnTo>
                  <a:pt x="12919" y="3968"/>
                </a:lnTo>
                <a:lnTo>
                  <a:pt x="12931" y="3967"/>
                </a:lnTo>
                <a:lnTo>
                  <a:pt x="12944" y="3964"/>
                </a:lnTo>
                <a:lnTo>
                  <a:pt x="12957" y="3962"/>
                </a:lnTo>
                <a:lnTo>
                  <a:pt x="12970" y="3959"/>
                </a:lnTo>
                <a:lnTo>
                  <a:pt x="12982" y="3956"/>
                </a:lnTo>
                <a:lnTo>
                  <a:pt x="12994" y="3952"/>
                </a:lnTo>
                <a:lnTo>
                  <a:pt x="13006" y="3947"/>
                </a:lnTo>
                <a:lnTo>
                  <a:pt x="13017" y="3942"/>
                </a:lnTo>
                <a:lnTo>
                  <a:pt x="13029" y="3937"/>
                </a:lnTo>
                <a:lnTo>
                  <a:pt x="13040" y="3931"/>
                </a:lnTo>
                <a:lnTo>
                  <a:pt x="13050" y="3923"/>
                </a:lnTo>
                <a:lnTo>
                  <a:pt x="13060" y="3916"/>
                </a:lnTo>
                <a:lnTo>
                  <a:pt x="13070" y="3908"/>
                </a:lnTo>
                <a:lnTo>
                  <a:pt x="13080" y="3900"/>
                </a:lnTo>
                <a:lnTo>
                  <a:pt x="13088" y="3891"/>
                </a:lnTo>
                <a:lnTo>
                  <a:pt x="13097" y="3882"/>
                </a:lnTo>
                <a:lnTo>
                  <a:pt x="13106" y="3873"/>
                </a:lnTo>
                <a:lnTo>
                  <a:pt x="13113" y="3863"/>
                </a:lnTo>
                <a:lnTo>
                  <a:pt x="13120" y="3852"/>
                </a:lnTo>
                <a:lnTo>
                  <a:pt x="13127" y="3842"/>
                </a:lnTo>
                <a:lnTo>
                  <a:pt x="13133" y="3832"/>
                </a:lnTo>
                <a:lnTo>
                  <a:pt x="13140" y="3820"/>
                </a:lnTo>
                <a:lnTo>
                  <a:pt x="13145" y="3808"/>
                </a:lnTo>
                <a:lnTo>
                  <a:pt x="13149" y="3797"/>
                </a:lnTo>
                <a:lnTo>
                  <a:pt x="13153" y="3784"/>
                </a:lnTo>
                <a:lnTo>
                  <a:pt x="13157" y="3772"/>
                </a:lnTo>
                <a:lnTo>
                  <a:pt x="13160" y="3760"/>
                </a:lnTo>
                <a:lnTo>
                  <a:pt x="13162" y="3747"/>
                </a:lnTo>
                <a:lnTo>
                  <a:pt x="13163" y="3734"/>
                </a:lnTo>
                <a:lnTo>
                  <a:pt x="13164" y="3720"/>
                </a:lnTo>
                <a:lnTo>
                  <a:pt x="13165" y="3707"/>
                </a:lnTo>
                <a:lnTo>
                  <a:pt x="13164" y="3694"/>
                </a:lnTo>
                <a:lnTo>
                  <a:pt x="13163" y="3680"/>
                </a:lnTo>
                <a:lnTo>
                  <a:pt x="13162" y="3668"/>
                </a:lnTo>
                <a:lnTo>
                  <a:pt x="13160" y="3655"/>
                </a:lnTo>
                <a:lnTo>
                  <a:pt x="13157" y="3642"/>
                </a:lnTo>
                <a:lnTo>
                  <a:pt x="13153" y="3630"/>
                </a:lnTo>
                <a:lnTo>
                  <a:pt x="13149" y="3618"/>
                </a:lnTo>
                <a:lnTo>
                  <a:pt x="13145" y="3606"/>
                </a:lnTo>
                <a:lnTo>
                  <a:pt x="13140" y="3595"/>
                </a:lnTo>
                <a:lnTo>
                  <a:pt x="13133" y="3584"/>
                </a:lnTo>
                <a:lnTo>
                  <a:pt x="13127" y="3572"/>
                </a:lnTo>
                <a:lnTo>
                  <a:pt x="13120" y="3562"/>
                </a:lnTo>
                <a:lnTo>
                  <a:pt x="13113" y="3552"/>
                </a:lnTo>
                <a:lnTo>
                  <a:pt x="13106" y="3541"/>
                </a:lnTo>
                <a:lnTo>
                  <a:pt x="13097" y="3532"/>
                </a:lnTo>
                <a:lnTo>
                  <a:pt x="13088" y="3523"/>
                </a:lnTo>
                <a:lnTo>
                  <a:pt x="13080" y="3515"/>
                </a:lnTo>
                <a:lnTo>
                  <a:pt x="13070" y="3506"/>
                </a:lnTo>
                <a:lnTo>
                  <a:pt x="13060" y="3498"/>
                </a:lnTo>
                <a:lnTo>
                  <a:pt x="13050" y="3491"/>
                </a:lnTo>
                <a:lnTo>
                  <a:pt x="13040" y="3485"/>
                </a:lnTo>
                <a:lnTo>
                  <a:pt x="13029" y="3479"/>
                </a:lnTo>
                <a:lnTo>
                  <a:pt x="13017" y="3472"/>
                </a:lnTo>
                <a:lnTo>
                  <a:pt x="13006" y="3467"/>
                </a:lnTo>
                <a:lnTo>
                  <a:pt x="12994" y="3462"/>
                </a:lnTo>
                <a:lnTo>
                  <a:pt x="12982" y="3458"/>
                </a:lnTo>
                <a:lnTo>
                  <a:pt x="12970" y="3455"/>
                </a:lnTo>
                <a:lnTo>
                  <a:pt x="12957" y="3452"/>
                </a:lnTo>
                <a:lnTo>
                  <a:pt x="12944" y="3450"/>
                </a:lnTo>
                <a:lnTo>
                  <a:pt x="12931" y="3448"/>
                </a:lnTo>
                <a:lnTo>
                  <a:pt x="12919" y="3447"/>
                </a:lnTo>
                <a:lnTo>
                  <a:pt x="12905" y="3447"/>
                </a:lnTo>
                <a:lnTo>
                  <a:pt x="12892" y="3447"/>
                </a:lnTo>
                <a:lnTo>
                  <a:pt x="12878" y="3448"/>
                </a:lnTo>
                <a:lnTo>
                  <a:pt x="12865" y="3450"/>
                </a:lnTo>
                <a:lnTo>
                  <a:pt x="12853" y="3452"/>
                </a:lnTo>
                <a:lnTo>
                  <a:pt x="12839" y="3455"/>
                </a:lnTo>
                <a:lnTo>
                  <a:pt x="12827" y="3458"/>
                </a:lnTo>
                <a:lnTo>
                  <a:pt x="12816" y="3462"/>
                </a:lnTo>
                <a:lnTo>
                  <a:pt x="12803" y="3467"/>
                </a:lnTo>
                <a:lnTo>
                  <a:pt x="12792" y="3472"/>
                </a:lnTo>
                <a:lnTo>
                  <a:pt x="12781" y="3479"/>
                </a:lnTo>
                <a:lnTo>
                  <a:pt x="12770" y="3485"/>
                </a:lnTo>
                <a:lnTo>
                  <a:pt x="12759" y="3491"/>
                </a:lnTo>
                <a:lnTo>
                  <a:pt x="12749" y="3498"/>
                </a:lnTo>
                <a:lnTo>
                  <a:pt x="12740" y="3506"/>
                </a:lnTo>
                <a:lnTo>
                  <a:pt x="12729" y="3515"/>
                </a:lnTo>
                <a:lnTo>
                  <a:pt x="12721" y="3523"/>
                </a:lnTo>
                <a:lnTo>
                  <a:pt x="12712" y="3532"/>
                </a:lnTo>
                <a:lnTo>
                  <a:pt x="12704" y="3541"/>
                </a:lnTo>
                <a:lnTo>
                  <a:pt x="12697" y="3552"/>
                </a:lnTo>
                <a:lnTo>
                  <a:pt x="12689" y="3562"/>
                </a:lnTo>
                <a:lnTo>
                  <a:pt x="12682" y="3572"/>
                </a:lnTo>
                <a:lnTo>
                  <a:pt x="12676" y="3584"/>
                </a:lnTo>
                <a:lnTo>
                  <a:pt x="12670" y="3595"/>
                </a:lnTo>
                <a:lnTo>
                  <a:pt x="12665" y="3606"/>
                </a:lnTo>
                <a:lnTo>
                  <a:pt x="12661" y="3618"/>
                </a:lnTo>
                <a:lnTo>
                  <a:pt x="12656" y="3630"/>
                </a:lnTo>
                <a:lnTo>
                  <a:pt x="12652" y="3642"/>
                </a:lnTo>
                <a:lnTo>
                  <a:pt x="12649" y="3655"/>
                </a:lnTo>
                <a:lnTo>
                  <a:pt x="12647" y="3668"/>
                </a:lnTo>
                <a:lnTo>
                  <a:pt x="12646" y="3680"/>
                </a:lnTo>
                <a:lnTo>
                  <a:pt x="12645" y="3694"/>
                </a:lnTo>
                <a:lnTo>
                  <a:pt x="12644" y="3707"/>
                </a:lnTo>
                <a:lnTo>
                  <a:pt x="12645" y="3720"/>
                </a:lnTo>
                <a:lnTo>
                  <a:pt x="12646" y="3734"/>
                </a:lnTo>
                <a:lnTo>
                  <a:pt x="12647" y="3747"/>
                </a:lnTo>
                <a:lnTo>
                  <a:pt x="12649" y="3760"/>
                </a:lnTo>
                <a:lnTo>
                  <a:pt x="12652" y="3772"/>
                </a:lnTo>
                <a:lnTo>
                  <a:pt x="12656" y="3784"/>
                </a:lnTo>
                <a:lnTo>
                  <a:pt x="12661" y="3797"/>
                </a:lnTo>
                <a:lnTo>
                  <a:pt x="12665" y="3808"/>
                </a:lnTo>
                <a:lnTo>
                  <a:pt x="12670" y="3820"/>
                </a:lnTo>
                <a:lnTo>
                  <a:pt x="12676" y="3832"/>
                </a:lnTo>
                <a:lnTo>
                  <a:pt x="12682" y="3842"/>
                </a:lnTo>
                <a:lnTo>
                  <a:pt x="12689" y="3852"/>
                </a:lnTo>
                <a:lnTo>
                  <a:pt x="12697" y="3863"/>
                </a:lnTo>
                <a:lnTo>
                  <a:pt x="12704" y="3873"/>
                </a:lnTo>
                <a:lnTo>
                  <a:pt x="12712" y="3882"/>
                </a:lnTo>
                <a:lnTo>
                  <a:pt x="12721" y="3891"/>
                </a:lnTo>
                <a:lnTo>
                  <a:pt x="12729" y="3900"/>
                </a:lnTo>
                <a:lnTo>
                  <a:pt x="12740" y="3908"/>
                </a:lnTo>
                <a:lnTo>
                  <a:pt x="12749" y="3916"/>
                </a:lnTo>
                <a:lnTo>
                  <a:pt x="12759" y="3923"/>
                </a:lnTo>
                <a:lnTo>
                  <a:pt x="12770" y="3931"/>
                </a:lnTo>
                <a:lnTo>
                  <a:pt x="12781" y="3937"/>
                </a:lnTo>
                <a:lnTo>
                  <a:pt x="12792" y="3942"/>
                </a:lnTo>
                <a:lnTo>
                  <a:pt x="12803" y="3947"/>
                </a:lnTo>
                <a:lnTo>
                  <a:pt x="12816" y="3952"/>
                </a:lnTo>
                <a:lnTo>
                  <a:pt x="12827" y="3956"/>
                </a:lnTo>
                <a:lnTo>
                  <a:pt x="12839" y="3959"/>
                </a:lnTo>
                <a:lnTo>
                  <a:pt x="12853" y="3962"/>
                </a:lnTo>
                <a:lnTo>
                  <a:pt x="12865" y="3964"/>
                </a:lnTo>
                <a:lnTo>
                  <a:pt x="12878" y="3967"/>
                </a:lnTo>
                <a:lnTo>
                  <a:pt x="12892" y="3968"/>
                </a:lnTo>
                <a:lnTo>
                  <a:pt x="12905" y="3968"/>
                </a:lnTo>
                <a:close/>
                <a:moveTo>
                  <a:pt x="1195" y="0"/>
                </a:moveTo>
                <a:lnTo>
                  <a:pt x="318" y="0"/>
                </a:lnTo>
                <a:lnTo>
                  <a:pt x="301" y="0"/>
                </a:lnTo>
                <a:lnTo>
                  <a:pt x="285" y="2"/>
                </a:lnTo>
                <a:lnTo>
                  <a:pt x="269" y="4"/>
                </a:lnTo>
                <a:lnTo>
                  <a:pt x="254" y="6"/>
                </a:lnTo>
                <a:lnTo>
                  <a:pt x="238" y="10"/>
                </a:lnTo>
                <a:lnTo>
                  <a:pt x="223" y="14"/>
                </a:lnTo>
                <a:lnTo>
                  <a:pt x="209" y="20"/>
                </a:lnTo>
                <a:lnTo>
                  <a:pt x="194" y="25"/>
                </a:lnTo>
                <a:lnTo>
                  <a:pt x="180" y="32"/>
                </a:lnTo>
                <a:lnTo>
                  <a:pt x="167" y="38"/>
                </a:lnTo>
                <a:lnTo>
                  <a:pt x="153" y="46"/>
                </a:lnTo>
                <a:lnTo>
                  <a:pt x="140" y="55"/>
                </a:lnTo>
                <a:lnTo>
                  <a:pt x="127" y="64"/>
                </a:lnTo>
                <a:lnTo>
                  <a:pt x="116" y="73"/>
                </a:lnTo>
                <a:lnTo>
                  <a:pt x="104" y="82"/>
                </a:lnTo>
                <a:lnTo>
                  <a:pt x="94" y="94"/>
                </a:lnTo>
                <a:lnTo>
                  <a:pt x="82" y="104"/>
                </a:lnTo>
                <a:lnTo>
                  <a:pt x="73" y="116"/>
                </a:lnTo>
                <a:lnTo>
                  <a:pt x="63" y="128"/>
                </a:lnTo>
                <a:lnTo>
                  <a:pt x="54" y="140"/>
                </a:lnTo>
                <a:lnTo>
                  <a:pt x="46" y="153"/>
                </a:lnTo>
                <a:lnTo>
                  <a:pt x="38" y="167"/>
                </a:lnTo>
                <a:lnTo>
                  <a:pt x="31" y="180"/>
                </a:lnTo>
                <a:lnTo>
                  <a:pt x="25" y="195"/>
                </a:lnTo>
                <a:lnTo>
                  <a:pt x="20" y="209"/>
                </a:lnTo>
                <a:lnTo>
                  <a:pt x="14" y="223"/>
                </a:lnTo>
                <a:lnTo>
                  <a:pt x="10" y="239"/>
                </a:lnTo>
                <a:lnTo>
                  <a:pt x="6" y="254"/>
                </a:lnTo>
                <a:lnTo>
                  <a:pt x="4" y="270"/>
                </a:lnTo>
                <a:lnTo>
                  <a:pt x="2" y="285"/>
                </a:lnTo>
                <a:lnTo>
                  <a:pt x="0" y="302"/>
                </a:lnTo>
                <a:lnTo>
                  <a:pt x="0" y="318"/>
                </a:lnTo>
                <a:lnTo>
                  <a:pt x="0" y="2663"/>
                </a:lnTo>
                <a:lnTo>
                  <a:pt x="341" y="2663"/>
                </a:lnTo>
                <a:lnTo>
                  <a:pt x="354" y="2664"/>
                </a:lnTo>
                <a:lnTo>
                  <a:pt x="366" y="2665"/>
                </a:lnTo>
                <a:lnTo>
                  <a:pt x="378" y="2666"/>
                </a:lnTo>
                <a:lnTo>
                  <a:pt x="391" y="2668"/>
                </a:lnTo>
                <a:lnTo>
                  <a:pt x="402" y="2671"/>
                </a:lnTo>
                <a:lnTo>
                  <a:pt x="414" y="2675"/>
                </a:lnTo>
                <a:lnTo>
                  <a:pt x="426" y="2679"/>
                </a:lnTo>
                <a:lnTo>
                  <a:pt x="436" y="2683"/>
                </a:lnTo>
                <a:lnTo>
                  <a:pt x="447" y="2688"/>
                </a:lnTo>
                <a:lnTo>
                  <a:pt x="457" y="2693"/>
                </a:lnTo>
                <a:lnTo>
                  <a:pt x="468" y="2699"/>
                </a:lnTo>
                <a:lnTo>
                  <a:pt x="478" y="2705"/>
                </a:lnTo>
                <a:lnTo>
                  <a:pt x="487" y="2713"/>
                </a:lnTo>
                <a:lnTo>
                  <a:pt x="496" y="2720"/>
                </a:lnTo>
                <a:lnTo>
                  <a:pt x="506" y="2727"/>
                </a:lnTo>
                <a:lnTo>
                  <a:pt x="514" y="2735"/>
                </a:lnTo>
                <a:lnTo>
                  <a:pt x="522" y="2744"/>
                </a:lnTo>
                <a:lnTo>
                  <a:pt x="529" y="2753"/>
                </a:lnTo>
                <a:lnTo>
                  <a:pt x="537" y="2762"/>
                </a:lnTo>
                <a:lnTo>
                  <a:pt x="544" y="2771"/>
                </a:lnTo>
                <a:lnTo>
                  <a:pt x="550" y="2782"/>
                </a:lnTo>
                <a:lnTo>
                  <a:pt x="556" y="2792"/>
                </a:lnTo>
                <a:lnTo>
                  <a:pt x="561" y="2802"/>
                </a:lnTo>
                <a:lnTo>
                  <a:pt x="566" y="2814"/>
                </a:lnTo>
                <a:lnTo>
                  <a:pt x="570" y="2824"/>
                </a:lnTo>
                <a:lnTo>
                  <a:pt x="575" y="2835"/>
                </a:lnTo>
                <a:lnTo>
                  <a:pt x="578" y="2848"/>
                </a:lnTo>
                <a:lnTo>
                  <a:pt x="581" y="2859"/>
                </a:lnTo>
                <a:lnTo>
                  <a:pt x="583" y="2871"/>
                </a:lnTo>
                <a:lnTo>
                  <a:pt x="584" y="2884"/>
                </a:lnTo>
                <a:lnTo>
                  <a:pt x="585" y="2896"/>
                </a:lnTo>
                <a:lnTo>
                  <a:pt x="586" y="2908"/>
                </a:lnTo>
                <a:lnTo>
                  <a:pt x="586" y="3421"/>
                </a:lnTo>
                <a:lnTo>
                  <a:pt x="585" y="3433"/>
                </a:lnTo>
                <a:lnTo>
                  <a:pt x="584" y="3447"/>
                </a:lnTo>
                <a:lnTo>
                  <a:pt x="583" y="3458"/>
                </a:lnTo>
                <a:lnTo>
                  <a:pt x="581" y="3470"/>
                </a:lnTo>
                <a:lnTo>
                  <a:pt x="578" y="3482"/>
                </a:lnTo>
                <a:lnTo>
                  <a:pt x="575" y="3494"/>
                </a:lnTo>
                <a:lnTo>
                  <a:pt x="570" y="3505"/>
                </a:lnTo>
                <a:lnTo>
                  <a:pt x="566" y="3516"/>
                </a:lnTo>
                <a:lnTo>
                  <a:pt x="561" y="3527"/>
                </a:lnTo>
                <a:lnTo>
                  <a:pt x="556" y="3537"/>
                </a:lnTo>
                <a:lnTo>
                  <a:pt x="550" y="3548"/>
                </a:lnTo>
                <a:lnTo>
                  <a:pt x="544" y="3558"/>
                </a:lnTo>
                <a:lnTo>
                  <a:pt x="537" y="3567"/>
                </a:lnTo>
                <a:lnTo>
                  <a:pt x="529" y="3576"/>
                </a:lnTo>
                <a:lnTo>
                  <a:pt x="522" y="3586"/>
                </a:lnTo>
                <a:lnTo>
                  <a:pt x="514" y="3594"/>
                </a:lnTo>
                <a:lnTo>
                  <a:pt x="506" y="3602"/>
                </a:lnTo>
                <a:lnTo>
                  <a:pt x="496" y="3609"/>
                </a:lnTo>
                <a:lnTo>
                  <a:pt x="487" y="3617"/>
                </a:lnTo>
                <a:lnTo>
                  <a:pt x="478" y="3624"/>
                </a:lnTo>
                <a:lnTo>
                  <a:pt x="468" y="3630"/>
                </a:lnTo>
                <a:lnTo>
                  <a:pt x="457" y="3636"/>
                </a:lnTo>
                <a:lnTo>
                  <a:pt x="447" y="3641"/>
                </a:lnTo>
                <a:lnTo>
                  <a:pt x="436" y="3646"/>
                </a:lnTo>
                <a:lnTo>
                  <a:pt x="426" y="3650"/>
                </a:lnTo>
                <a:lnTo>
                  <a:pt x="414" y="3655"/>
                </a:lnTo>
                <a:lnTo>
                  <a:pt x="402" y="3658"/>
                </a:lnTo>
                <a:lnTo>
                  <a:pt x="391" y="3661"/>
                </a:lnTo>
                <a:lnTo>
                  <a:pt x="378" y="3663"/>
                </a:lnTo>
                <a:lnTo>
                  <a:pt x="366" y="3664"/>
                </a:lnTo>
                <a:lnTo>
                  <a:pt x="354" y="3665"/>
                </a:lnTo>
                <a:lnTo>
                  <a:pt x="341" y="3666"/>
                </a:lnTo>
                <a:lnTo>
                  <a:pt x="0" y="3666"/>
                </a:lnTo>
                <a:lnTo>
                  <a:pt x="0" y="4154"/>
                </a:lnTo>
                <a:lnTo>
                  <a:pt x="0" y="4170"/>
                </a:lnTo>
                <a:lnTo>
                  <a:pt x="2" y="4187"/>
                </a:lnTo>
                <a:lnTo>
                  <a:pt x="4" y="4202"/>
                </a:lnTo>
                <a:lnTo>
                  <a:pt x="6" y="4218"/>
                </a:lnTo>
                <a:lnTo>
                  <a:pt x="10" y="4233"/>
                </a:lnTo>
                <a:lnTo>
                  <a:pt x="14" y="4249"/>
                </a:lnTo>
                <a:lnTo>
                  <a:pt x="20" y="4263"/>
                </a:lnTo>
                <a:lnTo>
                  <a:pt x="25" y="4277"/>
                </a:lnTo>
                <a:lnTo>
                  <a:pt x="31" y="4292"/>
                </a:lnTo>
                <a:lnTo>
                  <a:pt x="38" y="4305"/>
                </a:lnTo>
                <a:lnTo>
                  <a:pt x="46" y="4319"/>
                </a:lnTo>
                <a:lnTo>
                  <a:pt x="54" y="4332"/>
                </a:lnTo>
                <a:lnTo>
                  <a:pt x="63" y="4344"/>
                </a:lnTo>
                <a:lnTo>
                  <a:pt x="73" y="4356"/>
                </a:lnTo>
                <a:lnTo>
                  <a:pt x="82" y="4368"/>
                </a:lnTo>
                <a:lnTo>
                  <a:pt x="94" y="4378"/>
                </a:lnTo>
                <a:lnTo>
                  <a:pt x="104" y="4390"/>
                </a:lnTo>
                <a:lnTo>
                  <a:pt x="116" y="4399"/>
                </a:lnTo>
                <a:lnTo>
                  <a:pt x="127" y="4409"/>
                </a:lnTo>
                <a:lnTo>
                  <a:pt x="140" y="4417"/>
                </a:lnTo>
                <a:lnTo>
                  <a:pt x="153" y="4426"/>
                </a:lnTo>
                <a:lnTo>
                  <a:pt x="167" y="4434"/>
                </a:lnTo>
                <a:lnTo>
                  <a:pt x="180" y="4441"/>
                </a:lnTo>
                <a:lnTo>
                  <a:pt x="194" y="4447"/>
                </a:lnTo>
                <a:lnTo>
                  <a:pt x="209" y="4452"/>
                </a:lnTo>
                <a:lnTo>
                  <a:pt x="223" y="4458"/>
                </a:lnTo>
                <a:lnTo>
                  <a:pt x="238" y="4462"/>
                </a:lnTo>
                <a:lnTo>
                  <a:pt x="254" y="4466"/>
                </a:lnTo>
                <a:lnTo>
                  <a:pt x="269" y="4468"/>
                </a:lnTo>
                <a:lnTo>
                  <a:pt x="285" y="4470"/>
                </a:lnTo>
                <a:lnTo>
                  <a:pt x="301" y="4472"/>
                </a:lnTo>
                <a:lnTo>
                  <a:pt x="318" y="4472"/>
                </a:lnTo>
                <a:lnTo>
                  <a:pt x="1195" y="4472"/>
                </a:lnTo>
                <a:lnTo>
                  <a:pt x="1195" y="0"/>
                </a:lnTo>
                <a:close/>
              </a:path>
            </a:pathLst>
          </a:custGeom>
          <a:solidFill>
            <a:srgbClr val="00B0F0"/>
          </a:solidFill>
          <a:ln>
            <a:noFill/>
          </a:ln>
          <a:effectLst/>
        </p:spPr>
        <p:txBody>
          <a:bodyPr vert="horz" wrap="square" lIns="91416" tIns="45708" rIns="91416" bIns="45708" numCol="1" rtlCol="0" anchor="t" anchorCtr="0" compatLnSpc="1">
            <a:prstTxWarp prst="textNoShape">
              <a:avLst/>
            </a:prstTxWarp>
          </a:bodyPr>
          <a:lstStyle/>
          <a:p>
            <a:pPr fontAlgn="ctr">
              <a:buClr>
                <a:srgbClr val="CC9900"/>
              </a:buClr>
              <a:buFont typeface="Wingdings" pitchFamily="2" charset="2"/>
              <a:buChar char="n"/>
            </a:pPr>
            <a:endParaRPr lang="en-US" altLang="zh-CN" sz="1799" dirty="0">
              <a:solidFill>
                <a:schemeClr val="bg1"/>
              </a:solidFill>
            </a:endParaRPr>
          </a:p>
        </p:txBody>
      </p:sp>
      <p:sp>
        <p:nvSpPr>
          <p:cNvPr id="215" name="2064855995"/>
          <p:cNvSpPr>
            <a:spLocks noChangeAspect="1" noEditPoints="1"/>
          </p:cNvSpPr>
          <p:nvPr/>
        </p:nvSpPr>
        <p:spPr bwMode="auto">
          <a:xfrm>
            <a:off x="4064565" y="2632772"/>
            <a:ext cx="261670" cy="251935"/>
          </a:xfrm>
          <a:custGeom>
            <a:avLst/>
            <a:gdLst/>
            <a:ahLst/>
            <a:cxnLst>
              <a:cxn ang="0">
                <a:pos x="3903" y="6898"/>
              </a:cxn>
              <a:cxn ang="0">
                <a:pos x="2768" y="6922"/>
              </a:cxn>
              <a:cxn ang="0">
                <a:pos x="2880" y="6462"/>
              </a:cxn>
              <a:cxn ang="0">
                <a:pos x="17098" y="250"/>
              </a:cxn>
              <a:cxn ang="0">
                <a:pos x="17098" y="3287"/>
              </a:cxn>
              <a:cxn ang="0">
                <a:pos x="492" y="3536"/>
              </a:cxn>
              <a:cxn ang="0">
                <a:pos x="41" y="3220"/>
              </a:cxn>
              <a:cxn ang="0">
                <a:pos x="118" y="189"/>
              </a:cxn>
              <a:cxn ang="0">
                <a:pos x="16734" y="4129"/>
              </a:cxn>
              <a:cxn ang="0">
                <a:pos x="17149" y="4486"/>
              </a:cxn>
              <a:cxn ang="0">
                <a:pos x="17021" y="15357"/>
              </a:cxn>
              <a:cxn ang="0">
                <a:pos x="364" y="15485"/>
              </a:cxn>
              <a:cxn ang="0">
                <a:pos x="6" y="15070"/>
              </a:cxn>
              <a:cxn ang="0">
                <a:pos x="208" y="4225"/>
              </a:cxn>
              <a:cxn ang="0">
                <a:pos x="4256" y="5602"/>
              </a:cxn>
              <a:cxn ang="0">
                <a:pos x="4188" y="14068"/>
              </a:cxn>
              <a:cxn ang="0">
                <a:pos x="2370" y="5661"/>
              </a:cxn>
              <a:cxn ang="0">
                <a:pos x="7760" y="5602"/>
              </a:cxn>
              <a:cxn ang="0">
                <a:pos x="7692" y="14068"/>
              </a:cxn>
              <a:cxn ang="0">
                <a:pos x="5874" y="5661"/>
              </a:cxn>
              <a:cxn ang="0">
                <a:pos x="11265" y="5602"/>
              </a:cxn>
              <a:cxn ang="0">
                <a:pos x="11197" y="14068"/>
              </a:cxn>
              <a:cxn ang="0">
                <a:pos x="9379" y="5661"/>
              </a:cxn>
              <a:cxn ang="0">
                <a:pos x="14770" y="5602"/>
              </a:cxn>
              <a:cxn ang="0">
                <a:pos x="14702" y="14068"/>
              </a:cxn>
              <a:cxn ang="0">
                <a:pos x="12884" y="5661"/>
              </a:cxn>
              <a:cxn ang="0">
                <a:pos x="15584" y="1828"/>
              </a:cxn>
              <a:cxn ang="0">
                <a:pos x="15528" y="2473"/>
              </a:cxn>
              <a:cxn ang="0">
                <a:pos x="14147" y="1874"/>
              </a:cxn>
              <a:cxn ang="0">
                <a:pos x="14013" y="9383"/>
              </a:cxn>
              <a:cxn ang="0">
                <a:pos x="13980" y="13352"/>
              </a:cxn>
              <a:cxn ang="0">
                <a:pos x="13588" y="13199"/>
              </a:cxn>
              <a:cxn ang="0">
                <a:pos x="14293" y="7397"/>
              </a:cxn>
              <a:cxn ang="0">
                <a:pos x="14405" y="7856"/>
              </a:cxn>
              <a:cxn ang="0">
                <a:pos x="13270" y="7832"/>
              </a:cxn>
              <a:cxn ang="0">
                <a:pos x="14293" y="6462"/>
              </a:cxn>
              <a:cxn ang="0">
                <a:pos x="14405" y="6922"/>
              </a:cxn>
              <a:cxn ang="0">
                <a:pos x="13270" y="6898"/>
              </a:cxn>
              <a:cxn ang="0">
                <a:pos x="10396" y="9346"/>
              </a:cxn>
              <a:cxn ang="0">
                <a:pos x="10582" y="13239"/>
              </a:cxn>
              <a:cxn ang="0">
                <a:pos x="10169" y="13332"/>
              </a:cxn>
              <a:cxn ang="0">
                <a:pos x="10203" y="9362"/>
              </a:cxn>
              <a:cxn ang="0">
                <a:pos x="10922" y="7524"/>
              </a:cxn>
              <a:cxn ang="0">
                <a:pos x="9837" y="7908"/>
              </a:cxn>
              <a:cxn ang="0">
                <a:pos x="9814" y="7420"/>
              </a:cxn>
              <a:cxn ang="0">
                <a:pos x="10922" y="6591"/>
              </a:cxn>
              <a:cxn ang="0">
                <a:pos x="9837" y="6974"/>
              </a:cxn>
              <a:cxn ang="0">
                <a:pos x="9814" y="6487"/>
              </a:cxn>
              <a:cxn ang="0">
                <a:pos x="7084" y="9495"/>
              </a:cxn>
              <a:cxn ang="0">
                <a:pos x="6777" y="13370"/>
              </a:cxn>
              <a:cxn ang="0">
                <a:pos x="6591" y="9476"/>
              </a:cxn>
              <a:cxn ang="0">
                <a:pos x="7369" y="7429"/>
              </a:cxn>
              <a:cxn ang="0">
                <a:pos x="7323" y="7913"/>
              </a:cxn>
              <a:cxn ang="0">
                <a:pos x="6253" y="7510"/>
              </a:cxn>
              <a:cxn ang="0">
                <a:pos x="7369" y="6495"/>
              </a:cxn>
              <a:cxn ang="0">
                <a:pos x="7323" y="6979"/>
              </a:cxn>
              <a:cxn ang="0">
                <a:pos x="6253" y="6576"/>
              </a:cxn>
              <a:cxn ang="0">
                <a:pos x="3483" y="9372"/>
              </a:cxn>
              <a:cxn ang="0">
                <a:pos x="3483" y="13343"/>
              </a:cxn>
              <a:cxn ang="0">
                <a:pos x="3079" y="13219"/>
              </a:cxn>
              <a:cxn ang="0">
                <a:pos x="2880" y="7397"/>
              </a:cxn>
              <a:cxn ang="0">
                <a:pos x="3897" y="7844"/>
              </a:cxn>
              <a:cxn ang="0">
                <a:pos x="2762" y="7844"/>
              </a:cxn>
            </a:cxnLst>
            <a:rect l="0" t="0" r="r" b="b"/>
            <a:pathLst>
              <a:path w="17173" h="15509">
                <a:moveTo>
                  <a:pt x="2880" y="6462"/>
                </a:moveTo>
                <a:lnTo>
                  <a:pt x="3779" y="6462"/>
                </a:lnTo>
                <a:lnTo>
                  <a:pt x="3792" y="6463"/>
                </a:lnTo>
                <a:lnTo>
                  <a:pt x="3806" y="6465"/>
                </a:lnTo>
                <a:lnTo>
                  <a:pt x="3819" y="6469"/>
                </a:lnTo>
                <a:lnTo>
                  <a:pt x="3831" y="6474"/>
                </a:lnTo>
                <a:lnTo>
                  <a:pt x="3842" y="6479"/>
                </a:lnTo>
                <a:lnTo>
                  <a:pt x="3854" y="6487"/>
                </a:lnTo>
                <a:lnTo>
                  <a:pt x="3864" y="6495"/>
                </a:lnTo>
                <a:lnTo>
                  <a:pt x="3874" y="6504"/>
                </a:lnTo>
                <a:lnTo>
                  <a:pt x="3882" y="6515"/>
                </a:lnTo>
                <a:lnTo>
                  <a:pt x="3891" y="6525"/>
                </a:lnTo>
                <a:lnTo>
                  <a:pt x="3897" y="6537"/>
                </a:lnTo>
                <a:lnTo>
                  <a:pt x="3903" y="6549"/>
                </a:lnTo>
                <a:lnTo>
                  <a:pt x="3908" y="6563"/>
                </a:lnTo>
                <a:lnTo>
                  <a:pt x="3911" y="6576"/>
                </a:lnTo>
                <a:lnTo>
                  <a:pt x="3913" y="6591"/>
                </a:lnTo>
                <a:lnTo>
                  <a:pt x="3913" y="6605"/>
                </a:lnTo>
                <a:lnTo>
                  <a:pt x="3913" y="6843"/>
                </a:lnTo>
                <a:lnTo>
                  <a:pt x="3913" y="6857"/>
                </a:lnTo>
                <a:lnTo>
                  <a:pt x="3911" y="6871"/>
                </a:lnTo>
                <a:lnTo>
                  <a:pt x="3908" y="6885"/>
                </a:lnTo>
                <a:lnTo>
                  <a:pt x="3903" y="6898"/>
                </a:lnTo>
                <a:lnTo>
                  <a:pt x="3897" y="6911"/>
                </a:lnTo>
                <a:lnTo>
                  <a:pt x="3891" y="6922"/>
                </a:lnTo>
                <a:lnTo>
                  <a:pt x="3882" y="6933"/>
                </a:lnTo>
                <a:lnTo>
                  <a:pt x="3874" y="6944"/>
                </a:lnTo>
                <a:lnTo>
                  <a:pt x="3864" y="6952"/>
                </a:lnTo>
                <a:lnTo>
                  <a:pt x="3854" y="6961"/>
                </a:lnTo>
                <a:lnTo>
                  <a:pt x="3842" y="6969"/>
                </a:lnTo>
                <a:lnTo>
                  <a:pt x="3831" y="6974"/>
                </a:lnTo>
                <a:lnTo>
                  <a:pt x="3819" y="6979"/>
                </a:lnTo>
                <a:lnTo>
                  <a:pt x="3806" y="6983"/>
                </a:lnTo>
                <a:lnTo>
                  <a:pt x="3792" y="6985"/>
                </a:lnTo>
                <a:lnTo>
                  <a:pt x="3779" y="6986"/>
                </a:lnTo>
                <a:lnTo>
                  <a:pt x="2880" y="6986"/>
                </a:lnTo>
                <a:lnTo>
                  <a:pt x="2867" y="6985"/>
                </a:lnTo>
                <a:lnTo>
                  <a:pt x="2853" y="6983"/>
                </a:lnTo>
                <a:lnTo>
                  <a:pt x="2840" y="6979"/>
                </a:lnTo>
                <a:lnTo>
                  <a:pt x="2828" y="6974"/>
                </a:lnTo>
                <a:lnTo>
                  <a:pt x="2816" y="6969"/>
                </a:lnTo>
                <a:lnTo>
                  <a:pt x="2805" y="6961"/>
                </a:lnTo>
                <a:lnTo>
                  <a:pt x="2795" y="6952"/>
                </a:lnTo>
                <a:lnTo>
                  <a:pt x="2785" y="6944"/>
                </a:lnTo>
                <a:lnTo>
                  <a:pt x="2777" y="6933"/>
                </a:lnTo>
                <a:lnTo>
                  <a:pt x="2768" y="6922"/>
                </a:lnTo>
                <a:lnTo>
                  <a:pt x="2762" y="6911"/>
                </a:lnTo>
                <a:lnTo>
                  <a:pt x="2756" y="6898"/>
                </a:lnTo>
                <a:lnTo>
                  <a:pt x="2751" y="6885"/>
                </a:lnTo>
                <a:lnTo>
                  <a:pt x="2748" y="6871"/>
                </a:lnTo>
                <a:lnTo>
                  <a:pt x="2746" y="6857"/>
                </a:lnTo>
                <a:lnTo>
                  <a:pt x="2746" y="6843"/>
                </a:lnTo>
                <a:lnTo>
                  <a:pt x="2746" y="6605"/>
                </a:lnTo>
                <a:lnTo>
                  <a:pt x="2746" y="6591"/>
                </a:lnTo>
                <a:lnTo>
                  <a:pt x="2748" y="6576"/>
                </a:lnTo>
                <a:lnTo>
                  <a:pt x="2751" y="6563"/>
                </a:lnTo>
                <a:lnTo>
                  <a:pt x="2756" y="6549"/>
                </a:lnTo>
                <a:lnTo>
                  <a:pt x="2762" y="6537"/>
                </a:lnTo>
                <a:lnTo>
                  <a:pt x="2768" y="6525"/>
                </a:lnTo>
                <a:lnTo>
                  <a:pt x="2777" y="6515"/>
                </a:lnTo>
                <a:lnTo>
                  <a:pt x="2785" y="6504"/>
                </a:lnTo>
                <a:lnTo>
                  <a:pt x="2795" y="6495"/>
                </a:lnTo>
                <a:lnTo>
                  <a:pt x="2805" y="6487"/>
                </a:lnTo>
                <a:lnTo>
                  <a:pt x="2816" y="6479"/>
                </a:lnTo>
                <a:lnTo>
                  <a:pt x="2828" y="6474"/>
                </a:lnTo>
                <a:lnTo>
                  <a:pt x="2840" y="6469"/>
                </a:lnTo>
                <a:lnTo>
                  <a:pt x="2853" y="6465"/>
                </a:lnTo>
                <a:lnTo>
                  <a:pt x="2867" y="6463"/>
                </a:lnTo>
                <a:lnTo>
                  <a:pt x="2880" y="6462"/>
                </a:lnTo>
                <a:close/>
                <a:moveTo>
                  <a:pt x="517" y="0"/>
                </a:moveTo>
                <a:lnTo>
                  <a:pt x="16656" y="0"/>
                </a:lnTo>
                <a:lnTo>
                  <a:pt x="16681" y="1"/>
                </a:lnTo>
                <a:lnTo>
                  <a:pt x="16708" y="3"/>
                </a:lnTo>
                <a:lnTo>
                  <a:pt x="16734" y="6"/>
                </a:lnTo>
                <a:lnTo>
                  <a:pt x="16759" y="11"/>
                </a:lnTo>
                <a:lnTo>
                  <a:pt x="16784" y="16"/>
                </a:lnTo>
                <a:lnTo>
                  <a:pt x="16809" y="24"/>
                </a:lnTo>
                <a:lnTo>
                  <a:pt x="16833" y="31"/>
                </a:lnTo>
                <a:lnTo>
                  <a:pt x="16856" y="41"/>
                </a:lnTo>
                <a:lnTo>
                  <a:pt x="16879" y="51"/>
                </a:lnTo>
                <a:lnTo>
                  <a:pt x="16901" y="62"/>
                </a:lnTo>
                <a:lnTo>
                  <a:pt x="16923" y="75"/>
                </a:lnTo>
                <a:lnTo>
                  <a:pt x="16944" y="89"/>
                </a:lnTo>
                <a:lnTo>
                  <a:pt x="16965" y="103"/>
                </a:lnTo>
                <a:lnTo>
                  <a:pt x="16984" y="119"/>
                </a:lnTo>
                <a:lnTo>
                  <a:pt x="17002" y="135"/>
                </a:lnTo>
                <a:lnTo>
                  <a:pt x="17021" y="152"/>
                </a:lnTo>
                <a:lnTo>
                  <a:pt x="17038" y="171"/>
                </a:lnTo>
                <a:lnTo>
                  <a:pt x="17054" y="189"/>
                </a:lnTo>
                <a:lnTo>
                  <a:pt x="17070" y="208"/>
                </a:lnTo>
                <a:lnTo>
                  <a:pt x="17084" y="229"/>
                </a:lnTo>
                <a:lnTo>
                  <a:pt x="17098" y="250"/>
                </a:lnTo>
                <a:lnTo>
                  <a:pt x="17111" y="271"/>
                </a:lnTo>
                <a:lnTo>
                  <a:pt x="17121" y="294"/>
                </a:lnTo>
                <a:lnTo>
                  <a:pt x="17132" y="317"/>
                </a:lnTo>
                <a:lnTo>
                  <a:pt x="17142" y="340"/>
                </a:lnTo>
                <a:lnTo>
                  <a:pt x="17149" y="364"/>
                </a:lnTo>
                <a:lnTo>
                  <a:pt x="17157" y="388"/>
                </a:lnTo>
                <a:lnTo>
                  <a:pt x="17162" y="414"/>
                </a:lnTo>
                <a:lnTo>
                  <a:pt x="17167" y="439"/>
                </a:lnTo>
                <a:lnTo>
                  <a:pt x="17170" y="465"/>
                </a:lnTo>
                <a:lnTo>
                  <a:pt x="17172" y="491"/>
                </a:lnTo>
                <a:lnTo>
                  <a:pt x="17173" y="517"/>
                </a:lnTo>
                <a:lnTo>
                  <a:pt x="17173" y="3019"/>
                </a:lnTo>
                <a:lnTo>
                  <a:pt x="17172" y="3046"/>
                </a:lnTo>
                <a:lnTo>
                  <a:pt x="17170" y="3072"/>
                </a:lnTo>
                <a:lnTo>
                  <a:pt x="17167" y="3098"/>
                </a:lnTo>
                <a:lnTo>
                  <a:pt x="17162" y="3123"/>
                </a:lnTo>
                <a:lnTo>
                  <a:pt x="17157" y="3148"/>
                </a:lnTo>
                <a:lnTo>
                  <a:pt x="17149" y="3173"/>
                </a:lnTo>
                <a:lnTo>
                  <a:pt x="17142" y="3197"/>
                </a:lnTo>
                <a:lnTo>
                  <a:pt x="17132" y="3220"/>
                </a:lnTo>
                <a:lnTo>
                  <a:pt x="17121" y="3243"/>
                </a:lnTo>
                <a:lnTo>
                  <a:pt x="17111" y="3266"/>
                </a:lnTo>
                <a:lnTo>
                  <a:pt x="17098" y="3287"/>
                </a:lnTo>
                <a:lnTo>
                  <a:pt x="17084" y="3308"/>
                </a:lnTo>
                <a:lnTo>
                  <a:pt x="17070" y="3328"/>
                </a:lnTo>
                <a:lnTo>
                  <a:pt x="17054" y="3349"/>
                </a:lnTo>
                <a:lnTo>
                  <a:pt x="17038" y="3367"/>
                </a:lnTo>
                <a:lnTo>
                  <a:pt x="17021" y="3385"/>
                </a:lnTo>
                <a:lnTo>
                  <a:pt x="17002" y="3402"/>
                </a:lnTo>
                <a:lnTo>
                  <a:pt x="16984" y="3418"/>
                </a:lnTo>
                <a:lnTo>
                  <a:pt x="16965" y="3433"/>
                </a:lnTo>
                <a:lnTo>
                  <a:pt x="16944" y="3448"/>
                </a:lnTo>
                <a:lnTo>
                  <a:pt x="16923" y="3461"/>
                </a:lnTo>
                <a:lnTo>
                  <a:pt x="16901" y="3474"/>
                </a:lnTo>
                <a:lnTo>
                  <a:pt x="16879" y="3486"/>
                </a:lnTo>
                <a:lnTo>
                  <a:pt x="16856" y="3496"/>
                </a:lnTo>
                <a:lnTo>
                  <a:pt x="16833" y="3505"/>
                </a:lnTo>
                <a:lnTo>
                  <a:pt x="16809" y="3514"/>
                </a:lnTo>
                <a:lnTo>
                  <a:pt x="16784" y="3520"/>
                </a:lnTo>
                <a:lnTo>
                  <a:pt x="16759" y="3527"/>
                </a:lnTo>
                <a:lnTo>
                  <a:pt x="16734" y="3531"/>
                </a:lnTo>
                <a:lnTo>
                  <a:pt x="16708" y="3534"/>
                </a:lnTo>
                <a:lnTo>
                  <a:pt x="16681" y="3536"/>
                </a:lnTo>
                <a:lnTo>
                  <a:pt x="16656" y="3536"/>
                </a:lnTo>
                <a:lnTo>
                  <a:pt x="517" y="3536"/>
                </a:lnTo>
                <a:lnTo>
                  <a:pt x="492" y="3536"/>
                </a:lnTo>
                <a:lnTo>
                  <a:pt x="465" y="3534"/>
                </a:lnTo>
                <a:lnTo>
                  <a:pt x="439" y="3531"/>
                </a:lnTo>
                <a:lnTo>
                  <a:pt x="413" y="3527"/>
                </a:lnTo>
                <a:lnTo>
                  <a:pt x="389" y="3520"/>
                </a:lnTo>
                <a:lnTo>
                  <a:pt x="364" y="3514"/>
                </a:lnTo>
                <a:lnTo>
                  <a:pt x="340" y="3505"/>
                </a:lnTo>
                <a:lnTo>
                  <a:pt x="317" y="3496"/>
                </a:lnTo>
                <a:lnTo>
                  <a:pt x="294" y="3486"/>
                </a:lnTo>
                <a:lnTo>
                  <a:pt x="272" y="3474"/>
                </a:lnTo>
                <a:lnTo>
                  <a:pt x="250" y="3461"/>
                </a:lnTo>
                <a:lnTo>
                  <a:pt x="229" y="3448"/>
                </a:lnTo>
                <a:lnTo>
                  <a:pt x="208" y="3433"/>
                </a:lnTo>
                <a:lnTo>
                  <a:pt x="189" y="3418"/>
                </a:lnTo>
                <a:lnTo>
                  <a:pt x="170" y="3402"/>
                </a:lnTo>
                <a:lnTo>
                  <a:pt x="152" y="3385"/>
                </a:lnTo>
                <a:lnTo>
                  <a:pt x="135" y="3367"/>
                </a:lnTo>
                <a:lnTo>
                  <a:pt x="118" y="3349"/>
                </a:lnTo>
                <a:lnTo>
                  <a:pt x="103" y="3328"/>
                </a:lnTo>
                <a:lnTo>
                  <a:pt x="89" y="3308"/>
                </a:lnTo>
                <a:lnTo>
                  <a:pt x="75" y="3287"/>
                </a:lnTo>
                <a:lnTo>
                  <a:pt x="62" y="3266"/>
                </a:lnTo>
                <a:lnTo>
                  <a:pt x="52" y="3243"/>
                </a:lnTo>
                <a:lnTo>
                  <a:pt x="41" y="3220"/>
                </a:lnTo>
                <a:lnTo>
                  <a:pt x="31" y="3197"/>
                </a:lnTo>
                <a:lnTo>
                  <a:pt x="24" y="3173"/>
                </a:lnTo>
                <a:lnTo>
                  <a:pt x="16" y="3148"/>
                </a:lnTo>
                <a:lnTo>
                  <a:pt x="11" y="3123"/>
                </a:lnTo>
                <a:lnTo>
                  <a:pt x="6" y="3098"/>
                </a:lnTo>
                <a:lnTo>
                  <a:pt x="2" y="3072"/>
                </a:lnTo>
                <a:lnTo>
                  <a:pt x="1" y="3046"/>
                </a:lnTo>
                <a:lnTo>
                  <a:pt x="0" y="3019"/>
                </a:lnTo>
                <a:lnTo>
                  <a:pt x="0" y="517"/>
                </a:lnTo>
                <a:lnTo>
                  <a:pt x="1" y="491"/>
                </a:lnTo>
                <a:lnTo>
                  <a:pt x="2" y="465"/>
                </a:lnTo>
                <a:lnTo>
                  <a:pt x="6" y="439"/>
                </a:lnTo>
                <a:lnTo>
                  <a:pt x="11" y="414"/>
                </a:lnTo>
                <a:lnTo>
                  <a:pt x="16" y="388"/>
                </a:lnTo>
                <a:lnTo>
                  <a:pt x="24" y="364"/>
                </a:lnTo>
                <a:lnTo>
                  <a:pt x="31" y="340"/>
                </a:lnTo>
                <a:lnTo>
                  <a:pt x="41" y="317"/>
                </a:lnTo>
                <a:lnTo>
                  <a:pt x="52" y="294"/>
                </a:lnTo>
                <a:lnTo>
                  <a:pt x="62" y="271"/>
                </a:lnTo>
                <a:lnTo>
                  <a:pt x="75" y="250"/>
                </a:lnTo>
                <a:lnTo>
                  <a:pt x="89" y="229"/>
                </a:lnTo>
                <a:lnTo>
                  <a:pt x="103" y="208"/>
                </a:lnTo>
                <a:lnTo>
                  <a:pt x="118" y="189"/>
                </a:lnTo>
                <a:lnTo>
                  <a:pt x="135" y="171"/>
                </a:lnTo>
                <a:lnTo>
                  <a:pt x="152" y="152"/>
                </a:lnTo>
                <a:lnTo>
                  <a:pt x="170" y="135"/>
                </a:lnTo>
                <a:lnTo>
                  <a:pt x="189" y="119"/>
                </a:lnTo>
                <a:lnTo>
                  <a:pt x="208" y="103"/>
                </a:lnTo>
                <a:lnTo>
                  <a:pt x="229" y="89"/>
                </a:lnTo>
                <a:lnTo>
                  <a:pt x="250" y="75"/>
                </a:lnTo>
                <a:lnTo>
                  <a:pt x="272" y="62"/>
                </a:lnTo>
                <a:lnTo>
                  <a:pt x="294" y="51"/>
                </a:lnTo>
                <a:lnTo>
                  <a:pt x="317" y="41"/>
                </a:lnTo>
                <a:lnTo>
                  <a:pt x="340" y="31"/>
                </a:lnTo>
                <a:lnTo>
                  <a:pt x="364" y="24"/>
                </a:lnTo>
                <a:lnTo>
                  <a:pt x="389" y="16"/>
                </a:lnTo>
                <a:lnTo>
                  <a:pt x="413" y="11"/>
                </a:lnTo>
                <a:lnTo>
                  <a:pt x="439" y="6"/>
                </a:lnTo>
                <a:lnTo>
                  <a:pt x="465" y="3"/>
                </a:lnTo>
                <a:lnTo>
                  <a:pt x="492" y="1"/>
                </a:lnTo>
                <a:lnTo>
                  <a:pt x="517" y="0"/>
                </a:lnTo>
                <a:close/>
                <a:moveTo>
                  <a:pt x="517" y="4122"/>
                </a:moveTo>
                <a:lnTo>
                  <a:pt x="16656" y="4122"/>
                </a:lnTo>
                <a:lnTo>
                  <a:pt x="16681" y="4123"/>
                </a:lnTo>
                <a:lnTo>
                  <a:pt x="16708" y="4125"/>
                </a:lnTo>
                <a:lnTo>
                  <a:pt x="16734" y="4129"/>
                </a:lnTo>
                <a:lnTo>
                  <a:pt x="16759" y="4133"/>
                </a:lnTo>
                <a:lnTo>
                  <a:pt x="16784" y="4138"/>
                </a:lnTo>
                <a:lnTo>
                  <a:pt x="16809" y="4146"/>
                </a:lnTo>
                <a:lnTo>
                  <a:pt x="16833" y="4153"/>
                </a:lnTo>
                <a:lnTo>
                  <a:pt x="16856" y="4163"/>
                </a:lnTo>
                <a:lnTo>
                  <a:pt x="16879" y="4174"/>
                </a:lnTo>
                <a:lnTo>
                  <a:pt x="16901" y="4185"/>
                </a:lnTo>
                <a:lnTo>
                  <a:pt x="16923" y="4197"/>
                </a:lnTo>
                <a:lnTo>
                  <a:pt x="16944" y="4211"/>
                </a:lnTo>
                <a:lnTo>
                  <a:pt x="16965" y="4225"/>
                </a:lnTo>
                <a:lnTo>
                  <a:pt x="16984" y="4241"/>
                </a:lnTo>
                <a:lnTo>
                  <a:pt x="17002" y="4257"/>
                </a:lnTo>
                <a:lnTo>
                  <a:pt x="17021" y="4274"/>
                </a:lnTo>
                <a:lnTo>
                  <a:pt x="17038" y="4293"/>
                </a:lnTo>
                <a:lnTo>
                  <a:pt x="17054" y="4311"/>
                </a:lnTo>
                <a:lnTo>
                  <a:pt x="17070" y="4330"/>
                </a:lnTo>
                <a:lnTo>
                  <a:pt x="17084" y="4351"/>
                </a:lnTo>
                <a:lnTo>
                  <a:pt x="17098" y="4372"/>
                </a:lnTo>
                <a:lnTo>
                  <a:pt x="17111" y="4394"/>
                </a:lnTo>
                <a:lnTo>
                  <a:pt x="17121" y="4416"/>
                </a:lnTo>
                <a:lnTo>
                  <a:pt x="17132" y="4439"/>
                </a:lnTo>
                <a:lnTo>
                  <a:pt x="17142" y="4462"/>
                </a:lnTo>
                <a:lnTo>
                  <a:pt x="17149" y="4486"/>
                </a:lnTo>
                <a:lnTo>
                  <a:pt x="17157" y="4511"/>
                </a:lnTo>
                <a:lnTo>
                  <a:pt x="17162" y="4536"/>
                </a:lnTo>
                <a:lnTo>
                  <a:pt x="17167" y="4561"/>
                </a:lnTo>
                <a:lnTo>
                  <a:pt x="17170" y="4587"/>
                </a:lnTo>
                <a:lnTo>
                  <a:pt x="17172" y="4614"/>
                </a:lnTo>
                <a:lnTo>
                  <a:pt x="17173" y="4639"/>
                </a:lnTo>
                <a:lnTo>
                  <a:pt x="17173" y="14992"/>
                </a:lnTo>
                <a:lnTo>
                  <a:pt x="17172" y="15018"/>
                </a:lnTo>
                <a:lnTo>
                  <a:pt x="17170" y="15044"/>
                </a:lnTo>
                <a:lnTo>
                  <a:pt x="17167" y="15070"/>
                </a:lnTo>
                <a:lnTo>
                  <a:pt x="17162" y="15096"/>
                </a:lnTo>
                <a:lnTo>
                  <a:pt x="17157" y="15121"/>
                </a:lnTo>
                <a:lnTo>
                  <a:pt x="17149" y="15145"/>
                </a:lnTo>
                <a:lnTo>
                  <a:pt x="17142" y="15169"/>
                </a:lnTo>
                <a:lnTo>
                  <a:pt x="17132" y="15192"/>
                </a:lnTo>
                <a:lnTo>
                  <a:pt x="17121" y="15215"/>
                </a:lnTo>
                <a:lnTo>
                  <a:pt x="17111" y="15238"/>
                </a:lnTo>
                <a:lnTo>
                  <a:pt x="17098" y="15259"/>
                </a:lnTo>
                <a:lnTo>
                  <a:pt x="17084" y="15280"/>
                </a:lnTo>
                <a:lnTo>
                  <a:pt x="17070" y="15301"/>
                </a:lnTo>
                <a:lnTo>
                  <a:pt x="17054" y="15320"/>
                </a:lnTo>
                <a:lnTo>
                  <a:pt x="17038" y="15339"/>
                </a:lnTo>
                <a:lnTo>
                  <a:pt x="17021" y="15357"/>
                </a:lnTo>
                <a:lnTo>
                  <a:pt x="17002" y="15374"/>
                </a:lnTo>
                <a:lnTo>
                  <a:pt x="16984" y="15391"/>
                </a:lnTo>
                <a:lnTo>
                  <a:pt x="16965" y="15406"/>
                </a:lnTo>
                <a:lnTo>
                  <a:pt x="16944" y="15420"/>
                </a:lnTo>
                <a:lnTo>
                  <a:pt x="16923" y="15434"/>
                </a:lnTo>
                <a:lnTo>
                  <a:pt x="16901" y="15447"/>
                </a:lnTo>
                <a:lnTo>
                  <a:pt x="16879" y="15458"/>
                </a:lnTo>
                <a:lnTo>
                  <a:pt x="16856" y="15468"/>
                </a:lnTo>
                <a:lnTo>
                  <a:pt x="16833" y="15478"/>
                </a:lnTo>
                <a:lnTo>
                  <a:pt x="16809" y="15485"/>
                </a:lnTo>
                <a:lnTo>
                  <a:pt x="16784" y="15493"/>
                </a:lnTo>
                <a:lnTo>
                  <a:pt x="16759" y="15498"/>
                </a:lnTo>
                <a:lnTo>
                  <a:pt x="16734" y="15503"/>
                </a:lnTo>
                <a:lnTo>
                  <a:pt x="16708" y="15507"/>
                </a:lnTo>
                <a:lnTo>
                  <a:pt x="16681" y="15508"/>
                </a:lnTo>
                <a:lnTo>
                  <a:pt x="16656" y="15509"/>
                </a:lnTo>
                <a:lnTo>
                  <a:pt x="517" y="15509"/>
                </a:lnTo>
                <a:lnTo>
                  <a:pt x="492" y="15508"/>
                </a:lnTo>
                <a:lnTo>
                  <a:pt x="465" y="15507"/>
                </a:lnTo>
                <a:lnTo>
                  <a:pt x="439" y="15503"/>
                </a:lnTo>
                <a:lnTo>
                  <a:pt x="413" y="15498"/>
                </a:lnTo>
                <a:lnTo>
                  <a:pt x="389" y="15493"/>
                </a:lnTo>
                <a:lnTo>
                  <a:pt x="364" y="15485"/>
                </a:lnTo>
                <a:lnTo>
                  <a:pt x="340" y="15478"/>
                </a:lnTo>
                <a:lnTo>
                  <a:pt x="317" y="15468"/>
                </a:lnTo>
                <a:lnTo>
                  <a:pt x="294" y="15458"/>
                </a:lnTo>
                <a:lnTo>
                  <a:pt x="272" y="15447"/>
                </a:lnTo>
                <a:lnTo>
                  <a:pt x="250" y="15434"/>
                </a:lnTo>
                <a:lnTo>
                  <a:pt x="229" y="15420"/>
                </a:lnTo>
                <a:lnTo>
                  <a:pt x="208" y="15406"/>
                </a:lnTo>
                <a:lnTo>
                  <a:pt x="189" y="15391"/>
                </a:lnTo>
                <a:lnTo>
                  <a:pt x="170" y="15374"/>
                </a:lnTo>
                <a:lnTo>
                  <a:pt x="152" y="15357"/>
                </a:lnTo>
                <a:lnTo>
                  <a:pt x="135" y="15339"/>
                </a:lnTo>
                <a:lnTo>
                  <a:pt x="118" y="15320"/>
                </a:lnTo>
                <a:lnTo>
                  <a:pt x="103" y="15301"/>
                </a:lnTo>
                <a:lnTo>
                  <a:pt x="89" y="15280"/>
                </a:lnTo>
                <a:lnTo>
                  <a:pt x="75" y="15259"/>
                </a:lnTo>
                <a:lnTo>
                  <a:pt x="62" y="15238"/>
                </a:lnTo>
                <a:lnTo>
                  <a:pt x="52" y="15215"/>
                </a:lnTo>
                <a:lnTo>
                  <a:pt x="41" y="15192"/>
                </a:lnTo>
                <a:lnTo>
                  <a:pt x="31" y="15169"/>
                </a:lnTo>
                <a:lnTo>
                  <a:pt x="24" y="15145"/>
                </a:lnTo>
                <a:lnTo>
                  <a:pt x="16" y="15121"/>
                </a:lnTo>
                <a:lnTo>
                  <a:pt x="11" y="15096"/>
                </a:lnTo>
                <a:lnTo>
                  <a:pt x="6" y="15070"/>
                </a:lnTo>
                <a:lnTo>
                  <a:pt x="2" y="15044"/>
                </a:lnTo>
                <a:lnTo>
                  <a:pt x="1" y="15018"/>
                </a:lnTo>
                <a:lnTo>
                  <a:pt x="0" y="14992"/>
                </a:lnTo>
                <a:lnTo>
                  <a:pt x="0" y="4639"/>
                </a:lnTo>
                <a:lnTo>
                  <a:pt x="1" y="4614"/>
                </a:lnTo>
                <a:lnTo>
                  <a:pt x="2" y="4587"/>
                </a:lnTo>
                <a:lnTo>
                  <a:pt x="6" y="4561"/>
                </a:lnTo>
                <a:lnTo>
                  <a:pt x="11" y="4536"/>
                </a:lnTo>
                <a:lnTo>
                  <a:pt x="16" y="4511"/>
                </a:lnTo>
                <a:lnTo>
                  <a:pt x="24" y="4486"/>
                </a:lnTo>
                <a:lnTo>
                  <a:pt x="31" y="4462"/>
                </a:lnTo>
                <a:lnTo>
                  <a:pt x="41" y="4439"/>
                </a:lnTo>
                <a:lnTo>
                  <a:pt x="52" y="4416"/>
                </a:lnTo>
                <a:lnTo>
                  <a:pt x="62" y="4394"/>
                </a:lnTo>
                <a:lnTo>
                  <a:pt x="75" y="4372"/>
                </a:lnTo>
                <a:lnTo>
                  <a:pt x="89" y="4351"/>
                </a:lnTo>
                <a:lnTo>
                  <a:pt x="103" y="4330"/>
                </a:lnTo>
                <a:lnTo>
                  <a:pt x="118" y="4311"/>
                </a:lnTo>
                <a:lnTo>
                  <a:pt x="135" y="4293"/>
                </a:lnTo>
                <a:lnTo>
                  <a:pt x="152" y="4274"/>
                </a:lnTo>
                <a:lnTo>
                  <a:pt x="170" y="4257"/>
                </a:lnTo>
                <a:lnTo>
                  <a:pt x="189" y="4241"/>
                </a:lnTo>
                <a:lnTo>
                  <a:pt x="208" y="4225"/>
                </a:lnTo>
                <a:lnTo>
                  <a:pt x="229" y="4211"/>
                </a:lnTo>
                <a:lnTo>
                  <a:pt x="250" y="4197"/>
                </a:lnTo>
                <a:lnTo>
                  <a:pt x="272" y="4185"/>
                </a:lnTo>
                <a:lnTo>
                  <a:pt x="294" y="4174"/>
                </a:lnTo>
                <a:lnTo>
                  <a:pt x="317" y="4163"/>
                </a:lnTo>
                <a:lnTo>
                  <a:pt x="340" y="4153"/>
                </a:lnTo>
                <a:lnTo>
                  <a:pt x="364" y="4146"/>
                </a:lnTo>
                <a:lnTo>
                  <a:pt x="389" y="4138"/>
                </a:lnTo>
                <a:lnTo>
                  <a:pt x="413" y="4133"/>
                </a:lnTo>
                <a:lnTo>
                  <a:pt x="439" y="4129"/>
                </a:lnTo>
                <a:lnTo>
                  <a:pt x="465" y="4125"/>
                </a:lnTo>
                <a:lnTo>
                  <a:pt x="492" y="4123"/>
                </a:lnTo>
                <a:lnTo>
                  <a:pt x="517" y="4122"/>
                </a:lnTo>
                <a:close/>
                <a:moveTo>
                  <a:pt x="2499" y="5560"/>
                </a:moveTo>
                <a:lnTo>
                  <a:pt x="4161" y="5560"/>
                </a:lnTo>
                <a:lnTo>
                  <a:pt x="4174" y="5561"/>
                </a:lnTo>
                <a:lnTo>
                  <a:pt x="4188" y="5563"/>
                </a:lnTo>
                <a:lnTo>
                  <a:pt x="4201" y="5566"/>
                </a:lnTo>
                <a:lnTo>
                  <a:pt x="4213" y="5572"/>
                </a:lnTo>
                <a:lnTo>
                  <a:pt x="4225" y="5578"/>
                </a:lnTo>
                <a:lnTo>
                  <a:pt x="4236" y="5585"/>
                </a:lnTo>
                <a:lnTo>
                  <a:pt x="4246" y="5593"/>
                </a:lnTo>
                <a:lnTo>
                  <a:pt x="4256" y="5602"/>
                </a:lnTo>
                <a:lnTo>
                  <a:pt x="4264" y="5612"/>
                </a:lnTo>
                <a:lnTo>
                  <a:pt x="4273" y="5623"/>
                </a:lnTo>
                <a:lnTo>
                  <a:pt x="4279" y="5635"/>
                </a:lnTo>
                <a:lnTo>
                  <a:pt x="4285" y="5648"/>
                </a:lnTo>
                <a:lnTo>
                  <a:pt x="4289" y="5661"/>
                </a:lnTo>
                <a:lnTo>
                  <a:pt x="4292" y="5675"/>
                </a:lnTo>
                <a:lnTo>
                  <a:pt x="4294" y="5689"/>
                </a:lnTo>
                <a:lnTo>
                  <a:pt x="4295" y="5703"/>
                </a:lnTo>
                <a:lnTo>
                  <a:pt x="4295" y="13929"/>
                </a:lnTo>
                <a:lnTo>
                  <a:pt x="4294" y="13943"/>
                </a:lnTo>
                <a:lnTo>
                  <a:pt x="4292" y="13956"/>
                </a:lnTo>
                <a:lnTo>
                  <a:pt x="4289" y="13970"/>
                </a:lnTo>
                <a:lnTo>
                  <a:pt x="4285" y="13983"/>
                </a:lnTo>
                <a:lnTo>
                  <a:pt x="4279" y="13996"/>
                </a:lnTo>
                <a:lnTo>
                  <a:pt x="4273" y="14008"/>
                </a:lnTo>
                <a:lnTo>
                  <a:pt x="4264" y="14019"/>
                </a:lnTo>
                <a:lnTo>
                  <a:pt x="4256" y="14029"/>
                </a:lnTo>
                <a:lnTo>
                  <a:pt x="4246" y="14038"/>
                </a:lnTo>
                <a:lnTo>
                  <a:pt x="4236" y="14047"/>
                </a:lnTo>
                <a:lnTo>
                  <a:pt x="4225" y="14054"/>
                </a:lnTo>
                <a:lnTo>
                  <a:pt x="4213" y="14059"/>
                </a:lnTo>
                <a:lnTo>
                  <a:pt x="4201" y="14065"/>
                </a:lnTo>
                <a:lnTo>
                  <a:pt x="4188" y="14068"/>
                </a:lnTo>
                <a:lnTo>
                  <a:pt x="4174" y="14070"/>
                </a:lnTo>
                <a:lnTo>
                  <a:pt x="4161" y="14071"/>
                </a:lnTo>
                <a:lnTo>
                  <a:pt x="2499" y="14071"/>
                </a:lnTo>
                <a:lnTo>
                  <a:pt x="2485" y="14070"/>
                </a:lnTo>
                <a:lnTo>
                  <a:pt x="2471" y="14068"/>
                </a:lnTo>
                <a:lnTo>
                  <a:pt x="2458" y="14065"/>
                </a:lnTo>
                <a:lnTo>
                  <a:pt x="2446" y="14059"/>
                </a:lnTo>
                <a:lnTo>
                  <a:pt x="2434" y="14054"/>
                </a:lnTo>
                <a:lnTo>
                  <a:pt x="2422" y="14047"/>
                </a:lnTo>
                <a:lnTo>
                  <a:pt x="2413" y="14038"/>
                </a:lnTo>
                <a:lnTo>
                  <a:pt x="2403" y="14029"/>
                </a:lnTo>
                <a:lnTo>
                  <a:pt x="2395" y="14019"/>
                </a:lnTo>
                <a:lnTo>
                  <a:pt x="2386" y="14008"/>
                </a:lnTo>
                <a:lnTo>
                  <a:pt x="2380" y="13996"/>
                </a:lnTo>
                <a:lnTo>
                  <a:pt x="2374" y="13983"/>
                </a:lnTo>
                <a:lnTo>
                  <a:pt x="2370" y="13970"/>
                </a:lnTo>
                <a:lnTo>
                  <a:pt x="2367" y="13956"/>
                </a:lnTo>
                <a:lnTo>
                  <a:pt x="2365" y="13943"/>
                </a:lnTo>
                <a:lnTo>
                  <a:pt x="2363" y="13929"/>
                </a:lnTo>
                <a:lnTo>
                  <a:pt x="2363" y="5703"/>
                </a:lnTo>
                <a:lnTo>
                  <a:pt x="2365" y="5689"/>
                </a:lnTo>
                <a:lnTo>
                  <a:pt x="2367" y="5675"/>
                </a:lnTo>
                <a:lnTo>
                  <a:pt x="2370" y="5661"/>
                </a:lnTo>
                <a:lnTo>
                  <a:pt x="2374" y="5648"/>
                </a:lnTo>
                <a:lnTo>
                  <a:pt x="2380" y="5635"/>
                </a:lnTo>
                <a:lnTo>
                  <a:pt x="2386" y="5623"/>
                </a:lnTo>
                <a:lnTo>
                  <a:pt x="2395" y="5612"/>
                </a:lnTo>
                <a:lnTo>
                  <a:pt x="2403" y="5602"/>
                </a:lnTo>
                <a:lnTo>
                  <a:pt x="2413" y="5593"/>
                </a:lnTo>
                <a:lnTo>
                  <a:pt x="2422" y="5585"/>
                </a:lnTo>
                <a:lnTo>
                  <a:pt x="2434" y="5578"/>
                </a:lnTo>
                <a:lnTo>
                  <a:pt x="2446" y="5572"/>
                </a:lnTo>
                <a:lnTo>
                  <a:pt x="2458" y="5566"/>
                </a:lnTo>
                <a:lnTo>
                  <a:pt x="2471" y="5563"/>
                </a:lnTo>
                <a:lnTo>
                  <a:pt x="2485" y="5561"/>
                </a:lnTo>
                <a:lnTo>
                  <a:pt x="2499" y="5560"/>
                </a:lnTo>
                <a:close/>
                <a:moveTo>
                  <a:pt x="6003" y="5560"/>
                </a:moveTo>
                <a:lnTo>
                  <a:pt x="7666" y="5560"/>
                </a:lnTo>
                <a:lnTo>
                  <a:pt x="7680" y="5561"/>
                </a:lnTo>
                <a:lnTo>
                  <a:pt x="7692" y="5563"/>
                </a:lnTo>
                <a:lnTo>
                  <a:pt x="7705" y="5566"/>
                </a:lnTo>
                <a:lnTo>
                  <a:pt x="7718" y="5572"/>
                </a:lnTo>
                <a:lnTo>
                  <a:pt x="7729" y="5578"/>
                </a:lnTo>
                <a:lnTo>
                  <a:pt x="7741" y="5585"/>
                </a:lnTo>
                <a:lnTo>
                  <a:pt x="7751" y="5593"/>
                </a:lnTo>
                <a:lnTo>
                  <a:pt x="7760" y="5602"/>
                </a:lnTo>
                <a:lnTo>
                  <a:pt x="7770" y="5612"/>
                </a:lnTo>
                <a:lnTo>
                  <a:pt x="7777" y="5623"/>
                </a:lnTo>
                <a:lnTo>
                  <a:pt x="7784" y="5635"/>
                </a:lnTo>
                <a:lnTo>
                  <a:pt x="7789" y="5648"/>
                </a:lnTo>
                <a:lnTo>
                  <a:pt x="7794" y="5661"/>
                </a:lnTo>
                <a:lnTo>
                  <a:pt x="7798" y="5675"/>
                </a:lnTo>
                <a:lnTo>
                  <a:pt x="7800" y="5689"/>
                </a:lnTo>
                <a:lnTo>
                  <a:pt x="7800" y="5703"/>
                </a:lnTo>
                <a:lnTo>
                  <a:pt x="7800" y="13929"/>
                </a:lnTo>
                <a:lnTo>
                  <a:pt x="7800" y="13943"/>
                </a:lnTo>
                <a:lnTo>
                  <a:pt x="7798" y="13956"/>
                </a:lnTo>
                <a:lnTo>
                  <a:pt x="7794" y="13970"/>
                </a:lnTo>
                <a:lnTo>
                  <a:pt x="7789" y="13983"/>
                </a:lnTo>
                <a:lnTo>
                  <a:pt x="7784" y="13996"/>
                </a:lnTo>
                <a:lnTo>
                  <a:pt x="7777" y="14008"/>
                </a:lnTo>
                <a:lnTo>
                  <a:pt x="7770" y="14019"/>
                </a:lnTo>
                <a:lnTo>
                  <a:pt x="7760" y="14029"/>
                </a:lnTo>
                <a:lnTo>
                  <a:pt x="7751" y="14038"/>
                </a:lnTo>
                <a:lnTo>
                  <a:pt x="7741" y="14047"/>
                </a:lnTo>
                <a:lnTo>
                  <a:pt x="7729" y="14054"/>
                </a:lnTo>
                <a:lnTo>
                  <a:pt x="7718" y="14059"/>
                </a:lnTo>
                <a:lnTo>
                  <a:pt x="7705" y="14065"/>
                </a:lnTo>
                <a:lnTo>
                  <a:pt x="7692" y="14068"/>
                </a:lnTo>
                <a:lnTo>
                  <a:pt x="7680" y="14070"/>
                </a:lnTo>
                <a:lnTo>
                  <a:pt x="7666" y="14071"/>
                </a:lnTo>
                <a:lnTo>
                  <a:pt x="6003" y="14071"/>
                </a:lnTo>
                <a:lnTo>
                  <a:pt x="5989" y="14070"/>
                </a:lnTo>
                <a:lnTo>
                  <a:pt x="5976" y="14068"/>
                </a:lnTo>
                <a:lnTo>
                  <a:pt x="5963" y="14065"/>
                </a:lnTo>
                <a:lnTo>
                  <a:pt x="5950" y="14059"/>
                </a:lnTo>
                <a:lnTo>
                  <a:pt x="5939" y="14054"/>
                </a:lnTo>
                <a:lnTo>
                  <a:pt x="5928" y="14047"/>
                </a:lnTo>
                <a:lnTo>
                  <a:pt x="5917" y="14038"/>
                </a:lnTo>
                <a:lnTo>
                  <a:pt x="5908" y="14029"/>
                </a:lnTo>
                <a:lnTo>
                  <a:pt x="5899" y="14019"/>
                </a:lnTo>
                <a:lnTo>
                  <a:pt x="5891" y="14008"/>
                </a:lnTo>
                <a:lnTo>
                  <a:pt x="5884" y="13996"/>
                </a:lnTo>
                <a:lnTo>
                  <a:pt x="5879" y="13983"/>
                </a:lnTo>
                <a:lnTo>
                  <a:pt x="5874" y="13970"/>
                </a:lnTo>
                <a:lnTo>
                  <a:pt x="5871" y="13956"/>
                </a:lnTo>
                <a:lnTo>
                  <a:pt x="5869" y="13943"/>
                </a:lnTo>
                <a:lnTo>
                  <a:pt x="5868" y="13929"/>
                </a:lnTo>
                <a:lnTo>
                  <a:pt x="5868" y="5703"/>
                </a:lnTo>
                <a:lnTo>
                  <a:pt x="5869" y="5689"/>
                </a:lnTo>
                <a:lnTo>
                  <a:pt x="5871" y="5675"/>
                </a:lnTo>
                <a:lnTo>
                  <a:pt x="5874" y="5661"/>
                </a:lnTo>
                <a:lnTo>
                  <a:pt x="5879" y="5648"/>
                </a:lnTo>
                <a:lnTo>
                  <a:pt x="5884" y="5635"/>
                </a:lnTo>
                <a:lnTo>
                  <a:pt x="5891" y="5623"/>
                </a:lnTo>
                <a:lnTo>
                  <a:pt x="5899" y="5612"/>
                </a:lnTo>
                <a:lnTo>
                  <a:pt x="5908" y="5602"/>
                </a:lnTo>
                <a:lnTo>
                  <a:pt x="5917" y="5593"/>
                </a:lnTo>
                <a:lnTo>
                  <a:pt x="5928" y="5585"/>
                </a:lnTo>
                <a:lnTo>
                  <a:pt x="5939" y="5578"/>
                </a:lnTo>
                <a:lnTo>
                  <a:pt x="5950" y="5572"/>
                </a:lnTo>
                <a:lnTo>
                  <a:pt x="5963" y="5566"/>
                </a:lnTo>
                <a:lnTo>
                  <a:pt x="5976" y="5563"/>
                </a:lnTo>
                <a:lnTo>
                  <a:pt x="5989" y="5561"/>
                </a:lnTo>
                <a:lnTo>
                  <a:pt x="6003" y="5560"/>
                </a:lnTo>
                <a:close/>
                <a:moveTo>
                  <a:pt x="9507" y="5560"/>
                </a:moveTo>
                <a:lnTo>
                  <a:pt x="11170" y="5560"/>
                </a:lnTo>
                <a:lnTo>
                  <a:pt x="11184" y="5561"/>
                </a:lnTo>
                <a:lnTo>
                  <a:pt x="11197" y="5563"/>
                </a:lnTo>
                <a:lnTo>
                  <a:pt x="11210" y="5566"/>
                </a:lnTo>
                <a:lnTo>
                  <a:pt x="11223" y="5572"/>
                </a:lnTo>
                <a:lnTo>
                  <a:pt x="11234" y="5578"/>
                </a:lnTo>
                <a:lnTo>
                  <a:pt x="11245" y="5585"/>
                </a:lnTo>
                <a:lnTo>
                  <a:pt x="11256" y="5593"/>
                </a:lnTo>
                <a:lnTo>
                  <a:pt x="11265" y="5602"/>
                </a:lnTo>
                <a:lnTo>
                  <a:pt x="11274" y="5612"/>
                </a:lnTo>
                <a:lnTo>
                  <a:pt x="11282" y="5623"/>
                </a:lnTo>
                <a:lnTo>
                  <a:pt x="11288" y="5635"/>
                </a:lnTo>
                <a:lnTo>
                  <a:pt x="11294" y="5648"/>
                </a:lnTo>
                <a:lnTo>
                  <a:pt x="11299" y="5661"/>
                </a:lnTo>
                <a:lnTo>
                  <a:pt x="11302" y="5675"/>
                </a:lnTo>
                <a:lnTo>
                  <a:pt x="11304" y="5689"/>
                </a:lnTo>
                <a:lnTo>
                  <a:pt x="11305" y="5703"/>
                </a:lnTo>
                <a:lnTo>
                  <a:pt x="11305" y="13929"/>
                </a:lnTo>
                <a:lnTo>
                  <a:pt x="11304" y="13943"/>
                </a:lnTo>
                <a:lnTo>
                  <a:pt x="11302" y="13956"/>
                </a:lnTo>
                <a:lnTo>
                  <a:pt x="11299" y="13970"/>
                </a:lnTo>
                <a:lnTo>
                  <a:pt x="11294" y="13983"/>
                </a:lnTo>
                <a:lnTo>
                  <a:pt x="11288" y="13996"/>
                </a:lnTo>
                <a:lnTo>
                  <a:pt x="11282" y="14008"/>
                </a:lnTo>
                <a:lnTo>
                  <a:pt x="11274" y="14019"/>
                </a:lnTo>
                <a:lnTo>
                  <a:pt x="11265" y="14029"/>
                </a:lnTo>
                <a:lnTo>
                  <a:pt x="11256" y="14038"/>
                </a:lnTo>
                <a:lnTo>
                  <a:pt x="11245" y="14047"/>
                </a:lnTo>
                <a:lnTo>
                  <a:pt x="11234" y="14054"/>
                </a:lnTo>
                <a:lnTo>
                  <a:pt x="11223" y="14059"/>
                </a:lnTo>
                <a:lnTo>
                  <a:pt x="11210" y="14065"/>
                </a:lnTo>
                <a:lnTo>
                  <a:pt x="11197" y="14068"/>
                </a:lnTo>
                <a:lnTo>
                  <a:pt x="11184" y="14070"/>
                </a:lnTo>
                <a:lnTo>
                  <a:pt x="11170" y="14071"/>
                </a:lnTo>
                <a:lnTo>
                  <a:pt x="9507" y="14071"/>
                </a:lnTo>
                <a:lnTo>
                  <a:pt x="9493" y="14070"/>
                </a:lnTo>
                <a:lnTo>
                  <a:pt x="9481" y="14068"/>
                </a:lnTo>
                <a:lnTo>
                  <a:pt x="9468" y="14065"/>
                </a:lnTo>
                <a:lnTo>
                  <a:pt x="9455" y="14059"/>
                </a:lnTo>
                <a:lnTo>
                  <a:pt x="9443" y="14054"/>
                </a:lnTo>
                <a:lnTo>
                  <a:pt x="9432" y="14047"/>
                </a:lnTo>
                <a:lnTo>
                  <a:pt x="9422" y="14038"/>
                </a:lnTo>
                <a:lnTo>
                  <a:pt x="9412" y="14029"/>
                </a:lnTo>
                <a:lnTo>
                  <a:pt x="9403" y="14019"/>
                </a:lnTo>
                <a:lnTo>
                  <a:pt x="9396" y="14008"/>
                </a:lnTo>
                <a:lnTo>
                  <a:pt x="9389" y="13996"/>
                </a:lnTo>
                <a:lnTo>
                  <a:pt x="9384" y="13983"/>
                </a:lnTo>
                <a:lnTo>
                  <a:pt x="9379" y="13970"/>
                </a:lnTo>
                <a:lnTo>
                  <a:pt x="9375" y="13956"/>
                </a:lnTo>
                <a:lnTo>
                  <a:pt x="9373" y="13943"/>
                </a:lnTo>
                <a:lnTo>
                  <a:pt x="9373" y="13929"/>
                </a:lnTo>
                <a:lnTo>
                  <a:pt x="9373" y="5703"/>
                </a:lnTo>
                <a:lnTo>
                  <a:pt x="9373" y="5689"/>
                </a:lnTo>
                <a:lnTo>
                  <a:pt x="9375" y="5675"/>
                </a:lnTo>
                <a:lnTo>
                  <a:pt x="9379" y="5661"/>
                </a:lnTo>
                <a:lnTo>
                  <a:pt x="9384" y="5648"/>
                </a:lnTo>
                <a:lnTo>
                  <a:pt x="9389" y="5635"/>
                </a:lnTo>
                <a:lnTo>
                  <a:pt x="9396" y="5623"/>
                </a:lnTo>
                <a:lnTo>
                  <a:pt x="9403" y="5612"/>
                </a:lnTo>
                <a:lnTo>
                  <a:pt x="9412" y="5602"/>
                </a:lnTo>
                <a:lnTo>
                  <a:pt x="9422" y="5593"/>
                </a:lnTo>
                <a:lnTo>
                  <a:pt x="9432" y="5585"/>
                </a:lnTo>
                <a:lnTo>
                  <a:pt x="9443" y="5578"/>
                </a:lnTo>
                <a:lnTo>
                  <a:pt x="9455" y="5572"/>
                </a:lnTo>
                <a:lnTo>
                  <a:pt x="9468" y="5566"/>
                </a:lnTo>
                <a:lnTo>
                  <a:pt x="9481" y="5563"/>
                </a:lnTo>
                <a:lnTo>
                  <a:pt x="9493" y="5561"/>
                </a:lnTo>
                <a:lnTo>
                  <a:pt x="9507" y="5560"/>
                </a:lnTo>
                <a:close/>
                <a:moveTo>
                  <a:pt x="13013" y="5560"/>
                </a:moveTo>
                <a:lnTo>
                  <a:pt x="14674" y="5560"/>
                </a:lnTo>
                <a:lnTo>
                  <a:pt x="14688" y="5561"/>
                </a:lnTo>
                <a:lnTo>
                  <a:pt x="14702" y="5563"/>
                </a:lnTo>
                <a:lnTo>
                  <a:pt x="14715" y="5566"/>
                </a:lnTo>
                <a:lnTo>
                  <a:pt x="14727" y="5572"/>
                </a:lnTo>
                <a:lnTo>
                  <a:pt x="14739" y="5578"/>
                </a:lnTo>
                <a:lnTo>
                  <a:pt x="14749" y="5585"/>
                </a:lnTo>
                <a:lnTo>
                  <a:pt x="14760" y="5593"/>
                </a:lnTo>
                <a:lnTo>
                  <a:pt x="14770" y="5602"/>
                </a:lnTo>
                <a:lnTo>
                  <a:pt x="14778" y="5612"/>
                </a:lnTo>
                <a:lnTo>
                  <a:pt x="14786" y="5623"/>
                </a:lnTo>
                <a:lnTo>
                  <a:pt x="14793" y="5635"/>
                </a:lnTo>
                <a:lnTo>
                  <a:pt x="14799" y="5648"/>
                </a:lnTo>
                <a:lnTo>
                  <a:pt x="14803" y="5661"/>
                </a:lnTo>
                <a:lnTo>
                  <a:pt x="14806" y="5675"/>
                </a:lnTo>
                <a:lnTo>
                  <a:pt x="14808" y="5689"/>
                </a:lnTo>
                <a:lnTo>
                  <a:pt x="14810" y="5703"/>
                </a:lnTo>
                <a:lnTo>
                  <a:pt x="14810" y="13929"/>
                </a:lnTo>
                <a:lnTo>
                  <a:pt x="14808" y="13943"/>
                </a:lnTo>
                <a:lnTo>
                  <a:pt x="14806" y="13956"/>
                </a:lnTo>
                <a:lnTo>
                  <a:pt x="14803" y="13970"/>
                </a:lnTo>
                <a:lnTo>
                  <a:pt x="14799" y="13983"/>
                </a:lnTo>
                <a:lnTo>
                  <a:pt x="14793" y="13996"/>
                </a:lnTo>
                <a:lnTo>
                  <a:pt x="14786" y="14008"/>
                </a:lnTo>
                <a:lnTo>
                  <a:pt x="14778" y="14019"/>
                </a:lnTo>
                <a:lnTo>
                  <a:pt x="14770" y="14029"/>
                </a:lnTo>
                <a:lnTo>
                  <a:pt x="14760" y="14038"/>
                </a:lnTo>
                <a:lnTo>
                  <a:pt x="14749" y="14047"/>
                </a:lnTo>
                <a:lnTo>
                  <a:pt x="14739" y="14054"/>
                </a:lnTo>
                <a:lnTo>
                  <a:pt x="14727" y="14059"/>
                </a:lnTo>
                <a:lnTo>
                  <a:pt x="14715" y="14065"/>
                </a:lnTo>
                <a:lnTo>
                  <a:pt x="14702" y="14068"/>
                </a:lnTo>
                <a:lnTo>
                  <a:pt x="14688" y="14070"/>
                </a:lnTo>
                <a:lnTo>
                  <a:pt x="14674" y="14071"/>
                </a:lnTo>
                <a:lnTo>
                  <a:pt x="13013" y="14071"/>
                </a:lnTo>
                <a:lnTo>
                  <a:pt x="12999" y="14070"/>
                </a:lnTo>
                <a:lnTo>
                  <a:pt x="12985" y="14068"/>
                </a:lnTo>
                <a:lnTo>
                  <a:pt x="12972" y="14065"/>
                </a:lnTo>
                <a:lnTo>
                  <a:pt x="12960" y="14059"/>
                </a:lnTo>
                <a:lnTo>
                  <a:pt x="12948" y="14054"/>
                </a:lnTo>
                <a:lnTo>
                  <a:pt x="12937" y="14047"/>
                </a:lnTo>
                <a:lnTo>
                  <a:pt x="12927" y="14038"/>
                </a:lnTo>
                <a:lnTo>
                  <a:pt x="12917" y="14029"/>
                </a:lnTo>
                <a:lnTo>
                  <a:pt x="12909" y="14019"/>
                </a:lnTo>
                <a:lnTo>
                  <a:pt x="12900" y="14008"/>
                </a:lnTo>
                <a:lnTo>
                  <a:pt x="12894" y="13996"/>
                </a:lnTo>
                <a:lnTo>
                  <a:pt x="12888" y="13983"/>
                </a:lnTo>
                <a:lnTo>
                  <a:pt x="12884" y="13970"/>
                </a:lnTo>
                <a:lnTo>
                  <a:pt x="12880" y="13956"/>
                </a:lnTo>
                <a:lnTo>
                  <a:pt x="12879" y="13943"/>
                </a:lnTo>
                <a:lnTo>
                  <a:pt x="12878" y="13929"/>
                </a:lnTo>
                <a:lnTo>
                  <a:pt x="12878" y="5703"/>
                </a:lnTo>
                <a:lnTo>
                  <a:pt x="12879" y="5689"/>
                </a:lnTo>
                <a:lnTo>
                  <a:pt x="12880" y="5675"/>
                </a:lnTo>
                <a:lnTo>
                  <a:pt x="12884" y="5661"/>
                </a:lnTo>
                <a:lnTo>
                  <a:pt x="12888" y="5648"/>
                </a:lnTo>
                <a:lnTo>
                  <a:pt x="12894" y="5635"/>
                </a:lnTo>
                <a:lnTo>
                  <a:pt x="12900" y="5623"/>
                </a:lnTo>
                <a:lnTo>
                  <a:pt x="12909" y="5612"/>
                </a:lnTo>
                <a:lnTo>
                  <a:pt x="12917" y="5602"/>
                </a:lnTo>
                <a:lnTo>
                  <a:pt x="12927" y="5593"/>
                </a:lnTo>
                <a:lnTo>
                  <a:pt x="12937" y="5585"/>
                </a:lnTo>
                <a:lnTo>
                  <a:pt x="12948" y="5578"/>
                </a:lnTo>
                <a:lnTo>
                  <a:pt x="12960" y="5572"/>
                </a:lnTo>
                <a:lnTo>
                  <a:pt x="12972" y="5566"/>
                </a:lnTo>
                <a:lnTo>
                  <a:pt x="12985" y="5563"/>
                </a:lnTo>
                <a:lnTo>
                  <a:pt x="12999" y="5561"/>
                </a:lnTo>
                <a:lnTo>
                  <a:pt x="13013" y="5560"/>
                </a:lnTo>
                <a:close/>
                <a:moveTo>
                  <a:pt x="14256" y="1795"/>
                </a:moveTo>
                <a:lnTo>
                  <a:pt x="15504" y="1795"/>
                </a:lnTo>
                <a:lnTo>
                  <a:pt x="15516" y="1795"/>
                </a:lnTo>
                <a:lnTo>
                  <a:pt x="15528" y="1797"/>
                </a:lnTo>
                <a:lnTo>
                  <a:pt x="15538" y="1799"/>
                </a:lnTo>
                <a:lnTo>
                  <a:pt x="15549" y="1804"/>
                </a:lnTo>
                <a:lnTo>
                  <a:pt x="15559" y="1809"/>
                </a:lnTo>
                <a:lnTo>
                  <a:pt x="15567" y="1814"/>
                </a:lnTo>
                <a:lnTo>
                  <a:pt x="15577" y="1821"/>
                </a:lnTo>
                <a:lnTo>
                  <a:pt x="15584" y="1828"/>
                </a:lnTo>
                <a:lnTo>
                  <a:pt x="15592" y="1836"/>
                </a:lnTo>
                <a:lnTo>
                  <a:pt x="15598" y="1844"/>
                </a:lnTo>
                <a:lnTo>
                  <a:pt x="15604" y="1854"/>
                </a:lnTo>
                <a:lnTo>
                  <a:pt x="15609" y="1864"/>
                </a:lnTo>
                <a:lnTo>
                  <a:pt x="15612" y="1874"/>
                </a:lnTo>
                <a:lnTo>
                  <a:pt x="15616" y="1885"/>
                </a:lnTo>
                <a:lnTo>
                  <a:pt x="15618" y="1897"/>
                </a:lnTo>
                <a:lnTo>
                  <a:pt x="15618" y="1908"/>
                </a:lnTo>
                <a:lnTo>
                  <a:pt x="15618" y="2361"/>
                </a:lnTo>
                <a:lnTo>
                  <a:pt x="15618" y="2373"/>
                </a:lnTo>
                <a:lnTo>
                  <a:pt x="15616" y="2385"/>
                </a:lnTo>
                <a:lnTo>
                  <a:pt x="15612" y="2396"/>
                </a:lnTo>
                <a:lnTo>
                  <a:pt x="15609" y="2405"/>
                </a:lnTo>
                <a:lnTo>
                  <a:pt x="15604" y="2416"/>
                </a:lnTo>
                <a:lnTo>
                  <a:pt x="15598" y="2425"/>
                </a:lnTo>
                <a:lnTo>
                  <a:pt x="15592" y="2433"/>
                </a:lnTo>
                <a:lnTo>
                  <a:pt x="15584" y="2442"/>
                </a:lnTo>
                <a:lnTo>
                  <a:pt x="15577" y="2449"/>
                </a:lnTo>
                <a:lnTo>
                  <a:pt x="15567" y="2456"/>
                </a:lnTo>
                <a:lnTo>
                  <a:pt x="15559" y="2461"/>
                </a:lnTo>
                <a:lnTo>
                  <a:pt x="15549" y="2467"/>
                </a:lnTo>
                <a:lnTo>
                  <a:pt x="15538" y="2470"/>
                </a:lnTo>
                <a:lnTo>
                  <a:pt x="15528" y="2473"/>
                </a:lnTo>
                <a:lnTo>
                  <a:pt x="15516" y="2474"/>
                </a:lnTo>
                <a:lnTo>
                  <a:pt x="15504" y="2475"/>
                </a:lnTo>
                <a:lnTo>
                  <a:pt x="14256" y="2475"/>
                </a:lnTo>
                <a:lnTo>
                  <a:pt x="14245" y="2474"/>
                </a:lnTo>
                <a:lnTo>
                  <a:pt x="14233" y="2473"/>
                </a:lnTo>
                <a:lnTo>
                  <a:pt x="14222" y="2470"/>
                </a:lnTo>
                <a:lnTo>
                  <a:pt x="14212" y="2467"/>
                </a:lnTo>
                <a:lnTo>
                  <a:pt x="14202" y="2461"/>
                </a:lnTo>
                <a:lnTo>
                  <a:pt x="14192" y="2456"/>
                </a:lnTo>
                <a:lnTo>
                  <a:pt x="14184" y="2449"/>
                </a:lnTo>
                <a:lnTo>
                  <a:pt x="14176" y="2442"/>
                </a:lnTo>
                <a:lnTo>
                  <a:pt x="14169" y="2433"/>
                </a:lnTo>
                <a:lnTo>
                  <a:pt x="14162" y="2425"/>
                </a:lnTo>
                <a:lnTo>
                  <a:pt x="14157" y="2416"/>
                </a:lnTo>
                <a:lnTo>
                  <a:pt x="14152" y="2405"/>
                </a:lnTo>
                <a:lnTo>
                  <a:pt x="14147" y="2396"/>
                </a:lnTo>
                <a:lnTo>
                  <a:pt x="14145" y="2385"/>
                </a:lnTo>
                <a:lnTo>
                  <a:pt x="14143" y="2373"/>
                </a:lnTo>
                <a:lnTo>
                  <a:pt x="14143" y="2361"/>
                </a:lnTo>
                <a:lnTo>
                  <a:pt x="14143" y="1908"/>
                </a:lnTo>
                <a:lnTo>
                  <a:pt x="14143" y="1897"/>
                </a:lnTo>
                <a:lnTo>
                  <a:pt x="14145" y="1885"/>
                </a:lnTo>
                <a:lnTo>
                  <a:pt x="14147" y="1874"/>
                </a:lnTo>
                <a:lnTo>
                  <a:pt x="14152" y="1864"/>
                </a:lnTo>
                <a:lnTo>
                  <a:pt x="14157" y="1854"/>
                </a:lnTo>
                <a:lnTo>
                  <a:pt x="14162" y="1844"/>
                </a:lnTo>
                <a:lnTo>
                  <a:pt x="14169" y="1836"/>
                </a:lnTo>
                <a:lnTo>
                  <a:pt x="14176" y="1828"/>
                </a:lnTo>
                <a:lnTo>
                  <a:pt x="14184" y="1821"/>
                </a:lnTo>
                <a:lnTo>
                  <a:pt x="14192" y="1814"/>
                </a:lnTo>
                <a:lnTo>
                  <a:pt x="14202" y="1809"/>
                </a:lnTo>
                <a:lnTo>
                  <a:pt x="14212" y="1804"/>
                </a:lnTo>
                <a:lnTo>
                  <a:pt x="14222" y="1799"/>
                </a:lnTo>
                <a:lnTo>
                  <a:pt x="14233" y="1797"/>
                </a:lnTo>
                <a:lnTo>
                  <a:pt x="14245" y="1795"/>
                </a:lnTo>
                <a:lnTo>
                  <a:pt x="14256" y="1795"/>
                </a:lnTo>
                <a:close/>
                <a:moveTo>
                  <a:pt x="13786" y="9346"/>
                </a:moveTo>
                <a:lnTo>
                  <a:pt x="13902" y="9346"/>
                </a:lnTo>
                <a:lnTo>
                  <a:pt x="13911" y="9346"/>
                </a:lnTo>
                <a:lnTo>
                  <a:pt x="13922" y="9347"/>
                </a:lnTo>
                <a:lnTo>
                  <a:pt x="13932" y="9348"/>
                </a:lnTo>
                <a:lnTo>
                  <a:pt x="13941" y="9350"/>
                </a:lnTo>
                <a:lnTo>
                  <a:pt x="13961" y="9356"/>
                </a:lnTo>
                <a:lnTo>
                  <a:pt x="13980" y="9362"/>
                </a:lnTo>
                <a:lnTo>
                  <a:pt x="13997" y="9372"/>
                </a:lnTo>
                <a:lnTo>
                  <a:pt x="14013" y="9383"/>
                </a:lnTo>
                <a:lnTo>
                  <a:pt x="14029" y="9394"/>
                </a:lnTo>
                <a:lnTo>
                  <a:pt x="14043" y="9408"/>
                </a:lnTo>
                <a:lnTo>
                  <a:pt x="14056" y="9423"/>
                </a:lnTo>
                <a:lnTo>
                  <a:pt x="14068" y="9440"/>
                </a:lnTo>
                <a:lnTo>
                  <a:pt x="14079" y="9458"/>
                </a:lnTo>
                <a:lnTo>
                  <a:pt x="14087" y="9476"/>
                </a:lnTo>
                <a:lnTo>
                  <a:pt x="14094" y="9495"/>
                </a:lnTo>
                <a:lnTo>
                  <a:pt x="14099" y="9517"/>
                </a:lnTo>
                <a:lnTo>
                  <a:pt x="14101" y="9537"/>
                </a:lnTo>
                <a:lnTo>
                  <a:pt x="14103" y="9559"/>
                </a:lnTo>
                <a:lnTo>
                  <a:pt x="14103" y="13156"/>
                </a:lnTo>
                <a:lnTo>
                  <a:pt x="14101" y="13178"/>
                </a:lnTo>
                <a:lnTo>
                  <a:pt x="14099" y="13199"/>
                </a:lnTo>
                <a:lnTo>
                  <a:pt x="14094" y="13219"/>
                </a:lnTo>
                <a:lnTo>
                  <a:pt x="14087" y="13239"/>
                </a:lnTo>
                <a:lnTo>
                  <a:pt x="14079" y="13257"/>
                </a:lnTo>
                <a:lnTo>
                  <a:pt x="14068" y="13275"/>
                </a:lnTo>
                <a:lnTo>
                  <a:pt x="14056" y="13291"/>
                </a:lnTo>
                <a:lnTo>
                  <a:pt x="14043" y="13306"/>
                </a:lnTo>
                <a:lnTo>
                  <a:pt x="14029" y="13320"/>
                </a:lnTo>
                <a:lnTo>
                  <a:pt x="14013" y="13332"/>
                </a:lnTo>
                <a:lnTo>
                  <a:pt x="13997" y="13343"/>
                </a:lnTo>
                <a:lnTo>
                  <a:pt x="13980" y="13352"/>
                </a:lnTo>
                <a:lnTo>
                  <a:pt x="13961" y="13360"/>
                </a:lnTo>
                <a:lnTo>
                  <a:pt x="13941" y="13365"/>
                </a:lnTo>
                <a:lnTo>
                  <a:pt x="13932" y="13366"/>
                </a:lnTo>
                <a:lnTo>
                  <a:pt x="13922" y="13369"/>
                </a:lnTo>
                <a:lnTo>
                  <a:pt x="13911" y="13369"/>
                </a:lnTo>
                <a:lnTo>
                  <a:pt x="13902" y="13370"/>
                </a:lnTo>
                <a:lnTo>
                  <a:pt x="13786" y="13370"/>
                </a:lnTo>
                <a:lnTo>
                  <a:pt x="13776" y="13369"/>
                </a:lnTo>
                <a:lnTo>
                  <a:pt x="13765" y="13369"/>
                </a:lnTo>
                <a:lnTo>
                  <a:pt x="13756" y="13366"/>
                </a:lnTo>
                <a:lnTo>
                  <a:pt x="13746" y="13365"/>
                </a:lnTo>
                <a:lnTo>
                  <a:pt x="13727" y="13360"/>
                </a:lnTo>
                <a:lnTo>
                  <a:pt x="13707" y="13352"/>
                </a:lnTo>
                <a:lnTo>
                  <a:pt x="13690" y="13343"/>
                </a:lnTo>
                <a:lnTo>
                  <a:pt x="13673" y="13332"/>
                </a:lnTo>
                <a:lnTo>
                  <a:pt x="13658" y="13320"/>
                </a:lnTo>
                <a:lnTo>
                  <a:pt x="13644" y="13306"/>
                </a:lnTo>
                <a:lnTo>
                  <a:pt x="13630" y="13291"/>
                </a:lnTo>
                <a:lnTo>
                  <a:pt x="13619" y="13275"/>
                </a:lnTo>
                <a:lnTo>
                  <a:pt x="13609" y="13257"/>
                </a:lnTo>
                <a:lnTo>
                  <a:pt x="13600" y="13239"/>
                </a:lnTo>
                <a:lnTo>
                  <a:pt x="13594" y="13219"/>
                </a:lnTo>
                <a:lnTo>
                  <a:pt x="13588" y="13199"/>
                </a:lnTo>
                <a:lnTo>
                  <a:pt x="13585" y="13178"/>
                </a:lnTo>
                <a:lnTo>
                  <a:pt x="13584" y="13156"/>
                </a:lnTo>
                <a:lnTo>
                  <a:pt x="13584" y="9559"/>
                </a:lnTo>
                <a:lnTo>
                  <a:pt x="13585" y="9537"/>
                </a:lnTo>
                <a:lnTo>
                  <a:pt x="13588" y="9517"/>
                </a:lnTo>
                <a:lnTo>
                  <a:pt x="13594" y="9495"/>
                </a:lnTo>
                <a:lnTo>
                  <a:pt x="13600" y="9476"/>
                </a:lnTo>
                <a:lnTo>
                  <a:pt x="13609" y="9458"/>
                </a:lnTo>
                <a:lnTo>
                  <a:pt x="13619" y="9440"/>
                </a:lnTo>
                <a:lnTo>
                  <a:pt x="13630" y="9423"/>
                </a:lnTo>
                <a:lnTo>
                  <a:pt x="13644" y="9408"/>
                </a:lnTo>
                <a:lnTo>
                  <a:pt x="13658" y="9394"/>
                </a:lnTo>
                <a:lnTo>
                  <a:pt x="13673" y="9383"/>
                </a:lnTo>
                <a:lnTo>
                  <a:pt x="13690" y="9372"/>
                </a:lnTo>
                <a:lnTo>
                  <a:pt x="13707" y="9362"/>
                </a:lnTo>
                <a:lnTo>
                  <a:pt x="13727" y="9356"/>
                </a:lnTo>
                <a:lnTo>
                  <a:pt x="13746" y="9350"/>
                </a:lnTo>
                <a:lnTo>
                  <a:pt x="13756" y="9348"/>
                </a:lnTo>
                <a:lnTo>
                  <a:pt x="13765" y="9347"/>
                </a:lnTo>
                <a:lnTo>
                  <a:pt x="13776" y="9346"/>
                </a:lnTo>
                <a:lnTo>
                  <a:pt x="13786" y="9346"/>
                </a:lnTo>
                <a:close/>
                <a:moveTo>
                  <a:pt x="13394" y="7397"/>
                </a:moveTo>
                <a:lnTo>
                  <a:pt x="14293" y="7397"/>
                </a:lnTo>
                <a:lnTo>
                  <a:pt x="14306" y="7397"/>
                </a:lnTo>
                <a:lnTo>
                  <a:pt x="14320" y="7399"/>
                </a:lnTo>
                <a:lnTo>
                  <a:pt x="14333" y="7403"/>
                </a:lnTo>
                <a:lnTo>
                  <a:pt x="14345" y="7407"/>
                </a:lnTo>
                <a:lnTo>
                  <a:pt x="14357" y="7414"/>
                </a:lnTo>
                <a:lnTo>
                  <a:pt x="14368" y="7420"/>
                </a:lnTo>
                <a:lnTo>
                  <a:pt x="14378" y="7429"/>
                </a:lnTo>
                <a:lnTo>
                  <a:pt x="14388" y="7439"/>
                </a:lnTo>
                <a:lnTo>
                  <a:pt x="14396" y="7448"/>
                </a:lnTo>
                <a:lnTo>
                  <a:pt x="14405" y="7459"/>
                </a:lnTo>
                <a:lnTo>
                  <a:pt x="14411" y="7471"/>
                </a:lnTo>
                <a:lnTo>
                  <a:pt x="14417" y="7484"/>
                </a:lnTo>
                <a:lnTo>
                  <a:pt x="14421" y="7496"/>
                </a:lnTo>
                <a:lnTo>
                  <a:pt x="14425" y="7510"/>
                </a:lnTo>
                <a:lnTo>
                  <a:pt x="14427" y="7524"/>
                </a:lnTo>
                <a:lnTo>
                  <a:pt x="14427" y="7538"/>
                </a:lnTo>
                <a:lnTo>
                  <a:pt x="14427" y="7776"/>
                </a:lnTo>
                <a:lnTo>
                  <a:pt x="14427" y="7792"/>
                </a:lnTo>
                <a:lnTo>
                  <a:pt x="14425" y="7805"/>
                </a:lnTo>
                <a:lnTo>
                  <a:pt x="14421" y="7818"/>
                </a:lnTo>
                <a:lnTo>
                  <a:pt x="14417" y="7832"/>
                </a:lnTo>
                <a:lnTo>
                  <a:pt x="14411" y="7844"/>
                </a:lnTo>
                <a:lnTo>
                  <a:pt x="14405" y="7856"/>
                </a:lnTo>
                <a:lnTo>
                  <a:pt x="14396" y="7868"/>
                </a:lnTo>
                <a:lnTo>
                  <a:pt x="14388" y="7877"/>
                </a:lnTo>
                <a:lnTo>
                  <a:pt x="14378" y="7887"/>
                </a:lnTo>
                <a:lnTo>
                  <a:pt x="14368" y="7895"/>
                </a:lnTo>
                <a:lnTo>
                  <a:pt x="14357" y="7902"/>
                </a:lnTo>
                <a:lnTo>
                  <a:pt x="14345" y="7908"/>
                </a:lnTo>
                <a:lnTo>
                  <a:pt x="14333" y="7913"/>
                </a:lnTo>
                <a:lnTo>
                  <a:pt x="14320" y="7916"/>
                </a:lnTo>
                <a:lnTo>
                  <a:pt x="14306" y="7918"/>
                </a:lnTo>
                <a:lnTo>
                  <a:pt x="14293" y="7919"/>
                </a:lnTo>
                <a:lnTo>
                  <a:pt x="13394" y="7919"/>
                </a:lnTo>
                <a:lnTo>
                  <a:pt x="13380" y="7918"/>
                </a:lnTo>
                <a:lnTo>
                  <a:pt x="13367" y="7916"/>
                </a:lnTo>
                <a:lnTo>
                  <a:pt x="13354" y="7913"/>
                </a:lnTo>
                <a:lnTo>
                  <a:pt x="13342" y="7908"/>
                </a:lnTo>
                <a:lnTo>
                  <a:pt x="13331" y="7902"/>
                </a:lnTo>
                <a:lnTo>
                  <a:pt x="13319" y="7895"/>
                </a:lnTo>
                <a:lnTo>
                  <a:pt x="13309" y="7887"/>
                </a:lnTo>
                <a:lnTo>
                  <a:pt x="13299" y="7877"/>
                </a:lnTo>
                <a:lnTo>
                  <a:pt x="13290" y="7868"/>
                </a:lnTo>
                <a:lnTo>
                  <a:pt x="13282" y="7856"/>
                </a:lnTo>
                <a:lnTo>
                  <a:pt x="13276" y="7844"/>
                </a:lnTo>
                <a:lnTo>
                  <a:pt x="13270" y="7832"/>
                </a:lnTo>
                <a:lnTo>
                  <a:pt x="13265" y="7818"/>
                </a:lnTo>
                <a:lnTo>
                  <a:pt x="13262" y="7805"/>
                </a:lnTo>
                <a:lnTo>
                  <a:pt x="13260" y="7792"/>
                </a:lnTo>
                <a:lnTo>
                  <a:pt x="13260" y="7776"/>
                </a:lnTo>
                <a:lnTo>
                  <a:pt x="13260" y="7538"/>
                </a:lnTo>
                <a:lnTo>
                  <a:pt x="13260" y="7524"/>
                </a:lnTo>
                <a:lnTo>
                  <a:pt x="13262" y="7510"/>
                </a:lnTo>
                <a:lnTo>
                  <a:pt x="13265" y="7496"/>
                </a:lnTo>
                <a:lnTo>
                  <a:pt x="13270" y="7484"/>
                </a:lnTo>
                <a:lnTo>
                  <a:pt x="13276" y="7471"/>
                </a:lnTo>
                <a:lnTo>
                  <a:pt x="13282" y="7459"/>
                </a:lnTo>
                <a:lnTo>
                  <a:pt x="13290" y="7448"/>
                </a:lnTo>
                <a:lnTo>
                  <a:pt x="13299" y="7439"/>
                </a:lnTo>
                <a:lnTo>
                  <a:pt x="13309" y="7429"/>
                </a:lnTo>
                <a:lnTo>
                  <a:pt x="13319" y="7420"/>
                </a:lnTo>
                <a:lnTo>
                  <a:pt x="13331" y="7414"/>
                </a:lnTo>
                <a:lnTo>
                  <a:pt x="13342" y="7407"/>
                </a:lnTo>
                <a:lnTo>
                  <a:pt x="13354" y="7403"/>
                </a:lnTo>
                <a:lnTo>
                  <a:pt x="13367" y="7399"/>
                </a:lnTo>
                <a:lnTo>
                  <a:pt x="13380" y="7397"/>
                </a:lnTo>
                <a:lnTo>
                  <a:pt x="13394" y="7397"/>
                </a:lnTo>
                <a:close/>
                <a:moveTo>
                  <a:pt x="13394" y="6462"/>
                </a:moveTo>
                <a:lnTo>
                  <a:pt x="14293" y="6462"/>
                </a:lnTo>
                <a:lnTo>
                  <a:pt x="14306" y="6463"/>
                </a:lnTo>
                <a:lnTo>
                  <a:pt x="14320" y="6465"/>
                </a:lnTo>
                <a:lnTo>
                  <a:pt x="14333" y="6469"/>
                </a:lnTo>
                <a:lnTo>
                  <a:pt x="14345" y="6474"/>
                </a:lnTo>
                <a:lnTo>
                  <a:pt x="14357" y="6479"/>
                </a:lnTo>
                <a:lnTo>
                  <a:pt x="14368" y="6487"/>
                </a:lnTo>
                <a:lnTo>
                  <a:pt x="14378" y="6495"/>
                </a:lnTo>
                <a:lnTo>
                  <a:pt x="14388" y="6504"/>
                </a:lnTo>
                <a:lnTo>
                  <a:pt x="14396" y="6515"/>
                </a:lnTo>
                <a:lnTo>
                  <a:pt x="14405" y="6525"/>
                </a:lnTo>
                <a:lnTo>
                  <a:pt x="14411" y="6537"/>
                </a:lnTo>
                <a:lnTo>
                  <a:pt x="14417" y="6549"/>
                </a:lnTo>
                <a:lnTo>
                  <a:pt x="14421" y="6563"/>
                </a:lnTo>
                <a:lnTo>
                  <a:pt x="14425" y="6576"/>
                </a:lnTo>
                <a:lnTo>
                  <a:pt x="14427" y="6591"/>
                </a:lnTo>
                <a:lnTo>
                  <a:pt x="14427" y="6605"/>
                </a:lnTo>
                <a:lnTo>
                  <a:pt x="14427" y="6843"/>
                </a:lnTo>
                <a:lnTo>
                  <a:pt x="14427" y="6857"/>
                </a:lnTo>
                <a:lnTo>
                  <a:pt x="14425" y="6871"/>
                </a:lnTo>
                <a:lnTo>
                  <a:pt x="14421" y="6885"/>
                </a:lnTo>
                <a:lnTo>
                  <a:pt x="14417" y="6898"/>
                </a:lnTo>
                <a:lnTo>
                  <a:pt x="14411" y="6911"/>
                </a:lnTo>
                <a:lnTo>
                  <a:pt x="14405" y="6922"/>
                </a:lnTo>
                <a:lnTo>
                  <a:pt x="14396" y="6933"/>
                </a:lnTo>
                <a:lnTo>
                  <a:pt x="14388" y="6944"/>
                </a:lnTo>
                <a:lnTo>
                  <a:pt x="14378" y="6952"/>
                </a:lnTo>
                <a:lnTo>
                  <a:pt x="14368" y="6961"/>
                </a:lnTo>
                <a:lnTo>
                  <a:pt x="14357" y="6969"/>
                </a:lnTo>
                <a:lnTo>
                  <a:pt x="14345" y="6974"/>
                </a:lnTo>
                <a:lnTo>
                  <a:pt x="14333" y="6979"/>
                </a:lnTo>
                <a:lnTo>
                  <a:pt x="14320" y="6983"/>
                </a:lnTo>
                <a:lnTo>
                  <a:pt x="14306" y="6985"/>
                </a:lnTo>
                <a:lnTo>
                  <a:pt x="14293" y="6986"/>
                </a:lnTo>
                <a:lnTo>
                  <a:pt x="13394" y="6986"/>
                </a:lnTo>
                <a:lnTo>
                  <a:pt x="13380" y="6985"/>
                </a:lnTo>
                <a:lnTo>
                  <a:pt x="13367" y="6983"/>
                </a:lnTo>
                <a:lnTo>
                  <a:pt x="13354" y="6979"/>
                </a:lnTo>
                <a:lnTo>
                  <a:pt x="13342" y="6974"/>
                </a:lnTo>
                <a:lnTo>
                  <a:pt x="13331" y="6969"/>
                </a:lnTo>
                <a:lnTo>
                  <a:pt x="13319" y="6961"/>
                </a:lnTo>
                <a:lnTo>
                  <a:pt x="13309" y="6952"/>
                </a:lnTo>
                <a:lnTo>
                  <a:pt x="13299" y="6944"/>
                </a:lnTo>
                <a:lnTo>
                  <a:pt x="13290" y="6933"/>
                </a:lnTo>
                <a:lnTo>
                  <a:pt x="13282" y="6922"/>
                </a:lnTo>
                <a:lnTo>
                  <a:pt x="13276" y="6911"/>
                </a:lnTo>
                <a:lnTo>
                  <a:pt x="13270" y="6898"/>
                </a:lnTo>
                <a:lnTo>
                  <a:pt x="13265" y="6885"/>
                </a:lnTo>
                <a:lnTo>
                  <a:pt x="13262" y="6871"/>
                </a:lnTo>
                <a:lnTo>
                  <a:pt x="13260" y="6857"/>
                </a:lnTo>
                <a:lnTo>
                  <a:pt x="13260" y="6843"/>
                </a:lnTo>
                <a:lnTo>
                  <a:pt x="13260" y="6605"/>
                </a:lnTo>
                <a:lnTo>
                  <a:pt x="13260" y="6591"/>
                </a:lnTo>
                <a:lnTo>
                  <a:pt x="13262" y="6576"/>
                </a:lnTo>
                <a:lnTo>
                  <a:pt x="13265" y="6563"/>
                </a:lnTo>
                <a:lnTo>
                  <a:pt x="13270" y="6549"/>
                </a:lnTo>
                <a:lnTo>
                  <a:pt x="13276" y="6537"/>
                </a:lnTo>
                <a:lnTo>
                  <a:pt x="13282" y="6525"/>
                </a:lnTo>
                <a:lnTo>
                  <a:pt x="13290" y="6515"/>
                </a:lnTo>
                <a:lnTo>
                  <a:pt x="13299" y="6504"/>
                </a:lnTo>
                <a:lnTo>
                  <a:pt x="13309" y="6495"/>
                </a:lnTo>
                <a:lnTo>
                  <a:pt x="13319" y="6487"/>
                </a:lnTo>
                <a:lnTo>
                  <a:pt x="13331" y="6479"/>
                </a:lnTo>
                <a:lnTo>
                  <a:pt x="13342" y="6474"/>
                </a:lnTo>
                <a:lnTo>
                  <a:pt x="13354" y="6469"/>
                </a:lnTo>
                <a:lnTo>
                  <a:pt x="13367" y="6465"/>
                </a:lnTo>
                <a:lnTo>
                  <a:pt x="13380" y="6463"/>
                </a:lnTo>
                <a:lnTo>
                  <a:pt x="13394" y="6462"/>
                </a:lnTo>
                <a:close/>
                <a:moveTo>
                  <a:pt x="10281" y="9346"/>
                </a:moveTo>
                <a:lnTo>
                  <a:pt x="10396" y="9346"/>
                </a:lnTo>
                <a:lnTo>
                  <a:pt x="10407" y="9346"/>
                </a:lnTo>
                <a:lnTo>
                  <a:pt x="10416" y="9347"/>
                </a:lnTo>
                <a:lnTo>
                  <a:pt x="10427" y="9348"/>
                </a:lnTo>
                <a:lnTo>
                  <a:pt x="10437" y="9350"/>
                </a:lnTo>
                <a:lnTo>
                  <a:pt x="10456" y="9356"/>
                </a:lnTo>
                <a:lnTo>
                  <a:pt x="10474" y="9362"/>
                </a:lnTo>
                <a:lnTo>
                  <a:pt x="10493" y="9372"/>
                </a:lnTo>
                <a:lnTo>
                  <a:pt x="10509" y="9383"/>
                </a:lnTo>
                <a:lnTo>
                  <a:pt x="10525" y="9394"/>
                </a:lnTo>
                <a:lnTo>
                  <a:pt x="10539" y="9408"/>
                </a:lnTo>
                <a:lnTo>
                  <a:pt x="10552" y="9423"/>
                </a:lnTo>
                <a:lnTo>
                  <a:pt x="10564" y="9440"/>
                </a:lnTo>
                <a:lnTo>
                  <a:pt x="10573" y="9458"/>
                </a:lnTo>
                <a:lnTo>
                  <a:pt x="10582" y="9476"/>
                </a:lnTo>
                <a:lnTo>
                  <a:pt x="10589" y="9495"/>
                </a:lnTo>
                <a:lnTo>
                  <a:pt x="10594" y="9517"/>
                </a:lnTo>
                <a:lnTo>
                  <a:pt x="10597" y="9537"/>
                </a:lnTo>
                <a:lnTo>
                  <a:pt x="10598" y="9559"/>
                </a:lnTo>
                <a:lnTo>
                  <a:pt x="10598" y="13156"/>
                </a:lnTo>
                <a:lnTo>
                  <a:pt x="10597" y="13178"/>
                </a:lnTo>
                <a:lnTo>
                  <a:pt x="10594" y="13199"/>
                </a:lnTo>
                <a:lnTo>
                  <a:pt x="10589" y="13219"/>
                </a:lnTo>
                <a:lnTo>
                  <a:pt x="10582" y="13239"/>
                </a:lnTo>
                <a:lnTo>
                  <a:pt x="10573" y="13257"/>
                </a:lnTo>
                <a:lnTo>
                  <a:pt x="10564" y="13275"/>
                </a:lnTo>
                <a:lnTo>
                  <a:pt x="10552" y="13291"/>
                </a:lnTo>
                <a:lnTo>
                  <a:pt x="10539" y="13306"/>
                </a:lnTo>
                <a:lnTo>
                  <a:pt x="10525" y="13320"/>
                </a:lnTo>
                <a:lnTo>
                  <a:pt x="10509" y="13332"/>
                </a:lnTo>
                <a:lnTo>
                  <a:pt x="10493" y="13343"/>
                </a:lnTo>
                <a:lnTo>
                  <a:pt x="10474" y="13352"/>
                </a:lnTo>
                <a:lnTo>
                  <a:pt x="10456" y="13360"/>
                </a:lnTo>
                <a:lnTo>
                  <a:pt x="10437" y="13365"/>
                </a:lnTo>
                <a:lnTo>
                  <a:pt x="10427" y="13366"/>
                </a:lnTo>
                <a:lnTo>
                  <a:pt x="10416" y="13369"/>
                </a:lnTo>
                <a:lnTo>
                  <a:pt x="10407" y="13369"/>
                </a:lnTo>
                <a:lnTo>
                  <a:pt x="10396" y="13370"/>
                </a:lnTo>
                <a:lnTo>
                  <a:pt x="10281" y="13370"/>
                </a:lnTo>
                <a:lnTo>
                  <a:pt x="10271" y="13369"/>
                </a:lnTo>
                <a:lnTo>
                  <a:pt x="10261" y="13369"/>
                </a:lnTo>
                <a:lnTo>
                  <a:pt x="10250" y="13366"/>
                </a:lnTo>
                <a:lnTo>
                  <a:pt x="10240" y="13365"/>
                </a:lnTo>
                <a:lnTo>
                  <a:pt x="10221" y="13360"/>
                </a:lnTo>
                <a:lnTo>
                  <a:pt x="10203" y="13352"/>
                </a:lnTo>
                <a:lnTo>
                  <a:pt x="10186" y="13343"/>
                </a:lnTo>
                <a:lnTo>
                  <a:pt x="10169" y="13332"/>
                </a:lnTo>
                <a:lnTo>
                  <a:pt x="10154" y="13320"/>
                </a:lnTo>
                <a:lnTo>
                  <a:pt x="10139" y="13306"/>
                </a:lnTo>
                <a:lnTo>
                  <a:pt x="10126" y="13291"/>
                </a:lnTo>
                <a:lnTo>
                  <a:pt x="10114" y="13275"/>
                </a:lnTo>
                <a:lnTo>
                  <a:pt x="10104" y="13257"/>
                </a:lnTo>
                <a:lnTo>
                  <a:pt x="10096" y="13239"/>
                </a:lnTo>
                <a:lnTo>
                  <a:pt x="10089" y="13219"/>
                </a:lnTo>
                <a:lnTo>
                  <a:pt x="10084" y="13199"/>
                </a:lnTo>
                <a:lnTo>
                  <a:pt x="10081" y="13178"/>
                </a:lnTo>
                <a:lnTo>
                  <a:pt x="10079" y="13156"/>
                </a:lnTo>
                <a:lnTo>
                  <a:pt x="10079" y="9559"/>
                </a:lnTo>
                <a:lnTo>
                  <a:pt x="10081" y="9537"/>
                </a:lnTo>
                <a:lnTo>
                  <a:pt x="10084" y="9517"/>
                </a:lnTo>
                <a:lnTo>
                  <a:pt x="10089" y="9495"/>
                </a:lnTo>
                <a:lnTo>
                  <a:pt x="10096" y="9476"/>
                </a:lnTo>
                <a:lnTo>
                  <a:pt x="10104" y="9458"/>
                </a:lnTo>
                <a:lnTo>
                  <a:pt x="10114" y="9440"/>
                </a:lnTo>
                <a:lnTo>
                  <a:pt x="10126" y="9423"/>
                </a:lnTo>
                <a:lnTo>
                  <a:pt x="10139" y="9408"/>
                </a:lnTo>
                <a:lnTo>
                  <a:pt x="10154" y="9394"/>
                </a:lnTo>
                <a:lnTo>
                  <a:pt x="10169" y="9383"/>
                </a:lnTo>
                <a:lnTo>
                  <a:pt x="10186" y="9372"/>
                </a:lnTo>
                <a:lnTo>
                  <a:pt x="10203" y="9362"/>
                </a:lnTo>
                <a:lnTo>
                  <a:pt x="10221" y="9356"/>
                </a:lnTo>
                <a:lnTo>
                  <a:pt x="10240" y="9350"/>
                </a:lnTo>
                <a:lnTo>
                  <a:pt x="10250" y="9348"/>
                </a:lnTo>
                <a:lnTo>
                  <a:pt x="10261" y="9347"/>
                </a:lnTo>
                <a:lnTo>
                  <a:pt x="10271" y="9346"/>
                </a:lnTo>
                <a:lnTo>
                  <a:pt x="10281" y="9346"/>
                </a:lnTo>
                <a:close/>
                <a:moveTo>
                  <a:pt x="9890" y="7397"/>
                </a:moveTo>
                <a:lnTo>
                  <a:pt x="10788" y="7397"/>
                </a:lnTo>
                <a:lnTo>
                  <a:pt x="10802" y="7397"/>
                </a:lnTo>
                <a:lnTo>
                  <a:pt x="10815" y="7399"/>
                </a:lnTo>
                <a:lnTo>
                  <a:pt x="10828" y="7403"/>
                </a:lnTo>
                <a:lnTo>
                  <a:pt x="10840" y="7407"/>
                </a:lnTo>
                <a:lnTo>
                  <a:pt x="10852" y="7414"/>
                </a:lnTo>
                <a:lnTo>
                  <a:pt x="10863" y="7420"/>
                </a:lnTo>
                <a:lnTo>
                  <a:pt x="10874" y="7429"/>
                </a:lnTo>
                <a:lnTo>
                  <a:pt x="10883" y="7439"/>
                </a:lnTo>
                <a:lnTo>
                  <a:pt x="10892" y="7448"/>
                </a:lnTo>
                <a:lnTo>
                  <a:pt x="10899" y="7459"/>
                </a:lnTo>
                <a:lnTo>
                  <a:pt x="10907" y="7471"/>
                </a:lnTo>
                <a:lnTo>
                  <a:pt x="10912" y="7484"/>
                </a:lnTo>
                <a:lnTo>
                  <a:pt x="10917" y="7496"/>
                </a:lnTo>
                <a:lnTo>
                  <a:pt x="10920" y="7510"/>
                </a:lnTo>
                <a:lnTo>
                  <a:pt x="10922" y="7524"/>
                </a:lnTo>
                <a:lnTo>
                  <a:pt x="10923" y="7538"/>
                </a:lnTo>
                <a:lnTo>
                  <a:pt x="10923" y="7776"/>
                </a:lnTo>
                <a:lnTo>
                  <a:pt x="10922" y="7792"/>
                </a:lnTo>
                <a:lnTo>
                  <a:pt x="10920" y="7805"/>
                </a:lnTo>
                <a:lnTo>
                  <a:pt x="10917" y="7818"/>
                </a:lnTo>
                <a:lnTo>
                  <a:pt x="10912" y="7832"/>
                </a:lnTo>
                <a:lnTo>
                  <a:pt x="10907" y="7844"/>
                </a:lnTo>
                <a:lnTo>
                  <a:pt x="10899" y="7856"/>
                </a:lnTo>
                <a:lnTo>
                  <a:pt x="10892" y="7868"/>
                </a:lnTo>
                <a:lnTo>
                  <a:pt x="10883" y="7877"/>
                </a:lnTo>
                <a:lnTo>
                  <a:pt x="10874" y="7887"/>
                </a:lnTo>
                <a:lnTo>
                  <a:pt x="10863" y="7895"/>
                </a:lnTo>
                <a:lnTo>
                  <a:pt x="10852" y="7902"/>
                </a:lnTo>
                <a:lnTo>
                  <a:pt x="10840" y="7908"/>
                </a:lnTo>
                <a:lnTo>
                  <a:pt x="10828" y="7913"/>
                </a:lnTo>
                <a:lnTo>
                  <a:pt x="10815" y="7916"/>
                </a:lnTo>
                <a:lnTo>
                  <a:pt x="10802" y="7918"/>
                </a:lnTo>
                <a:lnTo>
                  <a:pt x="10788" y="7919"/>
                </a:lnTo>
                <a:lnTo>
                  <a:pt x="9890" y="7919"/>
                </a:lnTo>
                <a:lnTo>
                  <a:pt x="9876" y="7918"/>
                </a:lnTo>
                <a:lnTo>
                  <a:pt x="9863" y="7916"/>
                </a:lnTo>
                <a:lnTo>
                  <a:pt x="9850" y="7913"/>
                </a:lnTo>
                <a:lnTo>
                  <a:pt x="9837" y="7908"/>
                </a:lnTo>
                <a:lnTo>
                  <a:pt x="9825" y="7902"/>
                </a:lnTo>
                <a:lnTo>
                  <a:pt x="9814" y="7895"/>
                </a:lnTo>
                <a:lnTo>
                  <a:pt x="9804" y="7887"/>
                </a:lnTo>
                <a:lnTo>
                  <a:pt x="9794" y="7877"/>
                </a:lnTo>
                <a:lnTo>
                  <a:pt x="9785" y="7868"/>
                </a:lnTo>
                <a:lnTo>
                  <a:pt x="9778" y="7856"/>
                </a:lnTo>
                <a:lnTo>
                  <a:pt x="9771" y="7844"/>
                </a:lnTo>
                <a:lnTo>
                  <a:pt x="9765" y="7832"/>
                </a:lnTo>
                <a:lnTo>
                  <a:pt x="9761" y="7818"/>
                </a:lnTo>
                <a:lnTo>
                  <a:pt x="9757" y="7805"/>
                </a:lnTo>
                <a:lnTo>
                  <a:pt x="9755" y="7792"/>
                </a:lnTo>
                <a:lnTo>
                  <a:pt x="9754" y="7776"/>
                </a:lnTo>
                <a:lnTo>
                  <a:pt x="9754" y="7538"/>
                </a:lnTo>
                <a:lnTo>
                  <a:pt x="9755" y="7524"/>
                </a:lnTo>
                <a:lnTo>
                  <a:pt x="9757" y="7510"/>
                </a:lnTo>
                <a:lnTo>
                  <a:pt x="9761" y="7496"/>
                </a:lnTo>
                <a:lnTo>
                  <a:pt x="9765" y="7484"/>
                </a:lnTo>
                <a:lnTo>
                  <a:pt x="9771" y="7471"/>
                </a:lnTo>
                <a:lnTo>
                  <a:pt x="9778" y="7459"/>
                </a:lnTo>
                <a:lnTo>
                  <a:pt x="9785" y="7448"/>
                </a:lnTo>
                <a:lnTo>
                  <a:pt x="9794" y="7439"/>
                </a:lnTo>
                <a:lnTo>
                  <a:pt x="9804" y="7429"/>
                </a:lnTo>
                <a:lnTo>
                  <a:pt x="9814" y="7420"/>
                </a:lnTo>
                <a:lnTo>
                  <a:pt x="9825" y="7414"/>
                </a:lnTo>
                <a:lnTo>
                  <a:pt x="9837" y="7407"/>
                </a:lnTo>
                <a:lnTo>
                  <a:pt x="9850" y="7403"/>
                </a:lnTo>
                <a:lnTo>
                  <a:pt x="9863" y="7399"/>
                </a:lnTo>
                <a:lnTo>
                  <a:pt x="9876" y="7397"/>
                </a:lnTo>
                <a:lnTo>
                  <a:pt x="9890" y="7397"/>
                </a:lnTo>
                <a:close/>
                <a:moveTo>
                  <a:pt x="9890" y="6462"/>
                </a:moveTo>
                <a:lnTo>
                  <a:pt x="10788" y="6462"/>
                </a:lnTo>
                <a:lnTo>
                  <a:pt x="10802" y="6463"/>
                </a:lnTo>
                <a:lnTo>
                  <a:pt x="10815" y="6465"/>
                </a:lnTo>
                <a:lnTo>
                  <a:pt x="10828" y="6469"/>
                </a:lnTo>
                <a:lnTo>
                  <a:pt x="10840" y="6474"/>
                </a:lnTo>
                <a:lnTo>
                  <a:pt x="10852" y="6479"/>
                </a:lnTo>
                <a:lnTo>
                  <a:pt x="10863" y="6487"/>
                </a:lnTo>
                <a:lnTo>
                  <a:pt x="10874" y="6495"/>
                </a:lnTo>
                <a:lnTo>
                  <a:pt x="10883" y="6504"/>
                </a:lnTo>
                <a:lnTo>
                  <a:pt x="10892" y="6515"/>
                </a:lnTo>
                <a:lnTo>
                  <a:pt x="10899" y="6525"/>
                </a:lnTo>
                <a:lnTo>
                  <a:pt x="10907" y="6537"/>
                </a:lnTo>
                <a:lnTo>
                  <a:pt x="10912" y="6549"/>
                </a:lnTo>
                <a:lnTo>
                  <a:pt x="10917" y="6563"/>
                </a:lnTo>
                <a:lnTo>
                  <a:pt x="10920" y="6576"/>
                </a:lnTo>
                <a:lnTo>
                  <a:pt x="10922" y="6591"/>
                </a:lnTo>
                <a:lnTo>
                  <a:pt x="10923" y="6605"/>
                </a:lnTo>
                <a:lnTo>
                  <a:pt x="10923" y="6843"/>
                </a:lnTo>
                <a:lnTo>
                  <a:pt x="10922" y="6857"/>
                </a:lnTo>
                <a:lnTo>
                  <a:pt x="10920" y="6871"/>
                </a:lnTo>
                <a:lnTo>
                  <a:pt x="10917" y="6885"/>
                </a:lnTo>
                <a:lnTo>
                  <a:pt x="10912" y="6898"/>
                </a:lnTo>
                <a:lnTo>
                  <a:pt x="10907" y="6911"/>
                </a:lnTo>
                <a:lnTo>
                  <a:pt x="10899" y="6922"/>
                </a:lnTo>
                <a:lnTo>
                  <a:pt x="10892" y="6933"/>
                </a:lnTo>
                <a:lnTo>
                  <a:pt x="10883" y="6944"/>
                </a:lnTo>
                <a:lnTo>
                  <a:pt x="10874" y="6952"/>
                </a:lnTo>
                <a:lnTo>
                  <a:pt x="10863" y="6961"/>
                </a:lnTo>
                <a:lnTo>
                  <a:pt x="10852" y="6969"/>
                </a:lnTo>
                <a:lnTo>
                  <a:pt x="10840" y="6974"/>
                </a:lnTo>
                <a:lnTo>
                  <a:pt x="10828" y="6979"/>
                </a:lnTo>
                <a:lnTo>
                  <a:pt x="10815" y="6983"/>
                </a:lnTo>
                <a:lnTo>
                  <a:pt x="10802" y="6985"/>
                </a:lnTo>
                <a:lnTo>
                  <a:pt x="10788" y="6986"/>
                </a:lnTo>
                <a:lnTo>
                  <a:pt x="9890" y="6986"/>
                </a:lnTo>
                <a:lnTo>
                  <a:pt x="9876" y="6985"/>
                </a:lnTo>
                <a:lnTo>
                  <a:pt x="9863" y="6983"/>
                </a:lnTo>
                <a:lnTo>
                  <a:pt x="9850" y="6979"/>
                </a:lnTo>
                <a:lnTo>
                  <a:pt x="9837" y="6974"/>
                </a:lnTo>
                <a:lnTo>
                  <a:pt x="9825" y="6969"/>
                </a:lnTo>
                <a:lnTo>
                  <a:pt x="9814" y="6961"/>
                </a:lnTo>
                <a:lnTo>
                  <a:pt x="9804" y="6952"/>
                </a:lnTo>
                <a:lnTo>
                  <a:pt x="9794" y="6944"/>
                </a:lnTo>
                <a:lnTo>
                  <a:pt x="9785" y="6933"/>
                </a:lnTo>
                <a:lnTo>
                  <a:pt x="9778" y="6922"/>
                </a:lnTo>
                <a:lnTo>
                  <a:pt x="9771" y="6911"/>
                </a:lnTo>
                <a:lnTo>
                  <a:pt x="9765" y="6898"/>
                </a:lnTo>
                <a:lnTo>
                  <a:pt x="9761" y="6885"/>
                </a:lnTo>
                <a:lnTo>
                  <a:pt x="9757" y="6871"/>
                </a:lnTo>
                <a:lnTo>
                  <a:pt x="9755" y="6857"/>
                </a:lnTo>
                <a:lnTo>
                  <a:pt x="9754" y="6843"/>
                </a:lnTo>
                <a:lnTo>
                  <a:pt x="9754" y="6605"/>
                </a:lnTo>
                <a:lnTo>
                  <a:pt x="9755" y="6591"/>
                </a:lnTo>
                <a:lnTo>
                  <a:pt x="9757" y="6576"/>
                </a:lnTo>
                <a:lnTo>
                  <a:pt x="9761" y="6563"/>
                </a:lnTo>
                <a:lnTo>
                  <a:pt x="9765" y="6549"/>
                </a:lnTo>
                <a:lnTo>
                  <a:pt x="9771" y="6537"/>
                </a:lnTo>
                <a:lnTo>
                  <a:pt x="9778" y="6525"/>
                </a:lnTo>
                <a:lnTo>
                  <a:pt x="9785" y="6515"/>
                </a:lnTo>
                <a:lnTo>
                  <a:pt x="9794" y="6504"/>
                </a:lnTo>
                <a:lnTo>
                  <a:pt x="9804" y="6495"/>
                </a:lnTo>
                <a:lnTo>
                  <a:pt x="9814" y="6487"/>
                </a:lnTo>
                <a:lnTo>
                  <a:pt x="9825" y="6479"/>
                </a:lnTo>
                <a:lnTo>
                  <a:pt x="9837" y="6474"/>
                </a:lnTo>
                <a:lnTo>
                  <a:pt x="9850" y="6469"/>
                </a:lnTo>
                <a:lnTo>
                  <a:pt x="9863" y="6465"/>
                </a:lnTo>
                <a:lnTo>
                  <a:pt x="9876" y="6463"/>
                </a:lnTo>
                <a:lnTo>
                  <a:pt x="9890" y="6462"/>
                </a:lnTo>
                <a:close/>
                <a:moveTo>
                  <a:pt x="6777" y="9346"/>
                </a:moveTo>
                <a:lnTo>
                  <a:pt x="6892" y="9346"/>
                </a:lnTo>
                <a:lnTo>
                  <a:pt x="6902" y="9346"/>
                </a:lnTo>
                <a:lnTo>
                  <a:pt x="6912" y="9347"/>
                </a:lnTo>
                <a:lnTo>
                  <a:pt x="6922" y="9348"/>
                </a:lnTo>
                <a:lnTo>
                  <a:pt x="6933" y="9350"/>
                </a:lnTo>
                <a:lnTo>
                  <a:pt x="6952" y="9356"/>
                </a:lnTo>
                <a:lnTo>
                  <a:pt x="6970" y="9362"/>
                </a:lnTo>
                <a:lnTo>
                  <a:pt x="6987" y="9372"/>
                </a:lnTo>
                <a:lnTo>
                  <a:pt x="7004" y="9383"/>
                </a:lnTo>
                <a:lnTo>
                  <a:pt x="7019" y="9394"/>
                </a:lnTo>
                <a:lnTo>
                  <a:pt x="7034" y="9408"/>
                </a:lnTo>
                <a:lnTo>
                  <a:pt x="7047" y="9423"/>
                </a:lnTo>
                <a:lnTo>
                  <a:pt x="7059" y="9440"/>
                </a:lnTo>
                <a:lnTo>
                  <a:pt x="7069" y="9458"/>
                </a:lnTo>
                <a:lnTo>
                  <a:pt x="7077" y="9476"/>
                </a:lnTo>
                <a:lnTo>
                  <a:pt x="7084" y="9495"/>
                </a:lnTo>
                <a:lnTo>
                  <a:pt x="7089" y="9517"/>
                </a:lnTo>
                <a:lnTo>
                  <a:pt x="7092" y="9537"/>
                </a:lnTo>
                <a:lnTo>
                  <a:pt x="7094" y="9559"/>
                </a:lnTo>
                <a:lnTo>
                  <a:pt x="7094" y="13156"/>
                </a:lnTo>
                <a:lnTo>
                  <a:pt x="7092" y="13178"/>
                </a:lnTo>
                <a:lnTo>
                  <a:pt x="7089" y="13199"/>
                </a:lnTo>
                <a:lnTo>
                  <a:pt x="7084" y="13219"/>
                </a:lnTo>
                <a:lnTo>
                  <a:pt x="7077" y="13239"/>
                </a:lnTo>
                <a:lnTo>
                  <a:pt x="7069" y="13257"/>
                </a:lnTo>
                <a:lnTo>
                  <a:pt x="7059" y="13275"/>
                </a:lnTo>
                <a:lnTo>
                  <a:pt x="7047" y="13291"/>
                </a:lnTo>
                <a:lnTo>
                  <a:pt x="7034" y="13306"/>
                </a:lnTo>
                <a:lnTo>
                  <a:pt x="7019" y="13320"/>
                </a:lnTo>
                <a:lnTo>
                  <a:pt x="7004" y="13332"/>
                </a:lnTo>
                <a:lnTo>
                  <a:pt x="6987" y="13343"/>
                </a:lnTo>
                <a:lnTo>
                  <a:pt x="6970" y="13352"/>
                </a:lnTo>
                <a:lnTo>
                  <a:pt x="6952" y="13360"/>
                </a:lnTo>
                <a:lnTo>
                  <a:pt x="6933" y="13365"/>
                </a:lnTo>
                <a:lnTo>
                  <a:pt x="6922" y="13366"/>
                </a:lnTo>
                <a:lnTo>
                  <a:pt x="6912" y="13369"/>
                </a:lnTo>
                <a:lnTo>
                  <a:pt x="6902" y="13369"/>
                </a:lnTo>
                <a:lnTo>
                  <a:pt x="6892" y="13370"/>
                </a:lnTo>
                <a:lnTo>
                  <a:pt x="6777" y="13370"/>
                </a:lnTo>
                <a:lnTo>
                  <a:pt x="6766" y="13369"/>
                </a:lnTo>
                <a:lnTo>
                  <a:pt x="6757" y="13369"/>
                </a:lnTo>
                <a:lnTo>
                  <a:pt x="6746" y="13366"/>
                </a:lnTo>
                <a:lnTo>
                  <a:pt x="6736" y="13365"/>
                </a:lnTo>
                <a:lnTo>
                  <a:pt x="6717" y="13360"/>
                </a:lnTo>
                <a:lnTo>
                  <a:pt x="6699" y="13352"/>
                </a:lnTo>
                <a:lnTo>
                  <a:pt x="6680" y="13343"/>
                </a:lnTo>
                <a:lnTo>
                  <a:pt x="6664" y="13332"/>
                </a:lnTo>
                <a:lnTo>
                  <a:pt x="6648" y="13320"/>
                </a:lnTo>
                <a:lnTo>
                  <a:pt x="6634" y="13306"/>
                </a:lnTo>
                <a:lnTo>
                  <a:pt x="6621" y="13291"/>
                </a:lnTo>
                <a:lnTo>
                  <a:pt x="6609" y="13275"/>
                </a:lnTo>
                <a:lnTo>
                  <a:pt x="6600" y="13257"/>
                </a:lnTo>
                <a:lnTo>
                  <a:pt x="6591" y="13239"/>
                </a:lnTo>
                <a:lnTo>
                  <a:pt x="6584" y="13219"/>
                </a:lnTo>
                <a:lnTo>
                  <a:pt x="6579" y="13199"/>
                </a:lnTo>
                <a:lnTo>
                  <a:pt x="6576" y="13178"/>
                </a:lnTo>
                <a:lnTo>
                  <a:pt x="6575" y="13156"/>
                </a:lnTo>
                <a:lnTo>
                  <a:pt x="6575" y="9559"/>
                </a:lnTo>
                <a:lnTo>
                  <a:pt x="6576" y="9537"/>
                </a:lnTo>
                <a:lnTo>
                  <a:pt x="6579" y="9517"/>
                </a:lnTo>
                <a:lnTo>
                  <a:pt x="6584" y="9495"/>
                </a:lnTo>
                <a:lnTo>
                  <a:pt x="6591" y="9476"/>
                </a:lnTo>
                <a:lnTo>
                  <a:pt x="6600" y="9458"/>
                </a:lnTo>
                <a:lnTo>
                  <a:pt x="6609" y="9440"/>
                </a:lnTo>
                <a:lnTo>
                  <a:pt x="6621" y="9423"/>
                </a:lnTo>
                <a:lnTo>
                  <a:pt x="6634" y="9408"/>
                </a:lnTo>
                <a:lnTo>
                  <a:pt x="6648" y="9394"/>
                </a:lnTo>
                <a:lnTo>
                  <a:pt x="6664" y="9383"/>
                </a:lnTo>
                <a:lnTo>
                  <a:pt x="6680" y="9372"/>
                </a:lnTo>
                <a:lnTo>
                  <a:pt x="6699" y="9362"/>
                </a:lnTo>
                <a:lnTo>
                  <a:pt x="6717" y="9356"/>
                </a:lnTo>
                <a:lnTo>
                  <a:pt x="6736" y="9350"/>
                </a:lnTo>
                <a:lnTo>
                  <a:pt x="6746" y="9348"/>
                </a:lnTo>
                <a:lnTo>
                  <a:pt x="6757" y="9347"/>
                </a:lnTo>
                <a:lnTo>
                  <a:pt x="6766" y="9346"/>
                </a:lnTo>
                <a:lnTo>
                  <a:pt x="6777" y="9346"/>
                </a:lnTo>
                <a:close/>
                <a:moveTo>
                  <a:pt x="6385" y="7397"/>
                </a:moveTo>
                <a:lnTo>
                  <a:pt x="7283" y="7397"/>
                </a:lnTo>
                <a:lnTo>
                  <a:pt x="7297" y="7397"/>
                </a:lnTo>
                <a:lnTo>
                  <a:pt x="7310" y="7399"/>
                </a:lnTo>
                <a:lnTo>
                  <a:pt x="7323" y="7403"/>
                </a:lnTo>
                <a:lnTo>
                  <a:pt x="7336" y="7407"/>
                </a:lnTo>
                <a:lnTo>
                  <a:pt x="7348" y="7414"/>
                </a:lnTo>
                <a:lnTo>
                  <a:pt x="7359" y="7420"/>
                </a:lnTo>
                <a:lnTo>
                  <a:pt x="7369" y="7429"/>
                </a:lnTo>
                <a:lnTo>
                  <a:pt x="7379" y="7439"/>
                </a:lnTo>
                <a:lnTo>
                  <a:pt x="7388" y="7448"/>
                </a:lnTo>
                <a:lnTo>
                  <a:pt x="7395" y="7459"/>
                </a:lnTo>
                <a:lnTo>
                  <a:pt x="7402" y="7471"/>
                </a:lnTo>
                <a:lnTo>
                  <a:pt x="7408" y="7484"/>
                </a:lnTo>
                <a:lnTo>
                  <a:pt x="7412" y="7496"/>
                </a:lnTo>
                <a:lnTo>
                  <a:pt x="7416" y="7510"/>
                </a:lnTo>
                <a:lnTo>
                  <a:pt x="7418" y="7524"/>
                </a:lnTo>
                <a:lnTo>
                  <a:pt x="7419" y="7538"/>
                </a:lnTo>
                <a:lnTo>
                  <a:pt x="7419" y="7776"/>
                </a:lnTo>
                <a:lnTo>
                  <a:pt x="7418" y="7792"/>
                </a:lnTo>
                <a:lnTo>
                  <a:pt x="7416" y="7805"/>
                </a:lnTo>
                <a:lnTo>
                  <a:pt x="7412" y="7818"/>
                </a:lnTo>
                <a:lnTo>
                  <a:pt x="7408" y="7832"/>
                </a:lnTo>
                <a:lnTo>
                  <a:pt x="7402" y="7844"/>
                </a:lnTo>
                <a:lnTo>
                  <a:pt x="7395" y="7856"/>
                </a:lnTo>
                <a:lnTo>
                  <a:pt x="7388" y="7868"/>
                </a:lnTo>
                <a:lnTo>
                  <a:pt x="7379" y="7877"/>
                </a:lnTo>
                <a:lnTo>
                  <a:pt x="7369" y="7887"/>
                </a:lnTo>
                <a:lnTo>
                  <a:pt x="7359" y="7895"/>
                </a:lnTo>
                <a:lnTo>
                  <a:pt x="7348" y="7902"/>
                </a:lnTo>
                <a:lnTo>
                  <a:pt x="7336" y="7908"/>
                </a:lnTo>
                <a:lnTo>
                  <a:pt x="7323" y="7913"/>
                </a:lnTo>
                <a:lnTo>
                  <a:pt x="7310" y="7916"/>
                </a:lnTo>
                <a:lnTo>
                  <a:pt x="7297" y="7918"/>
                </a:lnTo>
                <a:lnTo>
                  <a:pt x="7283" y="7919"/>
                </a:lnTo>
                <a:lnTo>
                  <a:pt x="6385" y="7919"/>
                </a:lnTo>
                <a:lnTo>
                  <a:pt x="6371" y="7918"/>
                </a:lnTo>
                <a:lnTo>
                  <a:pt x="6357" y="7916"/>
                </a:lnTo>
                <a:lnTo>
                  <a:pt x="6344" y="7913"/>
                </a:lnTo>
                <a:lnTo>
                  <a:pt x="6333" y="7908"/>
                </a:lnTo>
                <a:lnTo>
                  <a:pt x="6321" y="7902"/>
                </a:lnTo>
                <a:lnTo>
                  <a:pt x="6310" y="7895"/>
                </a:lnTo>
                <a:lnTo>
                  <a:pt x="6299" y="7887"/>
                </a:lnTo>
                <a:lnTo>
                  <a:pt x="6290" y="7877"/>
                </a:lnTo>
                <a:lnTo>
                  <a:pt x="6281" y="7868"/>
                </a:lnTo>
                <a:lnTo>
                  <a:pt x="6274" y="7856"/>
                </a:lnTo>
                <a:lnTo>
                  <a:pt x="6266" y="7844"/>
                </a:lnTo>
                <a:lnTo>
                  <a:pt x="6261" y="7832"/>
                </a:lnTo>
                <a:lnTo>
                  <a:pt x="6256" y="7818"/>
                </a:lnTo>
                <a:lnTo>
                  <a:pt x="6253" y="7805"/>
                </a:lnTo>
                <a:lnTo>
                  <a:pt x="6251" y="7792"/>
                </a:lnTo>
                <a:lnTo>
                  <a:pt x="6250" y="7776"/>
                </a:lnTo>
                <a:lnTo>
                  <a:pt x="6250" y="7538"/>
                </a:lnTo>
                <a:lnTo>
                  <a:pt x="6251" y="7524"/>
                </a:lnTo>
                <a:lnTo>
                  <a:pt x="6253" y="7510"/>
                </a:lnTo>
                <a:lnTo>
                  <a:pt x="6256" y="7496"/>
                </a:lnTo>
                <a:lnTo>
                  <a:pt x="6261" y="7484"/>
                </a:lnTo>
                <a:lnTo>
                  <a:pt x="6266" y="7471"/>
                </a:lnTo>
                <a:lnTo>
                  <a:pt x="6274" y="7459"/>
                </a:lnTo>
                <a:lnTo>
                  <a:pt x="6281" y="7448"/>
                </a:lnTo>
                <a:lnTo>
                  <a:pt x="6290" y="7439"/>
                </a:lnTo>
                <a:lnTo>
                  <a:pt x="6299" y="7429"/>
                </a:lnTo>
                <a:lnTo>
                  <a:pt x="6310" y="7420"/>
                </a:lnTo>
                <a:lnTo>
                  <a:pt x="6321" y="7414"/>
                </a:lnTo>
                <a:lnTo>
                  <a:pt x="6333" y="7407"/>
                </a:lnTo>
                <a:lnTo>
                  <a:pt x="6344" y="7403"/>
                </a:lnTo>
                <a:lnTo>
                  <a:pt x="6357" y="7399"/>
                </a:lnTo>
                <a:lnTo>
                  <a:pt x="6371" y="7397"/>
                </a:lnTo>
                <a:lnTo>
                  <a:pt x="6385" y="7397"/>
                </a:lnTo>
                <a:close/>
                <a:moveTo>
                  <a:pt x="6385" y="6462"/>
                </a:moveTo>
                <a:lnTo>
                  <a:pt x="7283" y="6462"/>
                </a:lnTo>
                <a:lnTo>
                  <a:pt x="7297" y="6463"/>
                </a:lnTo>
                <a:lnTo>
                  <a:pt x="7310" y="6465"/>
                </a:lnTo>
                <a:lnTo>
                  <a:pt x="7323" y="6469"/>
                </a:lnTo>
                <a:lnTo>
                  <a:pt x="7336" y="6474"/>
                </a:lnTo>
                <a:lnTo>
                  <a:pt x="7348" y="6479"/>
                </a:lnTo>
                <a:lnTo>
                  <a:pt x="7359" y="6487"/>
                </a:lnTo>
                <a:lnTo>
                  <a:pt x="7369" y="6495"/>
                </a:lnTo>
                <a:lnTo>
                  <a:pt x="7379" y="6504"/>
                </a:lnTo>
                <a:lnTo>
                  <a:pt x="7388" y="6515"/>
                </a:lnTo>
                <a:lnTo>
                  <a:pt x="7395" y="6525"/>
                </a:lnTo>
                <a:lnTo>
                  <a:pt x="7402" y="6537"/>
                </a:lnTo>
                <a:lnTo>
                  <a:pt x="7408" y="6549"/>
                </a:lnTo>
                <a:lnTo>
                  <a:pt x="7412" y="6563"/>
                </a:lnTo>
                <a:lnTo>
                  <a:pt x="7416" y="6576"/>
                </a:lnTo>
                <a:lnTo>
                  <a:pt x="7418" y="6591"/>
                </a:lnTo>
                <a:lnTo>
                  <a:pt x="7419" y="6605"/>
                </a:lnTo>
                <a:lnTo>
                  <a:pt x="7419" y="6843"/>
                </a:lnTo>
                <a:lnTo>
                  <a:pt x="7418" y="6857"/>
                </a:lnTo>
                <a:lnTo>
                  <a:pt x="7416" y="6871"/>
                </a:lnTo>
                <a:lnTo>
                  <a:pt x="7412" y="6885"/>
                </a:lnTo>
                <a:lnTo>
                  <a:pt x="7408" y="6898"/>
                </a:lnTo>
                <a:lnTo>
                  <a:pt x="7402" y="6911"/>
                </a:lnTo>
                <a:lnTo>
                  <a:pt x="7395" y="6922"/>
                </a:lnTo>
                <a:lnTo>
                  <a:pt x="7388" y="6933"/>
                </a:lnTo>
                <a:lnTo>
                  <a:pt x="7379" y="6944"/>
                </a:lnTo>
                <a:lnTo>
                  <a:pt x="7369" y="6952"/>
                </a:lnTo>
                <a:lnTo>
                  <a:pt x="7359" y="6961"/>
                </a:lnTo>
                <a:lnTo>
                  <a:pt x="7348" y="6969"/>
                </a:lnTo>
                <a:lnTo>
                  <a:pt x="7336" y="6974"/>
                </a:lnTo>
                <a:lnTo>
                  <a:pt x="7323" y="6979"/>
                </a:lnTo>
                <a:lnTo>
                  <a:pt x="7310" y="6983"/>
                </a:lnTo>
                <a:lnTo>
                  <a:pt x="7297" y="6985"/>
                </a:lnTo>
                <a:lnTo>
                  <a:pt x="7283" y="6986"/>
                </a:lnTo>
                <a:lnTo>
                  <a:pt x="6385" y="6986"/>
                </a:lnTo>
                <a:lnTo>
                  <a:pt x="6371" y="6985"/>
                </a:lnTo>
                <a:lnTo>
                  <a:pt x="6357" y="6983"/>
                </a:lnTo>
                <a:lnTo>
                  <a:pt x="6344" y="6979"/>
                </a:lnTo>
                <a:lnTo>
                  <a:pt x="6333" y="6974"/>
                </a:lnTo>
                <a:lnTo>
                  <a:pt x="6321" y="6969"/>
                </a:lnTo>
                <a:lnTo>
                  <a:pt x="6310" y="6961"/>
                </a:lnTo>
                <a:lnTo>
                  <a:pt x="6299" y="6952"/>
                </a:lnTo>
                <a:lnTo>
                  <a:pt x="6290" y="6944"/>
                </a:lnTo>
                <a:lnTo>
                  <a:pt x="6281" y="6933"/>
                </a:lnTo>
                <a:lnTo>
                  <a:pt x="6274" y="6922"/>
                </a:lnTo>
                <a:lnTo>
                  <a:pt x="6266" y="6911"/>
                </a:lnTo>
                <a:lnTo>
                  <a:pt x="6261" y="6898"/>
                </a:lnTo>
                <a:lnTo>
                  <a:pt x="6256" y="6885"/>
                </a:lnTo>
                <a:lnTo>
                  <a:pt x="6253" y="6871"/>
                </a:lnTo>
                <a:lnTo>
                  <a:pt x="6251" y="6857"/>
                </a:lnTo>
                <a:lnTo>
                  <a:pt x="6250" y="6843"/>
                </a:lnTo>
                <a:lnTo>
                  <a:pt x="6250" y="6605"/>
                </a:lnTo>
                <a:lnTo>
                  <a:pt x="6251" y="6591"/>
                </a:lnTo>
                <a:lnTo>
                  <a:pt x="6253" y="6576"/>
                </a:lnTo>
                <a:lnTo>
                  <a:pt x="6256" y="6563"/>
                </a:lnTo>
                <a:lnTo>
                  <a:pt x="6261" y="6549"/>
                </a:lnTo>
                <a:lnTo>
                  <a:pt x="6266" y="6537"/>
                </a:lnTo>
                <a:lnTo>
                  <a:pt x="6274" y="6525"/>
                </a:lnTo>
                <a:lnTo>
                  <a:pt x="6281" y="6515"/>
                </a:lnTo>
                <a:lnTo>
                  <a:pt x="6290" y="6504"/>
                </a:lnTo>
                <a:lnTo>
                  <a:pt x="6299" y="6495"/>
                </a:lnTo>
                <a:lnTo>
                  <a:pt x="6310" y="6487"/>
                </a:lnTo>
                <a:lnTo>
                  <a:pt x="6321" y="6479"/>
                </a:lnTo>
                <a:lnTo>
                  <a:pt x="6333" y="6474"/>
                </a:lnTo>
                <a:lnTo>
                  <a:pt x="6344" y="6469"/>
                </a:lnTo>
                <a:lnTo>
                  <a:pt x="6357" y="6465"/>
                </a:lnTo>
                <a:lnTo>
                  <a:pt x="6371" y="6463"/>
                </a:lnTo>
                <a:lnTo>
                  <a:pt x="6385" y="6462"/>
                </a:lnTo>
                <a:close/>
                <a:moveTo>
                  <a:pt x="3271" y="9346"/>
                </a:moveTo>
                <a:lnTo>
                  <a:pt x="3387" y="9346"/>
                </a:lnTo>
                <a:lnTo>
                  <a:pt x="3397" y="9346"/>
                </a:lnTo>
                <a:lnTo>
                  <a:pt x="3408" y="9347"/>
                </a:lnTo>
                <a:lnTo>
                  <a:pt x="3417" y="9348"/>
                </a:lnTo>
                <a:lnTo>
                  <a:pt x="3427" y="9350"/>
                </a:lnTo>
                <a:lnTo>
                  <a:pt x="3446" y="9356"/>
                </a:lnTo>
                <a:lnTo>
                  <a:pt x="3466" y="9362"/>
                </a:lnTo>
                <a:lnTo>
                  <a:pt x="3483" y="9372"/>
                </a:lnTo>
                <a:lnTo>
                  <a:pt x="3500" y="9383"/>
                </a:lnTo>
                <a:lnTo>
                  <a:pt x="3515" y="9394"/>
                </a:lnTo>
                <a:lnTo>
                  <a:pt x="3529" y="9408"/>
                </a:lnTo>
                <a:lnTo>
                  <a:pt x="3542" y="9423"/>
                </a:lnTo>
                <a:lnTo>
                  <a:pt x="3554" y="9440"/>
                </a:lnTo>
                <a:lnTo>
                  <a:pt x="3564" y="9458"/>
                </a:lnTo>
                <a:lnTo>
                  <a:pt x="3573" y="9476"/>
                </a:lnTo>
                <a:lnTo>
                  <a:pt x="3579" y="9495"/>
                </a:lnTo>
                <a:lnTo>
                  <a:pt x="3585" y="9517"/>
                </a:lnTo>
                <a:lnTo>
                  <a:pt x="3588" y="9537"/>
                </a:lnTo>
                <a:lnTo>
                  <a:pt x="3589" y="9559"/>
                </a:lnTo>
                <a:lnTo>
                  <a:pt x="3589" y="13156"/>
                </a:lnTo>
                <a:lnTo>
                  <a:pt x="3588" y="13178"/>
                </a:lnTo>
                <a:lnTo>
                  <a:pt x="3585" y="13199"/>
                </a:lnTo>
                <a:lnTo>
                  <a:pt x="3579" y="13219"/>
                </a:lnTo>
                <a:lnTo>
                  <a:pt x="3573" y="13239"/>
                </a:lnTo>
                <a:lnTo>
                  <a:pt x="3564" y="13257"/>
                </a:lnTo>
                <a:lnTo>
                  <a:pt x="3554" y="13275"/>
                </a:lnTo>
                <a:lnTo>
                  <a:pt x="3542" y="13291"/>
                </a:lnTo>
                <a:lnTo>
                  <a:pt x="3529" y="13306"/>
                </a:lnTo>
                <a:lnTo>
                  <a:pt x="3515" y="13320"/>
                </a:lnTo>
                <a:lnTo>
                  <a:pt x="3500" y="13332"/>
                </a:lnTo>
                <a:lnTo>
                  <a:pt x="3483" y="13343"/>
                </a:lnTo>
                <a:lnTo>
                  <a:pt x="3466" y="13352"/>
                </a:lnTo>
                <a:lnTo>
                  <a:pt x="3446" y="13360"/>
                </a:lnTo>
                <a:lnTo>
                  <a:pt x="3427" y="13365"/>
                </a:lnTo>
                <a:lnTo>
                  <a:pt x="3417" y="13366"/>
                </a:lnTo>
                <a:lnTo>
                  <a:pt x="3408" y="13369"/>
                </a:lnTo>
                <a:lnTo>
                  <a:pt x="3397" y="13369"/>
                </a:lnTo>
                <a:lnTo>
                  <a:pt x="3387" y="13370"/>
                </a:lnTo>
                <a:lnTo>
                  <a:pt x="3271" y="13370"/>
                </a:lnTo>
                <a:lnTo>
                  <a:pt x="3262" y="13369"/>
                </a:lnTo>
                <a:lnTo>
                  <a:pt x="3251" y="13369"/>
                </a:lnTo>
                <a:lnTo>
                  <a:pt x="3241" y="13366"/>
                </a:lnTo>
                <a:lnTo>
                  <a:pt x="3232" y="13365"/>
                </a:lnTo>
                <a:lnTo>
                  <a:pt x="3212" y="13360"/>
                </a:lnTo>
                <a:lnTo>
                  <a:pt x="3193" y="13352"/>
                </a:lnTo>
                <a:lnTo>
                  <a:pt x="3176" y="13343"/>
                </a:lnTo>
                <a:lnTo>
                  <a:pt x="3159" y="13332"/>
                </a:lnTo>
                <a:lnTo>
                  <a:pt x="3144" y="13320"/>
                </a:lnTo>
                <a:lnTo>
                  <a:pt x="3130" y="13306"/>
                </a:lnTo>
                <a:lnTo>
                  <a:pt x="3117" y="13291"/>
                </a:lnTo>
                <a:lnTo>
                  <a:pt x="3105" y="13275"/>
                </a:lnTo>
                <a:lnTo>
                  <a:pt x="3094" y="13257"/>
                </a:lnTo>
                <a:lnTo>
                  <a:pt x="3086" y="13239"/>
                </a:lnTo>
                <a:lnTo>
                  <a:pt x="3079" y="13219"/>
                </a:lnTo>
                <a:lnTo>
                  <a:pt x="3074" y="13199"/>
                </a:lnTo>
                <a:lnTo>
                  <a:pt x="3071" y="13178"/>
                </a:lnTo>
                <a:lnTo>
                  <a:pt x="3071" y="13156"/>
                </a:lnTo>
                <a:lnTo>
                  <a:pt x="3071" y="9559"/>
                </a:lnTo>
                <a:lnTo>
                  <a:pt x="3071" y="9537"/>
                </a:lnTo>
                <a:lnTo>
                  <a:pt x="3074" y="9517"/>
                </a:lnTo>
                <a:lnTo>
                  <a:pt x="3079" y="9495"/>
                </a:lnTo>
                <a:lnTo>
                  <a:pt x="3086" y="9476"/>
                </a:lnTo>
                <a:lnTo>
                  <a:pt x="3094" y="9458"/>
                </a:lnTo>
                <a:lnTo>
                  <a:pt x="3105" y="9440"/>
                </a:lnTo>
                <a:lnTo>
                  <a:pt x="3117" y="9423"/>
                </a:lnTo>
                <a:lnTo>
                  <a:pt x="3130" y="9408"/>
                </a:lnTo>
                <a:lnTo>
                  <a:pt x="3144" y="9394"/>
                </a:lnTo>
                <a:lnTo>
                  <a:pt x="3159" y="9383"/>
                </a:lnTo>
                <a:lnTo>
                  <a:pt x="3176" y="9372"/>
                </a:lnTo>
                <a:lnTo>
                  <a:pt x="3193" y="9362"/>
                </a:lnTo>
                <a:lnTo>
                  <a:pt x="3212" y="9356"/>
                </a:lnTo>
                <a:lnTo>
                  <a:pt x="3232" y="9350"/>
                </a:lnTo>
                <a:lnTo>
                  <a:pt x="3241" y="9348"/>
                </a:lnTo>
                <a:lnTo>
                  <a:pt x="3251" y="9347"/>
                </a:lnTo>
                <a:lnTo>
                  <a:pt x="3262" y="9346"/>
                </a:lnTo>
                <a:lnTo>
                  <a:pt x="3271" y="9346"/>
                </a:lnTo>
                <a:close/>
                <a:moveTo>
                  <a:pt x="2880" y="7397"/>
                </a:moveTo>
                <a:lnTo>
                  <a:pt x="3779" y="7397"/>
                </a:lnTo>
                <a:lnTo>
                  <a:pt x="3792" y="7397"/>
                </a:lnTo>
                <a:lnTo>
                  <a:pt x="3806" y="7399"/>
                </a:lnTo>
                <a:lnTo>
                  <a:pt x="3819" y="7403"/>
                </a:lnTo>
                <a:lnTo>
                  <a:pt x="3831" y="7407"/>
                </a:lnTo>
                <a:lnTo>
                  <a:pt x="3842" y="7414"/>
                </a:lnTo>
                <a:lnTo>
                  <a:pt x="3854" y="7420"/>
                </a:lnTo>
                <a:lnTo>
                  <a:pt x="3864" y="7429"/>
                </a:lnTo>
                <a:lnTo>
                  <a:pt x="3874" y="7439"/>
                </a:lnTo>
                <a:lnTo>
                  <a:pt x="3882" y="7448"/>
                </a:lnTo>
                <a:lnTo>
                  <a:pt x="3891" y="7459"/>
                </a:lnTo>
                <a:lnTo>
                  <a:pt x="3897" y="7471"/>
                </a:lnTo>
                <a:lnTo>
                  <a:pt x="3903" y="7484"/>
                </a:lnTo>
                <a:lnTo>
                  <a:pt x="3908" y="7496"/>
                </a:lnTo>
                <a:lnTo>
                  <a:pt x="3911" y="7510"/>
                </a:lnTo>
                <a:lnTo>
                  <a:pt x="3913" y="7524"/>
                </a:lnTo>
                <a:lnTo>
                  <a:pt x="3913" y="7538"/>
                </a:lnTo>
                <a:lnTo>
                  <a:pt x="3913" y="7776"/>
                </a:lnTo>
                <a:lnTo>
                  <a:pt x="3913" y="7792"/>
                </a:lnTo>
                <a:lnTo>
                  <a:pt x="3911" y="7805"/>
                </a:lnTo>
                <a:lnTo>
                  <a:pt x="3908" y="7818"/>
                </a:lnTo>
                <a:lnTo>
                  <a:pt x="3903" y="7832"/>
                </a:lnTo>
                <a:lnTo>
                  <a:pt x="3897" y="7844"/>
                </a:lnTo>
                <a:lnTo>
                  <a:pt x="3891" y="7856"/>
                </a:lnTo>
                <a:lnTo>
                  <a:pt x="3882" y="7868"/>
                </a:lnTo>
                <a:lnTo>
                  <a:pt x="3874" y="7877"/>
                </a:lnTo>
                <a:lnTo>
                  <a:pt x="3864" y="7887"/>
                </a:lnTo>
                <a:lnTo>
                  <a:pt x="3854" y="7895"/>
                </a:lnTo>
                <a:lnTo>
                  <a:pt x="3842" y="7902"/>
                </a:lnTo>
                <a:lnTo>
                  <a:pt x="3831" y="7908"/>
                </a:lnTo>
                <a:lnTo>
                  <a:pt x="3819" y="7913"/>
                </a:lnTo>
                <a:lnTo>
                  <a:pt x="3806" y="7916"/>
                </a:lnTo>
                <a:lnTo>
                  <a:pt x="3792" y="7918"/>
                </a:lnTo>
                <a:lnTo>
                  <a:pt x="3779" y="7919"/>
                </a:lnTo>
                <a:lnTo>
                  <a:pt x="2880" y="7919"/>
                </a:lnTo>
                <a:lnTo>
                  <a:pt x="2867" y="7918"/>
                </a:lnTo>
                <a:lnTo>
                  <a:pt x="2853" y="7916"/>
                </a:lnTo>
                <a:lnTo>
                  <a:pt x="2840" y="7913"/>
                </a:lnTo>
                <a:lnTo>
                  <a:pt x="2828" y="7908"/>
                </a:lnTo>
                <a:lnTo>
                  <a:pt x="2816" y="7902"/>
                </a:lnTo>
                <a:lnTo>
                  <a:pt x="2805" y="7895"/>
                </a:lnTo>
                <a:lnTo>
                  <a:pt x="2795" y="7887"/>
                </a:lnTo>
                <a:lnTo>
                  <a:pt x="2785" y="7877"/>
                </a:lnTo>
                <a:lnTo>
                  <a:pt x="2777" y="7868"/>
                </a:lnTo>
                <a:lnTo>
                  <a:pt x="2768" y="7856"/>
                </a:lnTo>
                <a:lnTo>
                  <a:pt x="2762" y="7844"/>
                </a:lnTo>
                <a:lnTo>
                  <a:pt x="2756" y="7832"/>
                </a:lnTo>
                <a:lnTo>
                  <a:pt x="2751" y="7818"/>
                </a:lnTo>
                <a:lnTo>
                  <a:pt x="2748" y="7805"/>
                </a:lnTo>
                <a:lnTo>
                  <a:pt x="2746" y="7792"/>
                </a:lnTo>
                <a:lnTo>
                  <a:pt x="2746" y="7776"/>
                </a:lnTo>
                <a:lnTo>
                  <a:pt x="2746" y="7538"/>
                </a:lnTo>
                <a:lnTo>
                  <a:pt x="2746" y="7524"/>
                </a:lnTo>
                <a:lnTo>
                  <a:pt x="2748" y="7510"/>
                </a:lnTo>
                <a:lnTo>
                  <a:pt x="2751" y="7496"/>
                </a:lnTo>
                <a:lnTo>
                  <a:pt x="2756" y="7484"/>
                </a:lnTo>
                <a:lnTo>
                  <a:pt x="2762" y="7471"/>
                </a:lnTo>
                <a:lnTo>
                  <a:pt x="2768" y="7459"/>
                </a:lnTo>
                <a:lnTo>
                  <a:pt x="2777" y="7448"/>
                </a:lnTo>
                <a:lnTo>
                  <a:pt x="2785" y="7439"/>
                </a:lnTo>
                <a:lnTo>
                  <a:pt x="2795" y="7429"/>
                </a:lnTo>
                <a:lnTo>
                  <a:pt x="2805" y="7420"/>
                </a:lnTo>
                <a:lnTo>
                  <a:pt x="2816" y="7414"/>
                </a:lnTo>
                <a:lnTo>
                  <a:pt x="2828" y="7407"/>
                </a:lnTo>
                <a:lnTo>
                  <a:pt x="2840" y="7403"/>
                </a:lnTo>
                <a:lnTo>
                  <a:pt x="2853" y="7399"/>
                </a:lnTo>
                <a:lnTo>
                  <a:pt x="2867" y="7397"/>
                </a:lnTo>
                <a:lnTo>
                  <a:pt x="2880" y="7397"/>
                </a:lnTo>
                <a:close/>
              </a:path>
            </a:pathLst>
          </a:custGeom>
          <a:solidFill>
            <a:srgbClr val="00B0F0"/>
          </a:solidFill>
          <a:ln>
            <a:noFill/>
          </a:ln>
          <a:effectLst/>
        </p:spPr>
        <p:txBody>
          <a:bodyPr vert="horz" wrap="square" lIns="91416" tIns="45708" rIns="91416" bIns="45708" numCol="1" rtlCol="0" anchor="t" anchorCtr="0" compatLnSpc="1">
            <a:prstTxWarp prst="textNoShape">
              <a:avLst/>
            </a:prstTxWarp>
          </a:bodyPr>
          <a:lstStyle/>
          <a:p>
            <a:pPr fontAlgn="ctr">
              <a:buClr>
                <a:srgbClr val="CC9900"/>
              </a:buClr>
              <a:buFont typeface="Wingdings" pitchFamily="2" charset="2"/>
              <a:buChar char="n"/>
            </a:pPr>
            <a:endParaRPr lang="en-US" altLang="zh-CN" sz="1799" dirty="0">
              <a:solidFill>
                <a:schemeClr val="bg1"/>
              </a:solidFill>
            </a:endParaRPr>
          </a:p>
        </p:txBody>
      </p:sp>
      <p:sp>
        <p:nvSpPr>
          <p:cNvPr id="216" name="668456272"/>
          <p:cNvSpPr txBox="1">
            <a:spLocks noChangeArrowheads="1"/>
          </p:cNvSpPr>
          <p:nvPr/>
        </p:nvSpPr>
        <p:spPr bwMode="auto">
          <a:xfrm>
            <a:off x="3382525" y="1625224"/>
            <a:ext cx="1949047" cy="350737"/>
          </a:xfrm>
          <a:prstGeom prst="rect">
            <a:avLst/>
          </a:prstGeom>
          <a:noFill/>
          <a:ln w="9525" algn="ctr">
            <a:noFill/>
            <a:miter lim="800000"/>
            <a:headEnd/>
            <a:tailEnd/>
          </a:ln>
          <a:effectLst/>
        </p:spPr>
        <p:txBody>
          <a:bodyPr wrap="square">
            <a:spAutoFit/>
          </a:bodyPr>
          <a:lstStyle/>
          <a:p>
            <a:pPr algn="ctr" fontAlgn="ctr">
              <a:lnSpc>
                <a:spcPct val="120000"/>
              </a:lnSpc>
              <a:spcBef>
                <a:spcPct val="50000"/>
              </a:spcBef>
            </a:pPr>
            <a:r>
              <a:rPr kumimoji="1" lang="en-US" altLang="zh-CN" sz="1399" b="1" dirty="0">
                <a:solidFill>
                  <a:schemeClr val="bg1"/>
                </a:solidFill>
                <a:latin typeface="Calibri" panose="020F0502020204030204" pitchFamily="34" charset="0"/>
                <a:sym typeface="Arial"/>
              </a:rPr>
              <a:t>Cloud Data Center</a:t>
            </a:r>
          </a:p>
        </p:txBody>
      </p:sp>
      <p:sp>
        <p:nvSpPr>
          <p:cNvPr id="217" name="1104981405"/>
          <p:cNvSpPr>
            <a:spLocks noChangeArrowheads="1"/>
          </p:cNvSpPr>
          <p:nvPr/>
        </p:nvSpPr>
        <p:spPr bwMode="auto">
          <a:xfrm>
            <a:off x="1197335" y="3742164"/>
            <a:ext cx="1469618" cy="461635"/>
          </a:xfrm>
          <a:prstGeom prst="rect">
            <a:avLst/>
          </a:prstGeom>
          <a:noFill/>
          <a:ln w="9525">
            <a:noFill/>
            <a:miter lim="800000"/>
            <a:headEnd/>
            <a:tailEnd/>
          </a:ln>
        </p:spPr>
        <p:txBody>
          <a:bodyPr wrap="square" lIns="91410" tIns="45705" rIns="91410" bIns="45705">
            <a:spAutoFit/>
          </a:bodyPr>
          <a:lstStyle/>
          <a:p>
            <a:pPr algn="ctr" fontAlgn="ctr"/>
            <a:r>
              <a:rPr lang="en-US" altLang="zh-CN" sz="1200" dirty="0">
                <a:solidFill>
                  <a:schemeClr val="bg1"/>
                </a:solidFill>
                <a:ea typeface="微软雅黑" pitchFamily="34" charset="-122"/>
              </a:rPr>
              <a:t>Terminal de </a:t>
            </a:r>
            <a:r>
              <a:rPr lang="en-US" altLang="zh-CN" sz="1200" dirty="0" err="1">
                <a:solidFill>
                  <a:schemeClr val="bg1"/>
                </a:solidFill>
                <a:ea typeface="微软雅黑" pitchFamily="34" charset="-122"/>
              </a:rPr>
              <a:t>Videoconferencia</a:t>
            </a:r>
            <a:endParaRPr lang="en-US" altLang="zh-CN" sz="1200" dirty="0">
              <a:solidFill>
                <a:schemeClr val="bg1"/>
              </a:solidFill>
              <a:ea typeface="微软雅黑" pitchFamily="34" charset="-122"/>
            </a:endParaRPr>
          </a:p>
        </p:txBody>
      </p:sp>
      <p:cxnSp>
        <p:nvCxnSpPr>
          <p:cNvPr id="65" name="1025903230"/>
          <p:cNvCxnSpPr/>
          <p:nvPr/>
        </p:nvCxnSpPr>
        <p:spPr bwMode="auto">
          <a:xfrm flipV="1">
            <a:off x="4430464" y="3197206"/>
            <a:ext cx="3143" cy="146266"/>
          </a:xfrm>
          <a:prstGeom prst="line">
            <a:avLst/>
          </a:prstGeom>
          <a:noFill/>
          <a:ln w="19050">
            <a:solidFill>
              <a:srgbClr val="4E6C8A"/>
            </a:solidFill>
            <a:round/>
            <a:headEnd/>
            <a:tailEnd/>
          </a:ln>
          <a:effectLst/>
        </p:spPr>
      </p:cxnSp>
      <p:grpSp>
        <p:nvGrpSpPr>
          <p:cNvPr id="54" name="组合 53"/>
          <p:cNvGrpSpPr/>
          <p:nvPr/>
        </p:nvGrpSpPr>
        <p:grpSpPr>
          <a:xfrm>
            <a:off x="2554647" y="3554799"/>
            <a:ext cx="545160" cy="467284"/>
            <a:chOff x="15801975" y="3559175"/>
            <a:chExt cx="766763" cy="669926"/>
          </a:xfrm>
          <a:solidFill>
            <a:schemeClr val="tx1"/>
          </a:solidFill>
        </p:grpSpPr>
        <p:sp>
          <p:nvSpPr>
            <p:cNvPr id="55" name="Freeform 786"/>
            <p:cNvSpPr>
              <a:spLocks/>
            </p:cNvSpPr>
            <p:nvPr/>
          </p:nvSpPr>
          <p:spPr bwMode="auto">
            <a:xfrm>
              <a:off x="16327438" y="3724275"/>
              <a:ext cx="150813" cy="198438"/>
            </a:xfrm>
            <a:custGeom>
              <a:avLst/>
              <a:gdLst/>
              <a:ahLst/>
              <a:cxnLst>
                <a:cxn ang="0">
                  <a:pos x="95" y="125"/>
                </a:cxn>
                <a:cxn ang="0">
                  <a:pos x="85" y="108"/>
                </a:cxn>
                <a:cxn ang="0">
                  <a:pos x="87" y="108"/>
                </a:cxn>
                <a:cxn ang="0">
                  <a:pos x="87" y="8"/>
                </a:cxn>
                <a:cxn ang="0">
                  <a:pos x="9" y="8"/>
                </a:cxn>
                <a:cxn ang="0">
                  <a:pos x="11" y="54"/>
                </a:cxn>
                <a:cxn ang="0">
                  <a:pos x="9" y="54"/>
                </a:cxn>
                <a:cxn ang="0">
                  <a:pos x="9" y="59"/>
                </a:cxn>
                <a:cxn ang="0">
                  <a:pos x="8" y="59"/>
                </a:cxn>
                <a:cxn ang="0">
                  <a:pos x="3" y="59"/>
                </a:cxn>
                <a:cxn ang="0">
                  <a:pos x="1" y="56"/>
                </a:cxn>
                <a:cxn ang="0">
                  <a:pos x="0" y="0"/>
                </a:cxn>
                <a:cxn ang="0">
                  <a:pos x="95" y="0"/>
                </a:cxn>
                <a:cxn ang="0">
                  <a:pos x="95" y="125"/>
                </a:cxn>
              </a:cxnLst>
              <a:rect l="0" t="0" r="r" b="b"/>
              <a:pathLst>
                <a:path w="95" h="125">
                  <a:moveTo>
                    <a:pt x="95" y="125"/>
                  </a:moveTo>
                  <a:lnTo>
                    <a:pt x="85" y="108"/>
                  </a:lnTo>
                  <a:lnTo>
                    <a:pt x="87" y="108"/>
                  </a:lnTo>
                  <a:lnTo>
                    <a:pt x="87" y="8"/>
                  </a:lnTo>
                  <a:lnTo>
                    <a:pt x="9" y="8"/>
                  </a:lnTo>
                  <a:lnTo>
                    <a:pt x="11" y="54"/>
                  </a:lnTo>
                  <a:lnTo>
                    <a:pt x="9" y="54"/>
                  </a:lnTo>
                  <a:lnTo>
                    <a:pt x="9" y="59"/>
                  </a:lnTo>
                  <a:lnTo>
                    <a:pt x="8" y="59"/>
                  </a:lnTo>
                  <a:lnTo>
                    <a:pt x="3" y="59"/>
                  </a:lnTo>
                  <a:lnTo>
                    <a:pt x="1" y="56"/>
                  </a:lnTo>
                  <a:lnTo>
                    <a:pt x="0" y="0"/>
                  </a:lnTo>
                  <a:lnTo>
                    <a:pt x="95" y="0"/>
                  </a:lnTo>
                  <a:lnTo>
                    <a:pt x="95" y="125"/>
                  </a:lnTo>
                  <a:close/>
                </a:path>
              </a:pathLst>
            </a:custGeom>
            <a:grpFill/>
            <a:ln w="3175">
              <a:solidFill>
                <a:schemeClr val="tx1"/>
              </a:solidFill>
              <a:round/>
              <a:headEnd/>
              <a:tailEnd/>
            </a:ln>
          </p:spPr>
          <p:txBody>
            <a:bodyPr vert="horz" wrap="square" lIns="91416" tIns="45708" rIns="91416" bIns="45708" numCol="1" anchor="t" anchorCtr="0" compatLnSpc="1">
              <a:prstTxWarp prst="textNoShape">
                <a:avLst/>
              </a:prstTxWarp>
            </a:bodyPr>
            <a:lstStyle/>
            <a:p>
              <a:endParaRPr lang="zh-CN" altLang="en-US" sz="1799"/>
            </a:p>
          </p:txBody>
        </p:sp>
        <p:sp>
          <p:nvSpPr>
            <p:cNvPr id="56" name="Rectangle 787"/>
            <p:cNvSpPr>
              <a:spLocks noChangeArrowheads="1"/>
            </p:cNvSpPr>
            <p:nvPr/>
          </p:nvSpPr>
          <p:spPr bwMode="auto">
            <a:xfrm>
              <a:off x="16238538" y="3559175"/>
              <a:ext cx="330200" cy="12700"/>
            </a:xfrm>
            <a:prstGeom prst="rect">
              <a:avLst/>
            </a:prstGeom>
            <a:grpFill/>
            <a:ln w="3175">
              <a:solidFill>
                <a:schemeClr val="tx1"/>
              </a:solidFill>
              <a:miter lim="800000"/>
              <a:headEnd/>
              <a:tailEnd/>
            </a:ln>
          </p:spPr>
          <p:txBody>
            <a:bodyPr vert="horz" wrap="square" lIns="91416" tIns="45708" rIns="91416" bIns="45708" numCol="1" anchor="t" anchorCtr="0" compatLnSpc="1">
              <a:prstTxWarp prst="textNoShape">
                <a:avLst/>
              </a:prstTxWarp>
            </a:bodyPr>
            <a:lstStyle/>
            <a:p>
              <a:endParaRPr lang="zh-CN" altLang="en-US" sz="1799"/>
            </a:p>
          </p:txBody>
        </p:sp>
        <p:sp>
          <p:nvSpPr>
            <p:cNvPr id="57" name="Freeform 788"/>
            <p:cNvSpPr>
              <a:spLocks/>
            </p:cNvSpPr>
            <p:nvPr/>
          </p:nvSpPr>
          <p:spPr bwMode="auto">
            <a:xfrm>
              <a:off x="15925800" y="3927475"/>
              <a:ext cx="247650" cy="296863"/>
            </a:xfrm>
            <a:custGeom>
              <a:avLst/>
              <a:gdLst/>
              <a:ahLst/>
              <a:cxnLst>
                <a:cxn ang="0">
                  <a:pos x="88" y="187"/>
                </a:cxn>
                <a:cxn ang="0">
                  <a:pos x="82" y="187"/>
                </a:cxn>
                <a:cxn ang="0">
                  <a:pos x="75" y="186"/>
                </a:cxn>
                <a:cxn ang="0">
                  <a:pos x="70" y="184"/>
                </a:cxn>
                <a:cxn ang="0">
                  <a:pos x="64" y="181"/>
                </a:cxn>
                <a:cxn ang="0">
                  <a:pos x="55" y="174"/>
                </a:cxn>
                <a:cxn ang="0">
                  <a:pos x="46" y="166"/>
                </a:cxn>
                <a:cxn ang="0">
                  <a:pos x="36" y="154"/>
                </a:cxn>
                <a:cxn ang="0">
                  <a:pos x="26" y="143"/>
                </a:cxn>
                <a:cxn ang="0">
                  <a:pos x="16" y="128"/>
                </a:cxn>
                <a:cxn ang="0">
                  <a:pos x="9" y="112"/>
                </a:cxn>
                <a:cxn ang="0">
                  <a:pos x="4" y="98"/>
                </a:cxn>
                <a:cxn ang="0">
                  <a:pos x="1" y="82"/>
                </a:cxn>
                <a:cxn ang="0">
                  <a:pos x="0" y="51"/>
                </a:cxn>
                <a:cxn ang="0">
                  <a:pos x="3" y="13"/>
                </a:cxn>
                <a:cxn ang="0">
                  <a:pos x="9" y="0"/>
                </a:cxn>
                <a:cxn ang="0">
                  <a:pos x="18" y="3"/>
                </a:cxn>
                <a:cxn ang="0">
                  <a:pos x="9" y="20"/>
                </a:cxn>
                <a:cxn ang="0">
                  <a:pos x="8" y="36"/>
                </a:cxn>
                <a:cxn ang="0">
                  <a:pos x="8" y="51"/>
                </a:cxn>
                <a:cxn ang="0">
                  <a:pos x="9" y="77"/>
                </a:cxn>
                <a:cxn ang="0">
                  <a:pos x="11" y="92"/>
                </a:cxn>
                <a:cxn ang="0">
                  <a:pos x="16" y="105"/>
                </a:cxn>
                <a:cxn ang="0">
                  <a:pos x="21" y="118"/>
                </a:cxn>
                <a:cxn ang="0">
                  <a:pos x="27" y="130"/>
                </a:cxn>
                <a:cxn ang="0">
                  <a:pos x="36" y="141"/>
                </a:cxn>
                <a:cxn ang="0">
                  <a:pos x="46" y="154"/>
                </a:cxn>
                <a:cxn ang="0">
                  <a:pos x="59" y="166"/>
                </a:cxn>
                <a:cxn ang="0">
                  <a:pos x="69" y="172"/>
                </a:cxn>
                <a:cxn ang="0">
                  <a:pos x="73" y="176"/>
                </a:cxn>
                <a:cxn ang="0">
                  <a:pos x="78" y="177"/>
                </a:cxn>
                <a:cxn ang="0">
                  <a:pos x="83" y="179"/>
                </a:cxn>
                <a:cxn ang="0">
                  <a:pos x="88" y="179"/>
                </a:cxn>
                <a:cxn ang="0">
                  <a:pos x="96" y="179"/>
                </a:cxn>
                <a:cxn ang="0">
                  <a:pos x="105" y="176"/>
                </a:cxn>
                <a:cxn ang="0">
                  <a:pos x="115" y="172"/>
                </a:cxn>
                <a:cxn ang="0">
                  <a:pos x="123" y="166"/>
                </a:cxn>
                <a:cxn ang="0">
                  <a:pos x="131" y="159"/>
                </a:cxn>
                <a:cxn ang="0">
                  <a:pos x="138" y="153"/>
                </a:cxn>
                <a:cxn ang="0">
                  <a:pos x="141" y="148"/>
                </a:cxn>
                <a:cxn ang="0">
                  <a:pos x="144" y="140"/>
                </a:cxn>
                <a:cxn ang="0">
                  <a:pos x="146" y="123"/>
                </a:cxn>
                <a:cxn ang="0">
                  <a:pos x="147" y="107"/>
                </a:cxn>
                <a:cxn ang="0">
                  <a:pos x="147" y="94"/>
                </a:cxn>
                <a:cxn ang="0">
                  <a:pos x="151" y="94"/>
                </a:cxn>
                <a:cxn ang="0">
                  <a:pos x="156" y="92"/>
                </a:cxn>
                <a:cxn ang="0">
                  <a:pos x="156" y="107"/>
                </a:cxn>
                <a:cxn ang="0">
                  <a:pos x="156" y="125"/>
                </a:cxn>
                <a:cxn ang="0">
                  <a:pos x="152" y="141"/>
                </a:cxn>
                <a:cxn ang="0">
                  <a:pos x="149" y="149"/>
                </a:cxn>
                <a:cxn ang="0">
                  <a:pos x="146" y="156"/>
                </a:cxn>
                <a:cxn ang="0">
                  <a:pos x="139" y="164"/>
                </a:cxn>
                <a:cxn ang="0">
                  <a:pos x="131" y="172"/>
                </a:cxn>
                <a:cxn ang="0">
                  <a:pos x="123" y="177"/>
                </a:cxn>
                <a:cxn ang="0">
                  <a:pos x="115" y="181"/>
                </a:cxn>
                <a:cxn ang="0">
                  <a:pos x="106" y="184"/>
                </a:cxn>
                <a:cxn ang="0">
                  <a:pos x="98" y="187"/>
                </a:cxn>
                <a:cxn ang="0">
                  <a:pos x="88" y="187"/>
                </a:cxn>
              </a:cxnLst>
              <a:rect l="0" t="0" r="r" b="b"/>
              <a:pathLst>
                <a:path w="156" h="187">
                  <a:moveTo>
                    <a:pt x="88" y="187"/>
                  </a:moveTo>
                  <a:lnTo>
                    <a:pt x="82" y="187"/>
                  </a:lnTo>
                  <a:lnTo>
                    <a:pt x="75" y="186"/>
                  </a:lnTo>
                  <a:lnTo>
                    <a:pt x="70" y="184"/>
                  </a:lnTo>
                  <a:lnTo>
                    <a:pt x="64" y="181"/>
                  </a:lnTo>
                  <a:lnTo>
                    <a:pt x="55" y="174"/>
                  </a:lnTo>
                  <a:lnTo>
                    <a:pt x="46" y="166"/>
                  </a:lnTo>
                  <a:lnTo>
                    <a:pt x="36" y="154"/>
                  </a:lnTo>
                  <a:lnTo>
                    <a:pt x="26" y="143"/>
                  </a:lnTo>
                  <a:lnTo>
                    <a:pt x="16" y="128"/>
                  </a:lnTo>
                  <a:lnTo>
                    <a:pt x="9" y="112"/>
                  </a:lnTo>
                  <a:lnTo>
                    <a:pt x="4" y="98"/>
                  </a:lnTo>
                  <a:lnTo>
                    <a:pt x="1" y="82"/>
                  </a:lnTo>
                  <a:lnTo>
                    <a:pt x="0" y="51"/>
                  </a:lnTo>
                  <a:lnTo>
                    <a:pt x="3" y="13"/>
                  </a:lnTo>
                  <a:lnTo>
                    <a:pt x="9" y="0"/>
                  </a:lnTo>
                  <a:lnTo>
                    <a:pt x="18" y="3"/>
                  </a:lnTo>
                  <a:lnTo>
                    <a:pt x="9" y="20"/>
                  </a:lnTo>
                  <a:lnTo>
                    <a:pt x="8" y="36"/>
                  </a:lnTo>
                  <a:lnTo>
                    <a:pt x="8" y="51"/>
                  </a:lnTo>
                  <a:lnTo>
                    <a:pt x="9" y="77"/>
                  </a:lnTo>
                  <a:lnTo>
                    <a:pt x="11" y="92"/>
                  </a:lnTo>
                  <a:lnTo>
                    <a:pt x="16" y="105"/>
                  </a:lnTo>
                  <a:lnTo>
                    <a:pt x="21" y="118"/>
                  </a:lnTo>
                  <a:lnTo>
                    <a:pt x="27" y="130"/>
                  </a:lnTo>
                  <a:lnTo>
                    <a:pt x="36" y="141"/>
                  </a:lnTo>
                  <a:lnTo>
                    <a:pt x="46" y="154"/>
                  </a:lnTo>
                  <a:lnTo>
                    <a:pt x="59" y="166"/>
                  </a:lnTo>
                  <a:lnTo>
                    <a:pt x="69" y="172"/>
                  </a:lnTo>
                  <a:lnTo>
                    <a:pt x="73" y="176"/>
                  </a:lnTo>
                  <a:lnTo>
                    <a:pt x="78" y="177"/>
                  </a:lnTo>
                  <a:lnTo>
                    <a:pt x="83" y="179"/>
                  </a:lnTo>
                  <a:lnTo>
                    <a:pt x="88" y="179"/>
                  </a:lnTo>
                  <a:lnTo>
                    <a:pt x="96" y="179"/>
                  </a:lnTo>
                  <a:lnTo>
                    <a:pt x="105" y="176"/>
                  </a:lnTo>
                  <a:lnTo>
                    <a:pt x="115" y="172"/>
                  </a:lnTo>
                  <a:lnTo>
                    <a:pt x="123" y="166"/>
                  </a:lnTo>
                  <a:lnTo>
                    <a:pt x="131" y="159"/>
                  </a:lnTo>
                  <a:lnTo>
                    <a:pt x="138" y="153"/>
                  </a:lnTo>
                  <a:lnTo>
                    <a:pt x="141" y="148"/>
                  </a:lnTo>
                  <a:lnTo>
                    <a:pt x="144" y="140"/>
                  </a:lnTo>
                  <a:lnTo>
                    <a:pt x="146" y="123"/>
                  </a:lnTo>
                  <a:lnTo>
                    <a:pt x="147" y="107"/>
                  </a:lnTo>
                  <a:lnTo>
                    <a:pt x="147" y="94"/>
                  </a:lnTo>
                  <a:lnTo>
                    <a:pt x="151" y="94"/>
                  </a:lnTo>
                  <a:lnTo>
                    <a:pt x="156" y="92"/>
                  </a:lnTo>
                  <a:lnTo>
                    <a:pt x="156" y="107"/>
                  </a:lnTo>
                  <a:lnTo>
                    <a:pt x="156" y="125"/>
                  </a:lnTo>
                  <a:lnTo>
                    <a:pt x="152" y="141"/>
                  </a:lnTo>
                  <a:lnTo>
                    <a:pt x="149" y="149"/>
                  </a:lnTo>
                  <a:lnTo>
                    <a:pt x="146" y="156"/>
                  </a:lnTo>
                  <a:lnTo>
                    <a:pt x="139" y="164"/>
                  </a:lnTo>
                  <a:lnTo>
                    <a:pt x="131" y="172"/>
                  </a:lnTo>
                  <a:lnTo>
                    <a:pt x="123" y="177"/>
                  </a:lnTo>
                  <a:lnTo>
                    <a:pt x="115" y="181"/>
                  </a:lnTo>
                  <a:lnTo>
                    <a:pt x="106" y="184"/>
                  </a:lnTo>
                  <a:lnTo>
                    <a:pt x="98" y="187"/>
                  </a:lnTo>
                  <a:lnTo>
                    <a:pt x="88" y="187"/>
                  </a:lnTo>
                  <a:close/>
                </a:path>
              </a:pathLst>
            </a:custGeom>
            <a:grpFill/>
            <a:ln w="3175">
              <a:solidFill>
                <a:schemeClr val="tx1"/>
              </a:solidFill>
              <a:round/>
              <a:headEnd/>
              <a:tailEnd/>
            </a:ln>
          </p:spPr>
          <p:txBody>
            <a:bodyPr vert="horz" wrap="square" lIns="91416" tIns="45708" rIns="91416" bIns="45708" numCol="1" anchor="t" anchorCtr="0" compatLnSpc="1">
              <a:prstTxWarp prst="textNoShape">
                <a:avLst/>
              </a:prstTxWarp>
            </a:bodyPr>
            <a:lstStyle/>
            <a:p>
              <a:endParaRPr lang="zh-CN" altLang="en-US" sz="1799"/>
            </a:p>
          </p:txBody>
        </p:sp>
        <p:sp>
          <p:nvSpPr>
            <p:cNvPr id="58" name="Freeform 789"/>
            <p:cNvSpPr>
              <a:spLocks noEditPoints="1"/>
            </p:cNvSpPr>
            <p:nvPr/>
          </p:nvSpPr>
          <p:spPr bwMode="auto">
            <a:xfrm>
              <a:off x="15801975" y="3940175"/>
              <a:ext cx="128588" cy="187325"/>
            </a:xfrm>
            <a:custGeom>
              <a:avLst/>
              <a:gdLst/>
              <a:ahLst/>
              <a:cxnLst>
                <a:cxn ang="0">
                  <a:pos x="81" y="118"/>
                </a:cxn>
                <a:cxn ang="0">
                  <a:pos x="58" y="109"/>
                </a:cxn>
                <a:cxn ang="0">
                  <a:pos x="41" y="99"/>
                </a:cxn>
                <a:cxn ang="0">
                  <a:pos x="28" y="90"/>
                </a:cxn>
                <a:cxn ang="0">
                  <a:pos x="22" y="84"/>
                </a:cxn>
                <a:cxn ang="0">
                  <a:pos x="15" y="76"/>
                </a:cxn>
                <a:cxn ang="0">
                  <a:pos x="10" y="67"/>
                </a:cxn>
                <a:cxn ang="0">
                  <a:pos x="5" y="54"/>
                </a:cxn>
                <a:cxn ang="0">
                  <a:pos x="2" y="43"/>
                </a:cxn>
                <a:cxn ang="0">
                  <a:pos x="0" y="36"/>
                </a:cxn>
                <a:cxn ang="0">
                  <a:pos x="0" y="31"/>
                </a:cxn>
                <a:cxn ang="0">
                  <a:pos x="0" y="23"/>
                </a:cxn>
                <a:cxn ang="0">
                  <a:pos x="2" y="18"/>
                </a:cxn>
                <a:cxn ang="0">
                  <a:pos x="4" y="15"/>
                </a:cxn>
                <a:cxn ang="0">
                  <a:pos x="7" y="10"/>
                </a:cxn>
                <a:cxn ang="0">
                  <a:pos x="10" y="7"/>
                </a:cxn>
                <a:cxn ang="0">
                  <a:pos x="15" y="5"/>
                </a:cxn>
                <a:cxn ang="0">
                  <a:pos x="22" y="3"/>
                </a:cxn>
                <a:cxn ang="0">
                  <a:pos x="28" y="2"/>
                </a:cxn>
                <a:cxn ang="0">
                  <a:pos x="50" y="0"/>
                </a:cxn>
                <a:cxn ang="0">
                  <a:pos x="73" y="3"/>
                </a:cxn>
                <a:cxn ang="0">
                  <a:pos x="76" y="3"/>
                </a:cxn>
                <a:cxn ang="0">
                  <a:pos x="81" y="5"/>
                </a:cxn>
                <a:cxn ang="0">
                  <a:pos x="78" y="10"/>
                </a:cxn>
                <a:cxn ang="0">
                  <a:pos x="74" y="8"/>
                </a:cxn>
                <a:cxn ang="0">
                  <a:pos x="74" y="8"/>
                </a:cxn>
                <a:cxn ang="0">
                  <a:pos x="78" y="10"/>
                </a:cxn>
                <a:cxn ang="0">
                  <a:pos x="71" y="23"/>
                </a:cxn>
                <a:cxn ang="0">
                  <a:pos x="68" y="33"/>
                </a:cxn>
                <a:cxn ang="0">
                  <a:pos x="66" y="49"/>
                </a:cxn>
                <a:cxn ang="0">
                  <a:pos x="66" y="54"/>
                </a:cxn>
                <a:cxn ang="0">
                  <a:pos x="68" y="69"/>
                </a:cxn>
                <a:cxn ang="0">
                  <a:pos x="76" y="104"/>
                </a:cxn>
                <a:cxn ang="0">
                  <a:pos x="81" y="118"/>
                </a:cxn>
                <a:cxn ang="0">
                  <a:pos x="50" y="8"/>
                </a:cxn>
                <a:cxn ang="0">
                  <a:pos x="28" y="10"/>
                </a:cxn>
                <a:cxn ang="0">
                  <a:pos x="23" y="12"/>
                </a:cxn>
                <a:cxn ang="0">
                  <a:pos x="17" y="13"/>
                </a:cxn>
                <a:cxn ang="0">
                  <a:pos x="13" y="17"/>
                </a:cxn>
                <a:cxn ang="0">
                  <a:pos x="10" y="20"/>
                </a:cxn>
                <a:cxn ang="0">
                  <a:pos x="9" y="25"/>
                </a:cxn>
                <a:cxn ang="0">
                  <a:pos x="9" y="31"/>
                </a:cxn>
                <a:cxn ang="0">
                  <a:pos x="9" y="36"/>
                </a:cxn>
                <a:cxn ang="0">
                  <a:pos x="12" y="46"/>
                </a:cxn>
                <a:cxn ang="0">
                  <a:pos x="17" y="59"/>
                </a:cxn>
                <a:cxn ang="0">
                  <a:pos x="22" y="69"/>
                </a:cxn>
                <a:cxn ang="0">
                  <a:pos x="27" y="76"/>
                </a:cxn>
                <a:cxn ang="0">
                  <a:pos x="32" y="82"/>
                </a:cxn>
                <a:cxn ang="0">
                  <a:pos x="43" y="90"/>
                </a:cxn>
                <a:cxn ang="0">
                  <a:pos x="63" y="102"/>
                </a:cxn>
                <a:cxn ang="0">
                  <a:pos x="66" y="104"/>
                </a:cxn>
                <a:cxn ang="0">
                  <a:pos x="58" y="71"/>
                </a:cxn>
                <a:cxn ang="0">
                  <a:pos x="58" y="56"/>
                </a:cxn>
                <a:cxn ang="0">
                  <a:pos x="58" y="54"/>
                </a:cxn>
                <a:cxn ang="0">
                  <a:pos x="58" y="41"/>
                </a:cxn>
                <a:cxn ang="0">
                  <a:pos x="63" y="21"/>
                </a:cxn>
                <a:cxn ang="0">
                  <a:pos x="68" y="10"/>
                </a:cxn>
                <a:cxn ang="0">
                  <a:pos x="56" y="8"/>
                </a:cxn>
                <a:cxn ang="0">
                  <a:pos x="50" y="8"/>
                </a:cxn>
              </a:cxnLst>
              <a:rect l="0" t="0" r="r" b="b"/>
              <a:pathLst>
                <a:path w="81" h="118">
                  <a:moveTo>
                    <a:pt x="81" y="118"/>
                  </a:moveTo>
                  <a:lnTo>
                    <a:pt x="58" y="109"/>
                  </a:lnTo>
                  <a:lnTo>
                    <a:pt x="41" y="99"/>
                  </a:lnTo>
                  <a:lnTo>
                    <a:pt x="28" y="90"/>
                  </a:lnTo>
                  <a:lnTo>
                    <a:pt x="22" y="84"/>
                  </a:lnTo>
                  <a:lnTo>
                    <a:pt x="15" y="76"/>
                  </a:lnTo>
                  <a:lnTo>
                    <a:pt x="10" y="67"/>
                  </a:lnTo>
                  <a:lnTo>
                    <a:pt x="5" y="54"/>
                  </a:lnTo>
                  <a:lnTo>
                    <a:pt x="2" y="43"/>
                  </a:lnTo>
                  <a:lnTo>
                    <a:pt x="0" y="36"/>
                  </a:lnTo>
                  <a:lnTo>
                    <a:pt x="0" y="31"/>
                  </a:lnTo>
                  <a:lnTo>
                    <a:pt x="0" y="23"/>
                  </a:lnTo>
                  <a:lnTo>
                    <a:pt x="2" y="18"/>
                  </a:lnTo>
                  <a:lnTo>
                    <a:pt x="4" y="15"/>
                  </a:lnTo>
                  <a:lnTo>
                    <a:pt x="7" y="10"/>
                  </a:lnTo>
                  <a:lnTo>
                    <a:pt x="10" y="7"/>
                  </a:lnTo>
                  <a:lnTo>
                    <a:pt x="15" y="5"/>
                  </a:lnTo>
                  <a:lnTo>
                    <a:pt x="22" y="3"/>
                  </a:lnTo>
                  <a:lnTo>
                    <a:pt x="28" y="2"/>
                  </a:lnTo>
                  <a:lnTo>
                    <a:pt x="50" y="0"/>
                  </a:lnTo>
                  <a:lnTo>
                    <a:pt x="73" y="3"/>
                  </a:lnTo>
                  <a:lnTo>
                    <a:pt x="76" y="3"/>
                  </a:lnTo>
                  <a:lnTo>
                    <a:pt x="81" y="5"/>
                  </a:lnTo>
                  <a:lnTo>
                    <a:pt x="78" y="10"/>
                  </a:lnTo>
                  <a:lnTo>
                    <a:pt x="74" y="8"/>
                  </a:lnTo>
                  <a:lnTo>
                    <a:pt x="74" y="8"/>
                  </a:lnTo>
                  <a:lnTo>
                    <a:pt x="78" y="10"/>
                  </a:lnTo>
                  <a:lnTo>
                    <a:pt x="71" y="23"/>
                  </a:lnTo>
                  <a:lnTo>
                    <a:pt x="68" y="33"/>
                  </a:lnTo>
                  <a:lnTo>
                    <a:pt x="66" y="49"/>
                  </a:lnTo>
                  <a:lnTo>
                    <a:pt x="66" y="54"/>
                  </a:lnTo>
                  <a:lnTo>
                    <a:pt x="68" y="69"/>
                  </a:lnTo>
                  <a:lnTo>
                    <a:pt x="76" y="104"/>
                  </a:lnTo>
                  <a:lnTo>
                    <a:pt x="81" y="118"/>
                  </a:lnTo>
                  <a:close/>
                  <a:moveTo>
                    <a:pt x="50" y="8"/>
                  </a:moveTo>
                  <a:lnTo>
                    <a:pt x="28" y="10"/>
                  </a:lnTo>
                  <a:lnTo>
                    <a:pt x="23" y="12"/>
                  </a:lnTo>
                  <a:lnTo>
                    <a:pt x="17" y="13"/>
                  </a:lnTo>
                  <a:lnTo>
                    <a:pt x="13" y="17"/>
                  </a:lnTo>
                  <a:lnTo>
                    <a:pt x="10" y="20"/>
                  </a:lnTo>
                  <a:lnTo>
                    <a:pt x="9" y="25"/>
                  </a:lnTo>
                  <a:lnTo>
                    <a:pt x="9" y="31"/>
                  </a:lnTo>
                  <a:lnTo>
                    <a:pt x="9" y="36"/>
                  </a:lnTo>
                  <a:lnTo>
                    <a:pt x="12" y="46"/>
                  </a:lnTo>
                  <a:lnTo>
                    <a:pt x="17" y="59"/>
                  </a:lnTo>
                  <a:lnTo>
                    <a:pt x="22" y="69"/>
                  </a:lnTo>
                  <a:lnTo>
                    <a:pt x="27" y="76"/>
                  </a:lnTo>
                  <a:lnTo>
                    <a:pt x="32" y="82"/>
                  </a:lnTo>
                  <a:lnTo>
                    <a:pt x="43" y="90"/>
                  </a:lnTo>
                  <a:lnTo>
                    <a:pt x="63" y="102"/>
                  </a:lnTo>
                  <a:lnTo>
                    <a:pt x="66" y="104"/>
                  </a:lnTo>
                  <a:lnTo>
                    <a:pt x="58" y="71"/>
                  </a:lnTo>
                  <a:lnTo>
                    <a:pt x="58" y="56"/>
                  </a:lnTo>
                  <a:lnTo>
                    <a:pt x="58" y="54"/>
                  </a:lnTo>
                  <a:lnTo>
                    <a:pt x="58" y="41"/>
                  </a:lnTo>
                  <a:lnTo>
                    <a:pt x="63" y="21"/>
                  </a:lnTo>
                  <a:lnTo>
                    <a:pt x="68" y="10"/>
                  </a:lnTo>
                  <a:lnTo>
                    <a:pt x="56" y="8"/>
                  </a:lnTo>
                  <a:lnTo>
                    <a:pt x="50" y="8"/>
                  </a:lnTo>
                  <a:close/>
                </a:path>
              </a:pathLst>
            </a:custGeom>
            <a:grpFill/>
            <a:ln w="3175">
              <a:solidFill>
                <a:schemeClr val="tx1"/>
              </a:solidFill>
              <a:round/>
              <a:headEnd/>
              <a:tailEnd/>
            </a:ln>
          </p:spPr>
          <p:txBody>
            <a:bodyPr vert="horz" wrap="square" lIns="91416" tIns="45708" rIns="91416" bIns="45708" numCol="1" anchor="t" anchorCtr="0" compatLnSpc="1">
              <a:prstTxWarp prst="textNoShape">
                <a:avLst/>
              </a:prstTxWarp>
            </a:bodyPr>
            <a:lstStyle/>
            <a:p>
              <a:endParaRPr lang="zh-CN" altLang="en-US" sz="1799"/>
            </a:p>
          </p:txBody>
        </p:sp>
        <p:sp>
          <p:nvSpPr>
            <p:cNvPr id="59" name="Freeform 790"/>
            <p:cNvSpPr>
              <a:spLocks noEditPoints="1"/>
            </p:cNvSpPr>
            <p:nvPr/>
          </p:nvSpPr>
          <p:spPr bwMode="auto">
            <a:xfrm>
              <a:off x="15825794" y="3798888"/>
              <a:ext cx="668339" cy="307975"/>
            </a:xfrm>
            <a:custGeom>
              <a:avLst/>
              <a:gdLst/>
              <a:ahLst/>
              <a:cxnLst>
                <a:cxn ang="0">
                  <a:pos x="253" y="193"/>
                </a:cxn>
                <a:cxn ang="0">
                  <a:pos x="238" y="189"/>
                </a:cxn>
                <a:cxn ang="0">
                  <a:pos x="209" y="175"/>
                </a:cxn>
                <a:cxn ang="0">
                  <a:pos x="125" y="114"/>
                </a:cxn>
                <a:cxn ang="0">
                  <a:pos x="100" y="101"/>
                </a:cxn>
                <a:cxn ang="0">
                  <a:pos x="63" y="86"/>
                </a:cxn>
                <a:cxn ang="0">
                  <a:pos x="0" y="74"/>
                </a:cxn>
                <a:cxn ang="0">
                  <a:pos x="306" y="0"/>
                </a:cxn>
                <a:cxn ang="0">
                  <a:pos x="343" y="5"/>
                </a:cxn>
                <a:cxn ang="0">
                  <a:pos x="366" y="18"/>
                </a:cxn>
                <a:cxn ang="0">
                  <a:pos x="394" y="45"/>
                </a:cxn>
                <a:cxn ang="0">
                  <a:pos x="404" y="58"/>
                </a:cxn>
                <a:cxn ang="0">
                  <a:pos x="412" y="76"/>
                </a:cxn>
                <a:cxn ang="0">
                  <a:pos x="417" y="96"/>
                </a:cxn>
                <a:cxn ang="0">
                  <a:pos x="421" y="127"/>
                </a:cxn>
                <a:cxn ang="0">
                  <a:pos x="419" y="160"/>
                </a:cxn>
                <a:cxn ang="0">
                  <a:pos x="271" y="194"/>
                </a:cxn>
                <a:cxn ang="0">
                  <a:pos x="66" y="78"/>
                </a:cxn>
                <a:cxn ang="0">
                  <a:pos x="105" y="92"/>
                </a:cxn>
                <a:cxn ang="0">
                  <a:pos x="135" y="109"/>
                </a:cxn>
                <a:cxn ang="0">
                  <a:pos x="233" y="178"/>
                </a:cxn>
                <a:cxn ang="0">
                  <a:pos x="253" y="184"/>
                </a:cxn>
                <a:cxn ang="0">
                  <a:pos x="304" y="181"/>
                </a:cxn>
                <a:cxn ang="0">
                  <a:pos x="412" y="153"/>
                </a:cxn>
                <a:cxn ang="0">
                  <a:pos x="412" y="119"/>
                </a:cxn>
                <a:cxn ang="0">
                  <a:pos x="409" y="92"/>
                </a:cxn>
                <a:cxn ang="0">
                  <a:pos x="403" y="74"/>
                </a:cxn>
                <a:cxn ang="0">
                  <a:pos x="394" y="58"/>
                </a:cxn>
                <a:cxn ang="0">
                  <a:pos x="385" y="46"/>
                </a:cxn>
                <a:cxn ang="0">
                  <a:pos x="347" y="17"/>
                </a:cxn>
                <a:cxn ang="0">
                  <a:pos x="311" y="9"/>
                </a:cxn>
                <a:cxn ang="0">
                  <a:pos x="286" y="9"/>
                </a:cxn>
                <a:cxn ang="0">
                  <a:pos x="227" y="22"/>
                </a:cxn>
              </a:cxnLst>
              <a:rect l="0" t="0" r="r" b="b"/>
              <a:pathLst>
                <a:path w="421" h="194">
                  <a:moveTo>
                    <a:pt x="271" y="194"/>
                  </a:moveTo>
                  <a:lnTo>
                    <a:pt x="253" y="193"/>
                  </a:lnTo>
                  <a:lnTo>
                    <a:pt x="248" y="193"/>
                  </a:lnTo>
                  <a:lnTo>
                    <a:pt x="238" y="189"/>
                  </a:lnTo>
                  <a:lnTo>
                    <a:pt x="227" y="184"/>
                  </a:lnTo>
                  <a:lnTo>
                    <a:pt x="209" y="175"/>
                  </a:lnTo>
                  <a:lnTo>
                    <a:pt x="182" y="156"/>
                  </a:lnTo>
                  <a:lnTo>
                    <a:pt x="125" y="114"/>
                  </a:lnTo>
                  <a:lnTo>
                    <a:pt x="115" y="107"/>
                  </a:lnTo>
                  <a:lnTo>
                    <a:pt x="100" y="101"/>
                  </a:lnTo>
                  <a:lnTo>
                    <a:pt x="86" y="94"/>
                  </a:lnTo>
                  <a:lnTo>
                    <a:pt x="63" y="86"/>
                  </a:lnTo>
                  <a:lnTo>
                    <a:pt x="23" y="76"/>
                  </a:lnTo>
                  <a:lnTo>
                    <a:pt x="0" y="74"/>
                  </a:lnTo>
                  <a:lnTo>
                    <a:pt x="276" y="2"/>
                  </a:lnTo>
                  <a:lnTo>
                    <a:pt x="306" y="0"/>
                  </a:lnTo>
                  <a:lnTo>
                    <a:pt x="320" y="0"/>
                  </a:lnTo>
                  <a:lnTo>
                    <a:pt x="343" y="5"/>
                  </a:lnTo>
                  <a:lnTo>
                    <a:pt x="353" y="10"/>
                  </a:lnTo>
                  <a:lnTo>
                    <a:pt x="366" y="18"/>
                  </a:lnTo>
                  <a:lnTo>
                    <a:pt x="385" y="35"/>
                  </a:lnTo>
                  <a:lnTo>
                    <a:pt x="394" y="45"/>
                  </a:lnTo>
                  <a:lnTo>
                    <a:pt x="398" y="48"/>
                  </a:lnTo>
                  <a:lnTo>
                    <a:pt x="404" y="58"/>
                  </a:lnTo>
                  <a:lnTo>
                    <a:pt x="409" y="66"/>
                  </a:lnTo>
                  <a:lnTo>
                    <a:pt x="412" y="76"/>
                  </a:lnTo>
                  <a:lnTo>
                    <a:pt x="416" y="86"/>
                  </a:lnTo>
                  <a:lnTo>
                    <a:pt x="417" y="96"/>
                  </a:lnTo>
                  <a:lnTo>
                    <a:pt x="421" y="109"/>
                  </a:lnTo>
                  <a:lnTo>
                    <a:pt x="421" y="127"/>
                  </a:lnTo>
                  <a:lnTo>
                    <a:pt x="421" y="135"/>
                  </a:lnTo>
                  <a:lnTo>
                    <a:pt x="419" y="160"/>
                  </a:lnTo>
                  <a:lnTo>
                    <a:pt x="288" y="193"/>
                  </a:lnTo>
                  <a:lnTo>
                    <a:pt x="271" y="194"/>
                  </a:lnTo>
                  <a:close/>
                  <a:moveTo>
                    <a:pt x="43" y="71"/>
                  </a:moveTo>
                  <a:lnTo>
                    <a:pt x="66" y="78"/>
                  </a:lnTo>
                  <a:lnTo>
                    <a:pt x="89" y="86"/>
                  </a:lnTo>
                  <a:lnTo>
                    <a:pt x="105" y="92"/>
                  </a:lnTo>
                  <a:lnTo>
                    <a:pt x="120" y="101"/>
                  </a:lnTo>
                  <a:lnTo>
                    <a:pt x="135" y="109"/>
                  </a:lnTo>
                  <a:lnTo>
                    <a:pt x="214" y="166"/>
                  </a:lnTo>
                  <a:lnTo>
                    <a:pt x="233" y="178"/>
                  </a:lnTo>
                  <a:lnTo>
                    <a:pt x="245" y="183"/>
                  </a:lnTo>
                  <a:lnTo>
                    <a:pt x="253" y="184"/>
                  </a:lnTo>
                  <a:lnTo>
                    <a:pt x="271" y="184"/>
                  </a:lnTo>
                  <a:lnTo>
                    <a:pt x="304" y="181"/>
                  </a:lnTo>
                  <a:lnTo>
                    <a:pt x="319" y="178"/>
                  </a:lnTo>
                  <a:lnTo>
                    <a:pt x="412" y="153"/>
                  </a:lnTo>
                  <a:lnTo>
                    <a:pt x="412" y="135"/>
                  </a:lnTo>
                  <a:lnTo>
                    <a:pt x="412" y="119"/>
                  </a:lnTo>
                  <a:lnTo>
                    <a:pt x="411" y="102"/>
                  </a:lnTo>
                  <a:lnTo>
                    <a:pt x="409" y="92"/>
                  </a:lnTo>
                  <a:lnTo>
                    <a:pt x="406" y="83"/>
                  </a:lnTo>
                  <a:lnTo>
                    <a:pt x="403" y="74"/>
                  </a:lnTo>
                  <a:lnTo>
                    <a:pt x="399" y="66"/>
                  </a:lnTo>
                  <a:lnTo>
                    <a:pt x="394" y="58"/>
                  </a:lnTo>
                  <a:lnTo>
                    <a:pt x="391" y="55"/>
                  </a:lnTo>
                  <a:lnTo>
                    <a:pt x="385" y="46"/>
                  </a:lnTo>
                  <a:lnTo>
                    <a:pt x="362" y="25"/>
                  </a:lnTo>
                  <a:lnTo>
                    <a:pt x="347" y="17"/>
                  </a:lnTo>
                  <a:lnTo>
                    <a:pt x="335" y="12"/>
                  </a:lnTo>
                  <a:lnTo>
                    <a:pt x="311" y="9"/>
                  </a:lnTo>
                  <a:lnTo>
                    <a:pt x="306" y="9"/>
                  </a:lnTo>
                  <a:lnTo>
                    <a:pt x="286" y="9"/>
                  </a:lnTo>
                  <a:lnTo>
                    <a:pt x="265" y="12"/>
                  </a:lnTo>
                  <a:lnTo>
                    <a:pt x="227" y="22"/>
                  </a:lnTo>
                  <a:lnTo>
                    <a:pt x="43" y="71"/>
                  </a:lnTo>
                  <a:close/>
                </a:path>
              </a:pathLst>
            </a:custGeom>
            <a:grpFill/>
            <a:ln w="3175">
              <a:solidFill>
                <a:schemeClr val="tx1"/>
              </a:solidFill>
              <a:round/>
              <a:headEnd/>
              <a:tailEnd/>
            </a:ln>
          </p:spPr>
          <p:txBody>
            <a:bodyPr vert="horz" wrap="square" lIns="91416" tIns="45708" rIns="91416" bIns="45708" numCol="1" anchor="t" anchorCtr="0" compatLnSpc="1">
              <a:prstTxWarp prst="textNoShape">
                <a:avLst/>
              </a:prstTxWarp>
            </a:bodyPr>
            <a:lstStyle/>
            <a:p>
              <a:endParaRPr lang="zh-CN" altLang="en-US" sz="1799"/>
            </a:p>
          </p:txBody>
        </p:sp>
        <p:sp>
          <p:nvSpPr>
            <p:cNvPr id="60" name="Freeform 791"/>
            <p:cNvSpPr>
              <a:spLocks/>
            </p:cNvSpPr>
            <p:nvPr/>
          </p:nvSpPr>
          <p:spPr bwMode="auto">
            <a:xfrm>
              <a:off x="16036925" y="4024313"/>
              <a:ext cx="458788" cy="204788"/>
            </a:xfrm>
            <a:custGeom>
              <a:avLst/>
              <a:gdLst/>
              <a:ahLst/>
              <a:cxnLst>
                <a:cxn ang="0">
                  <a:pos x="18" y="79"/>
                </a:cxn>
                <a:cxn ang="0">
                  <a:pos x="0" y="75"/>
                </a:cxn>
                <a:cxn ang="0">
                  <a:pos x="3" y="70"/>
                </a:cxn>
                <a:cxn ang="0">
                  <a:pos x="20" y="74"/>
                </a:cxn>
                <a:cxn ang="0">
                  <a:pos x="135" y="46"/>
                </a:cxn>
                <a:cxn ang="0">
                  <a:pos x="163" y="21"/>
                </a:cxn>
                <a:cxn ang="0">
                  <a:pos x="170" y="0"/>
                </a:cxn>
                <a:cxn ang="0">
                  <a:pos x="175" y="0"/>
                </a:cxn>
                <a:cxn ang="0">
                  <a:pos x="168" y="24"/>
                </a:cxn>
                <a:cxn ang="0">
                  <a:pos x="138" y="50"/>
                </a:cxn>
                <a:cxn ang="0">
                  <a:pos x="137" y="50"/>
                </a:cxn>
                <a:cxn ang="0">
                  <a:pos x="21" y="79"/>
                </a:cxn>
                <a:cxn ang="0">
                  <a:pos x="18" y="79"/>
                </a:cxn>
              </a:cxnLst>
              <a:rect l="0" t="0" r="r" b="b"/>
              <a:pathLst>
                <a:path w="176" h="79">
                  <a:moveTo>
                    <a:pt x="18" y="79"/>
                  </a:moveTo>
                  <a:cubicBezTo>
                    <a:pt x="10" y="79"/>
                    <a:pt x="1" y="75"/>
                    <a:pt x="0" y="75"/>
                  </a:cubicBezTo>
                  <a:cubicBezTo>
                    <a:pt x="3" y="70"/>
                    <a:pt x="3" y="70"/>
                    <a:pt x="3" y="70"/>
                  </a:cubicBezTo>
                  <a:cubicBezTo>
                    <a:pt x="3" y="70"/>
                    <a:pt x="13" y="75"/>
                    <a:pt x="20" y="74"/>
                  </a:cubicBezTo>
                  <a:cubicBezTo>
                    <a:pt x="28" y="73"/>
                    <a:pt x="129" y="47"/>
                    <a:pt x="135" y="46"/>
                  </a:cubicBezTo>
                  <a:cubicBezTo>
                    <a:pt x="138" y="44"/>
                    <a:pt x="157" y="33"/>
                    <a:pt x="163" y="21"/>
                  </a:cubicBezTo>
                  <a:cubicBezTo>
                    <a:pt x="171" y="10"/>
                    <a:pt x="170" y="0"/>
                    <a:pt x="170" y="0"/>
                  </a:cubicBezTo>
                  <a:cubicBezTo>
                    <a:pt x="175" y="0"/>
                    <a:pt x="175" y="0"/>
                    <a:pt x="175" y="0"/>
                  </a:cubicBezTo>
                  <a:cubicBezTo>
                    <a:pt x="175" y="0"/>
                    <a:pt x="176" y="11"/>
                    <a:pt x="168" y="24"/>
                  </a:cubicBezTo>
                  <a:cubicBezTo>
                    <a:pt x="160" y="37"/>
                    <a:pt x="139" y="50"/>
                    <a:pt x="138" y="50"/>
                  </a:cubicBezTo>
                  <a:cubicBezTo>
                    <a:pt x="137" y="50"/>
                    <a:pt x="137" y="50"/>
                    <a:pt x="137" y="50"/>
                  </a:cubicBezTo>
                  <a:cubicBezTo>
                    <a:pt x="133" y="52"/>
                    <a:pt x="29" y="78"/>
                    <a:pt x="21" y="79"/>
                  </a:cubicBezTo>
                  <a:cubicBezTo>
                    <a:pt x="20" y="79"/>
                    <a:pt x="19" y="79"/>
                    <a:pt x="18" y="79"/>
                  </a:cubicBezTo>
                  <a:close/>
                </a:path>
              </a:pathLst>
            </a:custGeom>
            <a:grpFill/>
            <a:ln w="3175">
              <a:solidFill>
                <a:schemeClr val="tx1"/>
              </a:solidFill>
              <a:round/>
              <a:headEnd/>
              <a:tailEnd/>
            </a:ln>
          </p:spPr>
          <p:txBody>
            <a:bodyPr vert="horz" wrap="square" lIns="91416" tIns="45708" rIns="91416" bIns="45708" numCol="1" anchor="t" anchorCtr="0" compatLnSpc="1">
              <a:prstTxWarp prst="textNoShape">
                <a:avLst/>
              </a:prstTxWarp>
            </a:bodyPr>
            <a:lstStyle/>
            <a:p>
              <a:endParaRPr lang="zh-CN" altLang="en-US" sz="1799"/>
            </a:p>
          </p:txBody>
        </p:sp>
        <p:sp>
          <p:nvSpPr>
            <p:cNvPr id="61" name="Rectangle 792"/>
            <p:cNvSpPr>
              <a:spLocks noChangeArrowheads="1"/>
            </p:cNvSpPr>
            <p:nvPr/>
          </p:nvSpPr>
          <p:spPr bwMode="auto">
            <a:xfrm>
              <a:off x="16397288" y="3570288"/>
              <a:ext cx="12700" cy="161925"/>
            </a:xfrm>
            <a:prstGeom prst="rect">
              <a:avLst/>
            </a:prstGeom>
            <a:grpFill/>
            <a:ln w="3175">
              <a:solidFill>
                <a:schemeClr val="tx1"/>
              </a:solidFill>
              <a:miter lim="800000"/>
              <a:headEnd/>
              <a:tailEnd/>
            </a:ln>
          </p:spPr>
          <p:txBody>
            <a:bodyPr vert="horz" wrap="square" lIns="91416" tIns="45708" rIns="91416" bIns="45708" numCol="1" anchor="t" anchorCtr="0" compatLnSpc="1">
              <a:prstTxWarp prst="textNoShape">
                <a:avLst/>
              </a:prstTxWarp>
            </a:bodyPr>
            <a:lstStyle/>
            <a:p>
              <a:endParaRPr lang="zh-CN" altLang="en-US" sz="1799"/>
            </a:p>
          </p:txBody>
        </p:sp>
      </p:grpSp>
      <p:pic>
        <p:nvPicPr>
          <p:cNvPr id="62" name="Picture 4" descr="C:\Users\x00426741.CHINA\AppData\Roaming\eSpace_Desktop\UserData\x00426741\imagefiles\A1B5766F-6DDF-43AC-83C3-F4F93943492C.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4048" y="1245378"/>
            <a:ext cx="757897" cy="484702"/>
          </a:xfrm>
          <a:prstGeom prst="rect">
            <a:avLst/>
          </a:prstGeom>
          <a:noFill/>
          <a:extLst>
            <a:ext uri="{909E8E84-426E-40DD-AFC4-6F175D3DCCD1}">
              <a14:hiddenFill xmlns:a14="http://schemas.microsoft.com/office/drawing/2010/main">
                <a:solidFill>
                  <a:srgbClr val="FFFFFF"/>
                </a:solidFill>
              </a14:hiddenFill>
            </a:ext>
          </a:extLst>
        </p:spPr>
      </p:pic>
      <p:pic>
        <p:nvPicPr>
          <p:cNvPr id="63" name="Imagen 62">
            <a:extLst>
              <a:ext uri="{FF2B5EF4-FFF2-40B4-BE49-F238E27FC236}">
                <a16:creationId xmlns:a16="http://schemas.microsoft.com/office/drawing/2014/main" id="{6FB9C763-3A20-B54C-B405-8BD025B33BC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98718" y="284532"/>
            <a:ext cx="1388533" cy="355600"/>
          </a:xfrm>
          <a:prstGeom prst="rect">
            <a:avLst/>
          </a:prstGeom>
        </p:spPr>
      </p:pic>
      <p:sp>
        <p:nvSpPr>
          <p:cNvPr id="64" name="Marcador de número de diapositiva 1"/>
          <p:cNvSpPr txBox="1">
            <a:spLocks/>
          </p:cNvSpPr>
          <p:nvPr/>
        </p:nvSpPr>
        <p:spPr>
          <a:xfrm>
            <a:off x="11704622" y="6458134"/>
            <a:ext cx="487378" cy="48134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dirty="0" smtClean="0">
                <a:solidFill>
                  <a:schemeClr val="bg1"/>
                </a:solidFill>
              </a:rPr>
              <a:t>48</a:t>
            </a:r>
            <a:endParaRPr lang="en-US" sz="2000" dirty="0">
              <a:solidFill>
                <a:schemeClr val="bg1"/>
              </a:solidFill>
            </a:endParaRPr>
          </a:p>
        </p:txBody>
      </p:sp>
    </p:spTree>
    <p:extLst>
      <p:ext uri="{BB962C8B-B14F-4D97-AF65-F5344CB8AC3E}">
        <p14:creationId xmlns:p14="http://schemas.microsoft.com/office/powerpoint/2010/main" val="1277738379"/>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 name="TextBox 12"/>
          <p:cNvSpPr txBox="1"/>
          <p:nvPr/>
        </p:nvSpPr>
        <p:spPr>
          <a:xfrm>
            <a:off x="244240" y="639133"/>
            <a:ext cx="12362215" cy="1015369"/>
          </a:xfrm>
          <a:prstGeom prst="rect">
            <a:avLst/>
          </a:prstGeom>
        </p:spPr>
        <p:txBody>
          <a:bodyPr>
            <a:normAutofit/>
          </a:bodyPr>
          <a:lstStyle>
            <a:lvl1pPr marR="0" indent="0" fontAlgn="ctr">
              <a:lnSpc>
                <a:spcPct val="100000"/>
              </a:lnSpc>
              <a:spcBef>
                <a:spcPct val="0"/>
              </a:spcBef>
              <a:spcAft>
                <a:spcPts val="0"/>
              </a:spcAft>
              <a:buClrTx/>
              <a:buSzTx/>
              <a:buFontTx/>
              <a:buNone/>
              <a:tabLst/>
              <a:defRPr b="0" baseline="0">
                <a:solidFill>
                  <a:schemeClr val="bg1"/>
                </a:solidFill>
                <a:latin typeface="+mj-lt"/>
                <a:cs typeface="Arial" pitchFamily="34" charset="0"/>
              </a:defRPr>
            </a:lvl1pPr>
          </a:lstStyle>
          <a:p>
            <a:r>
              <a:rPr lang="en-US" altLang="zh-CN" sz="1799" dirty="0" err="1"/>
              <a:t>eClassroom</a:t>
            </a:r>
            <a:r>
              <a:rPr lang="en-US" altLang="zh-CN" sz="1799" dirty="0"/>
              <a:t>, </a:t>
            </a:r>
            <a:r>
              <a:rPr lang="en-US" altLang="zh-CN" sz="1799" dirty="0" err="1"/>
              <a:t>Educación</a:t>
            </a:r>
            <a:r>
              <a:rPr lang="en-US" altLang="zh-CN" sz="1799" dirty="0"/>
              <a:t> </a:t>
            </a:r>
            <a:r>
              <a:rPr lang="en-US" altLang="zh-CN" sz="1799" dirty="0" err="1"/>
              <a:t>Remota</a:t>
            </a:r>
            <a:r>
              <a:rPr lang="en-US" altLang="zh-CN" sz="1799" dirty="0"/>
              <a:t> para </a:t>
            </a:r>
            <a:r>
              <a:rPr lang="en-US" altLang="zh-CN" sz="1799" dirty="0" err="1"/>
              <a:t>llegar</a:t>
            </a:r>
            <a:r>
              <a:rPr lang="en-US" altLang="zh-CN" sz="1799" dirty="0"/>
              <a:t> a </a:t>
            </a:r>
            <a:r>
              <a:rPr lang="en-US" altLang="zh-CN" sz="1799" dirty="0" err="1"/>
              <a:t>todos</a:t>
            </a:r>
            <a:r>
              <a:rPr lang="en-US" altLang="zh-CN" sz="1799" dirty="0"/>
              <a:t> </a:t>
            </a:r>
            <a:r>
              <a:rPr lang="en-US" altLang="zh-CN" sz="1799" dirty="0" err="1"/>
              <a:t>los</a:t>
            </a:r>
            <a:r>
              <a:rPr lang="en-US" altLang="zh-CN" sz="1799" dirty="0"/>
              <a:t> </a:t>
            </a:r>
            <a:r>
              <a:rPr lang="en-US" altLang="zh-CN" sz="1799" dirty="0" err="1"/>
              <a:t>estudiantes</a:t>
            </a:r>
            <a:endParaRPr lang="en-US" altLang="zh-CN" sz="1799" dirty="0"/>
          </a:p>
        </p:txBody>
      </p:sp>
      <p:sp>
        <p:nvSpPr>
          <p:cNvPr id="31" name="圆角矩形 30"/>
          <p:cNvSpPr/>
          <p:nvPr/>
        </p:nvSpPr>
        <p:spPr bwMode="auto">
          <a:xfrm>
            <a:off x="2689710" y="1040923"/>
            <a:ext cx="3735638" cy="4858031"/>
          </a:xfrm>
          <a:prstGeom prst="roundRect">
            <a:avLst>
              <a:gd name="adj" fmla="val 0"/>
            </a:avLst>
          </a:prstGeom>
          <a:gradFill>
            <a:gsLst>
              <a:gs pos="0">
                <a:srgbClr val="00B0F0">
                  <a:alpha val="10000"/>
                </a:srgbClr>
              </a:gs>
              <a:gs pos="52000">
                <a:srgbClr val="00B0F0">
                  <a:alpha val="50000"/>
                </a:srgbClr>
              </a:gs>
              <a:gs pos="100000">
                <a:srgbClr val="00B0F0">
                  <a:alpha val="10000"/>
                </a:srgbClr>
              </a:gs>
            </a:gsLst>
            <a:lin ang="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tIns="35991" rtlCol="0" anchor="t" anchorCtr="0">
            <a:noAutofit/>
          </a:bodyPr>
          <a:lstStyle/>
          <a:p>
            <a:pPr algn="ctr" fontAlgn="ctr">
              <a:lnSpc>
                <a:spcPct val="120000"/>
              </a:lnSpc>
              <a:buClr>
                <a:schemeClr val="bg1"/>
              </a:buClr>
              <a:buSzPct val="100000"/>
            </a:pPr>
            <a:endParaRPr lang="en-US" altLang="zh-CN" sz="1100" b="1" dirty="0">
              <a:solidFill>
                <a:schemeClr val="bg1"/>
              </a:solidFill>
              <a:latin typeface="Calibri" panose="020F0502020204030204" pitchFamily="34" charset="0"/>
              <a:ea typeface="微软雅黑" pitchFamily="34" charset="-122"/>
              <a:cs typeface="Calibri" pitchFamily="34" charset="0"/>
              <a:sym typeface="Arial"/>
            </a:endParaRPr>
          </a:p>
        </p:txBody>
      </p:sp>
      <p:sp>
        <p:nvSpPr>
          <p:cNvPr id="32" name="圆角矩形 31"/>
          <p:cNvSpPr/>
          <p:nvPr/>
        </p:nvSpPr>
        <p:spPr bwMode="auto">
          <a:xfrm>
            <a:off x="298593" y="1038613"/>
            <a:ext cx="2194135" cy="4867251"/>
          </a:xfrm>
          <a:prstGeom prst="roundRect">
            <a:avLst>
              <a:gd name="adj" fmla="val 0"/>
            </a:avLst>
          </a:prstGeom>
          <a:gradFill>
            <a:gsLst>
              <a:gs pos="0">
                <a:srgbClr val="00B0F0">
                  <a:alpha val="10000"/>
                </a:srgbClr>
              </a:gs>
              <a:gs pos="52000">
                <a:srgbClr val="00B0F0">
                  <a:alpha val="50000"/>
                </a:srgbClr>
              </a:gs>
              <a:gs pos="100000">
                <a:srgbClr val="00B0F0">
                  <a:alpha val="10000"/>
                </a:srgbClr>
              </a:gs>
            </a:gsLst>
            <a:lin ang="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tIns="35991" rtlCol="0" anchor="t" anchorCtr="0">
            <a:noAutofit/>
          </a:bodyPr>
          <a:lstStyle/>
          <a:p>
            <a:pPr algn="ctr" fontAlgn="ctr">
              <a:lnSpc>
                <a:spcPct val="120000"/>
              </a:lnSpc>
              <a:buClr>
                <a:schemeClr val="bg1"/>
              </a:buClr>
              <a:buSzPct val="100000"/>
            </a:pPr>
            <a:endParaRPr lang="en-US" altLang="zh-CN" sz="1100" b="1" dirty="0">
              <a:solidFill>
                <a:schemeClr val="bg1"/>
              </a:solidFill>
              <a:latin typeface="Calibri" panose="020F0502020204030204" pitchFamily="34" charset="0"/>
              <a:ea typeface="微软雅黑" pitchFamily="34" charset="-122"/>
              <a:cs typeface="Calibri" pitchFamily="34" charset="0"/>
              <a:sym typeface="Arial"/>
            </a:endParaRPr>
          </a:p>
        </p:txBody>
      </p:sp>
      <p:sp>
        <p:nvSpPr>
          <p:cNvPr id="33" name="矩形 32"/>
          <p:cNvSpPr/>
          <p:nvPr/>
        </p:nvSpPr>
        <p:spPr>
          <a:xfrm>
            <a:off x="6623406" y="5134341"/>
            <a:ext cx="5119070" cy="764612"/>
          </a:xfrm>
          <a:prstGeom prst="rect">
            <a:avLst/>
          </a:prstGeom>
          <a:noFill/>
          <a:ln w="3175" cap="flat" cmpd="sng" algn="ctr">
            <a:solidFill>
              <a:schemeClr val="accent5">
                <a:lumMod val="60000"/>
                <a:lumOff val="40000"/>
              </a:schemeClr>
            </a:solidFill>
            <a:prstDash val="solid"/>
            <a:round/>
            <a:headEnd type="none" w="med" len="med"/>
            <a:tailEnd type="none" w="med" len="med"/>
          </a:ln>
          <a:effectLst/>
          <a:scene3d>
            <a:camera prst="orthographicFront"/>
            <a:lightRig rig="flat" dir="t"/>
          </a:scene3d>
        </p:spPr>
        <p:txBody>
          <a:bodyPr rtlCol="0" anchor="ctr"/>
          <a:lstStyle/>
          <a:p>
            <a:pPr algn="ctr" defTabSz="914202" fontAlgn="base">
              <a:spcBef>
                <a:spcPct val="0"/>
              </a:spcBef>
              <a:spcAft>
                <a:spcPct val="0"/>
              </a:spcAft>
            </a:pPr>
            <a:endParaRPr lang="en-US" altLang="zh-CN" sz="1599" b="1" dirty="0">
              <a:solidFill>
                <a:schemeClr val="bg1"/>
              </a:solidFill>
              <a:latin typeface="+mj-lt"/>
            </a:endParaRPr>
          </a:p>
        </p:txBody>
      </p:sp>
      <p:sp>
        <p:nvSpPr>
          <p:cNvPr id="34" name="矩形 33"/>
          <p:cNvSpPr/>
          <p:nvPr/>
        </p:nvSpPr>
        <p:spPr>
          <a:xfrm>
            <a:off x="6607540" y="3958855"/>
            <a:ext cx="5119070" cy="828944"/>
          </a:xfrm>
          <a:prstGeom prst="rect">
            <a:avLst/>
          </a:prstGeom>
          <a:noFill/>
          <a:ln w="3175" cap="flat" cmpd="sng" algn="ctr">
            <a:solidFill>
              <a:schemeClr val="accent5">
                <a:lumMod val="60000"/>
                <a:lumOff val="40000"/>
              </a:schemeClr>
            </a:solidFill>
            <a:prstDash val="solid"/>
            <a:round/>
            <a:headEnd type="none" w="med" len="med"/>
            <a:tailEnd type="none" w="med" len="med"/>
          </a:ln>
          <a:effectLst/>
          <a:scene3d>
            <a:camera prst="orthographicFront"/>
            <a:lightRig rig="flat" dir="t"/>
          </a:scene3d>
        </p:spPr>
        <p:txBody>
          <a:bodyPr rtlCol="0" anchor="ctr"/>
          <a:lstStyle/>
          <a:p>
            <a:pPr algn="ctr" defTabSz="914202" fontAlgn="base">
              <a:spcBef>
                <a:spcPct val="0"/>
              </a:spcBef>
              <a:spcAft>
                <a:spcPct val="0"/>
              </a:spcAft>
            </a:pPr>
            <a:endParaRPr lang="en-US" altLang="zh-CN" sz="1599" b="1" dirty="0">
              <a:solidFill>
                <a:schemeClr val="bg1"/>
              </a:solidFill>
              <a:latin typeface="+mj-lt"/>
            </a:endParaRPr>
          </a:p>
        </p:txBody>
      </p:sp>
      <p:sp>
        <p:nvSpPr>
          <p:cNvPr id="35" name="矩形 34"/>
          <p:cNvSpPr/>
          <p:nvPr/>
        </p:nvSpPr>
        <p:spPr>
          <a:xfrm>
            <a:off x="6624962" y="1128821"/>
            <a:ext cx="5119070" cy="2461828"/>
          </a:xfrm>
          <a:prstGeom prst="rect">
            <a:avLst/>
          </a:prstGeom>
          <a:noFill/>
          <a:ln w="3175" cap="flat" cmpd="sng" algn="ctr">
            <a:solidFill>
              <a:schemeClr val="accent5">
                <a:lumMod val="60000"/>
                <a:lumOff val="40000"/>
              </a:schemeClr>
            </a:solidFill>
            <a:prstDash val="solid"/>
            <a:round/>
            <a:headEnd type="none" w="med" len="med"/>
            <a:tailEnd type="none" w="med" len="med"/>
          </a:ln>
          <a:effectLst/>
          <a:scene3d>
            <a:camera prst="orthographicFront"/>
            <a:lightRig rig="flat" dir="t"/>
          </a:scene3d>
        </p:spPr>
        <p:txBody>
          <a:bodyPr rtlCol="0" anchor="ctr"/>
          <a:lstStyle/>
          <a:p>
            <a:pPr algn="ctr" defTabSz="914202" fontAlgn="base">
              <a:spcBef>
                <a:spcPct val="0"/>
              </a:spcBef>
              <a:spcAft>
                <a:spcPct val="0"/>
              </a:spcAft>
            </a:pPr>
            <a:endParaRPr lang="en-US" altLang="zh-CN" sz="1599" b="1" dirty="0">
              <a:solidFill>
                <a:schemeClr val="bg1"/>
              </a:solidFill>
              <a:latin typeface="+mj-lt"/>
            </a:endParaRPr>
          </a:p>
        </p:txBody>
      </p:sp>
      <p:sp>
        <p:nvSpPr>
          <p:cNvPr id="36" name="矩形 45"/>
          <p:cNvSpPr>
            <a:spLocks noChangeArrowheads="1"/>
          </p:cNvSpPr>
          <p:nvPr/>
        </p:nvSpPr>
        <p:spPr bwMode="auto">
          <a:xfrm>
            <a:off x="351705" y="5993031"/>
            <a:ext cx="11392327" cy="459519"/>
          </a:xfrm>
          <a:prstGeom prst="rect">
            <a:avLst/>
          </a:prstGeom>
          <a:gradFill flip="none" rotWithShape="1">
            <a:gsLst>
              <a:gs pos="0">
                <a:srgbClr val="00B0F0">
                  <a:alpha val="24000"/>
                </a:srgbClr>
              </a:gs>
              <a:gs pos="21000">
                <a:srgbClr val="00B0F0">
                  <a:alpha val="50000"/>
                </a:srgbClr>
              </a:gs>
              <a:gs pos="44000">
                <a:srgbClr val="00B0F0">
                  <a:alpha val="39000"/>
                </a:srgbClr>
              </a:gs>
              <a:gs pos="100000">
                <a:srgbClr val="1F3267">
                  <a:alpha val="14000"/>
                </a:srgbClr>
              </a:gs>
            </a:gsLst>
            <a:lin ang="2700000" scaled="1"/>
            <a:tileRect/>
          </a:gradFill>
          <a:ln w="3175" cap="flat" cmpd="sng" algn="ctr">
            <a:solidFill>
              <a:schemeClr val="accent5">
                <a:lumMod val="60000"/>
                <a:lumOff val="40000"/>
              </a:schemeClr>
            </a:solidFill>
            <a:prstDash val="solid"/>
            <a:round/>
            <a:headEnd type="none" w="med" len="med"/>
            <a:tailEnd type="none" w="med" len="med"/>
          </a:ln>
          <a:effectLst/>
          <a:scene3d>
            <a:camera prst="orthographicFront"/>
            <a:lightRig rig="flat" dir="t"/>
          </a:scene3d>
        </p:spPr>
        <p:txBody>
          <a:bodyPr rtlCol="0" anchor="ctr"/>
          <a:lstStyle/>
          <a:p>
            <a:pPr algn="ctr" defTabSz="914202" fontAlgn="base">
              <a:spcBef>
                <a:spcPct val="0"/>
              </a:spcBef>
              <a:spcAft>
                <a:spcPct val="0"/>
              </a:spcAft>
            </a:pPr>
            <a:r>
              <a:rPr lang="en-US" altLang="zh-CN" sz="1599" b="1" dirty="0" err="1">
                <a:solidFill>
                  <a:schemeClr val="bg1"/>
                </a:solidFill>
                <a:latin typeface="+mj-lt"/>
                <a:sym typeface="Calibri" pitchFamily="34" charset="0"/>
              </a:rPr>
              <a:t>Clases</a:t>
            </a:r>
            <a:r>
              <a:rPr lang="en-US" altLang="zh-CN" sz="1599" b="1" dirty="0">
                <a:solidFill>
                  <a:schemeClr val="bg1"/>
                </a:solidFill>
                <a:latin typeface="+mj-lt"/>
                <a:sym typeface="Calibri" pitchFamily="34" charset="0"/>
              </a:rPr>
              <a:t> </a:t>
            </a:r>
            <a:r>
              <a:rPr lang="en-US" altLang="zh-CN" sz="1599" b="1" dirty="0" err="1">
                <a:solidFill>
                  <a:schemeClr val="bg1"/>
                </a:solidFill>
                <a:latin typeface="+mj-lt"/>
                <a:sym typeface="Calibri" pitchFamily="34" charset="0"/>
              </a:rPr>
              <a:t>Panorámicas</a:t>
            </a:r>
            <a:r>
              <a:rPr lang="en-US" altLang="zh-CN" sz="1599" b="1" dirty="0">
                <a:solidFill>
                  <a:schemeClr val="bg1"/>
                </a:solidFill>
                <a:latin typeface="+mj-lt"/>
                <a:sym typeface="Calibri" pitchFamily="34" charset="0"/>
              </a:rPr>
              <a:t>, </a:t>
            </a:r>
            <a:r>
              <a:rPr lang="en-US" altLang="zh-CN" sz="1599" b="1" dirty="0" err="1">
                <a:solidFill>
                  <a:schemeClr val="bg1"/>
                </a:solidFill>
                <a:latin typeface="+mj-lt"/>
                <a:sym typeface="Calibri" pitchFamily="34" charset="0"/>
              </a:rPr>
              <a:t>interactivas</a:t>
            </a:r>
            <a:r>
              <a:rPr lang="en-US" altLang="zh-CN" sz="1599" b="1" dirty="0">
                <a:solidFill>
                  <a:schemeClr val="bg1"/>
                </a:solidFill>
                <a:latin typeface="+mj-lt"/>
                <a:sym typeface="Calibri" pitchFamily="34" charset="0"/>
              </a:rPr>
              <a:t>, y </a:t>
            </a:r>
            <a:r>
              <a:rPr lang="en-US" altLang="zh-CN" sz="1599" b="1" dirty="0" err="1">
                <a:solidFill>
                  <a:schemeClr val="bg1"/>
                </a:solidFill>
                <a:latin typeface="+mj-lt"/>
                <a:sym typeface="Calibri" pitchFamily="34" charset="0"/>
              </a:rPr>
              <a:t>en</a:t>
            </a:r>
            <a:r>
              <a:rPr lang="en-US" altLang="zh-CN" sz="1599" b="1" dirty="0">
                <a:solidFill>
                  <a:schemeClr val="bg1"/>
                </a:solidFill>
                <a:latin typeface="+mj-lt"/>
                <a:sym typeface="Calibri" pitchFamily="34" charset="0"/>
              </a:rPr>
              <a:t> HD; 1080p@60fps stream </a:t>
            </a:r>
            <a:r>
              <a:rPr lang="en-US" altLang="zh-CN" sz="1599" b="1" dirty="0" err="1">
                <a:solidFill>
                  <a:schemeClr val="bg1"/>
                </a:solidFill>
                <a:latin typeface="+mj-lt"/>
                <a:sym typeface="Calibri" pitchFamily="34" charset="0"/>
              </a:rPr>
              <a:t>doble</a:t>
            </a:r>
            <a:r>
              <a:rPr lang="en-US" altLang="zh-CN" sz="1599" b="1" dirty="0">
                <a:solidFill>
                  <a:schemeClr val="bg1"/>
                </a:solidFill>
                <a:latin typeface="+mj-lt"/>
                <a:sym typeface="Calibri" pitchFamily="34" charset="0"/>
              </a:rPr>
              <a:t>; </a:t>
            </a:r>
            <a:r>
              <a:rPr lang="en-US" altLang="zh-CN" sz="1599" b="1" dirty="0" err="1">
                <a:solidFill>
                  <a:schemeClr val="bg1"/>
                </a:solidFill>
                <a:latin typeface="+mj-lt"/>
                <a:sym typeface="Calibri" pitchFamily="34" charset="0"/>
              </a:rPr>
              <a:t>interacción</a:t>
            </a:r>
            <a:r>
              <a:rPr lang="en-US" altLang="zh-CN" sz="1599" b="1" dirty="0">
                <a:solidFill>
                  <a:schemeClr val="bg1"/>
                </a:solidFill>
                <a:latin typeface="+mj-lt"/>
                <a:sym typeface="Calibri" pitchFamily="34" charset="0"/>
              </a:rPr>
              <a:t> </a:t>
            </a:r>
            <a:r>
              <a:rPr lang="en-US" altLang="zh-CN" sz="1599" b="1" dirty="0" err="1">
                <a:solidFill>
                  <a:schemeClr val="bg1"/>
                </a:solidFill>
                <a:latin typeface="+mj-lt"/>
                <a:sym typeface="Calibri" pitchFamily="34" charset="0"/>
              </a:rPr>
              <a:t>en</a:t>
            </a:r>
            <a:r>
              <a:rPr lang="en-US" altLang="zh-CN" sz="1599" b="1" dirty="0">
                <a:solidFill>
                  <a:schemeClr val="bg1"/>
                </a:solidFill>
                <a:latin typeface="+mj-lt"/>
                <a:sym typeface="Calibri" pitchFamily="34" charset="0"/>
              </a:rPr>
              <a:t> </a:t>
            </a:r>
            <a:r>
              <a:rPr lang="en-US" altLang="zh-CN" sz="1599" b="1" dirty="0" err="1">
                <a:solidFill>
                  <a:schemeClr val="bg1"/>
                </a:solidFill>
                <a:latin typeface="+mj-lt"/>
                <a:sym typeface="Calibri" pitchFamily="34" charset="0"/>
              </a:rPr>
              <a:t>tiempo</a:t>
            </a:r>
            <a:r>
              <a:rPr lang="en-US" altLang="zh-CN" sz="1599" b="1" dirty="0">
                <a:solidFill>
                  <a:schemeClr val="bg1"/>
                </a:solidFill>
                <a:latin typeface="+mj-lt"/>
                <a:sym typeface="Calibri" pitchFamily="34" charset="0"/>
              </a:rPr>
              <a:t> real</a:t>
            </a:r>
          </a:p>
        </p:txBody>
      </p:sp>
      <p:sp>
        <p:nvSpPr>
          <p:cNvPr id="37" name="矩形 36"/>
          <p:cNvSpPr/>
          <p:nvPr/>
        </p:nvSpPr>
        <p:spPr>
          <a:xfrm>
            <a:off x="3097561" y="2622079"/>
            <a:ext cx="1200651" cy="320109"/>
          </a:xfrm>
          <a:prstGeom prst="rect">
            <a:avLst/>
          </a:prstGeom>
        </p:spPr>
        <p:txBody>
          <a:bodyPr wrap="none" lIns="68562" tIns="34281" rIns="68562" bIns="34281" anchor="ctr"/>
          <a:lstStyle/>
          <a:p>
            <a:pPr algn="ctr" defTabSz="914202" fontAlgn="base">
              <a:spcBef>
                <a:spcPct val="0"/>
              </a:spcBef>
              <a:spcAft>
                <a:spcPct val="0"/>
              </a:spcAft>
              <a:defRPr/>
            </a:pPr>
            <a:r>
              <a:rPr lang="es-ES" altLang="zh-CN" sz="1299" dirty="0">
                <a:solidFill>
                  <a:schemeClr val="bg1"/>
                </a:solidFill>
                <a:cs typeface="Arial" pitchFamily="34" charset="0"/>
              </a:rPr>
              <a:t>Primer Plano de Profesores</a:t>
            </a:r>
            <a:endParaRPr lang="zh-CN" altLang="en-US" sz="1299" dirty="0">
              <a:solidFill>
                <a:schemeClr val="bg1"/>
              </a:solidFill>
              <a:cs typeface="Arial" pitchFamily="34" charset="0"/>
            </a:endParaRPr>
          </a:p>
        </p:txBody>
      </p:sp>
      <p:sp>
        <p:nvSpPr>
          <p:cNvPr id="38" name="矩形 37"/>
          <p:cNvSpPr/>
          <p:nvPr/>
        </p:nvSpPr>
        <p:spPr>
          <a:xfrm>
            <a:off x="4820093" y="2622079"/>
            <a:ext cx="1200651" cy="320109"/>
          </a:xfrm>
          <a:prstGeom prst="rect">
            <a:avLst/>
          </a:prstGeom>
        </p:spPr>
        <p:txBody>
          <a:bodyPr wrap="none" lIns="68562" tIns="34281" rIns="68562" bIns="34281" anchor="ctr"/>
          <a:lstStyle/>
          <a:p>
            <a:pPr algn="ctr" defTabSz="914202" fontAlgn="base">
              <a:spcBef>
                <a:spcPct val="0"/>
              </a:spcBef>
              <a:spcAft>
                <a:spcPct val="0"/>
              </a:spcAft>
              <a:defRPr/>
            </a:pPr>
            <a:r>
              <a:rPr lang="es-ES" altLang="zh-CN" sz="1299" dirty="0">
                <a:solidFill>
                  <a:schemeClr val="bg1"/>
                </a:solidFill>
                <a:cs typeface="Arial" pitchFamily="34" charset="0"/>
              </a:rPr>
              <a:t>Vista Panorámica </a:t>
            </a:r>
          </a:p>
          <a:p>
            <a:pPr algn="ctr" defTabSz="914202" fontAlgn="base">
              <a:spcBef>
                <a:spcPct val="0"/>
              </a:spcBef>
              <a:spcAft>
                <a:spcPct val="0"/>
              </a:spcAft>
              <a:defRPr/>
            </a:pPr>
            <a:r>
              <a:rPr lang="es-ES" altLang="zh-CN" sz="1299" dirty="0">
                <a:solidFill>
                  <a:schemeClr val="bg1"/>
                </a:solidFill>
                <a:cs typeface="Arial" pitchFamily="34" charset="0"/>
              </a:rPr>
              <a:t>de la plataforma</a:t>
            </a:r>
            <a:endParaRPr lang="en-US" altLang="zh-CN" sz="1299" dirty="0">
              <a:solidFill>
                <a:schemeClr val="bg1"/>
              </a:solidFill>
              <a:cs typeface="Arial" pitchFamily="34" charset="0"/>
            </a:endParaRPr>
          </a:p>
        </p:txBody>
      </p:sp>
      <p:sp>
        <p:nvSpPr>
          <p:cNvPr id="39" name="矩形 38"/>
          <p:cNvSpPr/>
          <p:nvPr/>
        </p:nvSpPr>
        <p:spPr>
          <a:xfrm>
            <a:off x="3247866" y="4179132"/>
            <a:ext cx="895645" cy="320109"/>
          </a:xfrm>
          <a:prstGeom prst="rect">
            <a:avLst/>
          </a:prstGeom>
        </p:spPr>
        <p:txBody>
          <a:bodyPr wrap="none" lIns="68562" tIns="34281" rIns="68562" bIns="34281" anchor="ctr"/>
          <a:lstStyle/>
          <a:p>
            <a:pPr algn="ctr" defTabSz="914202" fontAlgn="base">
              <a:spcBef>
                <a:spcPct val="0"/>
              </a:spcBef>
              <a:spcAft>
                <a:spcPct val="0"/>
              </a:spcAft>
              <a:defRPr/>
            </a:pPr>
            <a:r>
              <a:rPr lang="en-US" altLang="zh-CN" sz="1299" dirty="0">
                <a:solidFill>
                  <a:schemeClr val="bg1"/>
                </a:solidFill>
                <a:cs typeface="Arial" pitchFamily="34" charset="0"/>
              </a:rPr>
              <a:t>Vista </a:t>
            </a:r>
            <a:r>
              <a:rPr lang="en-US" altLang="zh-CN" sz="1299" dirty="0" err="1">
                <a:solidFill>
                  <a:schemeClr val="bg1"/>
                </a:solidFill>
                <a:cs typeface="Arial" pitchFamily="34" charset="0"/>
              </a:rPr>
              <a:t>Panoramica</a:t>
            </a:r>
            <a:r>
              <a:rPr lang="en-US" altLang="zh-CN" sz="1299" dirty="0">
                <a:solidFill>
                  <a:schemeClr val="bg1"/>
                </a:solidFill>
                <a:cs typeface="Arial" pitchFamily="34" charset="0"/>
              </a:rPr>
              <a:t> de </a:t>
            </a:r>
            <a:r>
              <a:rPr lang="en-US" altLang="zh-CN" sz="1299" dirty="0" err="1">
                <a:solidFill>
                  <a:schemeClr val="bg1"/>
                </a:solidFill>
                <a:cs typeface="Arial" pitchFamily="34" charset="0"/>
              </a:rPr>
              <a:t>los</a:t>
            </a:r>
            <a:endParaRPr lang="en-US" altLang="zh-CN" sz="1299" dirty="0">
              <a:solidFill>
                <a:schemeClr val="bg1"/>
              </a:solidFill>
              <a:cs typeface="Arial" pitchFamily="34" charset="0"/>
            </a:endParaRPr>
          </a:p>
          <a:p>
            <a:pPr algn="ctr" defTabSz="914202" fontAlgn="base">
              <a:spcBef>
                <a:spcPct val="0"/>
              </a:spcBef>
              <a:spcAft>
                <a:spcPct val="0"/>
              </a:spcAft>
              <a:defRPr/>
            </a:pPr>
            <a:r>
              <a:rPr lang="es-ES" altLang="zh-CN" sz="1299" dirty="0">
                <a:solidFill>
                  <a:schemeClr val="bg1"/>
                </a:solidFill>
                <a:cs typeface="Arial" pitchFamily="34" charset="0"/>
              </a:rPr>
              <a:t>Estudiantes</a:t>
            </a:r>
            <a:endParaRPr lang="zh-CN" altLang="en-US" sz="1299" dirty="0">
              <a:solidFill>
                <a:schemeClr val="bg1"/>
              </a:solidFill>
              <a:cs typeface="Arial" pitchFamily="34" charset="0"/>
            </a:endParaRPr>
          </a:p>
        </p:txBody>
      </p:sp>
      <p:sp>
        <p:nvSpPr>
          <p:cNvPr id="40" name="矩形 39"/>
          <p:cNvSpPr/>
          <p:nvPr/>
        </p:nvSpPr>
        <p:spPr>
          <a:xfrm>
            <a:off x="5066757" y="4162696"/>
            <a:ext cx="624251" cy="320109"/>
          </a:xfrm>
          <a:prstGeom prst="rect">
            <a:avLst/>
          </a:prstGeom>
        </p:spPr>
        <p:txBody>
          <a:bodyPr wrap="none" lIns="68562" tIns="34281" rIns="68562" bIns="34281" anchor="ctr"/>
          <a:lstStyle/>
          <a:p>
            <a:pPr algn="ctr" defTabSz="914202" fontAlgn="base">
              <a:spcBef>
                <a:spcPct val="0"/>
              </a:spcBef>
              <a:spcAft>
                <a:spcPct val="0"/>
              </a:spcAft>
              <a:defRPr/>
            </a:pPr>
            <a:r>
              <a:rPr lang="en-US" altLang="zh-CN" sz="1299" dirty="0">
                <a:solidFill>
                  <a:schemeClr val="bg1"/>
                </a:solidFill>
                <a:cs typeface="Arial" pitchFamily="34" charset="0"/>
              </a:rPr>
              <a:t>Material </a:t>
            </a:r>
            <a:r>
              <a:rPr lang="en-US" altLang="zh-CN" sz="1299" dirty="0" err="1">
                <a:solidFill>
                  <a:schemeClr val="bg1"/>
                </a:solidFill>
                <a:cs typeface="Arial" pitchFamily="34" charset="0"/>
              </a:rPr>
              <a:t>Didáctico</a:t>
            </a:r>
            <a:endParaRPr lang="en-US" altLang="zh-CN" sz="1299" dirty="0">
              <a:solidFill>
                <a:schemeClr val="bg1"/>
              </a:solidFill>
              <a:cs typeface="Arial" pitchFamily="34" charset="0"/>
            </a:endParaRPr>
          </a:p>
        </p:txBody>
      </p:sp>
      <p:pic>
        <p:nvPicPr>
          <p:cNvPr id="41" name="图片 44"/>
          <p:cNvPicPr>
            <a:picLocks noChangeAspect="1"/>
          </p:cNvPicPr>
          <p:nvPr/>
        </p:nvPicPr>
        <p:blipFill>
          <a:blip r:embed="rId3" cstate="print"/>
          <a:srcRect/>
          <a:stretch>
            <a:fillRect/>
          </a:stretch>
        </p:blipFill>
        <p:spPr bwMode="auto">
          <a:xfrm>
            <a:off x="4592737" y="1680564"/>
            <a:ext cx="1543147" cy="834945"/>
          </a:xfrm>
          <a:prstGeom prst="rect">
            <a:avLst/>
          </a:prstGeom>
          <a:noFill/>
          <a:ln w="9525">
            <a:noFill/>
            <a:miter lim="800000"/>
            <a:headEnd/>
            <a:tailEnd/>
          </a:ln>
        </p:spPr>
      </p:pic>
      <p:pic>
        <p:nvPicPr>
          <p:cNvPr id="42" name="Picture 58"/>
          <p:cNvPicPr>
            <a:picLocks noChangeAspect="1" noChangeArrowheads="1"/>
          </p:cNvPicPr>
          <p:nvPr/>
        </p:nvPicPr>
        <p:blipFill>
          <a:blip r:embed="rId4" cstate="print"/>
          <a:srcRect/>
          <a:stretch>
            <a:fillRect/>
          </a:stretch>
        </p:blipFill>
        <p:spPr bwMode="auto">
          <a:xfrm>
            <a:off x="2929932" y="3229138"/>
            <a:ext cx="1582305" cy="834947"/>
          </a:xfrm>
          <a:prstGeom prst="rect">
            <a:avLst/>
          </a:prstGeom>
          <a:noFill/>
          <a:ln w="9525" algn="ctr">
            <a:noFill/>
            <a:miter lim="800000"/>
            <a:headEnd/>
            <a:tailEnd/>
          </a:ln>
        </p:spPr>
      </p:pic>
      <p:pic>
        <p:nvPicPr>
          <p:cNvPr id="43" name="Picture 56"/>
          <p:cNvPicPr>
            <a:picLocks noChangeAspect="1" noChangeArrowheads="1"/>
          </p:cNvPicPr>
          <p:nvPr/>
        </p:nvPicPr>
        <p:blipFill>
          <a:blip r:embed="rId5" cstate="print"/>
          <a:srcRect/>
          <a:stretch>
            <a:fillRect/>
          </a:stretch>
        </p:blipFill>
        <p:spPr bwMode="auto">
          <a:xfrm>
            <a:off x="2934291" y="1691766"/>
            <a:ext cx="1486264" cy="834945"/>
          </a:xfrm>
          <a:prstGeom prst="rect">
            <a:avLst/>
          </a:prstGeom>
          <a:noFill/>
          <a:ln w="9525" algn="ctr">
            <a:noFill/>
            <a:miter lim="800000"/>
            <a:headEnd/>
            <a:tailEnd/>
          </a:ln>
        </p:spPr>
      </p:pic>
      <p:pic>
        <p:nvPicPr>
          <p:cNvPr id="44" name="Picture 3"/>
          <p:cNvPicPr>
            <a:picLocks noChangeAspect="1" noChangeArrowheads="1"/>
          </p:cNvPicPr>
          <p:nvPr/>
        </p:nvPicPr>
        <p:blipFill>
          <a:blip r:embed="rId6" cstate="print"/>
          <a:srcRect/>
          <a:stretch>
            <a:fillRect/>
          </a:stretch>
        </p:blipFill>
        <p:spPr bwMode="auto">
          <a:xfrm>
            <a:off x="4584226" y="3231455"/>
            <a:ext cx="1540150" cy="858579"/>
          </a:xfrm>
          <a:prstGeom prst="rect">
            <a:avLst/>
          </a:prstGeom>
          <a:noFill/>
          <a:ln w="9525">
            <a:noFill/>
            <a:miter lim="800000"/>
            <a:headEnd/>
            <a:tailEnd/>
          </a:ln>
        </p:spPr>
      </p:pic>
      <p:pic>
        <p:nvPicPr>
          <p:cNvPr id="45" name="Picture 61"/>
          <p:cNvPicPr>
            <a:picLocks noChangeArrowheads="1"/>
          </p:cNvPicPr>
          <p:nvPr/>
        </p:nvPicPr>
        <p:blipFill>
          <a:blip r:embed="rId7" cstate="print"/>
          <a:srcRect/>
          <a:stretch>
            <a:fillRect/>
          </a:stretch>
        </p:blipFill>
        <p:spPr bwMode="auto">
          <a:xfrm>
            <a:off x="3712295" y="4633971"/>
            <a:ext cx="1589006" cy="831081"/>
          </a:xfrm>
          <a:prstGeom prst="rect">
            <a:avLst/>
          </a:prstGeom>
          <a:noFill/>
          <a:ln w="9525" algn="ctr">
            <a:noFill/>
            <a:miter lim="800000"/>
            <a:headEnd/>
            <a:tailEnd/>
          </a:ln>
        </p:spPr>
      </p:pic>
      <p:sp>
        <p:nvSpPr>
          <p:cNvPr id="46" name="矩形 45"/>
          <p:cNvSpPr/>
          <p:nvPr/>
        </p:nvSpPr>
        <p:spPr>
          <a:xfrm>
            <a:off x="4224064" y="5477736"/>
            <a:ext cx="624251" cy="320109"/>
          </a:xfrm>
          <a:prstGeom prst="rect">
            <a:avLst/>
          </a:prstGeom>
        </p:spPr>
        <p:txBody>
          <a:bodyPr wrap="none" lIns="68562" tIns="34281" rIns="68562" bIns="34281" anchor="ctr"/>
          <a:lstStyle/>
          <a:p>
            <a:pPr algn="ctr" defTabSz="914202" fontAlgn="base">
              <a:spcBef>
                <a:spcPct val="0"/>
              </a:spcBef>
              <a:spcAft>
                <a:spcPct val="0"/>
              </a:spcAft>
              <a:defRPr/>
            </a:pPr>
            <a:r>
              <a:rPr lang="en-US" altLang="zh-CN" sz="1299" dirty="0" err="1">
                <a:solidFill>
                  <a:schemeClr val="bg1"/>
                </a:solidFill>
                <a:cs typeface="Arial" pitchFamily="34" charset="0"/>
              </a:rPr>
              <a:t>Pizarras</a:t>
            </a:r>
            <a:endParaRPr lang="en-US" altLang="zh-CN" sz="1299" dirty="0">
              <a:solidFill>
                <a:schemeClr val="bg1"/>
              </a:solidFill>
              <a:cs typeface="Arial" pitchFamily="34" charset="0"/>
            </a:endParaRPr>
          </a:p>
        </p:txBody>
      </p:sp>
      <p:grpSp>
        <p:nvGrpSpPr>
          <p:cNvPr id="47" name="组合 46"/>
          <p:cNvGrpSpPr/>
          <p:nvPr/>
        </p:nvGrpSpPr>
        <p:grpSpPr>
          <a:xfrm>
            <a:off x="1" y="1034829"/>
            <a:ext cx="2943461" cy="4835866"/>
            <a:chOff x="-202907" y="1007527"/>
            <a:chExt cx="2588546" cy="4411478"/>
          </a:xfrm>
        </p:grpSpPr>
        <p:pic>
          <p:nvPicPr>
            <p:cNvPr id="48" name="图片 47" descr="1副本"/>
            <p:cNvPicPr>
              <a:picLocks noChangeAspect="1"/>
            </p:cNvPicPr>
            <p:nvPr/>
          </p:nvPicPr>
          <p:blipFill>
            <a:blip r:embed="rId8" cstate="print"/>
            <a:srcRect l="10067" r="9060"/>
            <a:stretch>
              <a:fillRect/>
            </a:stretch>
          </p:blipFill>
          <p:spPr bwMode="auto">
            <a:xfrm>
              <a:off x="202120" y="1276756"/>
              <a:ext cx="1552611" cy="1005281"/>
            </a:xfrm>
            <a:prstGeom prst="roundRect">
              <a:avLst>
                <a:gd name="adj" fmla="val 5526"/>
              </a:avLst>
            </a:prstGeom>
            <a:solidFill>
              <a:srgbClr val="FFFFFF">
                <a:shade val="85000"/>
              </a:srgbClr>
            </a:solidFill>
            <a:ln>
              <a:noFill/>
            </a:ln>
            <a:effectLst>
              <a:reflection blurRad="12700" stA="38000" endPos="28000" dist="5000" dir="5400000" sy="-100000" algn="bl" rotWithShape="0"/>
            </a:effectLst>
          </p:spPr>
        </p:pic>
        <p:grpSp>
          <p:nvGrpSpPr>
            <p:cNvPr id="49" name="组合 48"/>
            <p:cNvGrpSpPr/>
            <p:nvPr/>
          </p:nvGrpSpPr>
          <p:grpSpPr>
            <a:xfrm>
              <a:off x="106390" y="2553199"/>
              <a:ext cx="1857844" cy="1453926"/>
              <a:chOff x="120742" y="2524335"/>
              <a:chExt cx="1857844" cy="1453926"/>
            </a:xfrm>
          </p:grpSpPr>
          <p:pic>
            <p:nvPicPr>
              <p:cNvPr id="58" name="图片 57"/>
              <p:cNvPicPr>
                <a:picLocks/>
              </p:cNvPicPr>
              <p:nvPr/>
            </p:nvPicPr>
            <p:blipFill rotWithShape="1">
              <a:blip r:embed="rId9" cstate="screen">
                <a:extLst>
                  <a:ext uri="{28A0092B-C50C-407E-A947-70E740481C1C}">
                    <a14:useLocalDpi xmlns:a14="http://schemas.microsoft.com/office/drawing/2010/main"/>
                  </a:ext>
                </a:extLst>
              </a:blip>
              <a:srcRect l="1805" r="2342"/>
              <a:stretch/>
            </p:blipFill>
            <p:spPr>
              <a:xfrm>
                <a:off x="242806" y="2784434"/>
                <a:ext cx="1552611" cy="945644"/>
              </a:xfrm>
              <a:prstGeom prst="roundRect">
                <a:avLst>
                  <a:gd name="adj" fmla="val 3323"/>
                </a:avLst>
              </a:prstGeom>
              <a:solidFill>
                <a:srgbClr val="FFFFFF">
                  <a:shade val="85000"/>
                </a:srgbClr>
              </a:solidFill>
              <a:ln>
                <a:noFill/>
              </a:ln>
              <a:effectLst>
                <a:reflection blurRad="12700" stA="38000" endPos="28000" dist="5000" dir="5400000" sy="-100000" algn="bl" rotWithShape="0"/>
              </a:effectLst>
            </p:spPr>
          </p:pic>
          <p:sp>
            <p:nvSpPr>
              <p:cNvPr id="59" name="矩形 74"/>
              <p:cNvSpPr>
                <a:spLocks noChangeArrowheads="1"/>
              </p:cNvSpPr>
              <p:nvPr/>
            </p:nvSpPr>
            <p:spPr bwMode="auto">
              <a:xfrm>
                <a:off x="595052" y="3711650"/>
                <a:ext cx="722058" cy="266611"/>
              </a:xfrm>
              <a:prstGeom prst="rect">
                <a:avLst/>
              </a:prstGeom>
              <a:noFill/>
              <a:ln w="9525">
                <a:noFill/>
                <a:miter lim="800000"/>
                <a:headEnd/>
                <a:tailEnd/>
              </a:ln>
            </p:spPr>
            <p:txBody>
              <a:bodyPr wrap="none">
                <a:spAutoFit/>
              </a:bodyPr>
              <a:lstStyle/>
              <a:p>
                <a:pPr defTabSz="914202" fontAlgn="base">
                  <a:spcBef>
                    <a:spcPct val="0"/>
                  </a:spcBef>
                  <a:spcAft>
                    <a:spcPct val="0"/>
                  </a:spcAft>
                </a:pPr>
                <a:r>
                  <a:rPr lang="en-US" altLang="zh-CN" sz="1299" dirty="0" err="1">
                    <a:solidFill>
                      <a:schemeClr val="bg1"/>
                    </a:solidFill>
                    <a:cs typeface="Arial" panose="020B0604020202020204" pitchFamily="34" charset="0"/>
                  </a:rPr>
                  <a:t>Escuela</a:t>
                </a:r>
                <a:r>
                  <a:rPr lang="en-US" altLang="zh-CN" sz="1299" dirty="0">
                    <a:solidFill>
                      <a:schemeClr val="bg1"/>
                    </a:solidFill>
                    <a:cs typeface="Arial" panose="020B0604020202020204" pitchFamily="34" charset="0"/>
                  </a:rPr>
                  <a:t> B</a:t>
                </a:r>
                <a:endParaRPr lang="zh-CN" altLang="en-US" sz="1299" dirty="0">
                  <a:solidFill>
                    <a:schemeClr val="bg1"/>
                  </a:solidFill>
                  <a:cs typeface="Arial" panose="020B0604020202020204" pitchFamily="34" charset="0"/>
                </a:endParaRPr>
              </a:p>
            </p:txBody>
          </p:sp>
          <p:sp>
            <p:nvSpPr>
              <p:cNvPr id="60" name="圆角矩形 84"/>
              <p:cNvSpPr>
                <a:spLocks noChangeArrowheads="1"/>
              </p:cNvSpPr>
              <p:nvPr/>
            </p:nvSpPr>
            <p:spPr bwMode="auto">
              <a:xfrm>
                <a:off x="120742" y="2524335"/>
                <a:ext cx="1857844" cy="327239"/>
              </a:xfrm>
              <a:prstGeom prst="roundRect">
                <a:avLst>
                  <a:gd name="adj" fmla="val 16667"/>
                </a:avLst>
              </a:prstGeom>
              <a:noFill/>
              <a:ln w="3175" cap="flat" cmpd="sng" algn="ctr">
                <a:noFill/>
                <a:prstDash val="solid"/>
                <a:round/>
                <a:headEnd type="none" w="med" len="med"/>
                <a:tailEnd type="none" w="med" len="med"/>
              </a:ln>
              <a:effectLst/>
              <a:scene3d>
                <a:camera prst="orthographicFront"/>
                <a:lightRig rig="flat" dir="t"/>
              </a:scene3d>
            </p:spPr>
            <p:txBody>
              <a:bodyPr rtlCol="0" anchor="ctr"/>
              <a:lstStyle/>
              <a:p>
                <a:pPr algn="ctr" defTabSz="914202" fontAlgn="base">
                  <a:spcBef>
                    <a:spcPct val="0"/>
                  </a:spcBef>
                  <a:spcAft>
                    <a:spcPct val="0"/>
                  </a:spcAft>
                </a:pPr>
                <a:r>
                  <a:rPr lang="en-US" altLang="zh-CN" sz="1299" b="1" dirty="0">
                    <a:solidFill>
                      <a:schemeClr val="bg1"/>
                    </a:solidFill>
                    <a:ea typeface="Arial Unicode MS" panose="020B0604020202020204" pitchFamily="34" charset="-122"/>
                    <a:cs typeface="Arial" panose="020B0604020202020204" pitchFamily="34" charset="0"/>
                  </a:rPr>
                  <a:t>Branch classroom</a:t>
                </a:r>
              </a:p>
            </p:txBody>
          </p:sp>
        </p:grpSp>
        <p:sp>
          <p:nvSpPr>
            <p:cNvPr id="50" name="矩形 64"/>
            <p:cNvSpPr>
              <a:spLocks noChangeArrowheads="1"/>
            </p:cNvSpPr>
            <p:nvPr/>
          </p:nvSpPr>
          <p:spPr bwMode="auto">
            <a:xfrm>
              <a:off x="583539" y="2239409"/>
              <a:ext cx="726286" cy="266611"/>
            </a:xfrm>
            <a:prstGeom prst="rect">
              <a:avLst/>
            </a:prstGeom>
            <a:noFill/>
            <a:ln w="9525">
              <a:noFill/>
              <a:miter lim="800000"/>
              <a:headEnd/>
              <a:tailEnd/>
            </a:ln>
          </p:spPr>
          <p:txBody>
            <a:bodyPr wrap="none">
              <a:spAutoFit/>
            </a:bodyPr>
            <a:lstStyle/>
            <a:p>
              <a:pPr defTabSz="914202" fontAlgn="base">
                <a:spcBef>
                  <a:spcPct val="0"/>
                </a:spcBef>
                <a:spcAft>
                  <a:spcPct val="0"/>
                </a:spcAft>
              </a:pPr>
              <a:r>
                <a:rPr lang="en-US" altLang="zh-CN" sz="1299" dirty="0" err="1">
                  <a:solidFill>
                    <a:schemeClr val="bg1"/>
                  </a:solidFill>
                  <a:cs typeface="Arial" panose="020B0604020202020204" pitchFamily="34" charset="0"/>
                </a:rPr>
                <a:t>Escuela</a:t>
              </a:r>
              <a:r>
                <a:rPr lang="en-US" altLang="zh-CN" sz="1299" dirty="0">
                  <a:solidFill>
                    <a:schemeClr val="bg1"/>
                  </a:solidFill>
                  <a:cs typeface="Arial" panose="020B0604020202020204" pitchFamily="34" charset="0"/>
                </a:rPr>
                <a:t> A</a:t>
              </a:r>
              <a:endParaRPr lang="zh-CN" altLang="en-US" sz="1299" dirty="0">
                <a:solidFill>
                  <a:schemeClr val="bg1"/>
                </a:solidFill>
                <a:cs typeface="Arial" panose="020B0604020202020204" pitchFamily="34" charset="0"/>
              </a:endParaRPr>
            </a:p>
          </p:txBody>
        </p:sp>
        <p:sp>
          <p:nvSpPr>
            <p:cNvPr id="51" name="圆角矩形 68"/>
            <p:cNvSpPr>
              <a:spLocks noChangeArrowheads="1"/>
            </p:cNvSpPr>
            <p:nvPr/>
          </p:nvSpPr>
          <p:spPr bwMode="auto">
            <a:xfrm>
              <a:off x="202120" y="1007527"/>
              <a:ext cx="1666382" cy="258528"/>
            </a:xfrm>
            <a:prstGeom prst="roundRect">
              <a:avLst>
                <a:gd name="adj" fmla="val 16667"/>
              </a:avLst>
            </a:prstGeom>
            <a:noFill/>
            <a:ln w="3175" cap="flat" cmpd="sng" algn="ctr">
              <a:noFill/>
              <a:prstDash val="solid"/>
              <a:round/>
              <a:headEnd type="none" w="med" len="med"/>
              <a:tailEnd type="none" w="med" len="med"/>
            </a:ln>
            <a:effectLst/>
            <a:scene3d>
              <a:camera prst="orthographicFront"/>
              <a:lightRig rig="flat" dir="t"/>
            </a:scene3d>
          </p:spPr>
          <p:txBody>
            <a:bodyPr rtlCol="0" anchor="ctr"/>
            <a:lstStyle/>
            <a:p>
              <a:pPr algn="ctr" defTabSz="914202" fontAlgn="base">
                <a:spcBef>
                  <a:spcPct val="0"/>
                </a:spcBef>
                <a:spcAft>
                  <a:spcPct val="0"/>
                </a:spcAft>
              </a:pPr>
              <a:r>
                <a:rPr lang="en-US" altLang="zh-CN" sz="1299" b="1" dirty="0">
                  <a:solidFill>
                    <a:schemeClr val="bg1"/>
                  </a:solidFill>
                  <a:ea typeface="Arial Unicode MS" panose="020B0604020202020204" pitchFamily="34" charset="-122"/>
                  <a:cs typeface="Arial" panose="020B0604020202020204" pitchFamily="34" charset="0"/>
                </a:rPr>
                <a:t>Live eClassroom</a:t>
              </a:r>
            </a:p>
          </p:txBody>
        </p:sp>
        <p:grpSp>
          <p:nvGrpSpPr>
            <p:cNvPr id="52" name="组合 51"/>
            <p:cNvGrpSpPr/>
            <p:nvPr/>
          </p:nvGrpSpPr>
          <p:grpSpPr>
            <a:xfrm>
              <a:off x="-202907" y="4089060"/>
              <a:ext cx="2588546" cy="1329945"/>
              <a:chOff x="-260199" y="5224172"/>
              <a:chExt cx="3221611" cy="1691950"/>
            </a:xfrm>
          </p:grpSpPr>
          <p:sp>
            <p:nvSpPr>
              <p:cNvPr id="53" name="AutoShape 62"/>
              <p:cNvSpPr>
                <a:spLocks noChangeArrowheads="1"/>
              </p:cNvSpPr>
              <p:nvPr/>
            </p:nvSpPr>
            <p:spPr bwMode="auto">
              <a:xfrm>
                <a:off x="294141" y="5540126"/>
                <a:ext cx="1906748" cy="1034597"/>
              </a:xfrm>
              <a:prstGeom prst="roundRect">
                <a:avLst>
                  <a:gd name="adj" fmla="val 3830"/>
                </a:avLst>
              </a:prstGeom>
              <a:solidFill>
                <a:srgbClr val="FFFFFF">
                  <a:lumMod val="85000"/>
                  <a:alpha val="20000"/>
                </a:srgbClr>
              </a:solidFill>
              <a:ln w="3175" cap="sq">
                <a:solidFill>
                  <a:srgbClr val="000000">
                    <a:lumMod val="50000"/>
                    <a:lumOff val="50000"/>
                  </a:srgbClr>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txBody>
              <a:bodyPr lIns="179948" tIns="107969" rIns="143959" bIns="71979" anchor="ctr"/>
              <a:lstStyle/>
              <a:p>
                <a:pPr marL="85700" indent="-85700" defTabSz="799660" fontAlgn="base">
                  <a:lnSpc>
                    <a:spcPct val="120000"/>
                  </a:lnSpc>
                  <a:spcBef>
                    <a:spcPct val="20000"/>
                  </a:spcBef>
                  <a:spcAft>
                    <a:spcPct val="0"/>
                  </a:spcAft>
                  <a:buClr>
                    <a:srgbClr val="C00000"/>
                  </a:buClr>
                  <a:buSzPct val="60000"/>
                  <a:buFont typeface="Wingdings" pitchFamily="2" charset="2"/>
                  <a:buChar char="n"/>
                  <a:defRPr/>
                </a:pPr>
                <a:endParaRPr lang="zh-CN" altLang="en-US" sz="1299" kern="0" dirty="0">
                  <a:solidFill>
                    <a:schemeClr val="bg1"/>
                  </a:solidFill>
                  <a:cs typeface="Arial" pitchFamily="34" charset="0"/>
                  <a:sym typeface="Calibri" pitchFamily="34" charset="0"/>
                </a:endParaRPr>
              </a:p>
            </p:txBody>
          </p:sp>
          <p:pic>
            <p:nvPicPr>
              <p:cNvPr id="54" name="Picture 42"/>
              <p:cNvPicPr>
                <a:picLocks noChangeAspect="1" noChangeArrowheads="1"/>
              </p:cNvPicPr>
              <p:nvPr/>
            </p:nvPicPr>
            <p:blipFill>
              <a:blip r:embed="rId10" cstate="screen"/>
              <a:stretch>
                <a:fillRect/>
              </a:stretch>
            </p:blipFill>
            <p:spPr bwMode="auto">
              <a:xfrm>
                <a:off x="316778" y="5626588"/>
                <a:ext cx="877805" cy="874149"/>
              </a:xfrm>
              <a:prstGeom prst="roundRect">
                <a:avLst>
                  <a:gd name="adj" fmla="val 4792"/>
                </a:avLst>
              </a:prstGeom>
              <a:noFill/>
              <a:ln w="9525">
                <a:noFill/>
                <a:miter lim="800000"/>
                <a:headEnd/>
                <a:tailEnd/>
              </a:ln>
              <a:effectLst/>
            </p:spPr>
          </p:pic>
          <p:pic>
            <p:nvPicPr>
              <p:cNvPr id="55" name="图片 54" descr="42-17321865.jpg"/>
              <p:cNvPicPr>
                <a:picLocks noChangeAspect="1"/>
              </p:cNvPicPr>
              <p:nvPr/>
            </p:nvPicPr>
            <p:blipFill>
              <a:blip r:embed="rId11" cstate="screen"/>
              <a:stretch>
                <a:fillRect/>
              </a:stretch>
            </p:blipFill>
            <p:spPr bwMode="auto">
              <a:xfrm>
                <a:off x="1207360" y="5635257"/>
                <a:ext cx="993528" cy="865480"/>
              </a:xfrm>
              <a:prstGeom prst="roundRect">
                <a:avLst>
                  <a:gd name="adj" fmla="val 4792"/>
                </a:avLst>
              </a:prstGeom>
              <a:noFill/>
              <a:ln w="9525">
                <a:noFill/>
                <a:miter lim="800000"/>
                <a:headEnd/>
                <a:tailEnd/>
              </a:ln>
              <a:effectLst/>
            </p:spPr>
          </p:pic>
          <p:sp>
            <p:nvSpPr>
              <p:cNvPr id="56" name="圆角矩形 55"/>
              <p:cNvSpPr>
                <a:spLocks noChangeArrowheads="1"/>
              </p:cNvSpPr>
              <p:nvPr/>
            </p:nvSpPr>
            <p:spPr bwMode="auto">
              <a:xfrm>
                <a:off x="-260199" y="5224172"/>
                <a:ext cx="3015427" cy="413326"/>
              </a:xfrm>
              <a:prstGeom prst="roundRect">
                <a:avLst>
                  <a:gd name="adj" fmla="val 16667"/>
                </a:avLst>
              </a:prstGeom>
              <a:noFill/>
              <a:ln w="3175" cap="flat" cmpd="sng" algn="ctr">
                <a:noFill/>
                <a:prstDash val="solid"/>
                <a:round/>
                <a:headEnd type="none" w="med" len="med"/>
                <a:tailEnd type="none" w="med" len="med"/>
              </a:ln>
              <a:effectLst/>
              <a:scene3d>
                <a:camera prst="orthographicFront"/>
                <a:lightRig rig="flat" dir="t"/>
              </a:scene3d>
            </p:spPr>
            <p:txBody>
              <a:bodyPr rtlCol="0" anchor="ctr"/>
              <a:lstStyle/>
              <a:p>
                <a:pPr algn="ctr" defTabSz="914202" fontAlgn="base">
                  <a:spcBef>
                    <a:spcPct val="0"/>
                  </a:spcBef>
                  <a:spcAft>
                    <a:spcPct val="0"/>
                  </a:spcAft>
                </a:pPr>
                <a:r>
                  <a:rPr lang="en-US" altLang="zh-CN" sz="1299" b="1" dirty="0">
                    <a:solidFill>
                      <a:schemeClr val="bg1"/>
                    </a:solidFill>
                    <a:ea typeface="Arial Unicode MS" panose="020B0604020202020204" pitchFamily="34" charset="-122"/>
                    <a:cs typeface="Arial" panose="020B0604020202020204" pitchFamily="34" charset="0"/>
                  </a:rPr>
                  <a:t>Live Virtual Classroom</a:t>
                </a:r>
                <a:endParaRPr lang="zh-CN" altLang="en-US" sz="1299" b="1" dirty="0">
                  <a:solidFill>
                    <a:schemeClr val="bg1"/>
                  </a:solidFill>
                  <a:ea typeface="Arial Unicode MS" panose="020B0604020202020204" pitchFamily="34" charset="-122"/>
                  <a:cs typeface="Arial" panose="020B0604020202020204" pitchFamily="34" charset="0"/>
                </a:endParaRPr>
              </a:p>
            </p:txBody>
          </p:sp>
          <p:sp>
            <p:nvSpPr>
              <p:cNvPr id="57" name="矩形 66"/>
              <p:cNvSpPr>
                <a:spLocks noChangeArrowheads="1"/>
              </p:cNvSpPr>
              <p:nvPr/>
            </p:nvSpPr>
            <p:spPr bwMode="auto">
              <a:xfrm>
                <a:off x="124739" y="6576941"/>
                <a:ext cx="2836673" cy="339181"/>
              </a:xfrm>
              <a:prstGeom prst="rect">
                <a:avLst/>
              </a:prstGeom>
              <a:noFill/>
              <a:ln w="9525">
                <a:noFill/>
                <a:miter lim="800000"/>
                <a:headEnd/>
                <a:tailEnd/>
              </a:ln>
            </p:spPr>
            <p:txBody>
              <a:bodyPr wrap="square">
                <a:spAutoFit/>
              </a:bodyPr>
              <a:lstStyle/>
              <a:p>
                <a:r>
                  <a:rPr lang="en-US" altLang="zh-CN" sz="1299" dirty="0" err="1">
                    <a:solidFill>
                      <a:schemeClr val="bg1"/>
                    </a:solidFill>
                    <a:cs typeface="Arial" panose="020B0604020202020204" pitchFamily="34" charset="0"/>
                  </a:rPr>
                  <a:t>Oficina</a:t>
                </a:r>
                <a:r>
                  <a:rPr lang="en-US" altLang="zh-CN" sz="1299" dirty="0">
                    <a:solidFill>
                      <a:schemeClr val="bg1"/>
                    </a:solidFill>
                    <a:cs typeface="Arial" panose="020B0604020202020204" pitchFamily="34" charset="0"/>
                  </a:rPr>
                  <a:t>, casa, y </a:t>
                </a:r>
                <a:r>
                  <a:rPr lang="en-US" altLang="zh-CN" sz="1299" dirty="0" err="1">
                    <a:solidFill>
                      <a:schemeClr val="bg1"/>
                    </a:solidFill>
                    <a:cs typeface="Arial" panose="020B0604020202020204" pitchFamily="34" charset="0"/>
                  </a:rPr>
                  <a:t>viajes</a:t>
                </a:r>
                <a:endParaRPr lang="en-US" altLang="zh-CN" sz="1299" dirty="0">
                  <a:solidFill>
                    <a:schemeClr val="bg1"/>
                  </a:solidFill>
                  <a:cs typeface="Arial" panose="020B0604020202020204" pitchFamily="34" charset="0"/>
                </a:endParaRPr>
              </a:p>
            </p:txBody>
          </p:sp>
        </p:grpSp>
      </p:grpSp>
      <p:sp>
        <p:nvSpPr>
          <p:cNvPr id="61" name="矩形​​ 9"/>
          <p:cNvSpPr/>
          <p:nvPr/>
        </p:nvSpPr>
        <p:spPr bwMode="auto">
          <a:xfrm>
            <a:off x="6599926" y="984925"/>
            <a:ext cx="3128465" cy="287792"/>
          </a:xfrm>
          <a:prstGeom prst="rect">
            <a:avLst/>
          </a:prstGeom>
          <a:solidFill>
            <a:schemeClr val="accent5">
              <a:lumMod val="75000"/>
            </a:schemeClr>
          </a:solidFill>
          <a:ln>
            <a:noFill/>
          </a:ln>
          <a:effectLst/>
        </p:spPr>
        <p:txBody>
          <a:bodyPr vert="horz" wrap="square" lIns="121916" tIns="60958" rIns="121916" bIns="60958" numCol="1" rtlCol="0" anchor="ctr" anchorCtr="0" compatLnSpc="1">
            <a:prstTxWarp prst="textNoShape">
              <a:avLst/>
            </a:prstTxWarp>
          </a:bodyPr>
          <a:lstStyle/>
          <a:p>
            <a:pPr marL="176164" indent="-176164" algn="ctr" defTabSz="914141">
              <a:lnSpc>
                <a:spcPts val="2399"/>
              </a:lnSpc>
            </a:pPr>
            <a:r>
              <a:rPr lang="es-ES" altLang="zh-CN" sz="1399" b="1" kern="0" dirty="0">
                <a:solidFill>
                  <a:schemeClr val="bg1"/>
                </a:solidFill>
                <a:ea typeface="宋体" charset="-122"/>
              </a:rPr>
              <a:t>Clase </a:t>
            </a:r>
            <a:r>
              <a:rPr lang="es-ES" altLang="zh-CN" sz="1399" b="1" kern="0" dirty="0" err="1">
                <a:solidFill>
                  <a:schemeClr val="bg1"/>
                </a:solidFill>
                <a:ea typeface="宋体" charset="-122"/>
              </a:rPr>
              <a:t>Inteigente</a:t>
            </a:r>
            <a:r>
              <a:rPr lang="es-ES" altLang="zh-CN" sz="1399" b="1" kern="0" dirty="0">
                <a:solidFill>
                  <a:schemeClr val="bg1"/>
                </a:solidFill>
                <a:ea typeface="宋体" charset="-122"/>
              </a:rPr>
              <a:t> - </a:t>
            </a:r>
            <a:r>
              <a:rPr lang="en-US" altLang="zh-CN" sz="1399" b="1" kern="0" dirty="0">
                <a:solidFill>
                  <a:schemeClr val="bg1"/>
                </a:solidFill>
                <a:ea typeface="宋体" charset="-122"/>
              </a:rPr>
              <a:t>e</a:t>
            </a:r>
            <a:r>
              <a:rPr lang="zh-CN" altLang="en-US" sz="1399" b="1" kern="0" dirty="0">
                <a:solidFill>
                  <a:schemeClr val="bg1"/>
                </a:solidFill>
                <a:ea typeface="宋体" charset="-122"/>
              </a:rPr>
              <a:t>Classroom</a:t>
            </a:r>
            <a:endParaRPr lang="en-US" altLang="zh-CN" sz="1399" b="1" kern="0" dirty="0">
              <a:solidFill>
                <a:schemeClr val="bg1"/>
              </a:solidFill>
              <a:ea typeface="宋体" charset="-122"/>
            </a:endParaRPr>
          </a:p>
        </p:txBody>
      </p:sp>
      <p:sp>
        <p:nvSpPr>
          <p:cNvPr id="62" name="矩形​​ 13"/>
          <p:cNvSpPr/>
          <p:nvPr/>
        </p:nvSpPr>
        <p:spPr bwMode="auto">
          <a:xfrm>
            <a:off x="6599926" y="3860936"/>
            <a:ext cx="2570581" cy="319617"/>
          </a:xfrm>
          <a:prstGeom prst="rect">
            <a:avLst/>
          </a:prstGeom>
          <a:solidFill>
            <a:schemeClr val="accent5">
              <a:lumMod val="75000"/>
            </a:schemeClr>
          </a:solidFill>
          <a:ln>
            <a:noFill/>
          </a:ln>
          <a:effectLst/>
        </p:spPr>
        <p:txBody>
          <a:bodyPr vert="horz" wrap="square" lIns="121916" tIns="60958" rIns="121916" bIns="60958" numCol="1" rtlCol="0" anchor="ctr" anchorCtr="0" compatLnSpc="1">
            <a:prstTxWarp prst="textNoShape">
              <a:avLst/>
            </a:prstTxWarp>
          </a:bodyPr>
          <a:lstStyle/>
          <a:p>
            <a:pPr marL="176164" lvl="1" indent="-176164" algn="ctr" defTabSz="914141">
              <a:lnSpc>
                <a:spcPts val="2399"/>
              </a:lnSpc>
            </a:pPr>
            <a:r>
              <a:rPr lang="es-ES" altLang="zh-CN" sz="1399" b="1" kern="0" dirty="0" err="1">
                <a:solidFill>
                  <a:schemeClr val="bg1"/>
                </a:solidFill>
                <a:ea typeface="宋体" charset="-122"/>
              </a:rPr>
              <a:t>Comparticíón</a:t>
            </a:r>
            <a:r>
              <a:rPr lang="es-ES" altLang="zh-CN" sz="1399" b="1" kern="0" dirty="0">
                <a:solidFill>
                  <a:schemeClr val="bg1"/>
                </a:solidFill>
                <a:ea typeface="宋体" charset="-122"/>
              </a:rPr>
              <a:t> de Archivos</a:t>
            </a:r>
            <a:endParaRPr lang="en-US" altLang="zh-CN" sz="1399" b="1" kern="0" dirty="0">
              <a:solidFill>
                <a:schemeClr val="bg1"/>
              </a:solidFill>
              <a:ea typeface="宋体" charset="-122"/>
            </a:endParaRPr>
          </a:p>
        </p:txBody>
      </p:sp>
      <p:sp>
        <p:nvSpPr>
          <p:cNvPr id="63" name="矩形​​ 17"/>
          <p:cNvSpPr/>
          <p:nvPr/>
        </p:nvSpPr>
        <p:spPr bwMode="auto">
          <a:xfrm>
            <a:off x="6607540" y="4913146"/>
            <a:ext cx="3073859" cy="316095"/>
          </a:xfrm>
          <a:prstGeom prst="rect">
            <a:avLst/>
          </a:prstGeom>
          <a:solidFill>
            <a:schemeClr val="accent5">
              <a:lumMod val="75000"/>
            </a:schemeClr>
          </a:solidFill>
          <a:ln>
            <a:noFill/>
          </a:ln>
          <a:effectLst/>
        </p:spPr>
        <p:txBody>
          <a:bodyPr vert="horz" wrap="square" lIns="121916" tIns="60958" rIns="121916" bIns="60958" numCol="1" rtlCol="0" anchor="ctr" anchorCtr="0" compatLnSpc="1">
            <a:prstTxWarp prst="textNoShape">
              <a:avLst/>
            </a:prstTxWarp>
          </a:bodyPr>
          <a:lstStyle/>
          <a:p>
            <a:pPr marL="176164" indent="-176164" algn="ctr" defTabSz="914141">
              <a:lnSpc>
                <a:spcPts val="2399"/>
              </a:lnSpc>
            </a:pPr>
            <a:r>
              <a:rPr lang="es-ES" altLang="zh-CN" sz="1399" b="1" kern="0" dirty="0">
                <a:solidFill>
                  <a:schemeClr val="bg1"/>
                </a:solidFill>
                <a:ea typeface="宋体" charset="-122"/>
              </a:rPr>
              <a:t>Pizarra Interactiva</a:t>
            </a:r>
            <a:endParaRPr lang="en-US" altLang="zh-CN" sz="1399" b="1" kern="0" dirty="0">
              <a:solidFill>
                <a:schemeClr val="bg1"/>
              </a:solidFill>
              <a:ea typeface="宋体" charset="-122"/>
            </a:endParaRPr>
          </a:p>
        </p:txBody>
      </p:sp>
      <p:sp>
        <p:nvSpPr>
          <p:cNvPr id="64" name="TextBox 4"/>
          <p:cNvSpPr txBox="1">
            <a:spLocks noChangeArrowheads="1"/>
          </p:cNvSpPr>
          <p:nvPr/>
        </p:nvSpPr>
        <p:spPr bwMode="auto">
          <a:xfrm>
            <a:off x="6710189" y="1329958"/>
            <a:ext cx="4929143" cy="2185214"/>
          </a:xfrm>
          <a:prstGeom prst="rect">
            <a:avLst/>
          </a:prstGeom>
          <a:noFill/>
          <a:ln w="9525">
            <a:noFill/>
            <a:miter lim="800000"/>
            <a:headEnd/>
            <a:tailEnd/>
          </a:ln>
        </p:spPr>
        <p:txBody>
          <a:bodyPr wrap="square">
            <a:spAutoFit/>
          </a:bodyPr>
          <a:lstStyle/>
          <a:p>
            <a:pPr marL="171413" lvl="1" indent="-171413" fontAlgn="ctr">
              <a:lnSpc>
                <a:spcPct val="150000"/>
              </a:lnSpc>
              <a:spcBef>
                <a:spcPts val="300"/>
              </a:spcBef>
              <a:spcAft>
                <a:spcPts val="300"/>
              </a:spcAft>
              <a:buClr>
                <a:schemeClr val="bg1"/>
              </a:buClr>
              <a:buSzPct val="60000"/>
              <a:buFont typeface="Arial" panose="020B0604020202020204" pitchFamily="34" charset="0"/>
              <a:buChar char="•"/>
            </a:pPr>
            <a:r>
              <a:rPr lang="en-US" altLang="zh-CN" sz="1200" dirty="0" err="1">
                <a:solidFill>
                  <a:schemeClr val="bg1"/>
                </a:solidFill>
                <a:latin typeface="+mj-lt"/>
                <a:ea typeface="微软雅黑" pitchFamily="34" charset="-122"/>
                <a:sym typeface="Calibri" pitchFamily="34" charset="0"/>
              </a:rPr>
              <a:t>Permite</a:t>
            </a:r>
            <a:r>
              <a:rPr lang="en-US" altLang="zh-CN" sz="1200" dirty="0">
                <a:solidFill>
                  <a:schemeClr val="bg1"/>
                </a:solidFill>
                <a:latin typeface="+mj-lt"/>
                <a:ea typeface="微软雅黑" pitchFamily="34" charset="-122"/>
                <a:sym typeface="Calibri" pitchFamily="34" charset="0"/>
              </a:rPr>
              <a:t> </a:t>
            </a:r>
            <a:r>
              <a:rPr lang="en-US" altLang="zh-CN" sz="1200" dirty="0" err="1">
                <a:solidFill>
                  <a:schemeClr val="bg1"/>
                </a:solidFill>
                <a:latin typeface="+mj-lt"/>
                <a:ea typeface="微软雅黑" pitchFamily="34" charset="-122"/>
                <a:sym typeface="Calibri" pitchFamily="34" charset="0"/>
              </a:rPr>
              <a:t>ajustar</a:t>
            </a:r>
            <a:r>
              <a:rPr lang="en-US" altLang="zh-CN" sz="1200" dirty="0">
                <a:solidFill>
                  <a:schemeClr val="bg1"/>
                </a:solidFill>
                <a:latin typeface="+mj-lt"/>
                <a:ea typeface="微软雅黑" pitchFamily="34" charset="-122"/>
                <a:sym typeface="Calibri" pitchFamily="34" charset="0"/>
              </a:rPr>
              <a:t> la session a </a:t>
            </a:r>
            <a:r>
              <a:rPr lang="en-US" altLang="zh-CN" sz="1200" dirty="0" err="1">
                <a:solidFill>
                  <a:schemeClr val="bg1"/>
                </a:solidFill>
                <a:latin typeface="+mj-lt"/>
                <a:ea typeface="微软雅黑" pitchFamily="34" charset="-122"/>
                <a:sym typeface="Calibri" pitchFamily="34" charset="0"/>
              </a:rPr>
              <a:t>todos</a:t>
            </a:r>
            <a:r>
              <a:rPr lang="en-US" altLang="zh-CN" sz="1200" dirty="0">
                <a:solidFill>
                  <a:schemeClr val="bg1"/>
                </a:solidFill>
                <a:latin typeface="+mj-lt"/>
                <a:ea typeface="微软雅黑" pitchFamily="34" charset="-122"/>
                <a:sym typeface="Calibri" pitchFamily="34" charset="0"/>
              </a:rPr>
              <a:t> </a:t>
            </a:r>
            <a:r>
              <a:rPr lang="en-US" altLang="zh-CN" sz="1200" dirty="0" err="1">
                <a:solidFill>
                  <a:schemeClr val="bg1"/>
                </a:solidFill>
                <a:latin typeface="+mj-lt"/>
                <a:ea typeface="微软雅黑" pitchFamily="34" charset="-122"/>
                <a:sym typeface="Calibri" pitchFamily="34" charset="0"/>
              </a:rPr>
              <a:t>los</a:t>
            </a:r>
            <a:r>
              <a:rPr lang="en-US" altLang="zh-CN" sz="1200" dirty="0">
                <a:solidFill>
                  <a:schemeClr val="bg1"/>
                </a:solidFill>
                <a:latin typeface="+mj-lt"/>
                <a:ea typeface="微软雅黑" pitchFamily="34" charset="-122"/>
                <a:sym typeface="Calibri" pitchFamily="34" charset="0"/>
              </a:rPr>
              <a:t> </a:t>
            </a:r>
            <a:r>
              <a:rPr lang="en-US" altLang="zh-CN" sz="1200" dirty="0" err="1">
                <a:solidFill>
                  <a:schemeClr val="bg1"/>
                </a:solidFill>
                <a:latin typeface="+mj-lt"/>
                <a:ea typeface="微软雅黑" pitchFamily="34" charset="-122"/>
                <a:sym typeface="Calibri" pitchFamily="34" charset="0"/>
              </a:rPr>
              <a:t>niveles</a:t>
            </a:r>
            <a:r>
              <a:rPr lang="en-US" altLang="zh-CN" sz="1200" dirty="0">
                <a:solidFill>
                  <a:schemeClr val="bg1"/>
                </a:solidFill>
                <a:latin typeface="+mj-lt"/>
                <a:ea typeface="微软雅黑" pitchFamily="34" charset="-122"/>
                <a:sym typeface="Calibri" pitchFamily="34" charset="0"/>
              </a:rPr>
              <a:t>: primer </a:t>
            </a:r>
            <a:r>
              <a:rPr lang="en-US" altLang="zh-CN" sz="1200" dirty="0" err="1">
                <a:solidFill>
                  <a:schemeClr val="bg1"/>
                </a:solidFill>
                <a:latin typeface="+mj-lt"/>
                <a:ea typeface="微软雅黑" pitchFamily="34" charset="-122"/>
                <a:sym typeface="Calibri" pitchFamily="34" charset="0"/>
              </a:rPr>
              <a:t>plano</a:t>
            </a:r>
            <a:r>
              <a:rPr lang="en-US" altLang="zh-CN" sz="1200" dirty="0">
                <a:solidFill>
                  <a:schemeClr val="bg1"/>
                </a:solidFill>
                <a:latin typeface="+mj-lt"/>
                <a:ea typeface="微软雅黑" pitchFamily="34" charset="-122"/>
                <a:sym typeface="Calibri" pitchFamily="34" charset="0"/>
              </a:rPr>
              <a:t> o vista </a:t>
            </a:r>
            <a:r>
              <a:rPr lang="en-US" altLang="zh-CN" sz="1200" dirty="0" err="1">
                <a:solidFill>
                  <a:schemeClr val="bg1"/>
                </a:solidFill>
                <a:latin typeface="+mj-lt"/>
                <a:ea typeface="微软雅黑" pitchFamily="34" charset="-122"/>
                <a:sym typeface="Calibri" pitchFamily="34" charset="0"/>
              </a:rPr>
              <a:t>panorámica</a:t>
            </a:r>
            <a:r>
              <a:rPr lang="en-US" altLang="zh-CN" sz="1200" dirty="0">
                <a:solidFill>
                  <a:schemeClr val="bg1"/>
                </a:solidFill>
                <a:latin typeface="+mj-lt"/>
                <a:ea typeface="微软雅黑" pitchFamily="34" charset="-122"/>
                <a:sym typeface="Calibri" pitchFamily="34" charset="0"/>
              </a:rPr>
              <a:t> de </a:t>
            </a:r>
            <a:r>
              <a:rPr lang="en-US" altLang="zh-CN" sz="1200" dirty="0" err="1">
                <a:solidFill>
                  <a:schemeClr val="bg1"/>
                </a:solidFill>
                <a:latin typeface="+mj-lt"/>
                <a:ea typeface="微软雅黑" pitchFamily="34" charset="-122"/>
                <a:sym typeface="Calibri" pitchFamily="34" charset="0"/>
              </a:rPr>
              <a:t>profesor</a:t>
            </a:r>
            <a:r>
              <a:rPr lang="en-US" altLang="zh-CN" sz="1200" dirty="0">
                <a:solidFill>
                  <a:schemeClr val="bg1"/>
                </a:solidFill>
                <a:latin typeface="+mj-lt"/>
                <a:ea typeface="微软雅黑" pitchFamily="34" charset="-122"/>
                <a:sym typeface="Calibri" pitchFamily="34" charset="0"/>
              </a:rPr>
              <a:t>, vista de </a:t>
            </a:r>
            <a:r>
              <a:rPr lang="en-US" altLang="zh-CN" sz="1200" dirty="0" err="1">
                <a:solidFill>
                  <a:schemeClr val="bg1"/>
                </a:solidFill>
                <a:latin typeface="+mj-lt"/>
                <a:ea typeface="微软雅黑" pitchFamily="34" charset="-122"/>
                <a:sym typeface="Calibri" pitchFamily="34" charset="0"/>
              </a:rPr>
              <a:t>los</a:t>
            </a:r>
            <a:r>
              <a:rPr lang="en-US" altLang="zh-CN" sz="1200" dirty="0">
                <a:solidFill>
                  <a:schemeClr val="bg1"/>
                </a:solidFill>
                <a:latin typeface="+mj-lt"/>
                <a:ea typeface="微软雅黑" pitchFamily="34" charset="-122"/>
                <a:sym typeface="Calibri" pitchFamily="34" charset="0"/>
              </a:rPr>
              <a:t> </a:t>
            </a:r>
            <a:r>
              <a:rPr lang="en-US" altLang="zh-CN" sz="1200" dirty="0" err="1">
                <a:solidFill>
                  <a:schemeClr val="bg1"/>
                </a:solidFill>
                <a:latin typeface="+mj-lt"/>
                <a:ea typeface="微软雅黑" pitchFamily="34" charset="-122"/>
                <a:sym typeface="Calibri" pitchFamily="34" charset="0"/>
              </a:rPr>
              <a:t>estudiantes</a:t>
            </a:r>
            <a:r>
              <a:rPr lang="en-US" altLang="zh-CN" sz="1200" dirty="0">
                <a:solidFill>
                  <a:schemeClr val="bg1"/>
                </a:solidFill>
                <a:latin typeface="+mj-lt"/>
                <a:ea typeface="微软雅黑" pitchFamily="34" charset="-122"/>
                <a:sym typeface="Calibri" pitchFamily="34" charset="0"/>
              </a:rPr>
              <a:t>  or area de </a:t>
            </a:r>
            <a:r>
              <a:rPr lang="en-US" altLang="zh-CN" sz="1200" dirty="0" err="1">
                <a:solidFill>
                  <a:schemeClr val="bg1"/>
                </a:solidFill>
                <a:latin typeface="+mj-lt"/>
                <a:ea typeface="微软雅黑" pitchFamily="34" charset="-122"/>
                <a:sym typeface="Calibri" pitchFamily="34" charset="0"/>
              </a:rPr>
              <a:t>pizarra</a:t>
            </a:r>
            <a:r>
              <a:rPr lang="en-US" altLang="zh-CN" sz="1200" dirty="0">
                <a:solidFill>
                  <a:schemeClr val="bg1"/>
                </a:solidFill>
                <a:latin typeface="+mj-lt"/>
                <a:ea typeface="微软雅黑" pitchFamily="34" charset="-122"/>
                <a:sym typeface="Calibri" pitchFamily="34" charset="0"/>
              </a:rPr>
              <a:t> </a:t>
            </a:r>
            <a:r>
              <a:rPr lang="en-US" altLang="zh-CN" sz="1200" dirty="0">
                <a:solidFill>
                  <a:srgbClr val="FFC000"/>
                </a:solidFill>
                <a:latin typeface="+mj-lt"/>
                <a:ea typeface="微软雅黑" pitchFamily="34" charset="-122"/>
                <a:sym typeface="Calibri" pitchFamily="34" charset="0"/>
              </a:rPr>
              <a:t>(Partners)</a:t>
            </a:r>
          </a:p>
          <a:p>
            <a:pPr marL="171413" lvl="1" indent="-171413" fontAlgn="ctr">
              <a:lnSpc>
                <a:spcPct val="150000"/>
              </a:lnSpc>
              <a:spcBef>
                <a:spcPts val="300"/>
              </a:spcBef>
              <a:spcAft>
                <a:spcPts val="300"/>
              </a:spcAft>
              <a:buClr>
                <a:schemeClr val="bg1"/>
              </a:buClr>
              <a:buSzPct val="60000"/>
              <a:buFont typeface="Arial" panose="020B0604020202020204" pitchFamily="34" charset="0"/>
              <a:buChar char="•"/>
            </a:pPr>
            <a:r>
              <a:rPr lang="en-US" altLang="zh-CN" sz="1200" dirty="0" err="1">
                <a:solidFill>
                  <a:schemeClr val="bg1"/>
                </a:solidFill>
                <a:latin typeface="+mj-lt"/>
                <a:ea typeface="微软雅黑" pitchFamily="34" charset="-122"/>
                <a:sym typeface="Calibri" pitchFamily="34" charset="0"/>
              </a:rPr>
              <a:t>Grabado</a:t>
            </a:r>
            <a:r>
              <a:rPr lang="en-US" altLang="zh-CN" sz="1200" dirty="0">
                <a:solidFill>
                  <a:schemeClr val="bg1"/>
                </a:solidFill>
                <a:latin typeface="+mj-lt"/>
                <a:ea typeface="微软雅黑" pitchFamily="34" charset="-122"/>
                <a:sym typeface="Calibri" pitchFamily="34" charset="0"/>
              </a:rPr>
              <a:t>, Broadcast, VOD </a:t>
            </a:r>
            <a:r>
              <a:rPr lang="en-US" altLang="zh-CN" sz="1200" dirty="0" err="1">
                <a:solidFill>
                  <a:schemeClr val="bg1"/>
                </a:solidFill>
                <a:latin typeface="+mj-lt"/>
                <a:ea typeface="微软雅黑" pitchFamily="34" charset="-122"/>
                <a:sym typeface="Calibri" pitchFamily="34" charset="0"/>
              </a:rPr>
              <a:t>en</a:t>
            </a:r>
            <a:r>
              <a:rPr lang="en-US" altLang="zh-CN" sz="1200" dirty="0">
                <a:solidFill>
                  <a:schemeClr val="bg1"/>
                </a:solidFill>
                <a:latin typeface="+mj-lt"/>
                <a:ea typeface="微软雅黑" pitchFamily="34" charset="-122"/>
                <a:sym typeface="Calibri" pitchFamily="34" charset="0"/>
              </a:rPr>
              <a:t> 1080p HD, </a:t>
            </a:r>
            <a:r>
              <a:rPr lang="en-US" altLang="zh-CN" sz="1200" dirty="0" err="1">
                <a:solidFill>
                  <a:schemeClr val="bg1"/>
                </a:solidFill>
                <a:latin typeface="+mj-lt"/>
                <a:ea typeface="微软雅黑" pitchFamily="34" charset="-122"/>
                <a:sym typeface="Calibri" pitchFamily="34" charset="0"/>
              </a:rPr>
              <a:t>soporte</a:t>
            </a:r>
            <a:r>
              <a:rPr lang="en-US" altLang="zh-CN" sz="1200" dirty="0">
                <a:solidFill>
                  <a:schemeClr val="bg1"/>
                </a:solidFill>
                <a:latin typeface="+mj-lt"/>
                <a:ea typeface="微软雅黑" pitchFamily="34" charset="-122"/>
                <a:sym typeface="Calibri" pitchFamily="34" charset="0"/>
              </a:rPr>
              <a:t> de multiples </a:t>
            </a:r>
            <a:r>
              <a:rPr lang="en-US" altLang="zh-CN" sz="1200" dirty="0" err="1">
                <a:solidFill>
                  <a:schemeClr val="bg1"/>
                </a:solidFill>
                <a:latin typeface="+mj-lt"/>
                <a:ea typeface="微软雅黑" pitchFamily="34" charset="-122"/>
                <a:sym typeface="Calibri" pitchFamily="34" charset="0"/>
              </a:rPr>
              <a:t>terminales</a:t>
            </a:r>
            <a:r>
              <a:rPr lang="en-US" altLang="zh-CN" sz="1200" dirty="0">
                <a:solidFill>
                  <a:schemeClr val="bg1"/>
                </a:solidFill>
                <a:latin typeface="+mj-lt"/>
                <a:ea typeface="微软雅黑" pitchFamily="34" charset="-122"/>
                <a:sym typeface="Calibri" pitchFamily="34" charset="0"/>
              </a:rPr>
              <a:t> para accede a la </a:t>
            </a:r>
            <a:r>
              <a:rPr lang="en-US" altLang="zh-CN" sz="1200" dirty="0" err="1">
                <a:solidFill>
                  <a:schemeClr val="bg1"/>
                </a:solidFill>
                <a:latin typeface="+mj-lt"/>
                <a:ea typeface="微软雅黑" pitchFamily="34" charset="-122"/>
                <a:sym typeface="Calibri" pitchFamily="34" charset="0"/>
              </a:rPr>
              <a:t>plataforma</a:t>
            </a:r>
            <a:r>
              <a:rPr lang="en-US" altLang="zh-CN" sz="1200" dirty="0">
                <a:solidFill>
                  <a:schemeClr val="bg1"/>
                </a:solidFill>
                <a:latin typeface="+mj-lt"/>
                <a:ea typeface="微软雅黑" pitchFamily="34" charset="-122"/>
                <a:sym typeface="Calibri" pitchFamily="34" charset="0"/>
              </a:rPr>
              <a:t> </a:t>
            </a:r>
            <a:r>
              <a:rPr lang="en-US" altLang="zh-CN" sz="1200" dirty="0" err="1">
                <a:solidFill>
                  <a:schemeClr val="bg1"/>
                </a:solidFill>
                <a:latin typeface="+mj-lt"/>
                <a:ea typeface="微软雅黑" pitchFamily="34" charset="-122"/>
                <a:sym typeface="Calibri" pitchFamily="34" charset="0"/>
              </a:rPr>
              <a:t>desde</a:t>
            </a:r>
            <a:r>
              <a:rPr lang="en-US" altLang="zh-CN" sz="1200" dirty="0">
                <a:solidFill>
                  <a:schemeClr val="bg1"/>
                </a:solidFill>
                <a:latin typeface="+mj-lt"/>
                <a:ea typeface="微软雅黑" pitchFamily="34" charset="-122"/>
                <a:sym typeface="Calibri" pitchFamily="34" charset="0"/>
              </a:rPr>
              <a:t> </a:t>
            </a:r>
            <a:r>
              <a:rPr lang="en-US" altLang="zh-CN" sz="1200" dirty="0" err="1">
                <a:solidFill>
                  <a:schemeClr val="bg1"/>
                </a:solidFill>
                <a:latin typeface="+mj-lt"/>
                <a:ea typeface="微软雅黑" pitchFamily="34" charset="-122"/>
                <a:sym typeface="Calibri" pitchFamily="34" charset="0"/>
              </a:rPr>
              <a:t>cualquier</a:t>
            </a:r>
            <a:r>
              <a:rPr lang="en-US" altLang="zh-CN" sz="1200" dirty="0">
                <a:solidFill>
                  <a:schemeClr val="bg1"/>
                </a:solidFill>
                <a:latin typeface="+mj-lt"/>
                <a:ea typeface="微软雅黑" pitchFamily="34" charset="-122"/>
                <a:sym typeface="Calibri" pitchFamily="34" charset="0"/>
              </a:rPr>
              <a:t> </a:t>
            </a:r>
            <a:r>
              <a:rPr lang="en-US" altLang="zh-CN" sz="1200" dirty="0" err="1">
                <a:solidFill>
                  <a:schemeClr val="bg1"/>
                </a:solidFill>
                <a:latin typeface="+mj-lt"/>
                <a:ea typeface="微软雅黑" pitchFamily="34" charset="-122"/>
                <a:sym typeface="Calibri" pitchFamily="34" charset="0"/>
              </a:rPr>
              <a:t>sitio</a:t>
            </a:r>
            <a:r>
              <a:rPr lang="en-US" altLang="zh-CN" sz="1200" dirty="0">
                <a:solidFill>
                  <a:schemeClr val="bg1"/>
                </a:solidFill>
                <a:latin typeface="+mj-lt"/>
                <a:ea typeface="微软雅黑" pitchFamily="34" charset="-122"/>
                <a:sym typeface="Calibri" pitchFamily="34" charset="0"/>
              </a:rPr>
              <a:t> y </a:t>
            </a:r>
            <a:r>
              <a:rPr lang="en-US" altLang="zh-CN" sz="1200" dirty="0" err="1">
                <a:solidFill>
                  <a:schemeClr val="bg1"/>
                </a:solidFill>
                <a:latin typeface="+mj-lt"/>
                <a:ea typeface="微软雅黑" pitchFamily="34" charset="-122"/>
                <a:sym typeface="Calibri" pitchFamily="34" charset="0"/>
              </a:rPr>
              <a:t>en</a:t>
            </a:r>
            <a:r>
              <a:rPr lang="en-US" altLang="zh-CN" sz="1200" dirty="0">
                <a:solidFill>
                  <a:schemeClr val="bg1"/>
                </a:solidFill>
                <a:latin typeface="+mj-lt"/>
                <a:ea typeface="微软雅黑" pitchFamily="34" charset="-122"/>
                <a:sym typeface="Calibri" pitchFamily="34" charset="0"/>
              </a:rPr>
              <a:t> </a:t>
            </a:r>
            <a:r>
              <a:rPr lang="en-US" altLang="zh-CN" sz="1200" dirty="0" err="1">
                <a:solidFill>
                  <a:schemeClr val="bg1"/>
                </a:solidFill>
                <a:latin typeface="+mj-lt"/>
                <a:ea typeface="微软雅黑" pitchFamily="34" charset="-122"/>
                <a:sym typeface="Calibri" pitchFamily="34" charset="0"/>
              </a:rPr>
              <a:t>cualquier</a:t>
            </a:r>
            <a:r>
              <a:rPr lang="en-US" altLang="zh-CN" sz="1200" dirty="0">
                <a:solidFill>
                  <a:schemeClr val="bg1"/>
                </a:solidFill>
                <a:latin typeface="+mj-lt"/>
                <a:ea typeface="微软雅黑" pitchFamily="34" charset="-122"/>
                <a:sym typeface="Calibri" pitchFamily="34" charset="0"/>
              </a:rPr>
              <a:t> </a:t>
            </a:r>
            <a:r>
              <a:rPr lang="en-US" altLang="zh-CN" sz="1200" dirty="0" err="1">
                <a:solidFill>
                  <a:schemeClr val="bg1"/>
                </a:solidFill>
                <a:latin typeface="+mj-lt"/>
                <a:ea typeface="微软雅黑" pitchFamily="34" charset="-122"/>
                <a:sym typeface="Calibri" pitchFamily="34" charset="0"/>
              </a:rPr>
              <a:t>momento</a:t>
            </a:r>
            <a:endParaRPr lang="en-US" altLang="zh-CN" sz="1200" dirty="0">
              <a:solidFill>
                <a:schemeClr val="bg1"/>
              </a:solidFill>
              <a:latin typeface="+mj-lt"/>
              <a:ea typeface="微软雅黑" pitchFamily="34" charset="-122"/>
              <a:sym typeface="Calibri" pitchFamily="34" charset="0"/>
            </a:endParaRPr>
          </a:p>
          <a:p>
            <a:pPr marL="171413" lvl="1" indent="-171413">
              <a:lnSpc>
                <a:spcPct val="150000"/>
              </a:lnSpc>
              <a:spcBef>
                <a:spcPts val="300"/>
              </a:spcBef>
              <a:spcAft>
                <a:spcPts val="300"/>
              </a:spcAft>
              <a:buFont typeface="Arial" panose="020B0604020202020204" pitchFamily="34" charset="0"/>
              <a:buChar char="•"/>
            </a:pPr>
            <a:r>
              <a:rPr lang="en-US" altLang="zh-CN" sz="1200" dirty="0" err="1">
                <a:solidFill>
                  <a:schemeClr val="bg1"/>
                </a:solidFill>
                <a:latin typeface="+mj-lt"/>
                <a:ea typeface="微软雅黑" pitchFamily="34" charset="-122"/>
              </a:rPr>
              <a:t>Posibilidad</a:t>
            </a:r>
            <a:r>
              <a:rPr lang="en-US" altLang="zh-CN" sz="1200" dirty="0">
                <a:solidFill>
                  <a:schemeClr val="bg1"/>
                </a:solidFill>
                <a:latin typeface="+mj-lt"/>
                <a:ea typeface="微软雅黑" pitchFamily="34" charset="-122"/>
              </a:rPr>
              <a:t> de </a:t>
            </a:r>
            <a:r>
              <a:rPr lang="en-US" altLang="zh-CN" sz="1200" dirty="0" err="1">
                <a:solidFill>
                  <a:schemeClr val="bg1"/>
                </a:solidFill>
                <a:latin typeface="+mj-lt"/>
                <a:ea typeface="微软雅黑" pitchFamily="34" charset="-122"/>
              </a:rPr>
              <a:t>hacer</a:t>
            </a:r>
            <a:r>
              <a:rPr lang="en-US" altLang="zh-CN" sz="1200" dirty="0">
                <a:solidFill>
                  <a:schemeClr val="bg1"/>
                </a:solidFill>
                <a:latin typeface="+mj-lt"/>
                <a:ea typeface="微软雅黑" pitchFamily="34" charset="-122"/>
              </a:rPr>
              <a:t> Broadcast </a:t>
            </a:r>
            <a:r>
              <a:rPr lang="en-US" altLang="zh-CN" sz="1200" dirty="0" err="1">
                <a:solidFill>
                  <a:schemeClr val="bg1"/>
                </a:solidFill>
                <a:latin typeface="+mj-lt"/>
                <a:ea typeface="微软雅黑" pitchFamily="34" charset="-122"/>
              </a:rPr>
              <a:t>en</a:t>
            </a:r>
            <a:r>
              <a:rPr lang="en-US" altLang="zh-CN" sz="1200" dirty="0">
                <a:solidFill>
                  <a:schemeClr val="bg1"/>
                </a:solidFill>
                <a:latin typeface="+mj-lt"/>
                <a:ea typeface="微软雅黑" pitchFamily="34" charset="-122"/>
              </a:rPr>
              <a:t> </a:t>
            </a:r>
            <a:r>
              <a:rPr lang="en-US" altLang="zh-CN" sz="1200" dirty="0" err="1">
                <a:solidFill>
                  <a:schemeClr val="bg1"/>
                </a:solidFill>
                <a:latin typeface="+mj-lt"/>
                <a:ea typeface="微软雅黑" pitchFamily="34" charset="-122"/>
              </a:rPr>
              <a:t>directo</a:t>
            </a:r>
            <a:r>
              <a:rPr lang="en-US" altLang="zh-CN" sz="1200" dirty="0">
                <a:solidFill>
                  <a:schemeClr val="bg1"/>
                </a:solidFill>
                <a:latin typeface="+mj-lt"/>
                <a:ea typeface="微软雅黑" pitchFamily="34" charset="-122"/>
              </a:rPr>
              <a:t>, </a:t>
            </a:r>
            <a:r>
              <a:rPr lang="en-US" altLang="zh-CN" sz="1200" dirty="0" err="1">
                <a:solidFill>
                  <a:schemeClr val="bg1"/>
                </a:solidFill>
                <a:latin typeface="+mj-lt"/>
                <a:ea typeface="微软雅黑" pitchFamily="34" charset="-122"/>
              </a:rPr>
              <a:t>grabación</a:t>
            </a:r>
            <a:r>
              <a:rPr lang="en-US" altLang="zh-CN" sz="1200" dirty="0">
                <a:solidFill>
                  <a:schemeClr val="bg1"/>
                </a:solidFill>
                <a:latin typeface="+mj-lt"/>
                <a:ea typeface="微软雅黑" pitchFamily="34" charset="-122"/>
              </a:rPr>
              <a:t> de la session y Video </a:t>
            </a:r>
            <a:r>
              <a:rPr lang="en-US" altLang="zh-CN" sz="1200" dirty="0" err="1">
                <a:solidFill>
                  <a:schemeClr val="bg1"/>
                </a:solidFill>
                <a:latin typeface="+mj-lt"/>
                <a:ea typeface="微软雅黑" pitchFamily="34" charset="-122"/>
              </a:rPr>
              <a:t>bajo</a:t>
            </a:r>
            <a:r>
              <a:rPr lang="en-US" altLang="zh-CN" sz="1200" dirty="0">
                <a:solidFill>
                  <a:schemeClr val="bg1"/>
                </a:solidFill>
                <a:latin typeface="+mj-lt"/>
                <a:ea typeface="微软雅黑" pitchFamily="34" charset="-122"/>
              </a:rPr>
              <a:t> </a:t>
            </a:r>
            <a:r>
              <a:rPr lang="en-US" altLang="zh-CN" sz="1200" dirty="0" err="1">
                <a:solidFill>
                  <a:schemeClr val="bg1"/>
                </a:solidFill>
                <a:latin typeface="+mj-lt"/>
                <a:ea typeface="微软雅黑" pitchFamily="34" charset="-122"/>
              </a:rPr>
              <a:t>demanda</a:t>
            </a:r>
            <a:r>
              <a:rPr lang="en-US" altLang="zh-CN" sz="1200" dirty="0">
                <a:solidFill>
                  <a:schemeClr val="bg1"/>
                </a:solidFill>
                <a:latin typeface="+mj-lt"/>
                <a:ea typeface="微软雅黑" pitchFamily="34" charset="-122"/>
              </a:rPr>
              <a:t> online</a:t>
            </a:r>
          </a:p>
        </p:txBody>
      </p:sp>
      <p:sp>
        <p:nvSpPr>
          <p:cNvPr id="65" name="TextBox 4"/>
          <p:cNvSpPr txBox="1">
            <a:spLocks noChangeArrowheads="1"/>
          </p:cNvSpPr>
          <p:nvPr/>
        </p:nvSpPr>
        <p:spPr bwMode="auto">
          <a:xfrm>
            <a:off x="6721394" y="5216161"/>
            <a:ext cx="4774589" cy="646331"/>
          </a:xfrm>
          <a:prstGeom prst="rect">
            <a:avLst/>
          </a:prstGeom>
          <a:noFill/>
          <a:ln w="9525">
            <a:noFill/>
            <a:miter lim="800000"/>
            <a:headEnd/>
            <a:tailEnd/>
          </a:ln>
        </p:spPr>
        <p:txBody>
          <a:bodyPr wrap="square">
            <a:spAutoFit/>
          </a:bodyPr>
          <a:lstStyle>
            <a:defPPr>
              <a:defRPr lang="zh-CN"/>
            </a:defPPr>
            <a:lvl2pPr marL="171450" lvl="1" indent="-171450">
              <a:lnSpc>
                <a:spcPct val="150000"/>
              </a:lnSpc>
              <a:spcBef>
                <a:spcPts val="300"/>
              </a:spcBef>
              <a:spcAft>
                <a:spcPts val="300"/>
              </a:spcAft>
              <a:buFont typeface="Arial" panose="020B0604020202020204" pitchFamily="34" charset="0"/>
              <a:buChar char="•"/>
              <a:defRPr sz="1300">
                <a:ea typeface="微软雅黑" pitchFamily="34" charset="-122"/>
              </a:defRPr>
            </a:lvl2pPr>
          </a:lstStyle>
          <a:p>
            <a:pPr lvl="1"/>
            <a:r>
              <a:rPr lang="en-US" altLang="zh-CN" sz="1200" dirty="0" err="1">
                <a:solidFill>
                  <a:schemeClr val="bg1"/>
                </a:solidFill>
                <a:latin typeface="Arial" panose="020B0604020202020204" pitchFamily="34" charset="0"/>
                <a:cs typeface="Arial" panose="020B0604020202020204" pitchFamily="34" charset="0"/>
              </a:rPr>
              <a:t>Usuarios</a:t>
            </a:r>
            <a:r>
              <a:rPr lang="en-US" altLang="zh-CN" sz="1200" dirty="0">
                <a:solidFill>
                  <a:schemeClr val="bg1"/>
                </a:solidFill>
                <a:latin typeface="Arial" panose="020B0604020202020204" pitchFamily="34" charset="0"/>
                <a:cs typeface="Arial" panose="020B0604020202020204" pitchFamily="34" charset="0"/>
              </a:rPr>
              <a:t> </a:t>
            </a:r>
            <a:r>
              <a:rPr lang="en-US" altLang="zh-CN" sz="1200" dirty="0" err="1">
                <a:solidFill>
                  <a:schemeClr val="bg1"/>
                </a:solidFill>
                <a:latin typeface="Arial" panose="020B0604020202020204" pitchFamily="34" charset="0"/>
                <a:cs typeface="Arial" panose="020B0604020202020204" pitchFamily="34" charset="0"/>
              </a:rPr>
              <a:t>pueden</a:t>
            </a:r>
            <a:r>
              <a:rPr lang="en-US" altLang="zh-CN" sz="1200" dirty="0">
                <a:solidFill>
                  <a:schemeClr val="bg1"/>
                </a:solidFill>
                <a:latin typeface="Arial" panose="020B0604020202020204" pitchFamily="34" charset="0"/>
                <a:cs typeface="Arial" panose="020B0604020202020204" pitchFamily="34" charset="0"/>
              </a:rPr>
              <a:t> </a:t>
            </a:r>
            <a:r>
              <a:rPr lang="en-US" altLang="zh-CN" sz="1200" dirty="0" err="1">
                <a:solidFill>
                  <a:schemeClr val="bg1"/>
                </a:solidFill>
                <a:latin typeface="Arial" panose="020B0604020202020204" pitchFamily="34" charset="0"/>
                <a:cs typeface="Arial" panose="020B0604020202020204" pitchFamily="34" charset="0"/>
              </a:rPr>
              <a:t>escribir</a:t>
            </a:r>
            <a:r>
              <a:rPr lang="en-US" altLang="zh-CN" sz="1200" dirty="0">
                <a:solidFill>
                  <a:schemeClr val="bg1"/>
                </a:solidFill>
                <a:latin typeface="Arial" panose="020B0604020202020204" pitchFamily="34" charset="0"/>
                <a:cs typeface="Arial" panose="020B0604020202020204" pitchFamily="34" charset="0"/>
              </a:rPr>
              <a:t> y </a:t>
            </a:r>
            <a:r>
              <a:rPr lang="en-US" altLang="zh-CN" sz="1200" dirty="0" err="1">
                <a:solidFill>
                  <a:schemeClr val="bg1"/>
                </a:solidFill>
                <a:latin typeface="Arial" panose="020B0604020202020204" pitchFamily="34" charset="0"/>
                <a:cs typeface="Arial" panose="020B0604020202020204" pitchFamily="34" charset="0"/>
              </a:rPr>
              <a:t>dibujar</a:t>
            </a:r>
            <a:r>
              <a:rPr lang="en-US" altLang="zh-CN" sz="1200" dirty="0">
                <a:solidFill>
                  <a:schemeClr val="bg1"/>
                </a:solidFill>
                <a:latin typeface="Arial" panose="020B0604020202020204" pitchFamily="34" charset="0"/>
                <a:cs typeface="Arial" panose="020B0604020202020204" pitchFamily="34" charset="0"/>
              </a:rPr>
              <a:t> </a:t>
            </a:r>
            <a:r>
              <a:rPr lang="en-US" altLang="zh-CN" sz="1200" dirty="0" err="1">
                <a:solidFill>
                  <a:schemeClr val="bg1"/>
                </a:solidFill>
                <a:latin typeface="Arial" panose="020B0604020202020204" pitchFamily="34" charset="0"/>
                <a:cs typeface="Arial" panose="020B0604020202020204" pitchFamily="34" charset="0"/>
              </a:rPr>
              <a:t>en</a:t>
            </a:r>
            <a:r>
              <a:rPr lang="en-US" altLang="zh-CN" sz="1200" dirty="0">
                <a:solidFill>
                  <a:schemeClr val="bg1"/>
                </a:solidFill>
                <a:latin typeface="Arial" panose="020B0604020202020204" pitchFamily="34" charset="0"/>
                <a:cs typeface="Arial" panose="020B0604020202020204" pitchFamily="34" charset="0"/>
              </a:rPr>
              <a:t> </a:t>
            </a:r>
            <a:r>
              <a:rPr lang="en-US" altLang="zh-CN" sz="1200" dirty="0" err="1">
                <a:solidFill>
                  <a:schemeClr val="bg1"/>
                </a:solidFill>
                <a:latin typeface="Arial" panose="020B0604020202020204" pitchFamily="34" charset="0"/>
                <a:cs typeface="Arial" panose="020B0604020202020204" pitchFamily="34" charset="0"/>
              </a:rPr>
              <a:t>documentos</a:t>
            </a:r>
            <a:r>
              <a:rPr lang="en-US" altLang="zh-CN" sz="1200" dirty="0">
                <a:solidFill>
                  <a:schemeClr val="bg1"/>
                </a:solidFill>
                <a:latin typeface="Arial" panose="020B0604020202020204" pitchFamily="34" charset="0"/>
                <a:cs typeface="Arial" panose="020B0604020202020204" pitchFamily="34" charset="0"/>
              </a:rPr>
              <a:t> </a:t>
            </a:r>
            <a:r>
              <a:rPr lang="en-US" altLang="zh-CN" sz="1200" dirty="0" err="1">
                <a:solidFill>
                  <a:schemeClr val="bg1"/>
                </a:solidFill>
                <a:latin typeface="Arial" panose="020B0604020202020204" pitchFamily="34" charset="0"/>
                <a:cs typeface="Arial" panose="020B0604020202020204" pitchFamily="34" charset="0"/>
              </a:rPr>
              <a:t>compartidos</a:t>
            </a:r>
            <a:r>
              <a:rPr lang="en-US" altLang="zh-CN" sz="1200" dirty="0">
                <a:solidFill>
                  <a:schemeClr val="bg1"/>
                </a:solidFill>
                <a:latin typeface="Arial" panose="020B0604020202020204" pitchFamily="34" charset="0"/>
                <a:cs typeface="Arial" panose="020B0604020202020204" pitchFamily="34" charset="0"/>
              </a:rPr>
              <a:t> </a:t>
            </a:r>
            <a:r>
              <a:rPr lang="en-US" altLang="zh-CN" sz="1200" dirty="0" err="1">
                <a:solidFill>
                  <a:schemeClr val="bg1"/>
                </a:solidFill>
                <a:latin typeface="Arial" panose="020B0604020202020204" pitchFamily="34" charset="0"/>
                <a:cs typeface="Arial" panose="020B0604020202020204" pitchFamily="34" charset="0"/>
              </a:rPr>
              <a:t>mejorando</a:t>
            </a:r>
            <a:r>
              <a:rPr lang="en-US" altLang="zh-CN" sz="1200" dirty="0">
                <a:solidFill>
                  <a:schemeClr val="bg1"/>
                </a:solidFill>
                <a:latin typeface="Arial" panose="020B0604020202020204" pitchFamily="34" charset="0"/>
                <a:cs typeface="Arial" panose="020B0604020202020204" pitchFamily="34" charset="0"/>
              </a:rPr>
              <a:t> la </a:t>
            </a:r>
            <a:r>
              <a:rPr lang="en-US" altLang="zh-CN" sz="1200" dirty="0" err="1">
                <a:solidFill>
                  <a:schemeClr val="bg1"/>
                </a:solidFill>
                <a:latin typeface="Arial" panose="020B0604020202020204" pitchFamily="34" charset="0"/>
                <a:cs typeface="Arial" panose="020B0604020202020204" pitchFamily="34" charset="0"/>
              </a:rPr>
              <a:t>interactividad</a:t>
            </a:r>
            <a:endParaRPr lang="zh-CN" altLang="en-US" sz="1200" dirty="0">
              <a:solidFill>
                <a:schemeClr val="bg1"/>
              </a:solidFill>
              <a:latin typeface="Arial" panose="020B0604020202020204" pitchFamily="34" charset="0"/>
              <a:cs typeface="Arial" panose="020B0604020202020204" pitchFamily="34" charset="0"/>
            </a:endParaRPr>
          </a:p>
        </p:txBody>
      </p:sp>
      <p:sp>
        <p:nvSpPr>
          <p:cNvPr id="66" name="TextBox 4"/>
          <p:cNvSpPr txBox="1">
            <a:spLocks noChangeArrowheads="1"/>
          </p:cNvSpPr>
          <p:nvPr/>
        </p:nvSpPr>
        <p:spPr bwMode="auto">
          <a:xfrm>
            <a:off x="6710190" y="4144145"/>
            <a:ext cx="4785793" cy="646331"/>
          </a:xfrm>
          <a:prstGeom prst="rect">
            <a:avLst/>
          </a:prstGeom>
          <a:noFill/>
          <a:ln w="9525">
            <a:noFill/>
            <a:miter lim="800000"/>
            <a:headEnd/>
            <a:tailEnd/>
          </a:ln>
        </p:spPr>
        <p:txBody>
          <a:bodyPr wrap="square">
            <a:spAutoFit/>
          </a:bodyPr>
          <a:lstStyle>
            <a:defPPr>
              <a:defRPr lang="zh-CN"/>
            </a:defPPr>
            <a:lvl2pPr marL="171450" lvl="1" indent="-171450">
              <a:lnSpc>
                <a:spcPct val="150000"/>
              </a:lnSpc>
              <a:spcBef>
                <a:spcPts val="300"/>
              </a:spcBef>
              <a:spcAft>
                <a:spcPts val="300"/>
              </a:spcAft>
              <a:buFont typeface="Arial" panose="020B0604020202020204" pitchFamily="34" charset="0"/>
              <a:buChar char="•"/>
              <a:defRPr sz="1300">
                <a:ea typeface="微软雅黑" pitchFamily="34" charset="-122"/>
              </a:defRPr>
            </a:lvl2pPr>
          </a:lstStyle>
          <a:p>
            <a:pPr lvl="1"/>
            <a:r>
              <a:rPr lang="en-US" altLang="zh-CN" sz="1200" dirty="0" err="1">
                <a:solidFill>
                  <a:schemeClr val="bg1"/>
                </a:solidFill>
                <a:latin typeface="Arial" panose="020B0604020202020204" pitchFamily="34" charset="0"/>
                <a:cs typeface="Arial" panose="020B0604020202020204" pitchFamily="34" charset="0"/>
              </a:rPr>
              <a:t>Compartición</a:t>
            </a:r>
            <a:r>
              <a:rPr lang="en-US" altLang="zh-CN" sz="1200" dirty="0">
                <a:solidFill>
                  <a:schemeClr val="bg1"/>
                </a:solidFill>
                <a:latin typeface="Arial" panose="020B0604020202020204" pitchFamily="34" charset="0"/>
                <a:cs typeface="Arial" panose="020B0604020202020204" pitchFamily="34" charset="0"/>
              </a:rPr>
              <a:t> de </a:t>
            </a:r>
            <a:r>
              <a:rPr lang="en-US" altLang="zh-CN" sz="1200" dirty="0" err="1">
                <a:solidFill>
                  <a:schemeClr val="bg1"/>
                </a:solidFill>
                <a:latin typeface="Arial" panose="020B0604020202020204" pitchFamily="34" charset="0"/>
                <a:cs typeface="Arial" panose="020B0604020202020204" pitchFamily="34" charset="0"/>
              </a:rPr>
              <a:t>Archivos</a:t>
            </a:r>
            <a:r>
              <a:rPr lang="en-US" altLang="zh-CN" sz="1200" dirty="0">
                <a:solidFill>
                  <a:schemeClr val="bg1"/>
                </a:solidFill>
                <a:latin typeface="Arial" panose="020B0604020202020204" pitchFamily="34" charset="0"/>
                <a:cs typeface="Arial" panose="020B0604020202020204" pitchFamily="34" charset="0"/>
              </a:rPr>
              <a:t> para W</a:t>
            </a:r>
            <a:r>
              <a:rPr lang="zh-CN" altLang="en-US" sz="1200" dirty="0">
                <a:solidFill>
                  <a:schemeClr val="bg1"/>
                </a:solidFill>
                <a:latin typeface="Arial" panose="020B0604020202020204" pitchFamily="34" charset="0"/>
                <a:cs typeface="Arial" panose="020B0604020202020204" pitchFamily="34" charset="0"/>
              </a:rPr>
              <a:t>ord/</a:t>
            </a:r>
            <a:r>
              <a:rPr lang="en-US" altLang="zh-CN" sz="1200" dirty="0">
                <a:solidFill>
                  <a:schemeClr val="bg1"/>
                </a:solidFill>
                <a:latin typeface="Arial" panose="020B0604020202020204" pitchFamily="34" charset="0"/>
                <a:cs typeface="Arial" panose="020B0604020202020204" pitchFamily="34" charset="0"/>
              </a:rPr>
              <a:t>PPT</a:t>
            </a:r>
            <a:r>
              <a:rPr lang="zh-CN" altLang="en-US" sz="1200" dirty="0">
                <a:solidFill>
                  <a:schemeClr val="bg1"/>
                </a:solidFill>
                <a:latin typeface="Arial" panose="020B0604020202020204" pitchFamily="34" charset="0"/>
                <a:cs typeface="Arial" panose="020B0604020202020204" pitchFamily="34" charset="0"/>
              </a:rPr>
              <a:t>/</a:t>
            </a:r>
            <a:r>
              <a:rPr lang="en-US" altLang="zh-CN" sz="1200" dirty="0">
                <a:solidFill>
                  <a:schemeClr val="bg1"/>
                </a:solidFill>
                <a:latin typeface="Arial" panose="020B0604020202020204" pitchFamily="34" charset="0"/>
                <a:cs typeface="Arial" panose="020B0604020202020204" pitchFamily="34" charset="0"/>
              </a:rPr>
              <a:t>PDF</a:t>
            </a:r>
            <a:r>
              <a:rPr lang="zh-CN" altLang="en-US" sz="1200" dirty="0">
                <a:solidFill>
                  <a:schemeClr val="bg1"/>
                </a:solidFill>
                <a:latin typeface="Arial" panose="020B0604020202020204" pitchFamily="34" charset="0"/>
                <a:cs typeface="Arial" panose="020B0604020202020204" pitchFamily="34" charset="0"/>
              </a:rPr>
              <a:t> </a:t>
            </a:r>
            <a:r>
              <a:rPr lang="es-ES" altLang="zh-CN" sz="1200" dirty="0">
                <a:solidFill>
                  <a:schemeClr val="bg1"/>
                </a:solidFill>
                <a:latin typeface="Arial" panose="020B0604020202020204" pitchFamily="34" charset="0"/>
                <a:cs typeface="Arial" panose="020B0604020202020204" pitchFamily="34" charset="0"/>
              </a:rPr>
              <a:t>desde aplicaciones y escritorios</a:t>
            </a:r>
            <a:endParaRPr lang="en-US" altLang="zh-CN" sz="1200" dirty="0">
              <a:solidFill>
                <a:schemeClr val="bg1"/>
              </a:solidFill>
              <a:latin typeface="Arial" panose="020B0604020202020204" pitchFamily="34" charset="0"/>
              <a:cs typeface="Arial" panose="020B0604020202020204" pitchFamily="34" charset="0"/>
            </a:endParaRPr>
          </a:p>
        </p:txBody>
      </p:sp>
      <p:sp>
        <p:nvSpPr>
          <p:cNvPr id="67" name="圆角矩形 68"/>
          <p:cNvSpPr>
            <a:spLocks noChangeArrowheads="1"/>
          </p:cNvSpPr>
          <p:nvPr/>
        </p:nvSpPr>
        <p:spPr bwMode="auto">
          <a:xfrm>
            <a:off x="3543374" y="1057154"/>
            <a:ext cx="1894859" cy="283398"/>
          </a:xfrm>
          <a:prstGeom prst="roundRect">
            <a:avLst>
              <a:gd name="adj" fmla="val 16667"/>
            </a:avLst>
          </a:prstGeom>
          <a:noFill/>
          <a:ln w="3175" cap="flat" cmpd="sng" algn="ctr">
            <a:noFill/>
            <a:prstDash val="solid"/>
            <a:round/>
            <a:headEnd type="none" w="med" len="med"/>
            <a:tailEnd type="none" w="med" len="med"/>
          </a:ln>
          <a:effectLst/>
          <a:scene3d>
            <a:camera prst="orthographicFront"/>
            <a:lightRig rig="flat" dir="t"/>
          </a:scene3d>
        </p:spPr>
        <p:txBody>
          <a:bodyPr rtlCol="0" anchor="ctr"/>
          <a:lstStyle/>
          <a:p>
            <a:pPr algn="ctr" defTabSz="914202" fontAlgn="base">
              <a:spcBef>
                <a:spcPct val="0"/>
              </a:spcBef>
              <a:spcAft>
                <a:spcPct val="0"/>
              </a:spcAft>
            </a:pPr>
            <a:r>
              <a:rPr lang="en-US" altLang="zh-CN" sz="1299" b="1" dirty="0">
                <a:solidFill>
                  <a:schemeClr val="bg1"/>
                </a:solidFill>
                <a:ea typeface="Arial Unicode MS" panose="020B0604020202020204" pitchFamily="34" charset="-122"/>
                <a:cs typeface="Arial" panose="020B0604020202020204" pitchFamily="34" charset="0"/>
              </a:rPr>
              <a:t>Close-up shoots</a:t>
            </a:r>
          </a:p>
        </p:txBody>
      </p:sp>
      <p:pic>
        <p:nvPicPr>
          <p:cNvPr id="68" name="Imagen 67">
            <a:extLst>
              <a:ext uri="{FF2B5EF4-FFF2-40B4-BE49-F238E27FC236}">
                <a16:creationId xmlns:a16="http://schemas.microsoft.com/office/drawing/2014/main" id="{D274F299-C4E1-8B49-A89B-B90C23E5CBC0}"/>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98593" y="151667"/>
            <a:ext cx="1388533" cy="355600"/>
          </a:xfrm>
          <a:prstGeom prst="rect">
            <a:avLst/>
          </a:prstGeom>
        </p:spPr>
      </p:pic>
      <p:sp>
        <p:nvSpPr>
          <p:cNvPr id="69" name="Marcador de número de diapositiva 1"/>
          <p:cNvSpPr txBox="1">
            <a:spLocks/>
          </p:cNvSpPr>
          <p:nvPr/>
        </p:nvSpPr>
        <p:spPr>
          <a:xfrm>
            <a:off x="11704622" y="6458134"/>
            <a:ext cx="487378" cy="48134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dirty="0" smtClean="0">
                <a:solidFill>
                  <a:schemeClr val="bg1"/>
                </a:solidFill>
              </a:rPr>
              <a:t>49</a:t>
            </a:r>
            <a:endParaRPr lang="en-US" sz="2000" dirty="0">
              <a:solidFill>
                <a:schemeClr val="bg1"/>
              </a:solidFill>
            </a:endParaRPr>
          </a:p>
        </p:txBody>
      </p:sp>
    </p:spTree>
    <p:extLst>
      <p:ext uri="{BB962C8B-B14F-4D97-AF65-F5344CB8AC3E}">
        <p14:creationId xmlns:p14="http://schemas.microsoft.com/office/powerpoint/2010/main" val="1762168502"/>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Group 83">
            <a:extLst>
              <a:ext uri="{FF2B5EF4-FFF2-40B4-BE49-F238E27FC236}">
                <a16:creationId xmlns:a16="http://schemas.microsoft.com/office/drawing/2014/main" id="{C5282FCF-1460-46F2-A6F9-A764DE79FEFA}"/>
              </a:ext>
            </a:extLst>
          </p:cNvPr>
          <p:cNvGrpSpPr/>
          <p:nvPr/>
        </p:nvGrpSpPr>
        <p:grpSpPr>
          <a:xfrm>
            <a:off x="1446077" y="1418126"/>
            <a:ext cx="4076567" cy="645820"/>
            <a:chOff x="676027" y="1378890"/>
            <a:chExt cx="4076567" cy="645820"/>
          </a:xfrm>
        </p:grpSpPr>
        <p:sp>
          <p:nvSpPr>
            <p:cNvPr id="3" name="Rectangle 38">
              <a:extLst>
                <a:ext uri="{FF2B5EF4-FFF2-40B4-BE49-F238E27FC236}">
                  <a16:creationId xmlns:a16="http://schemas.microsoft.com/office/drawing/2014/main" id="{F0396A6B-8F6D-405C-8E80-0562CCAD3134}"/>
                </a:ext>
              </a:extLst>
            </p:cNvPr>
            <p:cNvSpPr/>
            <p:nvPr/>
          </p:nvSpPr>
          <p:spPr>
            <a:xfrm flipH="1">
              <a:off x="957834" y="1401946"/>
              <a:ext cx="3794760" cy="622764"/>
            </a:xfrm>
            <a:prstGeom prst="rect">
              <a:avLst/>
            </a:prstGeom>
            <a:gradFill flip="none" rotWithShape="1">
              <a:gsLst>
                <a:gs pos="0">
                  <a:schemeClr val="bg1">
                    <a:alpha val="4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4" name="Group 60">
              <a:extLst>
                <a:ext uri="{FF2B5EF4-FFF2-40B4-BE49-F238E27FC236}">
                  <a16:creationId xmlns:a16="http://schemas.microsoft.com/office/drawing/2014/main" id="{DFC628FD-8304-447E-8E9A-57A973388683}"/>
                </a:ext>
              </a:extLst>
            </p:cNvPr>
            <p:cNvGrpSpPr/>
            <p:nvPr/>
          </p:nvGrpSpPr>
          <p:grpSpPr>
            <a:xfrm>
              <a:off x="676027" y="1378890"/>
              <a:ext cx="537103" cy="534197"/>
              <a:chOff x="11049987" y="1270856"/>
              <a:chExt cx="537103" cy="534197"/>
            </a:xfrm>
          </p:grpSpPr>
          <p:sp>
            <p:nvSpPr>
              <p:cNvPr id="6" name="Teardrop 61">
                <a:extLst>
                  <a:ext uri="{FF2B5EF4-FFF2-40B4-BE49-F238E27FC236}">
                    <a16:creationId xmlns:a16="http://schemas.microsoft.com/office/drawing/2014/main" id="{5FFE35B8-F4DB-4087-8F5E-9E6F7471F4CD}"/>
                  </a:ext>
                </a:extLst>
              </p:cNvPr>
              <p:cNvSpPr/>
              <p:nvPr/>
            </p:nvSpPr>
            <p:spPr>
              <a:xfrm rot="8141980">
                <a:off x="11049987" y="1270856"/>
                <a:ext cx="537103" cy="534197"/>
              </a:xfrm>
              <a:prstGeom prst="teardrop">
                <a:avLst>
                  <a:gd name="adj" fmla="val 114035"/>
                </a:avLst>
              </a:prstGeom>
              <a:solidFill>
                <a:srgbClr val="99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Oval 62">
                <a:extLst>
                  <a:ext uri="{FF2B5EF4-FFF2-40B4-BE49-F238E27FC236}">
                    <a16:creationId xmlns:a16="http://schemas.microsoft.com/office/drawing/2014/main" id="{0FACA9FB-EF27-424F-A804-BEDE558786A7}"/>
                  </a:ext>
                </a:extLst>
              </p:cNvPr>
              <p:cNvSpPr/>
              <p:nvPr/>
            </p:nvSpPr>
            <p:spPr>
              <a:xfrm>
                <a:off x="11155136" y="1374552"/>
                <a:ext cx="326805" cy="326805"/>
              </a:xfrm>
              <a:prstGeom prst="ellipse">
                <a:avLst/>
              </a:prstGeom>
              <a:solidFill>
                <a:schemeClr val="bg1"/>
              </a:solidFill>
              <a:ln w="76200">
                <a:no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5" name="TextBox 74">
              <a:hlinkClick r:id="rId2"/>
              <a:extLst>
                <a:ext uri="{FF2B5EF4-FFF2-40B4-BE49-F238E27FC236}">
                  <a16:creationId xmlns:a16="http://schemas.microsoft.com/office/drawing/2014/main" id="{1BD44AF6-1CAE-4483-9D66-4F8446AAB071}"/>
                </a:ext>
              </a:extLst>
            </p:cNvPr>
            <p:cNvSpPr txBox="1"/>
            <p:nvPr/>
          </p:nvSpPr>
          <p:spPr>
            <a:xfrm>
              <a:off x="1206272" y="1565612"/>
              <a:ext cx="2996250" cy="307777"/>
            </a:xfrm>
            <a:prstGeom prst="rect">
              <a:avLst/>
            </a:prstGeom>
            <a:noFill/>
          </p:spPr>
          <p:txBody>
            <a:bodyPr wrap="square" rtlCol="0">
              <a:spAutoFit/>
            </a:bodyPr>
            <a:lstStyle/>
            <a:p>
              <a:r>
                <a:rPr lang="en-US" sz="1400" b="1" dirty="0" err="1">
                  <a:latin typeface="Verdana" panose="020B0604030504040204" pitchFamily="34" charset="0"/>
                  <a:ea typeface="Verdana" panose="020B0604030504040204" pitchFamily="34" charset="0"/>
                </a:rPr>
                <a:t>Realidad</a:t>
              </a:r>
              <a:r>
                <a:rPr lang="en-US" sz="1400" b="1" dirty="0">
                  <a:latin typeface="Verdana" panose="020B0604030504040204" pitchFamily="34" charset="0"/>
                  <a:ea typeface="Verdana" panose="020B0604030504040204" pitchFamily="34" charset="0"/>
                </a:rPr>
                <a:t> </a:t>
              </a:r>
              <a:r>
                <a:rPr lang="en-US" sz="1400" b="1" dirty="0" err="1">
                  <a:latin typeface="Verdana" panose="020B0604030504040204" pitchFamily="34" charset="0"/>
                  <a:ea typeface="Verdana" panose="020B0604030504040204" pitchFamily="34" charset="0"/>
                </a:rPr>
                <a:t>Mixta</a:t>
              </a:r>
              <a:endParaRPr lang="en-US" sz="1400" b="1" dirty="0">
                <a:latin typeface="Verdana" panose="020B0604030504040204" pitchFamily="34" charset="0"/>
                <a:ea typeface="Verdana" panose="020B0604030504040204" pitchFamily="34" charset="0"/>
              </a:endParaRPr>
            </a:p>
          </p:txBody>
        </p:sp>
      </p:grpSp>
      <p:grpSp>
        <p:nvGrpSpPr>
          <p:cNvPr id="8" name="Group 84">
            <a:extLst>
              <a:ext uri="{FF2B5EF4-FFF2-40B4-BE49-F238E27FC236}">
                <a16:creationId xmlns:a16="http://schemas.microsoft.com/office/drawing/2014/main" id="{24E40BEA-3ACA-4016-A67F-CAB72BD66684}"/>
              </a:ext>
            </a:extLst>
          </p:cNvPr>
          <p:cNvGrpSpPr/>
          <p:nvPr/>
        </p:nvGrpSpPr>
        <p:grpSpPr>
          <a:xfrm>
            <a:off x="1178218" y="2303436"/>
            <a:ext cx="3537664" cy="637097"/>
            <a:chOff x="676027" y="2568995"/>
            <a:chExt cx="3537664" cy="637097"/>
          </a:xfrm>
        </p:grpSpPr>
        <p:sp>
          <p:nvSpPr>
            <p:cNvPr id="9" name="Rectangle 39">
              <a:extLst>
                <a:ext uri="{FF2B5EF4-FFF2-40B4-BE49-F238E27FC236}">
                  <a16:creationId xmlns:a16="http://schemas.microsoft.com/office/drawing/2014/main" id="{5853C6AB-DA95-4DAF-9D99-C14300F904C6}"/>
                </a:ext>
              </a:extLst>
            </p:cNvPr>
            <p:cNvSpPr/>
            <p:nvPr/>
          </p:nvSpPr>
          <p:spPr>
            <a:xfrm flipH="1">
              <a:off x="951708" y="2583328"/>
              <a:ext cx="2907310" cy="622764"/>
            </a:xfrm>
            <a:prstGeom prst="rect">
              <a:avLst/>
            </a:prstGeom>
            <a:gradFill flip="none" rotWithShape="1">
              <a:gsLst>
                <a:gs pos="0">
                  <a:schemeClr val="bg1">
                    <a:alpha val="4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0" name="Group 57">
              <a:extLst>
                <a:ext uri="{FF2B5EF4-FFF2-40B4-BE49-F238E27FC236}">
                  <a16:creationId xmlns:a16="http://schemas.microsoft.com/office/drawing/2014/main" id="{60562B62-046C-4B6B-8CF7-28C09C91E992}"/>
                </a:ext>
              </a:extLst>
            </p:cNvPr>
            <p:cNvGrpSpPr/>
            <p:nvPr/>
          </p:nvGrpSpPr>
          <p:grpSpPr>
            <a:xfrm>
              <a:off x="676027" y="2568995"/>
              <a:ext cx="537103" cy="534197"/>
              <a:chOff x="11049987" y="1270856"/>
              <a:chExt cx="537103" cy="534197"/>
            </a:xfrm>
          </p:grpSpPr>
          <p:sp>
            <p:nvSpPr>
              <p:cNvPr id="12" name="Teardrop 58">
                <a:extLst>
                  <a:ext uri="{FF2B5EF4-FFF2-40B4-BE49-F238E27FC236}">
                    <a16:creationId xmlns:a16="http://schemas.microsoft.com/office/drawing/2014/main" id="{2900F885-933A-44AE-ADB6-95DDB06A45DD}"/>
                  </a:ext>
                </a:extLst>
              </p:cNvPr>
              <p:cNvSpPr/>
              <p:nvPr/>
            </p:nvSpPr>
            <p:spPr>
              <a:xfrm rot="8141980">
                <a:off x="11049987" y="1270856"/>
                <a:ext cx="537103" cy="534197"/>
              </a:xfrm>
              <a:prstGeom prst="teardrop">
                <a:avLst>
                  <a:gd name="adj" fmla="val 114035"/>
                </a:avLst>
              </a:prstGeom>
              <a:solidFill>
                <a:srgbClr val="00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Oval 59">
                <a:extLst>
                  <a:ext uri="{FF2B5EF4-FFF2-40B4-BE49-F238E27FC236}">
                    <a16:creationId xmlns:a16="http://schemas.microsoft.com/office/drawing/2014/main" id="{239AFF28-59A6-438B-A7D1-CD97D5498D3E}"/>
                  </a:ext>
                </a:extLst>
              </p:cNvPr>
              <p:cNvSpPr/>
              <p:nvPr/>
            </p:nvSpPr>
            <p:spPr>
              <a:xfrm>
                <a:off x="11155136" y="1374552"/>
                <a:ext cx="326805" cy="326805"/>
              </a:xfrm>
              <a:prstGeom prst="ellipse">
                <a:avLst/>
              </a:prstGeom>
              <a:solidFill>
                <a:schemeClr val="bg1"/>
              </a:solidFill>
              <a:ln w="76200">
                <a:no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1" name="TextBox 75">
              <a:extLst>
                <a:ext uri="{FF2B5EF4-FFF2-40B4-BE49-F238E27FC236}">
                  <a16:creationId xmlns:a16="http://schemas.microsoft.com/office/drawing/2014/main" id="{CD4BD67A-EA58-4334-A71D-859AC91F71F5}"/>
                </a:ext>
              </a:extLst>
            </p:cNvPr>
            <p:cNvSpPr txBox="1"/>
            <p:nvPr/>
          </p:nvSpPr>
          <p:spPr>
            <a:xfrm>
              <a:off x="1217441" y="2736440"/>
              <a:ext cx="2996250" cy="307777"/>
            </a:xfrm>
            <a:prstGeom prst="rect">
              <a:avLst/>
            </a:prstGeom>
            <a:noFill/>
          </p:spPr>
          <p:txBody>
            <a:bodyPr wrap="square" rtlCol="0">
              <a:spAutoFit/>
            </a:bodyPr>
            <a:lstStyle/>
            <a:p>
              <a:r>
                <a:rPr lang="en-US" sz="1400" b="1" dirty="0" err="1">
                  <a:latin typeface="Verdana" panose="020B0604030504040204" pitchFamily="34" charset="0"/>
                  <a:ea typeface="Verdana" panose="020B0604030504040204" pitchFamily="34" charset="0"/>
                </a:rPr>
                <a:t>Impresión</a:t>
              </a:r>
              <a:r>
                <a:rPr lang="en-US" sz="1400" b="1" dirty="0">
                  <a:latin typeface="Verdana" panose="020B0604030504040204" pitchFamily="34" charset="0"/>
                  <a:ea typeface="Verdana" panose="020B0604030504040204" pitchFamily="34" charset="0"/>
                </a:rPr>
                <a:t> 3D</a:t>
              </a:r>
            </a:p>
          </p:txBody>
        </p:sp>
      </p:grpSp>
      <p:grpSp>
        <p:nvGrpSpPr>
          <p:cNvPr id="14" name="Group 85">
            <a:extLst>
              <a:ext uri="{FF2B5EF4-FFF2-40B4-BE49-F238E27FC236}">
                <a16:creationId xmlns:a16="http://schemas.microsoft.com/office/drawing/2014/main" id="{2E4AC4AF-88DD-469D-AD65-02648211DB62}"/>
              </a:ext>
            </a:extLst>
          </p:cNvPr>
          <p:cNvGrpSpPr/>
          <p:nvPr/>
        </p:nvGrpSpPr>
        <p:grpSpPr>
          <a:xfrm>
            <a:off x="882657" y="3218045"/>
            <a:ext cx="3485266" cy="640328"/>
            <a:chOff x="676027" y="3890007"/>
            <a:chExt cx="3485266" cy="640328"/>
          </a:xfrm>
        </p:grpSpPr>
        <p:sp>
          <p:nvSpPr>
            <p:cNvPr id="15" name="Rectangle 40">
              <a:extLst>
                <a:ext uri="{FF2B5EF4-FFF2-40B4-BE49-F238E27FC236}">
                  <a16:creationId xmlns:a16="http://schemas.microsoft.com/office/drawing/2014/main" id="{D62FF6CC-D14A-4543-90C9-12E2EE8FCAA5}"/>
                </a:ext>
              </a:extLst>
            </p:cNvPr>
            <p:cNvSpPr/>
            <p:nvPr/>
          </p:nvSpPr>
          <p:spPr>
            <a:xfrm flipH="1">
              <a:off x="951707" y="3907571"/>
              <a:ext cx="2994969" cy="622764"/>
            </a:xfrm>
            <a:prstGeom prst="rect">
              <a:avLst/>
            </a:prstGeom>
            <a:gradFill flip="none" rotWithShape="1">
              <a:gsLst>
                <a:gs pos="0">
                  <a:schemeClr val="bg1">
                    <a:alpha val="4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6" name="Group 54">
              <a:extLst>
                <a:ext uri="{FF2B5EF4-FFF2-40B4-BE49-F238E27FC236}">
                  <a16:creationId xmlns:a16="http://schemas.microsoft.com/office/drawing/2014/main" id="{7180FA02-9FAC-4725-915A-679BE623EACE}"/>
                </a:ext>
              </a:extLst>
            </p:cNvPr>
            <p:cNvGrpSpPr/>
            <p:nvPr/>
          </p:nvGrpSpPr>
          <p:grpSpPr>
            <a:xfrm>
              <a:off x="676027" y="3890007"/>
              <a:ext cx="537103" cy="534197"/>
              <a:chOff x="11049987" y="1270856"/>
              <a:chExt cx="537103" cy="534197"/>
            </a:xfrm>
          </p:grpSpPr>
          <p:sp>
            <p:nvSpPr>
              <p:cNvPr id="18" name="Teardrop 55">
                <a:extLst>
                  <a:ext uri="{FF2B5EF4-FFF2-40B4-BE49-F238E27FC236}">
                    <a16:creationId xmlns:a16="http://schemas.microsoft.com/office/drawing/2014/main" id="{78E2F18F-2598-4049-9268-9979DA7CFB4F}"/>
                  </a:ext>
                </a:extLst>
              </p:cNvPr>
              <p:cNvSpPr/>
              <p:nvPr/>
            </p:nvSpPr>
            <p:spPr>
              <a:xfrm rot="8141980">
                <a:off x="11049987" y="1270856"/>
                <a:ext cx="537103" cy="534197"/>
              </a:xfrm>
              <a:prstGeom prst="teardrop">
                <a:avLst>
                  <a:gd name="adj" fmla="val 114035"/>
                </a:avLst>
              </a:prstGeom>
              <a:solidFill>
                <a:srgbClr val="66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Oval 56">
                <a:extLst>
                  <a:ext uri="{FF2B5EF4-FFF2-40B4-BE49-F238E27FC236}">
                    <a16:creationId xmlns:a16="http://schemas.microsoft.com/office/drawing/2014/main" id="{C1A865FB-69FB-4187-AB15-7F72067476C0}"/>
                  </a:ext>
                </a:extLst>
              </p:cNvPr>
              <p:cNvSpPr/>
              <p:nvPr/>
            </p:nvSpPr>
            <p:spPr>
              <a:xfrm>
                <a:off x="11155136" y="1374552"/>
                <a:ext cx="326805" cy="326805"/>
              </a:xfrm>
              <a:prstGeom prst="ellipse">
                <a:avLst/>
              </a:prstGeom>
              <a:solidFill>
                <a:schemeClr val="bg1"/>
              </a:solidFill>
              <a:ln w="76200">
                <a:no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17" name="TextBox 76">
              <a:extLst>
                <a:ext uri="{FF2B5EF4-FFF2-40B4-BE49-F238E27FC236}">
                  <a16:creationId xmlns:a16="http://schemas.microsoft.com/office/drawing/2014/main" id="{7349A967-CC30-4D0F-9EA0-D4148889683B}"/>
                </a:ext>
              </a:extLst>
            </p:cNvPr>
            <p:cNvSpPr txBox="1"/>
            <p:nvPr/>
          </p:nvSpPr>
          <p:spPr>
            <a:xfrm>
              <a:off x="1165043" y="4055943"/>
              <a:ext cx="2996250" cy="307777"/>
            </a:xfrm>
            <a:prstGeom prst="rect">
              <a:avLst/>
            </a:prstGeom>
            <a:noFill/>
          </p:spPr>
          <p:txBody>
            <a:bodyPr wrap="square" rtlCol="0">
              <a:spAutoFit/>
            </a:bodyPr>
            <a:lstStyle/>
            <a:p>
              <a:r>
                <a:rPr lang="en-US" sz="1400" b="1" dirty="0" err="1">
                  <a:latin typeface="Verdana" panose="020B0604030504040204" pitchFamily="34" charset="0"/>
                  <a:ea typeface="Verdana" panose="020B0604030504040204" pitchFamily="34" charset="0"/>
                </a:rPr>
                <a:t>Escaneado</a:t>
              </a:r>
              <a:r>
                <a:rPr lang="en-US" sz="1400" b="1" dirty="0">
                  <a:latin typeface="Verdana" panose="020B0604030504040204" pitchFamily="34" charset="0"/>
                  <a:ea typeface="Verdana" panose="020B0604030504040204" pitchFamily="34" charset="0"/>
                </a:rPr>
                <a:t> 3D</a:t>
              </a:r>
            </a:p>
          </p:txBody>
        </p:sp>
      </p:grpSp>
      <p:grpSp>
        <p:nvGrpSpPr>
          <p:cNvPr id="20" name="Group 86">
            <a:extLst>
              <a:ext uri="{FF2B5EF4-FFF2-40B4-BE49-F238E27FC236}">
                <a16:creationId xmlns:a16="http://schemas.microsoft.com/office/drawing/2014/main" id="{B78496C6-E80A-4B33-804E-25DF47AB84AA}"/>
              </a:ext>
            </a:extLst>
          </p:cNvPr>
          <p:cNvGrpSpPr/>
          <p:nvPr/>
        </p:nvGrpSpPr>
        <p:grpSpPr>
          <a:xfrm>
            <a:off x="282304" y="4157632"/>
            <a:ext cx="4283518" cy="637191"/>
            <a:chOff x="676027" y="5063739"/>
            <a:chExt cx="4283518" cy="637191"/>
          </a:xfrm>
        </p:grpSpPr>
        <p:sp>
          <p:nvSpPr>
            <p:cNvPr id="21" name="Rectangle 41">
              <a:extLst>
                <a:ext uri="{FF2B5EF4-FFF2-40B4-BE49-F238E27FC236}">
                  <a16:creationId xmlns:a16="http://schemas.microsoft.com/office/drawing/2014/main" id="{DA26B818-CDE8-4041-A36C-C1135B24336F}"/>
                </a:ext>
              </a:extLst>
            </p:cNvPr>
            <p:cNvSpPr/>
            <p:nvPr/>
          </p:nvSpPr>
          <p:spPr>
            <a:xfrm flipH="1">
              <a:off x="951706" y="5078166"/>
              <a:ext cx="4007839" cy="622764"/>
            </a:xfrm>
            <a:prstGeom prst="rect">
              <a:avLst/>
            </a:prstGeom>
            <a:gradFill flip="none" rotWithShape="1">
              <a:gsLst>
                <a:gs pos="0">
                  <a:schemeClr val="bg1">
                    <a:alpha val="4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22" name="Group 51">
              <a:extLst>
                <a:ext uri="{FF2B5EF4-FFF2-40B4-BE49-F238E27FC236}">
                  <a16:creationId xmlns:a16="http://schemas.microsoft.com/office/drawing/2014/main" id="{0346E56D-C961-412A-BD0F-B8EE603201ED}"/>
                </a:ext>
              </a:extLst>
            </p:cNvPr>
            <p:cNvGrpSpPr/>
            <p:nvPr/>
          </p:nvGrpSpPr>
          <p:grpSpPr>
            <a:xfrm>
              <a:off x="676027" y="5063739"/>
              <a:ext cx="537103" cy="534197"/>
              <a:chOff x="11049987" y="1270856"/>
              <a:chExt cx="537103" cy="534197"/>
            </a:xfrm>
          </p:grpSpPr>
          <p:sp>
            <p:nvSpPr>
              <p:cNvPr id="24" name="Teardrop 52">
                <a:extLst>
                  <a:ext uri="{FF2B5EF4-FFF2-40B4-BE49-F238E27FC236}">
                    <a16:creationId xmlns:a16="http://schemas.microsoft.com/office/drawing/2014/main" id="{DAEFCAFC-5C76-484E-AB7F-1A791565B51B}"/>
                  </a:ext>
                </a:extLst>
              </p:cNvPr>
              <p:cNvSpPr/>
              <p:nvPr/>
            </p:nvSpPr>
            <p:spPr>
              <a:xfrm rot="8141980">
                <a:off x="11049987" y="1270856"/>
                <a:ext cx="537103" cy="534197"/>
              </a:xfrm>
              <a:prstGeom prst="teardrop">
                <a:avLst>
                  <a:gd name="adj" fmla="val 114035"/>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 name="Oval 53">
                <a:extLst>
                  <a:ext uri="{FF2B5EF4-FFF2-40B4-BE49-F238E27FC236}">
                    <a16:creationId xmlns:a16="http://schemas.microsoft.com/office/drawing/2014/main" id="{988B6B87-883F-46FF-AA80-0022BC1578BE}"/>
                  </a:ext>
                </a:extLst>
              </p:cNvPr>
              <p:cNvSpPr/>
              <p:nvPr/>
            </p:nvSpPr>
            <p:spPr>
              <a:xfrm>
                <a:off x="11155136" y="1374552"/>
                <a:ext cx="326805" cy="326805"/>
              </a:xfrm>
              <a:prstGeom prst="ellipse">
                <a:avLst/>
              </a:prstGeom>
              <a:solidFill>
                <a:schemeClr val="bg1"/>
              </a:solidFill>
              <a:ln w="76200">
                <a:no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3" name="TextBox 77">
              <a:extLst>
                <a:ext uri="{FF2B5EF4-FFF2-40B4-BE49-F238E27FC236}">
                  <a16:creationId xmlns:a16="http://schemas.microsoft.com/office/drawing/2014/main" id="{3FF915E4-F6C9-45FA-8956-428DC45BF457}"/>
                </a:ext>
              </a:extLst>
            </p:cNvPr>
            <p:cNvSpPr txBox="1"/>
            <p:nvPr/>
          </p:nvSpPr>
          <p:spPr>
            <a:xfrm>
              <a:off x="1173970" y="5209800"/>
              <a:ext cx="3348486" cy="307777"/>
            </a:xfrm>
            <a:prstGeom prst="rect">
              <a:avLst/>
            </a:prstGeom>
            <a:noFill/>
          </p:spPr>
          <p:txBody>
            <a:bodyPr wrap="square" rtlCol="0">
              <a:spAutoFit/>
            </a:bodyPr>
            <a:lstStyle/>
            <a:p>
              <a:r>
                <a:rPr lang="en-US" sz="1400" b="1" dirty="0" err="1">
                  <a:latin typeface="Verdana" panose="020B0604030504040204" pitchFamily="34" charset="0"/>
                  <a:ea typeface="Verdana" panose="020B0604030504040204" pitchFamily="34" charset="0"/>
                </a:rPr>
                <a:t>Conectividad</a:t>
              </a:r>
              <a:r>
                <a:rPr lang="en-US" sz="1400" b="1" dirty="0">
                  <a:latin typeface="Verdana" panose="020B0604030504040204" pitchFamily="34" charset="0"/>
                  <a:ea typeface="Verdana" panose="020B0604030504040204" pitchFamily="34" charset="0"/>
                </a:rPr>
                <a:t> entre </a:t>
              </a:r>
              <a:r>
                <a:rPr lang="en-US" sz="1400" b="1" dirty="0" err="1">
                  <a:latin typeface="Verdana" panose="020B0604030504040204" pitchFamily="34" charset="0"/>
                  <a:ea typeface="Verdana" panose="020B0604030504040204" pitchFamily="34" charset="0"/>
                </a:rPr>
                <a:t>dispositivos</a:t>
              </a:r>
              <a:endParaRPr lang="en-US" sz="1400" b="1" dirty="0">
                <a:latin typeface="Verdana" panose="020B0604030504040204" pitchFamily="34" charset="0"/>
                <a:ea typeface="Verdana" panose="020B0604030504040204" pitchFamily="34" charset="0"/>
              </a:endParaRPr>
            </a:p>
          </p:txBody>
        </p:sp>
      </p:grpSp>
      <p:grpSp>
        <p:nvGrpSpPr>
          <p:cNvPr id="26" name="Group 90">
            <a:extLst>
              <a:ext uri="{FF2B5EF4-FFF2-40B4-BE49-F238E27FC236}">
                <a16:creationId xmlns:a16="http://schemas.microsoft.com/office/drawing/2014/main" id="{96EEAAAB-974B-422E-856E-9792CA84C4E4}"/>
              </a:ext>
            </a:extLst>
          </p:cNvPr>
          <p:cNvGrpSpPr/>
          <p:nvPr/>
        </p:nvGrpSpPr>
        <p:grpSpPr>
          <a:xfrm>
            <a:off x="6664679" y="1427362"/>
            <a:ext cx="4102878" cy="645820"/>
            <a:chOff x="6919864" y="1378890"/>
            <a:chExt cx="4102878" cy="645820"/>
          </a:xfrm>
        </p:grpSpPr>
        <p:sp>
          <p:nvSpPr>
            <p:cNvPr id="27" name="Rectangle 32">
              <a:extLst>
                <a:ext uri="{FF2B5EF4-FFF2-40B4-BE49-F238E27FC236}">
                  <a16:creationId xmlns:a16="http://schemas.microsoft.com/office/drawing/2014/main" id="{E65ECB6E-1AA8-4325-88AE-B341DA63A700}"/>
                </a:ext>
              </a:extLst>
            </p:cNvPr>
            <p:cNvSpPr/>
            <p:nvPr/>
          </p:nvSpPr>
          <p:spPr>
            <a:xfrm>
              <a:off x="6919864" y="1401946"/>
              <a:ext cx="3796827" cy="622764"/>
            </a:xfrm>
            <a:prstGeom prst="rect">
              <a:avLst/>
            </a:prstGeom>
            <a:gradFill flip="none" rotWithShape="1">
              <a:gsLst>
                <a:gs pos="0">
                  <a:schemeClr val="bg1">
                    <a:alpha val="4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28" name="Group 1">
              <a:extLst>
                <a:ext uri="{FF2B5EF4-FFF2-40B4-BE49-F238E27FC236}">
                  <a16:creationId xmlns:a16="http://schemas.microsoft.com/office/drawing/2014/main" id="{1D7D9DED-B3AB-4BF6-A934-6EA2E8525726}"/>
                </a:ext>
              </a:extLst>
            </p:cNvPr>
            <p:cNvGrpSpPr/>
            <p:nvPr/>
          </p:nvGrpSpPr>
          <p:grpSpPr>
            <a:xfrm>
              <a:off x="10485639" y="1378890"/>
              <a:ext cx="537103" cy="534197"/>
              <a:chOff x="11049987" y="1270856"/>
              <a:chExt cx="537103" cy="534197"/>
            </a:xfrm>
          </p:grpSpPr>
          <p:sp>
            <p:nvSpPr>
              <p:cNvPr id="30" name="Teardrop 36">
                <a:extLst>
                  <a:ext uri="{FF2B5EF4-FFF2-40B4-BE49-F238E27FC236}">
                    <a16:creationId xmlns:a16="http://schemas.microsoft.com/office/drawing/2014/main" id="{B3A294BA-8DE7-4838-8CCB-37E0113E7D6B}"/>
                  </a:ext>
                </a:extLst>
              </p:cNvPr>
              <p:cNvSpPr/>
              <p:nvPr/>
            </p:nvSpPr>
            <p:spPr>
              <a:xfrm rot="8141980">
                <a:off x="11049987" y="1270856"/>
                <a:ext cx="537103" cy="534197"/>
              </a:xfrm>
              <a:prstGeom prst="teardrop">
                <a:avLst>
                  <a:gd name="adj" fmla="val 114035"/>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Oval 37">
                <a:extLst>
                  <a:ext uri="{FF2B5EF4-FFF2-40B4-BE49-F238E27FC236}">
                    <a16:creationId xmlns:a16="http://schemas.microsoft.com/office/drawing/2014/main" id="{2114E316-5383-4A9C-A03D-DB11C205257D}"/>
                  </a:ext>
                </a:extLst>
              </p:cNvPr>
              <p:cNvSpPr/>
              <p:nvPr/>
            </p:nvSpPr>
            <p:spPr>
              <a:xfrm>
                <a:off x="11155136" y="1374552"/>
                <a:ext cx="326805" cy="326805"/>
              </a:xfrm>
              <a:prstGeom prst="ellipse">
                <a:avLst/>
              </a:prstGeom>
              <a:solidFill>
                <a:schemeClr val="bg1"/>
              </a:solidFill>
              <a:ln w="76200">
                <a:no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9" name="TextBox 78">
              <a:extLst>
                <a:ext uri="{FF2B5EF4-FFF2-40B4-BE49-F238E27FC236}">
                  <a16:creationId xmlns:a16="http://schemas.microsoft.com/office/drawing/2014/main" id="{08ED9A79-8B73-4050-A695-DFB5FA5DCCAB}"/>
                </a:ext>
              </a:extLst>
            </p:cNvPr>
            <p:cNvSpPr txBox="1"/>
            <p:nvPr/>
          </p:nvSpPr>
          <p:spPr>
            <a:xfrm>
              <a:off x="7419103" y="1521557"/>
              <a:ext cx="3073394" cy="307777"/>
            </a:xfrm>
            <a:prstGeom prst="rect">
              <a:avLst/>
            </a:prstGeom>
            <a:noFill/>
          </p:spPr>
          <p:txBody>
            <a:bodyPr wrap="square" rtlCol="0">
              <a:spAutoFit/>
            </a:bodyPr>
            <a:lstStyle/>
            <a:p>
              <a:pPr algn="r"/>
              <a:r>
                <a:rPr lang="en-US" sz="1400" b="1" dirty="0">
                  <a:latin typeface="Verdana" panose="020B0604030504040204" pitchFamily="34" charset="0"/>
                  <a:ea typeface="Verdana" panose="020B0604030504040204" pitchFamily="34" charset="0"/>
                </a:rPr>
                <a:t>PLM </a:t>
              </a:r>
              <a:r>
                <a:rPr lang="en-US" sz="1200" b="1" dirty="0">
                  <a:latin typeface="Verdana" panose="020B0604030504040204" pitchFamily="34" charset="0"/>
                  <a:ea typeface="Verdana" panose="020B0604030504040204" pitchFamily="34" charset="0"/>
                </a:rPr>
                <a:t>(</a:t>
              </a:r>
              <a:r>
                <a:rPr lang="en-US" sz="1200" b="1" dirty="0" err="1">
                  <a:latin typeface="Verdana" panose="020B0604030504040204" pitchFamily="34" charset="0"/>
                  <a:ea typeface="Verdana" panose="020B0604030504040204" pitchFamily="34" charset="0"/>
                </a:rPr>
                <a:t>ciclo</a:t>
              </a:r>
              <a:r>
                <a:rPr lang="en-US" sz="1200" b="1" dirty="0">
                  <a:latin typeface="Verdana" panose="020B0604030504040204" pitchFamily="34" charset="0"/>
                  <a:ea typeface="Verdana" panose="020B0604030504040204" pitchFamily="34" charset="0"/>
                </a:rPr>
                <a:t> de </a:t>
              </a:r>
              <a:r>
                <a:rPr lang="en-US" sz="1200" b="1" dirty="0" err="1">
                  <a:latin typeface="Verdana" panose="020B0604030504040204" pitchFamily="34" charset="0"/>
                  <a:ea typeface="Verdana" panose="020B0604030504040204" pitchFamily="34" charset="0"/>
                </a:rPr>
                <a:t>vida</a:t>
              </a:r>
              <a:r>
                <a:rPr lang="en-US" sz="1200" b="1" dirty="0">
                  <a:latin typeface="Verdana" panose="020B0604030504040204" pitchFamily="34" charset="0"/>
                  <a:ea typeface="Verdana" panose="020B0604030504040204" pitchFamily="34" charset="0"/>
                </a:rPr>
                <a:t> del </a:t>
              </a:r>
              <a:r>
                <a:rPr lang="en-US" sz="1200" b="1" dirty="0" err="1">
                  <a:latin typeface="Verdana" panose="020B0604030504040204" pitchFamily="34" charset="0"/>
                  <a:ea typeface="Verdana" panose="020B0604030504040204" pitchFamily="34" charset="0"/>
                </a:rPr>
                <a:t>producto</a:t>
              </a:r>
              <a:r>
                <a:rPr lang="en-US" sz="1200" b="1" dirty="0">
                  <a:latin typeface="Verdana" panose="020B0604030504040204" pitchFamily="34" charset="0"/>
                  <a:ea typeface="Verdana" panose="020B0604030504040204" pitchFamily="34" charset="0"/>
                </a:rPr>
                <a:t>)</a:t>
              </a:r>
              <a:endParaRPr lang="en-US" sz="1400" b="1" dirty="0">
                <a:latin typeface="Verdana" panose="020B0604030504040204" pitchFamily="34" charset="0"/>
                <a:ea typeface="Verdana" panose="020B0604030504040204" pitchFamily="34" charset="0"/>
              </a:endParaRPr>
            </a:p>
          </p:txBody>
        </p:sp>
      </p:grpSp>
      <p:grpSp>
        <p:nvGrpSpPr>
          <p:cNvPr id="32" name="Group 89">
            <a:extLst>
              <a:ext uri="{FF2B5EF4-FFF2-40B4-BE49-F238E27FC236}">
                <a16:creationId xmlns:a16="http://schemas.microsoft.com/office/drawing/2014/main" id="{DE3CAA52-3AA1-4D16-A213-1E9074CE5FAE}"/>
              </a:ext>
            </a:extLst>
          </p:cNvPr>
          <p:cNvGrpSpPr/>
          <p:nvPr/>
        </p:nvGrpSpPr>
        <p:grpSpPr>
          <a:xfrm>
            <a:off x="7279479" y="2295619"/>
            <a:ext cx="3535876" cy="637097"/>
            <a:chOff x="7486866" y="2568995"/>
            <a:chExt cx="3535876" cy="637097"/>
          </a:xfrm>
        </p:grpSpPr>
        <p:sp>
          <p:nvSpPr>
            <p:cNvPr id="33" name="Rectangle 33">
              <a:extLst>
                <a:ext uri="{FF2B5EF4-FFF2-40B4-BE49-F238E27FC236}">
                  <a16:creationId xmlns:a16="http://schemas.microsoft.com/office/drawing/2014/main" id="{C9DE09FC-A449-4F3B-8501-C5856245D94E}"/>
                </a:ext>
              </a:extLst>
            </p:cNvPr>
            <p:cNvSpPr/>
            <p:nvPr/>
          </p:nvSpPr>
          <p:spPr>
            <a:xfrm>
              <a:off x="8120137" y="2583328"/>
              <a:ext cx="2583566" cy="622764"/>
            </a:xfrm>
            <a:prstGeom prst="rect">
              <a:avLst/>
            </a:prstGeom>
            <a:gradFill flip="none" rotWithShape="1">
              <a:gsLst>
                <a:gs pos="0">
                  <a:schemeClr val="bg1">
                    <a:alpha val="4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34" name="Group 42">
              <a:extLst>
                <a:ext uri="{FF2B5EF4-FFF2-40B4-BE49-F238E27FC236}">
                  <a16:creationId xmlns:a16="http://schemas.microsoft.com/office/drawing/2014/main" id="{9BE12088-63D0-4DEF-AF24-822936565DD3}"/>
                </a:ext>
              </a:extLst>
            </p:cNvPr>
            <p:cNvGrpSpPr/>
            <p:nvPr/>
          </p:nvGrpSpPr>
          <p:grpSpPr>
            <a:xfrm>
              <a:off x="10485639" y="2568995"/>
              <a:ext cx="537103" cy="534197"/>
              <a:chOff x="11049987" y="1270856"/>
              <a:chExt cx="537103" cy="534197"/>
            </a:xfrm>
          </p:grpSpPr>
          <p:sp>
            <p:nvSpPr>
              <p:cNvPr id="36" name="Teardrop 43">
                <a:extLst>
                  <a:ext uri="{FF2B5EF4-FFF2-40B4-BE49-F238E27FC236}">
                    <a16:creationId xmlns:a16="http://schemas.microsoft.com/office/drawing/2014/main" id="{8FA878BB-DA31-42DB-A035-55B141EFF78F}"/>
                  </a:ext>
                </a:extLst>
              </p:cNvPr>
              <p:cNvSpPr/>
              <p:nvPr/>
            </p:nvSpPr>
            <p:spPr>
              <a:xfrm rot="8141980">
                <a:off x="11049987" y="1270856"/>
                <a:ext cx="537103" cy="534197"/>
              </a:xfrm>
              <a:prstGeom prst="teardrop">
                <a:avLst>
                  <a:gd name="adj" fmla="val 114035"/>
                </a:avLst>
              </a:prstGeom>
              <a:solidFill>
                <a:srgbClr val="FF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7" name="Oval 44">
                <a:extLst>
                  <a:ext uri="{FF2B5EF4-FFF2-40B4-BE49-F238E27FC236}">
                    <a16:creationId xmlns:a16="http://schemas.microsoft.com/office/drawing/2014/main" id="{FC9678F3-69DD-48D8-9AB9-2D3711C0271B}"/>
                  </a:ext>
                </a:extLst>
              </p:cNvPr>
              <p:cNvSpPr/>
              <p:nvPr/>
            </p:nvSpPr>
            <p:spPr>
              <a:xfrm>
                <a:off x="11155136" y="1374552"/>
                <a:ext cx="326805" cy="326805"/>
              </a:xfrm>
              <a:prstGeom prst="ellipse">
                <a:avLst/>
              </a:prstGeom>
              <a:solidFill>
                <a:schemeClr val="bg1"/>
              </a:solidFill>
              <a:ln w="76200">
                <a:no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35" name="TextBox 79">
              <a:extLst>
                <a:ext uri="{FF2B5EF4-FFF2-40B4-BE49-F238E27FC236}">
                  <a16:creationId xmlns:a16="http://schemas.microsoft.com/office/drawing/2014/main" id="{AF4B9A66-A058-41DB-9BB2-1B0D5A0ACDBD}"/>
                </a:ext>
              </a:extLst>
            </p:cNvPr>
            <p:cNvSpPr txBox="1"/>
            <p:nvPr/>
          </p:nvSpPr>
          <p:spPr>
            <a:xfrm>
              <a:off x="7486866" y="2728477"/>
              <a:ext cx="2996250" cy="307777"/>
            </a:xfrm>
            <a:prstGeom prst="rect">
              <a:avLst/>
            </a:prstGeom>
            <a:noFill/>
          </p:spPr>
          <p:txBody>
            <a:bodyPr wrap="square" rtlCol="0">
              <a:spAutoFit/>
            </a:bodyPr>
            <a:lstStyle/>
            <a:p>
              <a:pPr algn="r"/>
              <a:r>
                <a:rPr lang="en-US" sz="1400" b="1" dirty="0">
                  <a:latin typeface="Verdana" panose="020B0604030504040204" pitchFamily="34" charset="0"/>
                  <a:ea typeface="Verdana" panose="020B0604030504040204" pitchFamily="34" charset="0"/>
                </a:rPr>
                <a:t>WIFI - 6</a:t>
              </a:r>
            </a:p>
          </p:txBody>
        </p:sp>
      </p:grpSp>
      <p:grpSp>
        <p:nvGrpSpPr>
          <p:cNvPr id="38" name="Group 88">
            <a:extLst>
              <a:ext uri="{FF2B5EF4-FFF2-40B4-BE49-F238E27FC236}">
                <a16:creationId xmlns:a16="http://schemas.microsoft.com/office/drawing/2014/main" id="{40A8D834-3F50-4E00-BB93-6C21761DE55B}"/>
              </a:ext>
            </a:extLst>
          </p:cNvPr>
          <p:cNvGrpSpPr/>
          <p:nvPr/>
        </p:nvGrpSpPr>
        <p:grpSpPr>
          <a:xfrm>
            <a:off x="8155029" y="3173567"/>
            <a:ext cx="2990264" cy="640328"/>
            <a:chOff x="8032478" y="3890007"/>
            <a:chExt cx="2990264" cy="640328"/>
          </a:xfrm>
        </p:grpSpPr>
        <p:sp>
          <p:nvSpPr>
            <p:cNvPr id="39" name="Rectangle 34">
              <a:extLst>
                <a:ext uri="{FF2B5EF4-FFF2-40B4-BE49-F238E27FC236}">
                  <a16:creationId xmlns:a16="http://schemas.microsoft.com/office/drawing/2014/main" id="{893D72F2-204B-4B89-8DCB-F3C6C3076BF4}"/>
                </a:ext>
              </a:extLst>
            </p:cNvPr>
            <p:cNvSpPr/>
            <p:nvPr/>
          </p:nvSpPr>
          <p:spPr>
            <a:xfrm>
              <a:off x="8032478" y="3907571"/>
              <a:ext cx="2671225" cy="622764"/>
            </a:xfrm>
            <a:prstGeom prst="rect">
              <a:avLst/>
            </a:prstGeom>
            <a:gradFill flip="none" rotWithShape="1">
              <a:gsLst>
                <a:gs pos="0">
                  <a:schemeClr val="bg1">
                    <a:alpha val="4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40" name="Group 45">
              <a:extLst>
                <a:ext uri="{FF2B5EF4-FFF2-40B4-BE49-F238E27FC236}">
                  <a16:creationId xmlns:a16="http://schemas.microsoft.com/office/drawing/2014/main" id="{3A3F6B93-9C2E-4A99-906C-4EAE26D0DEED}"/>
                </a:ext>
              </a:extLst>
            </p:cNvPr>
            <p:cNvGrpSpPr/>
            <p:nvPr/>
          </p:nvGrpSpPr>
          <p:grpSpPr>
            <a:xfrm>
              <a:off x="10485639" y="3890007"/>
              <a:ext cx="537103" cy="534197"/>
              <a:chOff x="11049987" y="1270856"/>
              <a:chExt cx="537103" cy="534197"/>
            </a:xfrm>
          </p:grpSpPr>
          <p:sp>
            <p:nvSpPr>
              <p:cNvPr id="42" name="Teardrop 46">
                <a:extLst>
                  <a:ext uri="{FF2B5EF4-FFF2-40B4-BE49-F238E27FC236}">
                    <a16:creationId xmlns:a16="http://schemas.microsoft.com/office/drawing/2014/main" id="{B2A2EE62-FFC0-4D33-AE5F-B004467B8AFC}"/>
                  </a:ext>
                </a:extLst>
              </p:cNvPr>
              <p:cNvSpPr/>
              <p:nvPr/>
            </p:nvSpPr>
            <p:spPr>
              <a:xfrm rot="8141980">
                <a:off x="11049987" y="1270856"/>
                <a:ext cx="537103" cy="534197"/>
              </a:xfrm>
              <a:prstGeom prst="teardrop">
                <a:avLst>
                  <a:gd name="adj" fmla="val 114035"/>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3" name="Oval 47">
                <a:extLst>
                  <a:ext uri="{FF2B5EF4-FFF2-40B4-BE49-F238E27FC236}">
                    <a16:creationId xmlns:a16="http://schemas.microsoft.com/office/drawing/2014/main" id="{AB6E3FD9-AB75-4370-B57E-957BC9C3D80A}"/>
                  </a:ext>
                </a:extLst>
              </p:cNvPr>
              <p:cNvSpPr/>
              <p:nvPr/>
            </p:nvSpPr>
            <p:spPr>
              <a:xfrm>
                <a:off x="11155136" y="1374552"/>
                <a:ext cx="326805" cy="326805"/>
              </a:xfrm>
              <a:prstGeom prst="ellipse">
                <a:avLst/>
              </a:prstGeom>
              <a:solidFill>
                <a:schemeClr val="bg1"/>
              </a:solidFill>
              <a:ln w="76200">
                <a:no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41" name="TextBox 80">
              <a:extLst>
                <a:ext uri="{FF2B5EF4-FFF2-40B4-BE49-F238E27FC236}">
                  <a16:creationId xmlns:a16="http://schemas.microsoft.com/office/drawing/2014/main" id="{CE31AC87-1DB5-4B70-851E-FD5B66DEB34B}"/>
                </a:ext>
              </a:extLst>
            </p:cNvPr>
            <p:cNvSpPr txBox="1"/>
            <p:nvPr/>
          </p:nvSpPr>
          <p:spPr>
            <a:xfrm>
              <a:off x="8531350" y="4075725"/>
              <a:ext cx="1970611" cy="307777"/>
            </a:xfrm>
            <a:prstGeom prst="rect">
              <a:avLst/>
            </a:prstGeom>
            <a:noFill/>
          </p:spPr>
          <p:txBody>
            <a:bodyPr wrap="square" rtlCol="0">
              <a:spAutoFit/>
            </a:bodyPr>
            <a:lstStyle/>
            <a:p>
              <a:pPr algn="r"/>
              <a:r>
                <a:rPr lang="en-US" sz="1400" b="1" dirty="0">
                  <a:latin typeface="Verdana" panose="020B0604030504040204" pitchFamily="34" charset="0"/>
                  <a:ea typeface="Verdana" panose="020B0604030504040204" pitchFamily="34" charset="0"/>
                </a:rPr>
                <a:t>5G – </a:t>
              </a:r>
              <a:r>
                <a:rPr lang="en-US" sz="1400" b="1" dirty="0" err="1">
                  <a:latin typeface="Verdana" panose="020B0604030504040204" pitchFamily="34" charset="0"/>
                  <a:ea typeface="Verdana" panose="020B0604030504040204" pitchFamily="34" charset="0"/>
                </a:rPr>
                <a:t>Fibra</a:t>
              </a:r>
              <a:r>
                <a:rPr lang="en-US" sz="1400" b="1" dirty="0">
                  <a:latin typeface="Verdana" panose="020B0604030504040204" pitchFamily="34" charset="0"/>
                  <a:ea typeface="Verdana" panose="020B0604030504040204" pitchFamily="34" charset="0"/>
                </a:rPr>
                <a:t> </a:t>
              </a:r>
              <a:r>
                <a:rPr lang="en-US" sz="1400" b="1" dirty="0" err="1">
                  <a:latin typeface="Verdana" panose="020B0604030504040204" pitchFamily="34" charset="0"/>
                  <a:ea typeface="Verdana" panose="020B0604030504040204" pitchFamily="34" charset="0"/>
                </a:rPr>
                <a:t>óptica</a:t>
              </a:r>
              <a:endParaRPr lang="en-US" sz="1400" b="1" dirty="0">
                <a:latin typeface="Verdana" panose="020B0604030504040204" pitchFamily="34" charset="0"/>
                <a:ea typeface="Verdana" panose="020B0604030504040204" pitchFamily="34" charset="0"/>
              </a:endParaRPr>
            </a:p>
          </p:txBody>
        </p:sp>
      </p:grpSp>
      <p:grpSp>
        <p:nvGrpSpPr>
          <p:cNvPr id="44" name="Group 87">
            <a:extLst>
              <a:ext uri="{FF2B5EF4-FFF2-40B4-BE49-F238E27FC236}">
                <a16:creationId xmlns:a16="http://schemas.microsoft.com/office/drawing/2014/main" id="{D4B1965B-B0AC-4168-8393-8221D94C3C4C}"/>
              </a:ext>
            </a:extLst>
          </p:cNvPr>
          <p:cNvGrpSpPr/>
          <p:nvPr/>
        </p:nvGrpSpPr>
        <p:grpSpPr>
          <a:xfrm>
            <a:off x="7912750" y="4129722"/>
            <a:ext cx="4003133" cy="637191"/>
            <a:chOff x="7019609" y="5063739"/>
            <a:chExt cx="4003133" cy="637191"/>
          </a:xfrm>
        </p:grpSpPr>
        <p:sp>
          <p:nvSpPr>
            <p:cNvPr id="45" name="Rectangle 35">
              <a:extLst>
                <a:ext uri="{FF2B5EF4-FFF2-40B4-BE49-F238E27FC236}">
                  <a16:creationId xmlns:a16="http://schemas.microsoft.com/office/drawing/2014/main" id="{92C7F13B-3488-4E24-9F9F-503B4016AE97}"/>
                </a:ext>
              </a:extLst>
            </p:cNvPr>
            <p:cNvSpPr/>
            <p:nvPr/>
          </p:nvSpPr>
          <p:spPr>
            <a:xfrm>
              <a:off x="7019609" y="5078166"/>
              <a:ext cx="3677440" cy="622764"/>
            </a:xfrm>
            <a:prstGeom prst="rect">
              <a:avLst/>
            </a:prstGeom>
            <a:gradFill flip="none" rotWithShape="1">
              <a:gsLst>
                <a:gs pos="0">
                  <a:schemeClr val="bg1">
                    <a:alpha val="4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46" name="Group 48">
              <a:extLst>
                <a:ext uri="{FF2B5EF4-FFF2-40B4-BE49-F238E27FC236}">
                  <a16:creationId xmlns:a16="http://schemas.microsoft.com/office/drawing/2014/main" id="{3FAE3F86-203F-4EA5-BEDA-163BB61818F9}"/>
                </a:ext>
              </a:extLst>
            </p:cNvPr>
            <p:cNvGrpSpPr/>
            <p:nvPr/>
          </p:nvGrpSpPr>
          <p:grpSpPr>
            <a:xfrm>
              <a:off x="10485639" y="5063739"/>
              <a:ext cx="537103" cy="534197"/>
              <a:chOff x="11049987" y="1270856"/>
              <a:chExt cx="537103" cy="534197"/>
            </a:xfrm>
          </p:grpSpPr>
          <p:sp>
            <p:nvSpPr>
              <p:cNvPr id="48" name="Teardrop 49">
                <a:extLst>
                  <a:ext uri="{FF2B5EF4-FFF2-40B4-BE49-F238E27FC236}">
                    <a16:creationId xmlns:a16="http://schemas.microsoft.com/office/drawing/2014/main" id="{C4C21CE9-A9FE-4F56-B098-116F328F00E7}"/>
                  </a:ext>
                </a:extLst>
              </p:cNvPr>
              <p:cNvSpPr/>
              <p:nvPr/>
            </p:nvSpPr>
            <p:spPr>
              <a:xfrm rot="8141980">
                <a:off x="11049987" y="1270856"/>
                <a:ext cx="537103" cy="534197"/>
              </a:xfrm>
              <a:prstGeom prst="teardrop">
                <a:avLst>
                  <a:gd name="adj" fmla="val 114035"/>
                </a:avLst>
              </a:prstGeom>
              <a:solidFill>
                <a:srgbClr val="FF33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9" name="Oval 50">
                <a:extLst>
                  <a:ext uri="{FF2B5EF4-FFF2-40B4-BE49-F238E27FC236}">
                    <a16:creationId xmlns:a16="http://schemas.microsoft.com/office/drawing/2014/main" id="{04DF4C02-E1ED-450E-94E3-889735DB136A}"/>
                  </a:ext>
                </a:extLst>
              </p:cNvPr>
              <p:cNvSpPr/>
              <p:nvPr/>
            </p:nvSpPr>
            <p:spPr>
              <a:xfrm>
                <a:off x="11155136" y="1374552"/>
                <a:ext cx="326805" cy="326805"/>
              </a:xfrm>
              <a:prstGeom prst="ellipse">
                <a:avLst/>
              </a:prstGeom>
              <a:solidFill>
                <a:schemeClr val="bg1"/>
              </a:solidFill>
              <a:ln w="76200">
                <a:no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47" name="TextBox 81">
              <a:extLst>
                <a:ext uri="{FF2B5EF4-FFF2-40B4-BE49-F238E27FC236}">
                  <a16:creationId xmlns:a16="http://schemas.microsoft.com/office/drawing/2014/main" id="{CF6A6637-E2E3-41DC-86E1-BBA4DC6B2FF2}"/>
                </a:ext>
              </a:extLst>
            </p:cNvPr>
            <p:cNvSpPr txBox="1"/>
            <p:nvPr/>
          </p:nvSpPr>
          <p:spPr>
            <a:xfrm>
              <a:off x="7481869" y="5239925"/>
              <a:ext cx="2996250" cy="307777"/>
            </a:xfrm>
            <a:prstGeom prst="rect">
              <a:avLst/>
            </a:prstGeom>
            <a:noFill/>
          </p:spPr>
          <p:txBody>
            <a:bodyPr wrap="square" rtlCol="0">
              <a:spAutoFit/>
            </a:bodyPr>
            <a:lstStyle/>
            <a:p>
              <a:pPr algn="r"/>
              <a:r>
                <a:rPr lang="en-US" sz="1400" b="1" dirty="0" err="1">
                  <a:latin typeface="Verdana" panose="020B0604030504040204" pitchFamily="34" charset="0"/>
                  <a:ea typeface="Verdana" panose="020B0604030504040204" pitchFamily="34" charset="0"/>
                </a:rPr>
                <a:t>Visión</a:t>
              </a:r>
              <a:r>
                <a:rPr lang="en-US" sz="1400" b="1" dirty="0">
                  <a:latin typeface="Verdana" panose="020B0604030504040204" pitchFamily="34" charset="0"/>
                  <a:ea typeface="Verdana" panose="020B0604030504040204" pitchFamily="34" charset="0"/>
                </a:rPr>
                <a:t> Artificial</a:t>
              </a:r>
            </a:p>
          </p:txBody>
        </p:sp>
      </p:grpSp>
      <p:grpSp>
        <p:nvGrpSpPr>
          <p:cNvPr id="84" name="Group 83">
            <a:extLst>
              <a:ext uri="{FF2B5EF4-FFF2-40B4-BE49-F238E27FC236}">
                <a16:creationId xmlns:a16="http://schemas.microsoft.com/office/drawing/2014/main" id="{9DDE0762-86C8-4EAC-A3BA-DC331DAE69FE}"/>
              </a:ext>
            </a:extLst>
          </p:cNvPr>
          <p:cNvGrpSpPr/>
          <p:nvPr/>
        </p:nvGrpSpPr>
        <p:grpSpPr>
          <a:xfrm>
            <a:off x="1007511" y="5019571"/>
            <a:ext cx="4076567" cy="645820"/>
            <a:chOff x="676027" y="1378890"/>
            <a:chExt cx="4076567" cy="645820"/>
          </a:xfrm>
        </p:grpSpPr>
        <p:sp>
          <p:nvSpPr>
            <p:cNvPr id="85" name="Rectangle 38">
              <a:extLst>
                <a:ext uri="{FF2B5EF4-FFF2-40B4-BE49-F238E27FC236}">
                  <a16:creationId xmlns:a16="http://schemas.microsoft.com/office/drawing/2014/main" id="{152598E9-EC23-42E5-AAEF-A5F073892BA4}"/>
                </a:ext>
              </a:extLst>
            </p:cNvPr>
            <p:cNvSpPr/>
            <p:nvPr/>
          </p:nvSpPr>
          <p:spPr>
            <a:xfrm flipH="1">
              <a:off x="957834" y="1401946"/>
              <a:ext cx="3794760" cy="622764"/>
            </a:xfrm>
            <a:prstGeom prst="rect">
              <a:avLst/>
            </a:prstGeom>
            <a:gradFill flip="none" rotWithShape="1">
              <a:gsLst>
                <a:gs pos="0">
                  <a:schemeClr val="bg1">
                    <a:alpha val="4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86" name="Group 60">
              <a:extLst>
                <a:ext uri="{FF2B5EF4-FFF2-40B4-BE49-F238E27FC236}">
                  <a16:creationId xmlns:a16="http://schemas.microsoft.com/office/drawing/2014/main" id="{0B81C062-3A2A-49C4-9511-1AB18439B2F5}"/>
                </a:ext>
              </a:extLst>
            </p:cNvPr>
            <p:cNvGrpSpPr/>
            <p:nvPr/>
          </p:nvGrpSpPr>
          <p:grpSpPr>
            <a:xfrm>
              <a:off x="676027" y="1378890"/>
              <a:ext cx="537103" cy="534197"/>
              <a:chOff x="11049987" y="1270856"/>
              <a:chExt cx="537103" cy="534197"/>
            </a:xfrm>
          </p:grpSpPr>
          <p:sp>
            <p:nvSpPr>
              <p:cNvPr id="88" name="Teardrop 61">
                <a:extLst>
                  <a:ext uri="{FF2B5EF4-FFF2-40B4-BE49-F238E27FC236}">
                    <a16:creationId xmlns:a16="http://schemas.microsoft.com/office/drawing/2014/main" id="{167E06D4-0C0E-422E-A74D-89E2B5CF4071}"/>
                  </a:ext>
                </a:extLst>
              </p:cNvPr>
              <p:cNvSpPr/>
              <p:nvPr/>
            </p:nvSpPr>
            <p:spPr>
              <a:xfrm rot="8141980">
                <a:off x="11049987" y="1270856"/>
                <a:ext cx="537103" cy="534197"/>
              </a:xfrm>
              <a:prstGeom prst="teardrop">
                <a:avLst>
                  <a:gd name="adj" fmla="val 114035"/>
                </a:avLst>
              </a:prstGeom>
              <a:solidFill>
                <a:srgbClr val="99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9" name="Oval 62">
                <a:extLst>
                  <a:ext uri="{FF2B5EF4-FFF2-40B4-BE49-F238E27FC236}">
                    <a16:creationId xmlns:a16="http://schemas.microsoft.com/office/drawing/2014/main" id="{49F6BCD6-EC8B-4A33-808A-197C2CD7D129}"/>
                  </a:ext>
                </a:extLst>
              </p:cNvPr>
              <p:cNvSpPr/>
              <p:nvPr/>
            </p:nvSpPr>
            <p:spPr>
              <a:xfrm>
                <a:off x="11155136" y="1374552"/>
                <a:ext cx="326805" cy="326805"/>
              </a:xfrm>
              <a:prstGeom prst="ellipse">
                <a:avLst/>
              </a:prstGeom>
              <a:solidFill>
                <a:schemeClr val="bg1"/>
              </a:solidFill>
              <a:ln w="76200">
                <a:no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87" name="TextBox 74">
              <a:hlinkClick r:id="rId3"/>
              <a:extLst>
                <a:ext uri="{FF2B5EF4-FFF2-40B4-BE49-F238E27FC236}">
                  <a16:creationId xmlns:a16="http://schemas.microsoft.com/office/drawing/2014/main" id="{D2A96B7F-5554-4086-A520-DFDAC1D0CD78}"/>
                </a:ext>
              </a:extLst>
            </p:cNvPr>
            <p:cNvSpPr txBox="1"/>
            <p:nvPr/>
          </p:nvSpPr>
          <p:spPr>
            <a:xfrm>
              <a:off x="1206271" y="1565612"/>
              <a:ext cx="3125341" cy="307777"/>
            </a:xfrm>
            <a:prstGeom prst="rect">
              <a:avLst/>
            </a:prstGeom>
            <a:noFill/>
          </p:spPr>
          <p:txBody>
            <a:bodyPr wrap="square" rtlCol="0">
              <a:spAutoFit/>
            </a:bodyPr>
            <a:lstStyle/>
            <a:p>
              <a:r>
                <a:rPr lang="en-US" sz="1400" b="1" dirty="0">
                  <a:latin typeface="Verdana" panose="020B0604030504040204" pitchFamily="34" charset="0"/>
                  <a:ea typeface="Verdana" panose="020B0604030504040204" pitchFamily="34" charset="0"/>
                </a:rPr>
                <a:t>Red </a:t>
              </a:r>
              <a:r>
                <a:rPr lang="en-US" sz="1400" b="1" dirty="0" err="1">
                  <a:latin typeface="Verdana" panose="020B0604030504040204" pitchFamily="34" charset="0"/>
                  <a:ea typeface="Verdana" panose="020B0604030504040204" pitchFamily="34" charset="0"/>
                </a:rPr>
                <a:t>Inteligente</a:t>
              </a:r>
              <a:r>
                <a:rPr lang="en-US" sz="1400" b="1" dirty="0">
                  <a:latin typeface="Verdana" panose="020B0604030504040204" pitchFamily="34" charset="0"/>
                  <a:ea typeface="Verdana" panose="020B0604030504040204" pitchFamily="34" charset="0"/>
                </a:rPr>
                <a:t> </a:t>
              </a:r>
              <a:r>
                <a:rPr lang="en-US" sz="1400" b="1" dirty="0" err="1">
                  <a:latin typeface="Verdana" panose="020B0604030504040204" pitchFamily="34" charset="0"/>
                  <a:ea typeface="Verdana" panose="020B0604030504040204" pitchFamily="34" charset="0"/>
                </a:rPr>
                <a:t>Colaborativa</a:t>
              </a:r>
              <a:endParaRPr lang="en-US" sz="1400" b="1" dirty="0">
                <a:latin typeface="Verdana" panose="020B0604030504040204" pitchFamily="34" charset="0"/>
                <a:ea typeface="Verdana" panose="020B0604030504040204" pitchFamily="34" charset="0"/>
              </a:endParaRPr>
            </a:p>
          </p:txBody>
        </p:sp>
      </p:grpSp>
      <p:grpSp>
        <p:nvGrpSpPr>
          <p:cNvPr id="90" name="Group 90">
            <a:extLst>
              <a:ext uri="{FF2B5EF4-FFF2-40B4-BE49-F238E27FC236}">
                <a16:creationId xmlns:a16="http://schemas.microsoft.com/office/drawing/2014/main" id="{A00279E2-4B5C-4BCD-9861-0DFC6F9C5024}"/>
              </a:ext>
            </a:extLst>
          </p:cNvPr>
          <p:cNvGrpSpPr/>
          <p:nvPr/>
        </p:nvGrpSpPr>
        <p:grpSpPr>
          <a:xfrm>
            <a:off x="7166418" y="4984053"/>
            <a:ext cx="4102878" cy="645820"/>
            <a:chOff x="6919864" y="1378890"/>
            <a:chExt cx="4102878" cy="645820"/>
          </a:xfrm>
        </p:grpSpPr>
        <p:sp>
          <p:nvSpPr>
            <p:cNvPr id="91" name="Rectangle 32">
              <a:extLst>
                <a:ext uri="{FF2B5EF4-FFF2-40B4-BE49-F238E27FC236}">
                  <a16:creationId xmlns:a16="http://schemas.microsoft.com/office/drawing/2014/main" id="{7B131E6B-B848-4DA1-90EF-9393538856AD}"/>
                </a:ext>
              </a:extLst>
            </p:cNvPr>
            <p:cNvSpPr/>
            <p:nvPr/>
          </p:nvSpPr>
          <p:spPr>
            <a:xfrm>
              <a:off x="6919864" y="1401946"/>
              <a:ext cx="3796827" cy="622764"/>
            </a:xfrm>
            <a:prstGeom prst="rect">
              <a:avLst/>
            </a:prstGeom>
            <a:gradFill flip="none" rotWithShape="1">
              <a:gsLst>
                <a:gs pos="0">
                  <a:schemeClr val="bg1">
                    <a:alpha val="4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92" name="Group 1">
              <a:extLst>
                <a:ext uri="{FF2B5EF4-FFF2-40B4-BE49-F238E27FC236}">
                  <a16:creationId xmlns:a16="http://schemas.microsoft.com/office/drawing/2014/main" id="{483D64D3-215E-4A4F-B327-954403D3835B}"/>
                </a:ext>
              </a:extLst>
            </p:cNvPr>
            <p:cNvGrpSpPr/>
            <p:nvPr/>
          </p:nvGrpSpPr>
          <p:grpSpPr>
            <a:xfrm>
              <a:off x="10485639" y="1378890"/>
              <a:ext cx="537103" cy="534197"/>
              <a:chOff x="11049987" y="1270856"/>
              <a:chExt cx="537103" cy="534197"/>
            </a:xfrm>
          </p:grpSpPr>
          <p:sp>
            <p:nvSpPr>
              <p:cNvPr id="94" name="Teardrop 36">
                <a:extLst>
                  <a:ext uri="{FF2B5EF4-FFF2-40B4-BE49-F238E27FC236}">
                    <a16:creationId xmlns:a16="http://schemas.microsoft.com/office/drawing/2014/main" id="{100AC911-3C70-4A13-A960-8690EC44C856}"/>
                  </a:ext>
                </a:extLst>
              </p:cNvPr>
              <p:cNvSpPr/>
              <p:nvPr/>
            </p:nvSpPr>
            <p:spPr>
              <a:xfrm rot="8141980">
                <a:off x="11049987" y="1270856"/>
                <a:ext cx="537103" cy="534197"/>
              </a:xfrm>
              <a:prstGeom prst="teardrop">
                <a:avLst>
                  <a:gd name="adj" fmla="val 114035"/>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5" name="Oval 37">
                <a:extLst>
                  <a:ext uri="{FF2B5EF4-FFF2-40B4-BE49-F238E27FC236}">
                    <a16:creationId xmlns:a16="http://schemas.microsoft.com/office/drawing/2014/main" id="{16DC4802-C5C9-406E-9AD2-472642056170}"/>
                  </a:ext>
                </a:extLst>
              </p:cNvPr>
              <p:cNvSpPr/>
              <p:nvPr/>
            </p:nvSpPr>
            <p:spPr>
              <a:xfrm>
                <a:off x="11155136" y="1374552"/>
                <a:ext cx="326805" cy="326805"/>
              </a:xfrm>
              <a:prstGeom prst="ellipse">
                <a:avLst/>
              </a:prstGeom>
              <a:solidFill>
                <a:schemeClr val="bg1"/>
              </a:solidFill>
              <a:ln w="76200">
                <a:no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93" name="TextBox 78">
              <a:extLst>
                <a:ext uri="{FF2B5EF4-FFF2-40B4-BE49-F238E27FC236}">
                  <a16:creationId xmlns:a16="http://schemas.microsoft.com/office/drawing/2014/main" id="{9D877620-378A-4EED-8AC4-4D9AD2C3B633}"/>
                </a:ext>
              </a:extLst>
            </p:cNvPr>
            <p:cNvSpPr txBox="1"/>
            <p:nvPr/>
          </p:nvSpPr>
          <p:spPr>
            <a:xfrm>
              <a:off x="7358946" y="1521557"/>
              <a:ext cx="3133551" cy="307777"/>
            </a:xfrm>
            <a:prstGeom prst="rect">
              <a:avLst/>
            </a:prstGeom>
            <a:noFill/>
          </p:spPr>
          <p:txBody>
            <a:bodyPr wrap="square" rtlCol="0">
              <a:spAutoFit/>
            </a:bodyPr>
            <a:lstStyle/>
            <a:p>
              <a:pPr algn="r"/>
              <a:r>
                <a:rPr lang="en-US" sz="1400" b="1" dirty="0" err="1">
                  <a:latin typeface="Verdana" panose="020B0604030504040204" pitchFamily="34" charset="0"/>
                  <a:ea typeface="Verdana" panose="020B0604030504040204" pitchFamily="34" charset="0"/>
                </a:rPr>
                <a:t>Impacto</a:t>
              </a:r>
              <a:r>
                <a:rPr lang="en-US" sz="1400" b="1" dirty="0">
                  <a:latin typeface="Verdana" panose="020B0604030504040204" pitchFamily="34" charset="0"/>
                  <a:ea typeface="Verdana" panose="020B0604030504040204" pitchFamily="34" charset="0"/>
                </a:rPr>
                <a:t> - </a:t>
              </a:r>
              <a:r>
                <a:rPr lang="en-US" sz="1400" b="1" dirty="0" err="1">
                  <a:latin typeface="Verdana" panose="020B0604030504040204" pitchFamily="34" charset="0"/>
                  <a:ea typeface="Verdana" panose="020B0604030504040204" pitchFamily="34" charset="0"/>
                </a:rPr>
                <a:t>Huella</a:t>
              </a:r>
              <a:r>
                <a:rPr lang="en-US" sz="1400" b="1" dirty="0">
                  <a:latin typeface="Verdana" panose="020B0604030504040204" pitchFamily="34" charset="0"/>
                  <a:ea typeface="Verdana" panose="020B0604030504040204" pitchFamily="34" charset="0"/>
                </a:rPr>
                <a:t> de </a:t>
              </a:r>
              <a:r>
                <a:rPr lang="en-US" sz="1400" b="1" dirty="0" err="1">
                  <a:latin typeface="Verdana" panose="020B0604030504040204" pitchFamily="34" charset="0"/>
                  <a:ea typeface="Verdana" panose="020B0604030504040204" pitchFamily="34" charset="0"/>
                </a:rPr>
                <a:t>carbono</a:t>
              </a:r>
              <a:endParaRPr lang="en-US" sz="1400" b="1" dirty="0">
                <a:latin typeface="Verdana" panose="020B0604030504040204" pitchFamily="34" charset="0"/>
                <a:ea typeface="Verdana" panose="020B0604030504040204" pitchFamily="34" charset="0"/>
              </a:endParaRPr>
            </a:p>
          </p:txBody>
        </p:sp>
      </p:grpSp>
      <p:grpSp>
        <p:nvGrpSpPr>
          <p:cNvPr id="105" name="Grupo 104">
            <a:extLst>
              <a:ext uri="{FF2B5EF4-FFF2-40B4-BE49-F238E27FC236}">
                <a16:creationId xmlns:a16="http://schemas.microsoft.com/office/drawing/2014/main" id="{077551D0-78CB-4692-B950-C52FE6B942FE}"/>
              </a:ext>
            </a:extLst>
          </p:cNvPr>
          <p:cNvGrpSpPr/>
          <p:nvPr/>
        </p:nvGrpSpPr>
        <p:grpSpPr>
          <a:xfrm>
            <a:off x="3907227" y="1359210"/>
            <a:ext cx="4746674" cy="4423868"/>
            <a:chOff x="3907227" y="1359210"/>
            <a:chExt cx="4746674" cy="4423868"/>
          </a:xfrm>
        </p:grpSpPr>
        <p:sp>
          <p:nvSpPr>
            <p:cNvPr id="50" name="Oval 6">
              <a:extLst>
                <a:ext uri="{FF2B5EF4-FFF2-40B4-BE49-F238E27FC236}">
                  <a16:creationId xmlns:a16="http://schemas.microsoft.com/office/drawing/2014/main" id="{9C3CA995-3D19-44EE-9E23-C2209F06059F}"/>
                </a:ext>
              </a:extLst>
            </p:cNvPr>
            <p:cNvSpPr/>
            <p:nvPr/>
          </p:nvSpPr>
          <p:spPr>
            <a:xfrm>
              <a:off x="4882363" y="2307684"/>
              <a:ext cx="2700997" cy="2700997"/>
            </a:xfrm>
            <a:prstGeom prst="ellipse">
              <a:avLst/>
            </a:prstGeom>
            <a:gradFill>
              <a:gsLst>
                <a:gs pos="1770">
                  <a:srgbClr val="00B0F0">
                    <a:alpha val="41000"/>
                  </a:srgbClr>
                </a:gs>
                <a:gs pos="100000">
                  <a:srgbClr val="000099">
                    <a:alpha val="68000"/>
                  </a:srgbClr>
                </a:gs>
              </a:gsLst>
              <a:lin ang="27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51" name="Group 10">
              <a:extLst>
                <a:ext uri="{FF2B5EF4-FFF2-40B4-BE49-F238E27FC236}">
                  <a16:creationId xmlns:a16="http://schemas.microsoft.com/office/drawing/2014/main" id="{1814DB53-A886-4A5C-A472-53E6333E72B8}"/>
                </a:ext>
              </a:extLst>
            </p:cNvPr>
            <p:cNvGrpSpPr/>
            <p:nvPr/>
          </p:nvGrpSpPr>
          <p:grpSpPr>
            <a:xfrm>
              <a:off x="5153209" y="1359210"/>
              <a:ext cx="822423" cy="822423"/>
              <a:chOff x="3608900" y="1227358"/>
              <a:chExt cx="822423" cy="822423"/>
            </a:xfrm>
          </p:grpSpPr>
          <p:sp>
            <p:nvSpPr>
              <p:cNvPr id="52" name="Oval 9">
                <a:extLst>
                  <a:ext uri="{FF2B5EF4-FFF2-40B4-BE49-F238E27FC236}">
                    <a16:creationId xmlns:a16="http://schemas.microsoft.com/office/drawing/2014/main" id="{3CF7CFC1-2D30-4D41-BACE-330390F78C30}"/>
                  </a:ext>
                </a:extLst>
              </p:cNvPr>
              <p:cNvSpPr/>
              <p:nvPr/>
            </p:nvSpPr>
            <p:spPr>
              <a:xfrm>
                <a:off x="3608900" y="1227358"/>
                <a:ext cx="822423" cy="822423"/>
              </a:xfrm>
              <a:prstGeom prst="ellipse">
                <a:avLst/>
              </a:prstGeom>
              <a:solidFill>
                <a:srgbClr val="9900CC"/>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3" name="Oval 8">
                <a:hlinkClick r:id="rId4"/>
                <a:extLst>
                  <a:ext uri="{FF2B5EF4-FFF2-40B4-BE49-F238E27FC236}">
                    <a16:creationId xmlns:a16="http://schemas.microsoft.com/office/drawing/2014/main" id="{78AC2EE7-9C11-44C5-AAAE-768CEB5A51FC}"/>
                  </a:ext>
                </a:extLst>
              </p:cNvPr>
              <p:cNvSpPr/>
              <p:nvPr/>
            </p:nvSpPr>
            <p:spPr>
              <a:xfrm>
                <a:off x="3675453" y="1293911"/>
                <a:ext cx="689317" cy="689317"/>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solidFill>
                    <a:schemeClr val="tx1"/>
                  </a:solidFill>
                </a:endParaRPr>
              </a:p>
            </p:txBody>
          </p:sp>
        </p:grpSp>
        <p:grpSp>
          <p:nvGrpSpPr>
            <p:cNvPr id="54" name="Group 11">
              <a:extLst>
                <a:ext uri="{FF2B5EF4-FFF2-40B4-BE49-F238E27FC236}">
                  <a16:creationId xmlns:a16="http://schemas.microsoft.com/office/drawing/2014/main" id="{C5BC9376-AEC4-4AE9-9F6B-65B2FFE8F1EE}"/>
                </a:ext>
              </a:extLst>
            </p:cNvPr>
            <p:cNvGrpSpPr/>
            <p:nvPr/>
          </p:nvGrpSpPr>
          <p:grpSpPr>
            <a:xfrm>
              <a:off x="4136235" y="2247551"/>
              <a:ext cx="822423" cy="822423"/>
              <a:chOff x="3608900" y="1227358"/>
              <a:chExt cx="822423" cy="822423"/>
            </a:xfrm>
          </p:grpSpPr>
          <p:sp>
            <p:nvSpPr>
              <p:cNvPr id="55" name="Oval 12">
                <a:extLst>
                  <a:ext uri="{FF2B5EF4-FFF2-40B4-BE49-F238E27FC236}">
                    <a16:creationId xmlns:a16="http://schemas.microsoft.com/office/drawing/2014/main" id="{0D49F314-98F1-4C56-8F3C-DAD22EDA06E1}"/>
                  </a:ext>
                </a:extLst>
              </p:cNvPr>
              <p:cNvSpPr/>
              <p:nvPr/>
            </p:nvSpPr>
            <p:spPr>
              <a:xfrm>
                <a:off x="3608900" y="1227358"/>
                <a:ext cx="822423" cy="822423"/>
              </a:xfrm>
              <a:prstGeom prst="ellipse">
                <a:avLst/>
              </a:prstGeom>
              <a:solidFill>
                <a:srgbClr val="003366"/>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6" name="Oval 13">
                <a:extLst>
                  <a:ext uri="{FF2B5EF4-FFF2-40B4-BE49-F238E27FC236}">
                    <a16:creationId xmlns:a16="http://schemas.microsoft.com/office/drawing/2014/main" id="{CCA51184-AFDF-44A1-B73C-FA23C3434073}"/>
                  </a:ext>
                </a:extLst>
              </p:cNvPr>
              <p:cNvSpPr/>
              <p:nvPr/>
            </p:nvSpPr>
            <p:spPr>
              <a:xfrm>
                <a:off x="3675453" y="1293911"/>
                <a:ext cx="689317" cy="689317"/>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solidFill>
                    <a:schemeClr val="tx1"/>
                  </a:solidFill>
                </a:endParaRPr>
              </a:p>
            </p:txBody>
          </p:sp>
        </p:grpSp>
        <p:grpSp>
          <p:nvGrpSpPr>
            <p:cNvPr id="57" name="Group 14">
              <a:extLst>
                <a:ext uri="{FF2B5EF4-FFF2-40B4-BE49-F238E27FC236}">
                  <a16:creationId xmlns:a16="http://schemas.microsoft.com/office/drawing/2014/main" id="{0D01332A-87C3-4EC6-A2E8-ECFB1E282D82}"/>
                </a:ext>
              </a:extLst>
            </p:cNvPr>
            <p:cNvGrpSpPr/>
            <p:nvPr/>
          </p:nvGrpSpPr>
          <p:grpSpPr>
            <a:xfrm>
              <a:off x="3907227" y="3140920"/>
              <a:ext cx="822423" cy="822423"/>
              <a:chOff x="3608900" y="1227358"/>
              <a:chExt cx="822423" cy="822423"/>
            </a:xfrm>
          </p:grpSpPr>
          <p:sp>
            <p:nvSpPr>
              <p:cNvPr id="58" name="Oval 15">
                <a:extLst>
                  <a:ext uri="{FF2B5EF4-FFF2-40B4-BE49-F238E27FC236}">
                    <a16:creationId xmlns:a16="http://schemas.microsoft.com/office/drawing/2014/main" id="{E790A5DF-FDAC-4A5A-A3B3-B53B66A5B406}"/>
                  </a:ext>
                </a:extLst>
              </p:cNvPr>
              <p:cNvSpPr/>
              <p:nvPr/>
            </p:nvSpPr>
            <p:spPr>
              <a:xfrm>
                <a:off x="3608900" y="1227358"/>
                <a:ext cx="822423" cy="822423"/>
              </a:xfrm>
              <a:prstGeom prst="ellipse">
                <a:avLst/>
              </a:prstGeom>
              <a:solidFill>
                <a:srgbClr val="6600FF"/>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9" name="Oval 16">
                <a:extLst>
                  <a:ext uri="{FF2B5EF4-FFF2-40B4-BE49-F238E27FC236}">
                    <a16:creationId xmlns:a16="http://schemas.microsoft.com/office/drawing/2014/main" id="{F7E314EC-F091-4F4B-92F9-9AF2F2B32911}"/>
                  </a:ext>
                </a:extLst>
              </p:cNvPr>
              <p:cNvSpPr/>
              <p:nvPr/>
            </p:nvSpPr>
            <p:spPr>
              <a:xfrm>
                <a:off x="3675453" y="1293911"/>
                <a:ext cx="689317" cy="689317"/>
              </a:xfrm>
              <a:prstGeom prst="ellipse">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solidFill>
                    <a:schemeClr val="tx1"/>
                  </a:solidFill>
                </a:endParaRPr>
              </a:p>
            </p:txBody>
          </p:sp>
        </p:grpSp>
        <p:grpSp>
          <p:nvGrpSpPr>
            <p:cNvPr id="60" name="Group 17">
              <a:extLst>
                <a:ext uri="{FF2B5EF4-FFF2-40B4-BE49-F238E27FC236}">
                  <a16:creationId xmlns:a16="http://schemas.microsoft.com/office/drawing/2014/main" id="{2709C7D4-238F-4570-A3FC-BF7163A15283}"/>
                </a:ext>
              </a:extLst>
            </p:cNvPr>
            <p:cNvGrpSpPr/>
            <p:nvPr/>
          </p:nvGrpSpPr>
          <p:grpSpPr>
            <a:xfrm>
              <a:off x="4129297" y="4063169"/>
              <a:ext cx="822423" cy="822423"/>
              <a:chOff x="3608900" y="1227358"/>
              <a:chExt cx="822423" cy="822423"/>
            </a:xfrm>
          </p:grpSpPr>
          <p:sp>
            <p:nvSpPr>
              <p:cNvPr id="61" name="Oval 18">
                <a:extLst>
                  <a:ext uri="{FF2B5EF4-FFF2-40B4-BE49-F238E27FC236}">
                    <a16:creationId xmlns:a16="http://schemas.microsoft.com/office/drawing/2014/main" id="{2978AFF9-5CCB-40C9-99C8-31A76B5CD0C5}"/>
                  </a:ext>
                </a:extLst>
              </p:cNvPr>
              <p:cNvSpPr/>
              <p:nvPr/>
            </p:nvSpPr>
            <p:spPr>
              <a:xfrm>
                <a:off x="3608900" y="1227358"/>
                <a:ext cx="822423" cy="822423"/>
              </a:xfrm>
              <a:prstGeom prst="ellipse">
                <a:avLst/>
              </a:prstGeom>
              <a:solidFill>
                <a:srgbClr val="FFFF00"/>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2" name="Oval 19">
                <a:extLst>
                  <a:ext uri="{FF2B5EF4-FFF2-40B4-BE49-F238E27FC236}">
                    <a16:creationId xmlns:a16="http://schemas.microsoft.com/office/drawing/2014/main" id="{F952D0FA-FE35-4659-96B1-FAAE95125F7A}"/>
                  </a:ext>
                </a:extLst>
              </p:cNvPr>
              <p:cNvSpPr/>
              <p:nvPr/>
            </p:nvSpPr>
            <p:spPr>
              <a:xfrm>
                <a:off x="3675453" y="1293911"/>
                <a:ext cx="689317" cy="689317"/>
              </a:xfrm>
              <a:prstGeom prst="ellipse">
                <a:avLst/>
              </a:prstGeom>
              <a:ln/>
            </p:spPr>
            <p:style>
              <a:lnRef idx="1">
                <a:schemeClr val="dk1"/>
              </a:lnRef>
              <a:fillRef idx="2">
                <a:schemeClr val="dk1"/>
              </a:fillRef>
              <a:effectRef idx="1">
                <a:schemeClr val="dk1"/>
              </a:effectRef>
              <a:fontRef idx="minor">
                <a:schemeClr val="dk1"/>
              </a:fontRef>
            </p:style>
            <p:txBody>
              <a:bodyPr rtlCol="0" anchor="ctr"/>
              <a:lstStyle/>
              <a:p>
                <a:pPr algn="ctr"/>
                <a:endParaRPr lang="en-US">
                  <a:solidFill>
                    <a:schemeClr val="tx1"/>
                  </a:solidFill>
                </a:endParaRPr>
              </a:p>
            </p:txBody>
          </p:sp>
        </p:grpSp>
        <p:grpSp>
          <p:nvGrpSpPr>
            <p:cNvPr id="63" name="Group 20">
              <a:extLst>
                <a:ext uri="{FF2B5EF4-FFF2-40B4-BE49-F238E27FC236}">
                  <a16:creationId xmlns:a16="http://schemas.microsoft.com/office/drawing/2014/main" id="{D1E72598-A7B6-4CE0-A10D-BD10BEEA5DF6}"/>
                </a:ext>
              </a:extLst>
            </p:cNvPr>
            <p:cNvGrpSpPr/>
            <p:nvPr/>
          </p:nvGrpSpPr>
          <p:grpSpPr>
            <a:xfrm>
              <a:off x="6253470" y="1368446"/>
              <a:ext cx="822423" cy="822423"/>
              <a:chOff x="3608900" y="1227358"/>
              <a:chExt cx="822423" cy="822423"/>
            </a:xfrm>
          </p:grpSpPr>
          <p:sp>
            <p:nvSpPr>
              <p:cNvPr id="64" name="Oval 21">
                <a:extLst>
                  <a:ext uri="{FF2B5EF4-FFF2-40B4-BE49-F238E27FC236}">
                    <a16:creationId xmlns:a16="http://schemas.microsoft.com/office/drawing/2014/main" id="{5320C8A8-BA3D-4AA1-8161-D492009AB028}"/>
                  </a:ext>
                </a:extLst>
              </p:cNvPr>
              <p:cNvSpPr/>
              <p:nvPr/>
            </p:nvSpPr>
            <p:spPr>
              <a:xfrm>
                <a:off x="3608900" y="1227358"/>
                <a:ext cx="822423" cy="822423"/>
              </a:xfrm>
              <a:prstGeom prst="ellipse">
                <a:avLst/>
              </a:prstGeom>
              <a:solidFill>
                <a:srgbClr val="FF9900"/>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5" name="Oval 22">
                <a:extLst>
                  <a:ext uri="{FF2B5EF4-FFF2-40B4-BE49-F238E27FC236}">
                    <a16:creationId xmlns:a16="http://schemas.microsoft.com/office/drawing/2014/main" id="{FCD2B18C-DF59-4D58-A04F-0E89C9B7108C}"/>
                  </a:ext>
                </a:extLst>
              </p:cNvPr>
              <p:cNvSpPr/>
              <p:nvPr/>
            </p:nvSpPr>
            <p:spPr>
              <a:xfrm>
                <a:off x="3675453" y="1293911"/>
                <a:ext cx="689317" cy="689317"/>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solidFill>
                    <a:schemeClr val="tx1"/>
                  </a:solidFill>
                </a:endParaRPr>
              </a:p>
            </p:txBody>
          </p:sp>
        </p:grpSp>
        <p:grpSp>
          <p:nvGrpSpPr>
            <p:cNvPr id="66" name="Group 23">
              <a:extLst>
                <a:ext uri="{FF2B5EF4-FFF2-40B4-BE49-F238E27FC236}">
                  <a16:creationId xmlns:a16="http://schemas.microsoft.com/office/drawing/2014/main" id="{2166899F-2384-4281-A898-2E838AD41CCB}"/>
                </a:ext>
              </a:extLst>
            </p:cNvPr>
            <p:cNvGrpSpPr/>
            <p:nvPr/>
          </p:nvGrpSpPr>
          <p:grpSpPr>
            <a:xfrm>
              <a:off x="7377169" y="2239734"/>
              <a:ext cx="822423" cy="822423"/>
              <a:chOff x="3608900" y="1227358"/>
              <a:chExt cx="822423" cy="822423"/>
            </a:xfrm>
          </p:grpSpPr>
          <p:sp>
            <p:nvSpPr>
              <p:cNvPr id="67" name="Oval 24">
                <a:extLst>
                  <a:ext uri="{FF2B5EF4-FFF2-40B4-BE49-F238E27FC236}">
                    <a16:creationId xmlns:a16="http://schemas.microsoft.com/office/drawing/2014/main" id="{AB6B8D3C-9FE4-47E6-912D-21C1EB63EE43}"/>
                  </a:ext>
                </a:extLst>
              </p:cNvPr>
              <p:cNvSpPr/>
              <p:nvPr/>
            </p:nvSpPr>
            <p:spPr>
              <a:xfrm>
                <a:off x="3608900" y="1227358"/>
                <a:ext cx="822423" cy="822423"/>
              </a:xfrm>
              <a:prstGeom prst="ellipse">
                <a:avLst/>
              </a:prstGeom>
              <a:solidFill>
                <a:srgbClr val="FF5050"/>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8" name="Oval 25">
                <a:extLst>
                  <a:ext uri="{FF2B5EF4-FFF2-40B4-BE49-F238E27FC236}">
                    <a16:creationId xmlns:a16="http://schemas.microsoft.com/office/drawing/2014/main" id="{28A1EDDA-0E72-4B2F-825B-38117CDAC26B}"/>
                  </a:ext>
                </a:extLst>
              </p:cNvPr>
              <p:cNvSpPr/>
              <p:nvPr/>
            </p:nvSpPr>
            <p:spPr>
              <a:xfrm>
                <a:off x="3675453" y="1293911"/>
                <a:ext cx="689317" cy="689317"/>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solidFill>
                    <a:schemeClr val="tx1"/>
                  </a:solidFill>
                </a:endParaRPr>
              </a:p>
            </p:txBody>
          </p:sp>
        </p:grpSp>
        <p:grpSp>
          <p:nvGrpSpPr>
            <p:cNvPr id="69" name="Group 26">
              <a:extLst>
                <a:ext uri="{FF2B5EF4-FFF2-40B4-BE49-F238E27FC236}">
                  <a16:creationId xmlns:a16="http://schemas.microsoft.com/office/drawing/2014/main" id="{6D509BAB-7785-4A24-A575-D27272ECB05F}"/>
                </a:ext>
              </a:extLst>
            </p:cNvPr>
            <p:cNvGrpSpPr/>
            <p:nvPr/>
          </p:nvGrpSpPr>
          <p:grpSpPr>
            <a:xfrm>
              <a:off x="7831478" y="3096442"/>
              <a:ext cx="822423" cy="822423"/>
              <a:chOff x="3608900" y="1227358"/>
              <a:chExt cx="822423" cy="822423"/>
            </a:xfrm>
          </p:grpSpPr>
          <p:sp>
            <p:nvSpPr>
              <p:cNvPr id="70" name="Oval 27">
                <a:extLst>
                  <a:ext uri="{FF2B5EF4-FFF2-40B4-BE49-F238E27FC236}">
                    <a16:creationId xmlns:a16="http://schemas.microsoft.com/office/drawing/2014/main" id="{6AD28A51-B363-45E4-A1AD-0CA5B6ED46AE}"/>
                  </a:ext>
                </a:extLst>
              </p:cNvPr>
              <p:cNvSpPr/>
              <p:nvPr/>
            </p:nvSpPr>
            <p:spPr>
              <a:xfrm>
                <a:off x="3608900" y="1227358"/>
                <a:ext cx="822423" cy="822423"/>
              </a:xfrm>
              <a:prstGeom prst="ellipse">
                <a:avLst/>
              </a:prstGeom>
              <a:solidFill>
                <a:srgbClr val="92D050"/>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1" name="Oval 28">
                <a:extLst>
                  <a:ext uri="{FF2B5EF4-FFF2-40B4-BE49-F238E27FC236}">
                    <a16:creationId xmlns:a16="http://schemas.microsoft.com/office/drawing/2014/main" id="{294962CC-D89F-4559-8103-27E1283C215A}"/>
                  </a:ext>
                </a:extLst>
              </p:cNvPr>
              <p:cNvSpPr/>
              <p:nvPr/>
            </p:nvSpPr>
            <p:spPr>
              <a:xfrm>
                <a:off x="3675453" y="1293911"/>
                <a:ext cx="689317" cy="689317"/>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solidFill>
                    <a:schemeClr val="tx1"/>
                  </a:solidFill>
                </a:endParaRPr>
              </a:p>
            </p:txBody>
          </p:sp>
        </p:grpSp>
        <p:grpSp>
          <p:nvGrpSpPr>
            <p:cNvPr id="72" name="Group 29">
              <a:extLst>
                <a:ext uri="{FF2B5EF4-FFF2-40B4-BE49-F238E27FC236}">
                  <a16:creationId xmlns:a16="http://schemas.microsoft.com/office/drawing/2014/main" id="{C0B56236-DA0C-4345-99BD-4E46BB1B3839}"/>
                </a:ext>
              </a:extLst>
            </p:cNvPr>
            <p:cNvGrpSpPr/>
            <p:nvPr/>
          </p:nvGrpSpPr>
          <p:grpSpPr>
            <a:xfrm>
              <a:off x="7501539" y="4035259"/>
              <a:ext cx="822423" cy="822423"/>
              <a:chOff x="3608900" y="1227358"/>
              <a:chExt cx="822423" cy="822423"/>
            </a:xfrm>
          </p:grpSpPr>
          <p:sp>
            <p:nvSpPr>
              <p:cNvPr id="73" name="Oval 30">
                <a:extLst>
                  <a:ext uri="{FF2B5EF4-FFF2-40B4-BE49-F238E27FC236}">
                    <a16:creationId xmlns:a16="http://schemas.microsoft.com/office/drawing/2014/main" id="{87AB1761-7D0F-4434-AC62-D57CC6B15C1B}"/>
                  </a:ext>
                </a:extLst>
              </p:cNvPr>
              <p:cNvSpPr/>
              <p:nvPr/>
            </p:nvSpPr>
            <p:spPr>
              <a:xfrm>
                <a:off x="3608900" y="1227358"/>
                <a:ext cx="822423" cy="822423"/>
              </a:xfrm>
              <a:prstGeom prst="ellipse">
                <a:avLst/>
              </a:prstGeom>
              <a:solidFill>
                <a:srgbClr val="FF33CC"/>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4" name="Oval 31">
                <a:extLst>
                  <a:ext uri="{FF2B5EF4-FFF2-40B4-BE49-F238E27FC236}">
                    <a16:creationId xmlns:a16="http://schemas.microsoft.com/office/drawing/2014/main" id="{D3B46716-88A6-48E9-8437-A5E8E5DFFEF5}"/>
                  </a:ext>
                </a:extLst>
              </p:cNvPr>
              <p:cNvSpPr/>
              <p:nvPr/>
            </p:nvSpPr>
            <p:spPr>
              <a:xfrm>
                <a:off x="3675453" y="1293911"/>
                <a:ext cx="689317" cy="689317"/>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solidFill>
                    <a:schemeClr val="tx1"/>
                  </a:solidFill>
                </a:endParaRPr>
              </a:p>
            </p:txBody>
          </p:sp>
        </p:grpSp>
        <p:pic>
          <p:nvPicPr>
            <p:cNvPr id="75" name="Graphic 3" descr="Antena parabólica">
              <a:extLst>
                <a:ext uri="{FF2B5EF4-FFF2-40B4-BE49-F238E27FC236}">
                  <a16:creationId xmlns:a16="http://schemas.microsoft.com/office/drawing/2014/main" id="{589245BE-2D03-429B-BE7D-1434E6E54A2C}"/>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7605500" y="2486859"/>
              <a:ext cx="365760" cy="365760"/>
            </a:xfrm>
            <a:prstGeom prst="rect">
              <a:avLst/>
            </a:prstGeom>
          </p:spPr>
        </p:pic>
        <p:pic>
          <p:nvPicPr>
            <p:cNvPr id="76" name="Graphic 5" descr="Repetir">
              <a:extLst>
                <a:ext uri="{FF2B5EF4-FFF2-40B4-BE49-F238E27FC236}">
                  <a16:creationId xmlns:a16="http://schemas.microsoft.com/office/drawing/2014/main" id="{D4D65E49-78CB-45FF-9128-D3B067DD1F0A}"/>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6474601" y="1593829"/>
              <a:ext cx="365760" cy="365760"/>
            </a:xfrm>
            <a:prstGeom prst="rect">
              <a:avLst/>
            </a:prstGeom>
          </p:spPr>
        </p:pic>
        <p:pic>
          <p:nvPicPr>
            <p:cNvPr id="77" name="Graphic 63" descr="Casco de realidad virtual">
              <a:hlinkClick r:id="rId4"/>
              <a:extLst>
                <a:ext uri="{FF2B5EF4-FFF2-40B4-BE49-F238E27FC236}">
                  <a16:creationId xmlns:a16="http://schemas.microsoft.com/office/drawing/2014/main" id="{15AD8806-3590-4848-8D8C-2797B322944A}"/>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 xmlns:asvg="http://schemas.microsoft.com/office/drawing/2016/SVG/main" r:embed="rId10"/>
                </a:ext>
              </a:extLst>
            </a:blip>
            <a:stretch>
              <a:fillRect/>
            </a:stretch>
          </p:blipFill>
          <p:spPr>
            <a:xfrm>
              <a:off x="5400308" y="1578490"/>
              <a:ext cx="365760" cy="365760"/>
            </a:xfrm>
            <a:prstGeom prst="rect">
              <a:avLst/>
            </a:prstGeom>
          </p:spPr>
        </p:pic>
        <p:pic>
          <p:nvPicPr>
            <p:cNvPr id="78" name="Graphic 65" descr="Fax">
              <a:extLst>
                <a:ext uri="{FF2B5EF4-FFF2-40B4-BE49-F238E27FC236}">
                  <a16:creationId xmlns:a16="http://schemas.microsoft.com/office/drawing/2014/main" id="{E85D7518-1A3A-424F-8320-2DD8045FE552}"/>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 xmlns:asvg="http://schemas.microsoft.com/office/drawing/2016/SVG/main" r:embed="rId12"/>
                </a:ext>
              </a:extLst>
            </a:blip>
            <a:stretch>
              <a:fillRect/>
            </a:stretch>
          </p:blipFill>
          <p:spPr>
            <a:xfrm>
              <a:off x="4350122" y="2478948"/>
              <a:ext cx="365760" cy="365760"/>
            </a:xfrm>
            <a:prstGeom prst="rect">
              <a:avLst/>
            </a:prstGeom>
          </p:spPr>
        </p:pic>
        <p:pic>
          <p:nvPicPr>
            <p:cNvPr id="79" name="Graphic 67" descr="Red">
              <a:extLst>
                <a:ext uri="{FF2B5EF4-FFF2-40B4-BE49-F238E27FC236}">
                  <a16:creationId xmlns:a16="http://schemas.microsoft.com/office/drawing/2014/main" id="{45C0C23E-CC92-427E-9857-2176E158EC98}"/>
                </a:ext>
              </a:extLst>
            </p:cNvPr>
            <p:cNvPicPr>
              <a:picLocks noChangeAspect="1"/>
            </p:cNvPicPr>
            <p:nvPr/>
          </p:nvPicPr>
          <p:blipFill>
            <a:blip r:embed="rId13" cstate="hqprint">
              <a:extLst>
                <a:ext uri="{28A0092B-C50C-407E-A947-70E740481C1C}">
                  <a14:useLocalDpi xmlns:a14="http://schemas.microsoft.com/office/drawing/2010/main" val="0"/>
                </a:ext>
                <a:ext uri="{96DAC541-7B7A-43D3-8B79-37D633B846F1}">
                  <asvg:svgBlip xmlns="" xmlns:asvg="http://schemas.microsoft.com/office/drawing/2016/SVG/main" r:embed="rId14"/>
                </a:ext>
              </a:extLst>
            </a:blip>
            <a:stretch>
              <a:fillRect/>
            </a:stretch>
          </p:blipFill>
          <p:spPr>
            <a:xfrm>
              <a:off x="4350974" y="4300561"/>
              <a:ext cx="365760" cy="365760"/>
            </a:xfrm>
            <a:prstGeom prst="rect">
              <a:avLst/>
            </a:prstGeom>
          </p:spPr>
        </p:pic>
        <p:pic>
          <p:nvPicPr>
            <p:cNvPr id="80" name="Graphic 69" descr="Escáner">
              <a:extLst>
                <a:ext uri="{FF2B5EF4-FFF2-40B4-BE49-F238E27FC236}">
                  <a16:creationId xmlns:a16="http://schemas.microsoft.com/office/drawing/2014/main" id="{F40A8EF7-EBA6-4DAD-AF41-F54C852C4FDE}"/>
                </a:ext>
              </a:extLst>
            </p:cNvPr>
            <p:cNvPicPr>
              <a:picLocks noChangeAspect="1"/>
            </p:cNvPicPr>
            <p:nvPr/>
          </p:nvPicPr>
          <p:blipFill>
            <a:blip r:embed="rId15" cstate="hqprint">
              <a:extLst>
                <a:ext uri="{28A0092B-C50C-407E-A947-70E740481C1C}">
                  <a14:useLocalDpi xmlns:a14="http://schemas.microsoft.com/office/drawing/2010/main" val="0"/>
                </a:ext>
                <a:ext uri="{96DAC541-7B7A-43D3-8B79-37D633B846F1}">
                  <asvg:svgBlip xmlns="" xmlns:asvg="http://schemas.microsoft.com/office/drawing/2016/SVG/main" r:embed="rId16"/>
                </a:ext>
              </a:extLst>
            </a:blip>
            <a:stretch>
              <a:fillRect/>
            </a:stretch>
          </p:blipFill>
          <p:spPr>
            <a:xfrm>
              <a:off x="4147417" y="3393535"/>
              <a:ext cx="365760" cy="365760"/>
            </a:xfrm>
            <a:prstGeom prst="rect">
              <a:avLst/>
            </a:prstGeom>
          </p:spPr>
        </p:pic>
        <p:pic>
          <p:nvPicPr>
            <p:cNvPr id="81" name="Graphic 71" descr="Satélite">
              <a:extLst>
                <a:ext uri="{FF2B5EF4-FFF2-40B4-BE49-F238E27FC236}">
                  <a16:creationId xmlns:a16="http://schemas.microsoft.com/office/drawing/2014/main" id="{2E9FEDFD-283A-4790-9FBF-445C7931E6B5}"/>
                </a:ext>
              </a:extLst>
            </p:cNvPr>
            <p:cNvPicPr>
              <a:picLocks noChangeAspect="1"/>
            </p:cNvPicPr>
            <p:nvPr/>
          </p:nvPicPr>
          <p:blipFill>
            <a:blip r:embed="rId17" cstate="hqprint">
              <a:extLst>
                <a:ext uri="{28A0092B-C50C-407E-A947-70E740481C1C}">
                  <a14:useLocalDpi xmlns:a14="http://schemas.microsoft.com/office/drawing/2010/main" val="0"/>
                </a:ext>
                <a:ext uri="{96DAC541-7B7A-43D3-8B79-37D633B846F1}">
                  <asvg:svgBlip xmlns="" xmlns:asvg="http://schemas.microsoft.com/office/drawing/2016/SVG/main" r:embed="rId18"/>
                </a:ext>
              </a:extLst>
            </a:blip>
            <a:stretch>
              <a:fillRect/>
            </a:stretch>
          </p:blipFill>
          <p:spPr>
            <a:xfrm>
              <a:off x="8062991" y="3343236"/>
              <a:ext cx="365760" cy="365760"/>
            </a:xfrm>
            <a:prstGeom prst="rect">
              <a:avLst/>
            </a:prstGeom>
          </p:spPr>
        </p:pic>
        <p:pic>
          <p:nvPicPr>
            <p:cNvPr id="82" name="Graphic 73" descr="Ojo">
              <a:extLst>
                <a:ext uri="{FF2B5EF4-FFF2-40B4-BE49-F238E27FC236}">
                  <a16:creationId xmlns:a16="http://schemas.microsoft.com/office/drawing/2014/main" id="{9CF9ED01-761E-4968-9837-36AECFBF3075}"/>
                </a:ext>
              </a:extLst>
            </p:cNvPr>
            <p:cNvPicPr>
              <a:picLocks noChangeAspect="1"/>
            </p:cNvPicPr>
            <p:nvPr/>
          </p:nvPicPr>
          <p:blipFill>
            <a:blip r:embed="rId19" cstate="hqprint">
              <a:extLst>
                <a:ext uri="{28A0092B-C50C-407E-A947-70E740481C1C}">
                  <a14:useLocalDpi xmlns:a14="http://schemas.microsoft.com/office/drawing/2010/main" val="0"/>
                </a:ext>
                <a:ext uri="{96DAC541-7B7A-43D3-8B79-37D633B846F1}">
                  <asvg:svgBlip xmlns="" xmlns:asvg="http://schemas.microsoft.com/office/drawing/2016/SVG/main" r:embed="rId20"/>
                </a:ext>
              </a:extLst>
            </a:blip>
            <a:stretch>
              <a:fillRect/>
            </a:stretch>
          </p:blipFill>
          <p:spPr>
            <a:xfrm>
              <a:off x="7729870" y="4267399"/>
              <a:ext cx="365760" cy="365760"/>
            </a:xfrm>
            <a:prstGeom prst="rect">
              <a:avLst/>
            </a:prstGeom>
          </p:spPr>
        </p:pic>
        <p:sp>
          <p:nvSpPr>
            <p:cNvPr id="83" name="TextBox 82">
              <a:extLst>
                <a:ext uri="{FF2B5EF4-FFF2-40B4-BE49-F238E27FC236}">
                  <a16:creationId xmlns:a16="http://schemas.microsoft.com/office/drawing/2014/main" id="{0F592ABC-4057-479D-8D83-D0EAA1FBE3BF}"/>
                </a:ext>
              </a:extLst>
            </p:cNvPr>
            <p:cNvSpPr txBox="1"/>
            <p:nvPr/>
          </p:nvSpPr>
          <p:spPr>
            <a:xfrm>
              <a:off x="4915187" y="3275830"/>
              <a:ext cx="2700997" cy="830997"/>
            </a:xfrm>
            <a:prstGeom prst="rect">
              <a:avLst/>
            </a:prstGeom>
            <a:noFill/>
          </p:spPr>
          <p:txBody>
            <a:bodyPr wrap="square" rtlCol="0">
              <a:spAutoFit/>
            </a:bodyPr>
            <a:lstStyle/>
            <a:p>
              <a:pPr algn="ctr"/>
              <a:r>
                <a:rPr lang="en-US" sz="2400" dirty="0"/>
                <a:t>TECNOLOGÍAS /</a:t>
              </a:r>
            </a:p>
            <a:p>
              <a:pPr algn="ctr"/>
              <a:r>
                <a:rPr lang="en-US" sz="2400" dirty="0"/>
                <a:t>TÉCNICAS</a:t>
              </a:r>
            </a:p>
          </p:txBody>
        </p:sp>
        <p:grpSp>
          <p:nvGrpSpPr>
            <p:cNvPr id="96" name="Group 10">
              <a:extLst>
                <a:ext uri="{FF2B5EF4-FFF2-40B4-BE49-F238E27FC236}">
                  <a16:creationId xmlns:a16="http://schemas.microsoft.com/office/drawing/2014/main" id="{11F34538-0A9B-437B-9E7A-A07CF62DB0EE}"/>
                </a:ext>
              </a:extLst>
            </p:cNvPr>
            <p:cNvGrpSpPr/>
            <p:nvPr/>
          </p:nvGrpSpPr>
          <p:grpSpPr>
            <a:xfrm>
              <a:off x="4714643" y="4960655"/>
              <a:ext cx="822423" cy="822423"/>
              <a:chOff x="3608900" y="1227358"/>
              <a:chExt cx="822423" cy="822423"/>
            </a:xfrm>
          </p:grpSpPr>
          <p:sp>
            <p:nvSpPr>
              <p:cNvPr id="97" name="Oval 9">
                <a:extLst>
                  <a:ext uri="{FF2B5EF4-FFF2-40B4-BE49-F238E27FC236}">
                    <a16:creationId xmlns:a16="http://schemas.microsoft.com/office/drawing/2014/main" id="{8B6748F2-8628-42A3-A902-E03DB5799D04}"/>
                  </a:ext>
                </a:extLst>
              </p:cNvPr>
              <p:cNvSpPr/>
              <p:nvPr/>
            </p:nvSpPr>
            <p:spPr>
              <a:xfrm>
                <a:off x="3608900" y="1227358"/>
                <a:ext cx="822423" cy="822423"/>
              </a:xfrm>
              <a:prstGeom prst="ellipse">
                <a:avLst/>
              </a:prstGeom>
              <a:solidFill>
                <a:srgbClr val="9900CC"/>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8" name="Oval 8">
                <a:extLst>
                  <a:ext uri="{FF2B5EF4-FFF2-40B4-BE49-F238E27FC236}">
                    <a16:creationId xmlns:a16="http://schemas.microsoft.com/office/drawing/2014/main" id="{6F701323-D658-4453-8DC5-6F7445F16833}"/>
                  </a:ext>
                </a:extLst>
              </p:cNvPr>
              <p:cNvSpPr/>
              <p:nvPr/>
            </p:nvSpPr>
            <p:spPr>
              <a:xfrm>
                <a:off x="3675453" y="1293911"/>
                <a:ext cx="689317" cy="689317"/>
              </a:xfrm>
              <a:prstGeom prst="ellipse">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solidFill>
                    <a:schemeClr val="tx1"/>
                  </a:solidFill>
                </a:endParaRPr>
              </a:p>
            </p:txBody>
          </p:sp>
        </p:grpSp>
        <p:grpSp>
          <p:nvGrpSpPr>
            <p:cNvPr id="99" name="Group 20">
              <a:extLst>
                <a:ext uri="{FF2B5EF4-FFF2-40B4-BE49-F238E27FC236}">
                  <a16:creationId xmlns:a16="http://schemas.microsoft.com/office/drawing/2014/main" id="{3E23A1FA-76EB-4CCF-B34D-7598A39F7450}"/>
                </a:ext>
              </a:extLst>
            </p:cNvPr>
            <p:cNvGrpSpPr/>
            <p:nvPr/>
          </p:nvGrpSpPr>
          <p:grpSpPr>
            <a:xfrm>
              <a:off x="6755209" y="4925137"/>
              <a:ext cx="822423" cy="822423"/>
              <a:chOff x="3608900" y="1227358"/>
              <a:chExt cx="822423" cy="822423"/>
            </a:xfrm>
          </p:grpSpPr>
          <p:sp>
            <p:nvSpPr>
              <p:cNvPr id="100" name="Oval 21">
                <a:extLst>
                  <a:ext uri="{FF2B5EF4-FFF2-40B4-BE49-F238E27FC236}">
                    <a16:creationId xmlns:a16="http://schemas.microsoft.com/office/drawing/2014/main" id="{D4587A8F-D65C-4318-8460-8E63B3985791}"/>
                  </a:ext>
                </a:extLst>
              </p:cNvPr>
              <p:cNvSpPr/>
              <p:nvPr/>
            </p:nvSpPr>
            <p:spPr>
              <a:xfrm>
                <a:off x="3608900" y="1227358"/>
                <a:ext cx="822423" cy="822423"/>
              </a:xfrm>
              <a:prstGeom prst="ellipse">
                <a:avLst/>
              </a:prstGeom>
              <a:solidFill>
                <a:srgbClr val="FF9900"/>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1" name="Oval 22">
                <a:extLst>
                  <a:ext uri="{FF2B5EF4-FFF2-40B4-BE49-F238E27FC236}">
                    <a16:creationId xmlns:a16="http://schemas.microsoft.com/office/drawing/2014/main" id="{BF659C01-DF64-4435-8463-EE271193B3B0}"/>
                  </a:ext>
                </a:extLst>
              </p:cNvPr>
              <p:cNvSpPr/>
              <p:nvPr/>
            </p:nvSpPr>
            <p:spPr>
              <a:xfrm>
                <a:off x="3675453" y="1293911"/>
                <a:ext cx="689317" cy="689317"/>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solidFill>
                    <a:schemeClr val="tx1"/>
                  </a:solidFill>
                </a:endParaRPr>
              </a:p>
            </p:txBody>
          </p:sp>
        </p:grpSp>
        <p:pic>
          <p:nvPicPr>
            <p:cNvPr id="102" name="Graphic 5" descr="Diana">
              <a:extLst>
                <a:ext uri="{FF2B5EF4-FFF2-40B4-BE49-F238E27FC236}">
                  <a16:creationId xmlns:a16="http://schemas.microsoft.com/office/drawing/2014/main" id="{26437D7B-F2F6-4250-AB0D-BFFA82782796}"/>
                </a:ext>
              </a:extLst>
            </p:cNvPr>
            <p:cNvPicPr>
              <a:picLocks noChangeAspect="1"/>
            </p:cNvPicPr>
            <p:nvPr/>
          </p:nvPicPr>
          <p:blipFill>
            <a:blip r:embed="rId21" cstate="hqprint">
              <a:extLst>
                <a:ext uri="{28A0092B-C50C-407E-A947-70E740481C1C}">
                  <a14:useLocalDpi xmlns:a14="http://schemas.microsoft.com/office/drawing/2010/main" val="0"/>
                </a:ext>
                <a:ext uri="{96DAC541-7B7A-43D3-8B79-37D633B846F1}">
                  <asvg:svgBlip xmlns="" xmlns:asvg="http://schemas.microsoft.com/office/drawing/2016/SVG/main" r:embed="rId22"/>
                </a:ext>
              </a:extLst>
            </a:blip>
            <a:stretch>
              <a:fillRect/>
            </a:stretch>
          </p:blipFill>
          <p:spPr>
            <a:xfrm>
              <a:off x="6976340" y="5150520"/>
              <a:ext cx="365760" cy="365760"/>
            </a:xfrm>
            <a:prstGeom prst="rect">
              <a:avLst/>
            </a:prstGeom>
          </p:spPr>
        </p:pic>
        <p:pic>
          <p:nvPicPr>
            <p:cNvPr id="103" name="Graphic 63" descr="Conexiones">
              <a:extLst>
                <a:ext uri="{FF2B5EF4-FFF2-40B4-BE49-F238E27FC236}">
                  <a16:creationId xmlns:a16="http://schemas.microsoft.com/office/drawing/2014/main" id="{935D6071-0C04-40FE-A816-E4D48ADC78D1}"/>
                </a:ext>
              </a:extLst>
            </p:cNvPr>
            <p:cNvPicPr>
              <a:picLocks noChangeAspect="1"/>
            </p:cNvPicPr>
            <p:nvPr/>
          </p:nvPicPr>
          <p:blipFill>
            <a:blip r:embed="rId23" cstate="hqprint">
              <a:extLst>
                <a:ext uri="{28A0092B-C50C-407E-A947-70E740481C1C}">
                  <a14:useLocalDpi xmlns:a14="http://schemas.microsoft.com/office/drawing/2010/main" val="0"/>
                </a:ext>
                <a:ext uri="{96DAC541-7B7A-43D3-8B79-37D633B846F1}">
                  <asvg:svgBlip xmlns="" xmlns:asvg="http://schemas.microsoft.com/office/drawing/2016/SVG/main" r:embed="rId24"/>
                </a:ext>
              </a:extLst>
            </a:blip>
            <a:stretch>
              <a:fillRect/>
            </a:stretch>
          </p:blipFill>
          <p:spPr>
            <a:xfrm>
              <a:off x="4961742" y="5179935"/>
              <a:ext cx="365760" cy="365760"/>
            </a:xfrm>
            <a:prstGeom prst="rect">
              <a:avLst/>
            </a:prstGeom>
          </p:spPr>
        </p:pic>
      </p:grpSp>
      <p:sp>
        <p:nvSpPr>
          <p:cNvPr id="104" name="Rectángulo 103">
            <a:extLst>
              <a:ext uri="{FF2B5EF4-FFF2-40B4-BE49-F238E27FC236}">
                <a16:creationId xmlns:a16="http://schemas.microsoft.com/office/drawing/2014/main" id="{1A4FFAF4-ACA2-4B5D-8EBB-C1866B7E11B9}"/>
              </a:ext>
            </a:extLst>
          </p:cNvPr>
          <p:cNvSpPr/>
          <p:nvPr/>
        </p:nvSpPr>
        <p:spPr>
          <a:xfrm>
            <a:off x="107577" y="128210"/>
            <a:ext cx="5219925" cy="707886"/>
          </a:xfrm>
          <a:prstGeom prst="rect">
            <a:avLst/>
          </a:prstGeom>
          <a:noFill/>
        </p:spPr>
        <p:txBody>
          <a:bodyPr wrap="square" lIns="91440" tIns="45720" rIns="91440" bIns="45720">
            <a:spAutoFit/>
          </a:bodyPr>
          <a:lstStyle/>
          <a:p>
            <a:pPr algn="ctr"/>
            <a:r>
              <a:rPr lang="es-ES" sz="4000" b="1" dirty="0">
                <a:ln w="9525">
                  <a:solidFill>
                    <a:schemeClr val="bg1"/>
                  </a:solidFill>
                  <a:prstDash val="solid"/>
                </a:ln>
                <a:solidFill>
                  <a:schemeClr val="bg2">
                    <a:lumMod val="75000"/>
                  </a:schemeClr>
                </a:solidFill>
                <a:effectLst>
                  <a:outerShdw blurRad="12700" dist="38100" dir="2700000" algn="tl" rotWithShape="0">
                    <a:schemeClr val="accent5">
                      <a:lumMod val="60000"/>
                      <a:lumOff val="40000"/>
                    </a:schemeClr>
                  </a:outerShdw>
                </a:effectLst>
              </a:rPr>
              <a:t>Tecnologías </a:t>
            </a:r>
            <a:r>
              <a:rPr lang="es-ES" sz="3600" b="1" dirty="0" err="1">
                <a:ln w="9525">
                  <a:solidFill>
                    <a:schemeClr val="bg1"/>
                  </a:solidFill>
                  <a:prstDash val="solid"/>
                </a:ln>
                <a:solidFill>
                  <a:schemeClr val="bg2">
                    <a:lumMod val="75000"/>
                  </a:schemeClr>
                </a:solidFill>
                <a:effectLst>
                  <a:outerShdw blurRad="12700" dist="38100" dir="2700000" algn="tl" rotWithShape="0">
                    <a:schemeClr val="accent5">
                      <a:lumMod val="60000"/>
                      <a:lumOff val="40000"/>
                    </a:schemeClr>
                  </a:outerShdw>
                </a:effectLst>
              </a:rPr>
              <a:t>AtecA</a:t>
            </a:r>
            <a:endParaRPr lang="es-ES" sz="3600" b="1" dirty="0">
              <a:ln w="9525">
                <a:solidFill>
                  <a:schemeClr val="bg1"/>
                </a:solidFill>
                <a:prstDash val="solid"/>
              </a:ln>
              <a:solidFill>
                <a:schemeClr val="bg2">
                  <a:lumMod val="75000"/>
                </a:schemeClr>
              </a:solidFill>
              <a:effectLst>
                <a:outerShdw blurRad="12700" dist="38100" dir="2700000" algn="tl" rotWithShape="0">
                  <a:schemeClr val="accent5">
                    <a:lumMod val="60000"/>
                    <a:lumOff val="40000"/>
                  </a:schemeClr>
                </a:outerShdw>
              </a:effectLst>
            </a:endParaRPr>
          </a:p>
        </p:txBody>
      </p:sp>
      <p:sp>
        <p:nvSpPr>
          <p:cNvPr id="106" name="Marcador de número de diapositiva 1"/>
          <p:cNvSpPr>
            <a:spLocks noGrp="1"/>
          </p:cNvSpPr>
          <p:nvPr>
            <p:ph type="sldNum" sz="quarter" idx="12"/>
          </p:nvPr>
        </p:nvSpPr>
        <p:spPr>
          <a:xfrm>
            <a:off x="11777051" y="6458134"/>
            <a:ext cx="487378" cy="481343"/>
          </a:xfrm>
        </p:spPr>
        <p:txBody>
          <a:bodyPr/>
          <a:lstStyle/>
          <a:p>
            <a:r>
              <a:rPr lang="en-US" sz="2000" dirty="0" smtClean="0"/>
              <a:t>5</a:t>
            </a:r>
            <a:endParaRPr lang="en-US" sz="2000" dirty="0"/>
          </a:p>
        </p:txBody>
      </p:sp>
    </p:spTree>
    <p:extLst>
      <p:ext uri="{BB962C8B-B14F-4D97-AF65-F5344CB8AC3E}">
        <p14:creationId xmlns:p14="http://schemas.microsoft.com/office/powerpoint/2010/main" val="230903579"/>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圆角矩形 8"/>
          <p:cNvSpPr/>
          <p:nvPr/>
        </p:nvSpPr>
        <p:spPr>
          <a:xfrm>
            <a:off x="6789794" y="2453923"/>
            <a:ext cx="5284220" cy="1015613"/>
          </a:xfrm>
          <a:prstGeom prst="roundRect">
            <a:avLst>
              <a:gd name="adj" fmla="val 5409"/>
            </a:avLst>
          </a:prstGeom>
          <a:noFill/>
          <a:ln w="3175">
            <a:solidFill>
              <a:srgbClr val="3185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99">
              <a:solidFill>
                <a:schemeClr val="bg1"/>
              </a:solidFill>
            </a:endParaRPr>
          </a:p>
        </p:txBody>
      </p:sp>
      <p:sp>
        <p:nvSpPr>
          <p:cNvPr id="54" name="273435963"/>
          <p:cNvSpPr txBox="1"/>
          <p:nvPr/>
        </p:nvSpPr>
        <p:spPr>
          <a:xfrm>
            <a:off x="419584" y="4234293"/>
            <a:ext cx="6255058" cy="2108927"/>
          </a:xfrm>
          <a:prstGeom prst="roundRect">
            <a:avLst>
              <a:gd name="adj" fmla="val 0"/>
            </a:avLst>
          </a:prstGeom>
          <a:gradFill flip="none" rotWithShape="1">
            <a:gsLst>
              <a:gs pos="0">
                <a:srgbClr val="4F81BD">
                  <a:lumMod val="40000"/>
                  <a:lumOff val="60000"/>
                  <a:alpha val="90000"/>
                </a:srgbClr>
              </a:gs>
              <a:gs pos="0">
                <a:srgbClr val="226F9E"/>
              </a:gs>
              <a:gs pos="62000">
                <a:srgbClr val="3E6CA4">
                  <a:alpha val="6000"/>
                </a:srgbClr>
              </a:gs>
              <a:gs pos="35000">
                <a:srgbClr val="4F81BD">
                  <a:lumMod val="75000"/>
                  <a:alpha val="37000"/>
                </a:srgbClr>
              </a:gs>
              <a:gs pos="98000">
                <a:srgbClr val="4F81BD">
                  <a:lumMod val="50000"/>
                  <a:alpha val="40000"/>
                </a:srgbClr>
              </a:gs>
            </a:gsLst>
            <a:lin ang="2700000" scaled="1"/>
            <a:tileRect/>
          </a:gradFill>
          <a:ln w="6350" cap="flat" cmpd="sng" algn="ctr">
            <a:noFill/>
            <a:prstDash val="solid"/>
            <a:round/>
            <a:headEnd type="none" w="med" len="med"/>
            <a:tailEnd type="none" w="med" len="med"/>
          </a:ln>
          <a:effectLst>
            <a:outerShdw blurRad="76200" dist="63500" dir="8100000" algn="tr" rotWithShape="0">
              <a:prstClr val="black">
                <a:alpha val="40000"/>
              </a:prstClr>
            </a:outerShdw>
          </a:effectLst>
          <a:scene3d>
            <a:camera prst="orthographicFront"/>
            <a:lightRig rig="flat" dir="t"/>
          </a:scene3d>
        </p:spPr>
        <p:txBody>
          <a:bodyPr wrap="square" anchor="ctr">
            <a:noAutofit/>
          </a:bodyPr>
          <a:lstStyle>
            <a:defPPr>
              <a:defRPr lang="zh-CN"/>
            </a:defPPr>
            <a:lvl1pPr>
              <a:buClr>
                <a:srgbClr val="CC9900"/>
              </a:buClr>
              <a:buFont typeface="Wingdings" pitchFamily="2" charset="2"/>
              <a:buChar char="n"/>
              <a:defRPr sz="1600">
                <a:solidFill>
                  <a:schemeClr val="bg1"/>
                </a:solidFill>
                <a:latin typeface="微软雅黑" panose="020B0503020204020204" pitchFamily="34" charset="-122"/>
                <a:ea typeface="微软雅黑" panose="020B0503020204020204" pitchFamily="34" charset="-122"/>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defTabSz="1218814" fontAlgn="ctr"/>
            <a:endParaRPr lang="en-US" altLang="zh-CN" sz="1599" dirty="0">
              <a:latin typeface="Calibri" panose="020F0502020204030204" pitchFamily="34" charset="0"/>
            </a:endParaRPr>
          </a:p>
        </p:txBody>
      </p:sp>
      <p:sp>
        <p:nvSpPr>
          <p:cNvPr id="96" name="273435963"/>
          <p:cNvSpPr txBox="1"/>
          <p:nvPr/>
        </p:nvSpPr>
        <p:spPr>
          <a:xfrm>
            <a:off x="1920099" y="3126814"/>
            <a:ext cx="4529535" cy="928485"/>
          </a:xfrm>
          <a:prstGeom prst="roundRect">
            <a:avLst>
              <a:gd name="adj" fmla="val 0"/>
            </a:avLst>
          </a:prstGeom>
          <a:gradFill flip="none" rotWithShape="1">
            <a:gsLst>
              <a:gs pos="0">
                <a:srgbClr val="4F81BD">
                  <a:lumMod val="40000"/>
                  <a:lumOff val="60000"/>
                  <a:alpha val="90000"/>
                </a:srgbClr>
              </a:gs>
              <a:gs pos="0">
                <a:srgbClr val="226F9E"/>
              </a:gs>
              <a:gs pos="62000">
                <a:srgbClr val="3E6CA4">
                  <a:alpha val="6000"/>
                </a:srgbClr>
              </a:gs>
              <a:gs pos="35000">
                <a:srgbClr val="4F81BD">
                  <a:lumMod val="75000"/>
                  <a:alpha val="37000"/>
                </a:srgbClr>
              </a:gs>
              <a:gs pos="98000">
                <a:srgbClr val="4F81BD">
                  <a:lumMod val="50000"/>
                  <a:alpha val="40000"/>
                </a:srgbClr>
              </a:gs>
            </a:gsLst>
            <a:lin ang="2700000" scaled="1"/>
            <a:tileRect/>
          </a:gradFill>
          <a:ln w="6350" cap="flat" cmpd="sng" algn="ctr">
            <a:noFill/>
            <a:prstDash val="solid"/>
            <a:round/>
            <a:headEnd type="none" w="med" len="med"/>
            <a:tailEnd type="none" w="med" len="med"/>
          </a:ln>
          <a:effectLst>
            <a:outerShdw blurRad="76200" dist="63500" dir="8100000" algn="tr" rotWithShape="0">
              <a:prstClr val="black">
                <a:alpha val="40000"/>
              </a:prstClr>
            </a:outerShdw>
          </a:effectLst>
          <a:scene3d>
            <a:camera prst="orthographicFront"/>
            <a:lightRig rig="flat" dir="t"/>
          </a:scene3d>
        </p:spPr>
        <p:txBody>
          <a:bodyPr wrap="square" anchor="ctr">
            <a:noAutofit/>
          </a:bodyPr>
          <a:lstStyle>
            <a:defPPr>
              <a:defRPr lang="zh-CN"/>
            </a:defPPr>
            <a:lvl1pPr>
              <a:buClr>
                <a:srgbClr val="CC9900"/>
              </a:buClr>
              <a:buFont typeface="Wingdings" pitchFamily="2" charset="2"/>
              <a:buChar char="n"/>
              <a:defRPr sz="1600">
                <a:solidFill>
                  <a:schemeClr val="bg1"/>
                </a:solidFill>
                <a:latin typeface="微软雅黑" panose="020B0503020204020204" pitchFamily="34" charset="-122"/>
                <a:ea typeface="微软雅黑" panose="020B0503020204020204" pitchFamily="34" charset="-122"/>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defTabSz="1218814" fontAlgn="ctr"/>
            <a:endParaRPr lang="en-US" altLang="zh-CN" sz="1599" dirty="0">
              <a:latin typeface="Calibri" panose="020F0502020204030204" pitchFamily="34" charset="0"/>
            </a:endParaRPr>
          </a:p>
        </p:txBody>
      </p:sp>
      <p:sp>
        <p:nvSpPr>
          <p:cNvPr id="94" name="Shape 737"/>
          <p:cNvSpPr/>
          <p:nvPr/>
        </p:nvSpPr>
        <p:spPr>
          <a:xfrm>
            <a:off x="1920099" y="1136325"/>
            <a:ext cx="4529535" cy="1763700"/>
          </a:xfrm>
          <a:custGeom>
            <a:avLst/>
            <a:gdLst>
              <a:gd name="f0" fmla="val 10800000"/>
              <a:gd name="f1" fmla="val 5400000"/>
              <a:gd name="f2" fmla="val 180"/>
              <a:gd name="f3" fmla="val w"/>
              <a:gd name="f4" fmla="val h"/>
              <a:gd name="f5" fmla="val 0"/>
              <a:gd name="f6" fmla="val 21274"/>
              <a:gd name="f7" fmla="val 21377"/>
              <a:gd name="f8" fmla="val 2331"/>
              <a:gd name="f9" fmla="val 21202"/>
              <a:gd name="f10" fmla="val -263"/>
              <a:gd name="f11" fmla="val 20066"/>
              <a:gd name="f12" fmla="val 21"/>
              <a:gd name="f13" fmla="val 14654"/>
              <a:gd name="f14" fmla="val 274"/>
              <a:gd name="f15" fmla="val 9840"/>
              <a:gd name="f16" fmla="val 3203"/>
              <a:gd name="f17" fmla="val 8836"/>
              <a:gd name="f18" fmla="val 3127"/>
              <a:gd name="f19" fmla="val 312"/>
              <a:gd name="f20" fmla="val 8906"/>
              <a:gd name="f21" fmla="val 7"/>
              <a:gd name="f22" fmla="val 13258"/>
              <a:gd name="f23" fmla="val -223"/>
              <a:gd name="f24" fmla="val 14443"/>
              <a:gd name="f25" fmla="val 5441"/>
              <a:gd name="f26" fmla="val 16972"/>
              <a:gd name="f27" fmla="val 3018"/>
              <a:gd name="f28" fmla="val 18700"/>
              <a:gd name="f29" fmla="val 5401"/>
              <a:gd name="f30" fmla="val 20630"/>
              <a:gd name="f31" fmla="val 8063"/>
              <a:gd name="f32" fmla="val 19493"/>
              <a:gd name="f33" fmla="val 11745"/>
              <a:gd name="f34" fmla="val 21337"/>
              <a:gd name="f35" fmla="val 12569"/>
              <a:gd name="f36" fmla="val 21272"/>
              <a:gd name="f37" fmla="val 16494"/>
              <a:gd name="f38" fmla="val 21207"/>
              <a:gd name="f39" fmla="val 20419"/>
              <a:gd name="f40" fmla="val 18725"/>
              <a:gd name="f41" fmla="+- 0 0 -90"/>
              <a:gd name="f42" fmla="+- 0 0 -180"/>
              <a:gd name="f43" fmla="+- 0 0 -270"/>
              <a:gd name="f44" fmla="+- 0 0 -360"/>
              <a:gd name="f45" fmla="*/ f3 1 21274"/>
              <a:gd name="f46" fmla="*/ f4 1 21377"/>
              <a:gd name="f47" fmla="val f5"/>
              <a:gd name="f48" fmla="val f6"/>
              <a:gd name="f49" fmla="val f7"/>
              <a:gd name="f50" fmla="*/ f41 f0 1"/>
              <a:gd name="f51" fmla="*/ f42 f0 1"/>
              <a:gd name="f52" fmla="*/ f43 f0 1"/>
              <a:gd name="f53" fmla="*/ f44 f0 1"/>
              <a:gd name="f54" fmla="+- f49 0 f47"/>
              <a:gd name="f55" fmla="+- f48 0 f47"/>
              <a:gd name="f56" fmla="*/ f50 1 f2"/>
              <a:gd name="f57" fmla="*/ f51 1 f2"/>
              <a:gd name="f58" fmla="*/ f52 1 f2"/>
              <a:gd name="f59" fmla="*/ f53 1 f2"/>
              <a:gd name="f60" fmla="*/ f54 1 2"/>
              <a:gd name="f61" fmla="*/ f55 1 2"/>
              <a:gd name="f62" fmla="*/ f55 1 21274"/>
              <a:gd name="f63" fmla="*/ f54 1 21377"/>
              <a:gd name="f64" fmla="+- f56 0 f1"/>
              <a:gd name="f65" fmla="+- f57 0 f1"/>
              <a:gd name="f66" fmla="+- f58 0 f1"/>
              <a:gd name="f67" fmla="+- f59 0 f1"/>
              <a:gd name="f68" fmla="*/ f61 1 f62"/>
              <a:gd name="f69" fmla="*/ f60 1 f63"/>
              <a:gd name="f70" fmla="*/ 0 1 f62"/>
              <a:gd name="f71" fmla="*/ f48 1 f62"/>
              <a:gd name="f72" fmla="*/ 0 1 f63"/>
              <a:gd name="f73" fmla="*/ f49 1 f63"/>
              <a:gd name="f74" fmla="*/ f70 f45 1"/>
              <a:gd name="f75" fmla="*/ f71 f45 1"/>
              <a:gd name="f76" fmla="*/ f73 f46 1"/>
              <a:gd name="f77" fmla="*/ f72 f46 1"/>
              <a:gd name="f78" fmla="*/ f68 f45 1"/>
              <a:gd name="f79" fmla="*/ f69 f46 1"/>
            </a:gdLst>
            <a:ahLst/>
            <a:cxnLst>
              <a:cxn ang="3cd4">
                <a:pos x="hc" y="t"/>
              </a:cxn>
              <a:cxn ang="0">
                <a:pos x="r" y="vc"/>
              </a:cxn>
              <a:cxn ang="cd4">
                <a:pos x="hc" y="b"/>
              </a:cxn>
              <a:cxn ang="cd2">
                <a:pos x="l" y="vc"/>
              </a:cxn>
              <a:cxn ang="f64">
                <a:pos x="f78" y="f79"/>
              </a:cxn>
              <a:cxn ang="f65">
                <a:pos x="f78" y="f79"/>
              </a:cxn>
              <a:cxn ang="f66">
                <a:pos x="f78" y="f79"/>
              </a:cxn>
              <a:cxn ang="f67">
                <a:pos x="f78" y="f79"/>
              </a:cxn>
            </a:cxnLst>
            <a:rect l="f74" t="f77" r="f75" b="f76"/>
            <a:pathLst>
              <a:path w="21274" h="21377">
                <a:moveTo>
                  <a:pt x="f8" y="f9"/>
                </a:moveTo>
                <a:cubicBezTo>
                  <a:pt x="f8" y="f9"/>
                  <a:pt x="f10" y="f11"/>
                  <a:pt x="f12" y="f13"/>
                </a:cubicBezTo>
                <a:cubicBezTo>
                  <a:pt x="f14" y="f15"/>
                  <a:pt x="f16" y="f17"/>
                  <a:pt x="f16" y="f17"/>
                </a:cubicBezTo>
                <a:cubicBezTo>
                  <a:pt x="f16" y="f17"/>
                  <a:pt x="f18" y="f19"/>
                  <a:pt x="f20" y="f21"/>
                </a:cubicBezTo>
                <a:cubicBezTo>
                  <a:pt x="f22" y="f23"/>
                  <a:pt x="f24" y="f25"/>
                  <a:pt x="f24" y="f25"/>
                </a:cubicBezTo>
                <a:cubicBezTo>
                  <a:pt x="f24" y="f25"/>
                  <a:pt x="f26" y="f27"/>
                  <a:pt x="f28" y="f29"/>
                </a:cubicBezTo>
                <a:cubicBezTo>
                  <a:pt x="f30" y="f31"/>
                  <a:pt x="f32" y="f33"/>
                  <a:pt x="f32" y="f33"/>
                </a:cubicBezTo>
                <a:cubicBezTo>
                  <a:pt x="f32" y="f33"/>
                  <a:pt x="f34" y="f35"/>
                  <a:pt x="f36" y="f37"/>
                </a:cubicBezTo>
                <a:cubicBezTo>
                  <a:pt x="f38" y="f39"/>
                  <a:pt x="f40" y="f7"/>
                  <a:pt x="f40" y="f7"/>
                </a:cubicBezTo>
                <a:lnTo>
                  <a:pt x="f8" y="f9"/>
                </a:lnTo>
                <a:close/>
              </a:path>
            </a:pathLst>
          </a:custGeom>
          <a:gradFill>
            <a:gsLst>
              <a:gs pos="0">
                <a:srgbClr val="00B0F0">
                  <a:alpha val="10000"/>
                </a:srgbClr>
              </a:gs>
              <a:gs pos="52000">
                <a:srgbClr val="00B0F0">
                  <a:alpha val="50000"/>
                </a:srgbClr>
              </a:gs>
              <a:gs pos="100000">
                <a:srgbClr val="00B0F0">
                  <a:alpha val="10000"/>
                </a:srgbClr>
              </a:gs>
            </a:gsLst>
            <a:lin ang="0" scaled="0"/>
          </a:gra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wrap="square" tIns="35991" rtlCol="0" anchor="t" anchorCtr="0">
            <a:noAutofit/>
          </a:bodyPr>
          <a:lstStyle/>
          <a:p>
            <a:pPr algn="ctr" fontAlgn="ctr">
              <a:lnSpc>
                <a:spcPct val="120000"/>
              </a:lnSpc>
              <a:buClr>
                <a:schemeClr val="bg1"/>
              </a:buClr>
              <a:buSzPct val="100000"/>
            </a:pPr>
            <a:endParaRPr lang="en-US" altLang="zh-CN" sz="1100" b="1" dirty="0">
              <a:solidFill>
                <a:schemeClr val="bg1"/>
              </a:solidFill>
              <a:latin typeface="Calibri" panose="020F0502020204030204" pitchFamily="34" charset="0"/>
              <a:ea typeface="微软雅黑" pitchFamily="34" charset="-122"/>
              <a:cs typeface="Calibri" pitchFamily="34" charset="0"/>
            </a:endParaRPr>
          </a:p>
        </p:txBody>
      </p:sp>
      <p:sp>
        <p:nvSpPr>
          <p:cNvPr id="13" name="TextBox 12"/>
          <p:cNvSpPr txBox="1"/>
          <p:nvPr/>
        </p:nvSpPr>
        <p:spPr>
          <a:xfrm>
            <a:off x="117985" y="657435"/>
            <a:ext cx="11732727" cy="1015369"/>
          </a:xfrm>
          <a:prstGeom prst="rect">
            <a:avLst/>
          </a:prstGeom>
        </p:spPr>
        <p:txBody>
          <a:bodyPr>
            <a:normAutofit/>
          </a:bodyPr>
          <a:lstStyle>
            <a:lvl1pPr marR="0" indent="0" fontAlgn="ctr">
              <a:lnSpc>
                <a:spcPct val="100000"/>
              </a:lnSpc>
              <a:spcBef>
                <a:spcPct val="0"/>
              </a:spcBef>
              <a:spcAft>
                <a:spcPts val="0"/>
              </a:spcAft>
              <a:buClrTx/>
              <a:buSzTx/>
              <a:buFontTx/>
              <a:buNone/>
              <a:tabLst/>
              <a:defRPr b="0" baseline="0">
                <a:solidFill>
                  <a:schemeClr val="bg1"/>
                </a:solidFill>
                <a:latin typeface="+mj-lt"/>
                <a:cs typeface="Arial" pitchFamily="34" charset="0"/>
              </a:defRPr>
            </a:lvl1pPr>
          </a:lstStyle>
          <a:p>
            <a:r>
              <a:rPr lang="en-US" sz="1799" dirty="0" err="1"/>
              <a:t>Solución</a:t>
            </a:r>
            <a:r>
              <a:rPr lang="en-US" sz="1799" dirty="0"/>
              <a:t> de </a:t>
            </a:r>
            <a:r>
              <a:rPr lang="en-US" sz="1799" dirty="0" err="1"/>
              <a:t>Escritorios</a:t>
            </a:r>
            <a:r>
              <a:rPr lang="en-US" sz="1799" dirty="0"/>
              <a:t> </a:t>
            </a:r>
            <a:r>
              <a:rPr lang="en-US" sz="1799" dirty="0" err="1"/>
              <a:t>Virtuales</a:t>
            </a:r>
            <a:r>
              <a:rPr lang="en-US" sz="1799" dirty="0"/>
              <a:t> </a:t>
            </a:r>
            <a:r>
              <a:rPr lang="en-US" sz="1799" dirty="0" err="1"/>
              <a:t>mejoran</a:t>
            </a:r>
            <a:r>
              <a:rPr lang="en-US" sz="1799" dirty="0"/>
              <a:t> la </a:t>
            </a:r>
            <a:r>
              <a:rPr lang="en-US" sz="1799" dirty="0" err="1"/>
              <a:t>Experiencia</a:t>
            </a:r>
            <a:r>
              <a:rPr lang="en-US" sz="1799" dirty="0"/>
              <a:t> de </a:t>
            </a:r>
            <a:r>
              <a:rPr lang="en-US" sz="1799" dirty="0" err="1"/>
              <a:t>Usuario</a:t>
            </a:r>
            <a:r>
              <a:rPr lang="en-US" sz="1799" dirty="0"/>
              <a:t> y el </a:t>
            </a:r>
            <a:r>
              <a:rPr lang="en-US" sz="1799" dirty="0" err="1"/>
              <a:t>Coste</a:t>
            </a:r>
            <a:r>
              <a:rPr lang="en-US" sz="1799" dirty="0"/>
              <a:t> de </a:t>
            </a:r>
            <a:r>
              <a:rPr lang="en-US" sz="1799" dirty="0" err="1"/>
              <a:t>Adquisicion</a:t>
            </a:r>
            <a:endParaRPr lang="en-US" sz="1799" dirty="0"/>
          </a:p>
        </p:txBody>
      </p:sp>
      <p:sp>
        <p:nvSpPr>
          <p:cNvPr id="56" name="1250016124"/>
          <p:cNvSpPr/>
          <p:nvPr/>
        </p:nvSpPr>
        <p:spPr>
          <a:xfrm>
            <a:off x="5365656" y="2968742"/>
            <a:ext cx="192450" cy="609081"/>
          </a:xfrm>
          <a:prstGeom prst="rect">
            <a:avLst/>
          </a:prstGeom>
        </p:spPr>
        <p:txBody>
          <a:bodyPr wrap="square">
            <a:noAutofit/>
          </a:bodyPr>
          <a:lstStyle/>
          <a:p>
            <a:pPr marL="342722" indent="-342722" eaLnBrk="0" fontAlgn="ctr" hangingPunct="0">
              <a:lnSpc>
                <a:spcPct val="140000"/>
              </a:lnSpc>
              <a:buClr>
                <a:srgbClr val="808080"/>
              </a:buClr>
              <a:buSzPct val="60000"/>
              <a:defRPr/>
            </a:pPr>
            <a:endParaRPr lang="en-US" altLang="zh-CN" sz="2399" b="1" kern="0" dirty="0">
              <a:solidFill>
                <a:schemeClr val="bg1"/>
              </a:solidFill>
              <a:latin typeface="Calibri" panose="020F0502020204030204" pitchFamily="34" charset="0"/>
              <a:ea typeface="黑体" pitchFamily="49" charset="-122"/>
            </a:endParaRPr>
          </a:p>
        </p:txBody>
      </p:sp>
      <p:sp>
        <p:nvSpPr>
          <p:cNvPr id="58" name="对角圆角矩形 54"/>
          <p:cNvSpPr/>
          <p:nvPr/>
        </p:nvSpPr>
        <p:spPr bwMode="auto">
          <a:xfrm>
            <a:off x="169847" y="1755931"/>
            <a:ext cx="1547967" cy="850839"/>
          </a:xfrm>
          <a:prstGeom prst="round2DiagRect">
            <a:avLst>
              <a:gd name="adj1" fmla="val 17221"/>
              <a:gd name="adj2" fmla="val 15230"/>
            </a:avLst>
          </a:prstGeom>
          <a:noFill/>
          <a:ln>
            <a:noFill/>
          </a:ln>
        </p:spPr>
        <p:txBody>
          <a:bodyPr wrap="square" anchor="ctr">
            <a:noAutofit/>
          </a:bodyPr>
          <a:lstStyle/>
          <a:p>
            <a:pPr algn="ctr" fontAlgn="ctr">
              <a:spcAft>
                <a:spcPts val="402"/>
              </a:spcAft>
            </a:pPr>
            <a:r>
              <a:rPr lang="en-US" sz="1399" dirty="0" err="1">
                <a:solidFill>
                  <a:schemeClr val="bg1"/>
                </a:solidFill>
                <a:latin typeface="Calibri" panose="020F0502020204030204" pitchFamily="34" charset="0"/>
              </a:rPr>
              <a:t>Infinidad</a:t>
            </a:r>
            <a:r>
              <a:rPr lang="en-US" sz="1399" dirty="0">
                <a:solidFill>
                  <a:schemeClr val="bg1"/>
                </a:solidFill>
                <a:latin typeface="Calibri" panose="020F0502020204030204" pitchFamily="34" charset="0"/>
              </a:rPr>
              <a:t> de </a:t>
            </a:r>
            <a:r>
              <a:rPr lang="en-US" sz="1399" dirty="0" err="1">
                <a:solidFill>
                  <a:schemeClr val="bg1"/>
                </a:solidFill>
                <a:latin typeface="Calibri" panose="020F0502020204030204" pitchFamily="34" charset="0"/>
              </a:rPr>
              <a:t>Recursos</a:t>
            </a:r>
            <a:r>
              <a:rPr lang="en-US" sz="1399" dirty="0">
                <a:solidFill>
                  <a:schemeClr val="bg1"/>
                </a:solidFill>
                <a:latin typeface="Calibri" panose="020F0502020204030204" pitchFamily="34" charset="0"/>
              </a:rPr>
              <a:t> para la </a:t>
            </a:r>
            <a:r>
              <a:rPr lang="en-US" sz="1399" dirty="0" err="1">
                <a:solidFill>
                  <a:schemeClr val="bg1"/>
                </a:solidFill>
                <a:latin typeface="Calibri" panose="020F0502020204030204" pitchFamily="34" charset="0"/>
              </a:rPr>
              <a:t>enseñanza</a:t>
            </a:r>
            <a:endParaRPr lang="en-US" sz="1399" dirty="0">
              <a:solidFill>
                <a:schemeClr val="bg1"/>
              </a:solidFill>
              <a:latin typeface="Calibri" panose="020F0502020204030204" pitchFamily="34" charset="0"/>
            </a:endParaRPr>
          </a:p>
        </p:txBody>
      </p:sp>
      <p:sp>
        <p:nvSpPr>
          <p:cNvPr id="60" name="对角圆角矩形 56"/>
          <p:cNvSpPr/>
          <p:nvPr/>
        </p:nvSpPr>
        <p:spPr bwMode="auto">
          <a:xfrm>
            <a:off x="345038" y="3247098"/>
            <a:ext cx="1051884" cy="651781"/>
          </a:xfrm>
          <a:prstGeom prst="round2DiagRect">
            <a:avLst>
              <a:gd name="adj1" fmla="val 17221"/>
              <a:gd name="adj2" fmla="val 15230"/>
            </a:avLst>
          </a:prstGeom>
          <a:noFill/>
          <a:ln>
            <a:noFill/>
          </a:ln>
        </p:spPr>
        <p:txBody>
          <a:bodyPr wrap="square" anchor="ctr">
            <a:noAutofit/>
          </a:bodyPr>
          <a:lstStyle/>
          <a:p>
            <a:pPr algn="ctr" fontAlgn="ctr">
              <a:spcAft>
                <a:spcPts val="402"/>
              </a:spcAft>
            </a:pPr>
            <a:r>
              <a:rPr lang="en-US" sz="1399" dirty="0" err="1">
                <a:solidFill>
                  <a:schemeClr val="bg1"/>
                </a:solidFill>
                <a:latin typeface="Calibri" panose="020F0502020204030204" pitchFamily="34" charset="0"/>
              </a:rPr>
              <a:t>Terminales</a:t>
            </a:r>
            <a:r>
              <a:rPr lang="en-US" sz="1399" dirty="0">
                <a:solidFill>
                  <a:schemeClr val="bg1"/>
                </a:solidFill>
                <a:latin typeface="Calibri" panose="020F0502020204030204" pitchFamily="34" charset="0"/>
              </a:rPr>
              <a:t> de </a:t>
            </a:r>
            <a:r>
              <a:rPr lang="en-US" sz="1399" dirty="0" err="1">
                <a:solidFill>
                  <a:schemeClr val="bg1"/>
                </a:solidFill>
                <a:latin typeface="Calibri" panose="020F0502020204030204" pitchFamily="34" charset="0"/>
              </a:rPr>
              <a:t>Acceso</a:t>
            </a:r>
            <a:endParaRPr lang="en-US" sz="1399" dirty="0">
              <a:solidFill>
                <a:schemeClr val="bg1"/>
              </a:solidFill>
              <a:latin typeface="Calibri" panose="020F0502020204030204" pitchFamily="34" charset="0"/>
            </a:endParaRPr>
          </a:p>
        </p:txBody>
      </p:sp>
      <p:sp>
        <p:nvSpPr>
          <p:cNvPr id="64" name="矩形 50"/>
          <p:cNvSpPr>
            <a:spLocks noChangeArrowheads="1"/>
          </p:cNvSpPr>
          <p:nvPr/>
        </p:nvSpPr>
        <p:spPr bwMode="auto">
          <a:xfrm>
            <a:off x="5246177" y="1769151"/>
            <a:ext cx="753731" cy="500428"/>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w="9525">
            <a:noFill/>
            <a:prstDash val="dash"/>
            <a:miter lim="800000"/>
            <a:headEnd/>
            <a:tailEnd/>
          </a:ln>
          <a:effectLst>
            <a:softEdge rad="31750"/>
          </a:effectLst>
        </p:spPr>
        <p:txBody>
          <a:bodyPr wrap="square" lIns="79932" tIns="39963" rIns="79932" bIns="39963">
            <a:noAutofit/>
          </a:bodyPr>
          <a:lstStyle/>
          <a:p>
            <a:pPr fontAlgn="ctr">
              <a:buClr>
                <a:srgbClr val="CC9900"/>
              </a:buClr>
              <a:buFont typeface="Wingdings" pitchFamily="2" charset="2"/>
              <a:buChar char="n"/>
              <a:defRPr/>
            </a:pPr>
            <a:endParaRPr lang="en-US" altLang="zh-CN" sz="800" kern="0" dirty="0">
              <a:solidFill>
                <a:schemeClr val="bg1"/>
              </a:solidFill>
              <a:latin typeface="Calibri" panose="020F0502020204030204" pitchFamily="34" charset="0"/>
              <a:ea typeface="+mj-ea"/>
            </a:endParaRPr>
          </a:p>
        </p:txBody>
      </p:sp>
      <p:sp>
        <p:nvSpPr>
          <p:cNvPr id="65" name="圆角矩形 150"/>
          <p:cNvSpPr>
            <a:spLocks noChangeArrowheads="1"/>
          </p:cNvSpPr>
          <p:nvPr/>
        </p:nvSpPr>
        <p:spPr bwMode="auto">
          <a:xfrm>
            <a:off x="5169903" y="1986354"/>
            <a:ext cx="453139" cy="450961"/>
          </a:xfrm>
          <a:prstGeom prst="roundRect">
            <a:avLst>
              <a:gd name="adj" fmla="val 16667"/>
            </a:avLst>
          </a:prstGeom>
          <a:blipFill dpi="0" rotWithShape="1">
            <a:blip r:embed="rId4" cstate="screen">
              <a:extLst>
                <a:ext uri="{28A0092B-C50C-407E-A947-70E740481C1C}">
                  <a14:useLocalDpi xmlns:a14="http://schemas.microsoft.com/office/drawing/2010/main"/>
                </a:ext>
              </a:extLst>
            </a:blip>
            <a:srcRect/>
            <a:stretch>
              <a:fillRect/>
            </a:stretch>
          </a:blipFill>
          <a:ln w="9525">
            <a:noFill/>
            <a:prstDash val="dash"/>
            <a:round/>
            <a:headEnd/>
            <a:tailEnd/>
          </a:ln>
        </p:spPr>
        <p:txBody>
          <a:bodyPr wrap="square" lIns="79932" tIns="39963" rIns="79932" bIns="39963">
            <a:noAutofit/>
          </a:bodyPr>
          <a:lstStyle/>
          <a:p>
            <a:pPr fontAlgn="ctr">
              <a:buClr>
                <a:srgbClr val="CC9900"/>
              </a:buClr>
              <a:buFont typeface="Wingdings" pitchFamily="2" charset="2"/>
              <a:buChar char="n"/>
              <a:defRPr/>
            </a:pPr>
            <a:endParaRPr lang="en-US" altLang="zh-CN" sz="1050" kern="0" dirty="0">
              <a:solidFill>
                <a:schemeClr val="bg1"/>
              </a:solidFill>
              <a:latin typeface="Calibri" panose="020F0502020204030204" pitchFamily="34" charset="0"/>
              <a:ea typeface="+mj-ea"/>
            </a:endParaRPr>
          </a:p>
        </p:txBody>
      </p:sp>
      <p:sp>
        <p:nvSpPr>
          <p:cNvPr id="66" name="TextBox 131"/>
          <p:cNvSpPr txBox="1">
            <a:spLocks noChangeArrowheads="1"/>
          </p:cNvSpPr>
          <p:nvPr/>
        </p:nvSpPr>
        <p:spPr bwMode="auto">
          <a:xfrm>
            <a:off x="3783581" y="2068294"/>
            <a:ext cx="1724688" cy="203786"/>
          </a:xfrm>
          <a:prstGeom prst="rect">
            <a:avLst/>
          </a:prstGeom>
          <a:noFill/>
          <a:ln w="9525">
            <a:noFill/>
            <a:miter lim="800000"/>
            <a:headEnd/>
            <a:tailEnd/>
          </a:ln>
        </p:spPr>
        <p:txBody>
          <a:bodyPr wrap="square" lIns="79932" tIns="39963" rIns="79932" bIns="39963">
            <a:noAutofit/>
          </a:bodyPr>
          <a:lstStyle/>
          <a:p>
            <a:pPr fontAlgn="ctr">
              <a:defRPr/>
            </a:pPr>
            <a:endParaRPr lang="en-US" altLang="zh-CN" sz="1050" kern="0" dirty="0">
              <a:solidFill>
                <a:schemeClr val="bg1"/>
              </a:solidFill>
              <a:latin typeface="Calibri" panose="020F0502020204030204" pitchFamily="34" charset="0"/>
              <a:ea typeface="+mj-ea"/>
            </a:endParaRPr>
          </a:p>
        </p:txBody>
      </p:sp>
      <p:grpSp>
        <p:nvGrpSpPr>
          <p:cNvPr id="75" name="组合 94"/>
          <p:cNvGrpSpPr>
            <a:grpSpLocks/>
          </p:cNvGrpSpPr>
          <p:nvPr/>
        </p:nvGrpSpPr>
        <p:grpSpPr bwMode="auto">
          <a:xfrm>
            <a:off x="2535749" y="3378418"/>
            <a:ext cx="933694" cy="616129"/>
            <a:chOff x="9774464" y="4342757"/>
            <a:chExt cx="1943087" cy="652769"/>
          </a:xfrm>
        </p:grpSpPr>
        <p:pic>
          <p:nvPicPr>
            <p:cNvPr id="76" name="图片 45" descr="x4c-1159795.jpg"/>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872434" y="4342757"/>
              <a:ext cx="845117" cy="406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7" name="TextBox 153"/>
            <p:cNvSpPr txBox="1">
              <a:spLocks noChangeArrowheads="1"/>
            </p:cNvSpPr>
            <p:nvPr/>
          </p:nvSpPr>
          <p:spPr bwMode="auto">
            <a:xfrm>
              <a:off x="9774464" y="4751030"/>
              <a:ext cx="1507257" cy="244496"/>
            </a:xfrm>
            <a:prstGeom prst="rect">
              <a:avLst/>
            </a:prstGeom>
            <a:noFill/>
            <a:ln w="9525">
              <a:noFill/>
              <a:miter lim="800000"/>
              <a:headEnd/>
              <a:tailEnd/>
            </a:ln>
          </p:spPr>
          <p:txBody>
            <a:bodyPr wrap="square">
              <a:noAutofit/>
            </a:bodyPr>
            <a:lstStyle/>
            <a:p>
              <a:pPr algn="ctr" fontAlgn="ctr">
                <a:defRPr/>
              </a:pPr>
              <a:endParaRPr lang="en-US" altLang="zh-CN" sz="900" b="1" kern="0" dirty="0">
                <a:solidFill>
                  <a:schemeClr val="bg1"/>
                </a:solidFill>
                <a:latin typeface="Calibri" panose="020F0502020204030204" pitchFamily="34" charset="0"/>
                <a:ea typeface="+mj-ea"/>
              </a:endParaRPr>
            </a:p>
          </p:txBody>
        </p:sp>
      </p:grpSp>
      <p:grpSp>
        <p:nvGrpSpPr>
          <p:cNvPr id="78" name="组合 85"/>
          <p:cNvGrpSpPr>
            <a:grpSpLocks/>
          </p:cNvGrpSpPr>
          <p:nvPr/>
        </p:nvGrpSpPr>
        <p:grpSpPr bwMode="auto">
          <a:xfrm>
            <a:off x="3865340" y="3378416"/>
            <a:ext cx="649624" cy="611555"/>
            <a:chOff x="4799169" y="5112566"/>
            <a:chExt cx="951543" cy="1110251"/>
          </a:xfrm>
        </p:grpSpPr>
        <p:sp>
          <p:nvSpPr>
            <p:cNvPr id="79" name="Text Box 75"/>
            <p:cNvSpPr txBox="1">
              <a:spLocks noChangeArrowheads="1"/>
            </p:cNvSpPr>
            <p:nvPr/>
          </p:nvSpPr>
          <p:spPr bwMode="auto">
            <a:xfrm>
              <a:off x="4799169" y="5903968"/>
              <a:ext cx="951543" cy="318849"/>
            </a:xfrm>
            <a:prstGeom prst="rect">
              <a:avLst/>
            </a:prstGeom>
            <a:noFill/>
            <a:ln w="9525" algn="ctr">
              <a:noFill/>
              <a:miter lim="800000"/>
              <a:headEnd/>
              <a:tailEnd/>
            </a:ln>
          </p:spPr>
          <p:txBody>
            <a:bodyPr wrap="square" lIns="61585" tIns="32025" rIns="61585" bIns="32025" anchor="ctr">
              <a:noAutofit/>
            </a:bodyPr>
            <a:lstStyle/>
            <a:p>
              <a:pPr algn="ctr" defTabSz="557615" fontAlgn="ctr">
                <a:lnSpc>
                  <a:spcPct val="70000"/>
                </a:lnSpc>
                <a:spcBef>
                  <a:spcPct val="50000"/>
                </a:spcBef>
                <a:defRPr/>
              </a:pPr>
              <a:r>
                <a:rPr lang="en-US" sz="1000" b="1" dirty="0" err="1">
                  <a:solidFill>
                    <a:schemeClr val="bg1"/>
                  </a:solidFill>
                  <a:latin typeface="Calibri" panose="020F0502020204030204" pitchFamily="34" charset="0"/>
                </a:rPr>
                <a:t>Portatil</a:t>
              </a:r>
              <a:endParaRPr lang="en-US" altLang="zh-CN" sz="1000" b="1" kern="0" dirty="0">
                <a:solidFill>
                  <a:schemeClr val="bg1"/>
                </a:solidFill>
                <a:latin typeface="Calibri" panose="020F0502020204030204" pitchFamily="34" charset="0"/>
                <a:ea typeface="+mj-ea"/>
              </a:endParaRPr>
            </a:p>
          </p:txBody>
        </p:sp>
        <p:pic>
          <p:nvPicPr>
            <p:cNvPr id="80" name="Picture 17" descr="C:\Documents and Settings\gburke\My Documents\Product Icons\a MSOffice-Visio\Final - PNG files 25percent\Video-Other\PVX.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897911" y="5112566"/>
              <a:ext cx="754062" cy="649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1" name="组合 158"/>
          <p:cNvGrpSpPr>
            <a:grpSpLocks/>
          </p:cNvGrpSpPr>
          <p:nvPr/>
        </p:nvGrpSpPr>
        <p:grpSpPr bwMode="auto">
          <a:xfrm>
            <a:off x="4735716" y="3378419"/>
            <a:ext cx="571130" cy="639259"/>
            <a:chOff x="6044234" y="5524117"/>
            <a:chExt cx="1189347" cy="1113384"/>
          </a:xfrm>
        </p:grpSpPr>
        <p:pic>
          <p:nvPicPr>
            <p:cNvPr id="82" name="Picture 12" descr="Wyse Vista Desktop"/>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268643" y="5524117"/>
              <a:ext cx="854160" cy="6399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 name="TextBox 160"/>
            <p:cNvSpPr txBox="1">
              <a:spLocks noChangeArrowheads="1"/>
            </p:cNvSpPr>
            <p:nvPr/>
          </p:nvSpPr>
          <p:spPr bwMode="auto">
            <a:xfrm>
              <a:off x="6044234" y="6208774"/>
              <a:ext cx="1189347" cy="428727"/>
            </a:xfrm>
            <a:prstGeom prst="rect">
              <a:avLst/>
            </a:prstGeom>
            <a:noFill/>
            <a:ln w="9525">
              <a:noFill/>
              <a:miter lim="800000"/>
              <a:headEnd/>
              <a:tailEnd/>
            </a:ln>
          </p:spPr>
          <p:txBody>
            <a:bodyPr wrap="square">
              <a:noAutofit/>
            </a:bodyPr>
            <a:lstStyle/>
            <a:p>
              <a:pPr algn="ctr" fontAlgn="ctr">
                <a:defRPr/>
              </a:pPr>
              <a:r>
                <a:rPr lang="en-US" sz="1000" b="1" dirty="0">
                  <a:solidFill>
                    <a:schemeClr val="bg1"/>
                  </a:solidFill>
                  <a:latin typeface="Calibri" panose="020F0502020204030204" pitchFamily="34" charset="0"/>
                </a:rPr>
                <a:t>Thin Client</a:t>
              </a:r>
              <a:endParaRPr lang="en-US" altLang="zh-CN" sz="1000" b="1" kern="0" dirty="0">
                <a:solidFill>
                  <a:schemeClr val="bg1"/>
                </a:solidFill>
                <a:latin typeface="Calibri" panose="020F0502020204030204" pitchFamily="34" charset="0"/>
                <a:ea typeface="+mj-ea"/>
              </a:endParaRPr>
            </a:p>
          </p:txBody>
        </p:sp>
      </p:grpSp>
      <p:grpSp>
        <p:nvGrpSpPr>
          <p:cNvPr id="84" name="组合 161"/>
          <p:cNvGrpSpPr>
            <a:grpSpLocks/>
          </p:cNvGrpSpPr>
          <p:nvPr/>
        </p:nvGrpSpPr>
        <p:grpSpPr bwMode="auto">
          <a:xfrm>
            <a:off x="5606043" y="3337495"/>
            <a:ext cx="483263" cy="677291"/>
            <a:chOff x="8002214" y="5216843"/>
            <a:chExt cx="981120" cy="1478188"/>
          </a:xfrm>
        </p:grpSpPr>
        <p:pic>
          <p:nvPicPr>
            <p:cNvPr id="85" name="Picture 6" descr="XP icon my compute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038682" y="5216843"/>
              <a:ext cx="839786" cy="944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 name="TextBox 163"/>
            <p:cNvSpPr txBox="1">
              <a:spLocks noChangeArrowheads="1"/>
            </p:cNvSpPr>
            <p:nvPr/>
          </p:nvSpPr>
          <p:spPr bwMode="auto">
            <a:xfrm>
              <a:off x="8002214" y="6157794"/>
              <a:ext cx="981120" cy="537237"/>
            </a:xfrm>
            <a:prstGeom prst="rect">
              <a:avLst/>
            </a:prstGeom>
            <a:noFill/>
            <a:ln w="9525">
              <a:noFill/>
              <a:miter lim="800000"/>
              <a:headEnd/>
              <a:tailEnd/>
            </a:ln>
          </p:spPr>
          <p:txBody>
            <a:bodyPr wrap="square">
              <a:noAutofit/>
            </a:bodyPr>
            <a:lstStyle/>
            <a:p>
              <a:pPr algn="ctr" fontAlgn="ctr">
                <a:defRPr/>
              </a:pPr>
              <a:r>
                <a:rPr lang="en-US" sz="1000" b="1" dirty="0">
                  <a:solidFill>
                    <a:schemeClr val="bg1"/>
                  </a:solidFill>
                  <a:latin typeface="Calibri" panose="020F0502020204030204" pitchFamily="34" charset="0"/>
                </a:rPr>
                <a:t>PC</a:t>
              </a:r>
              <a:endParaRPr lang="en-US" altLang="zh-CN" sz="1000" b="1" kern="0" dirty="0">
                <a:solidFill>
                  <a:schemeClr val="bg1"/>
                </a:solidFill>
                <a:latin typeface="Calibri" panose="020F0502020204030204" pitchFamily="34" charset="0"/>
                <a:ea typeface="+mj-ea"/>
              </a:endParaRPr>
            </a:p>
          </p:txBody>
        </p:sp>
      </p:grpSp>
      <p:grpSp>
        <p:nvGrpSpPr>
          <p:cNvPr id="89" name="组合 267"/>
          <p:cNvGrpSpPr>
            <a:grpSpLocks/>
          </p:cNvGrpSpPr>
          <p:nvPr/>
        </p:nvGrpSpPr>
        <p:grpSpPr bwMode="auto">
          <a:xfrm>
            <a:off x="2193068" y="3378419"/>
            <a:ext cx="601257" cy="629931"/>
            <a:chOff x="2371683" y="4111928"/>
            <a:chExt cx="910829" cy="957826"/>
          </a:xfrm>
        </p:grpSpPr>
        <p:sp>
          <p:nvSpPr>
            <p:cNvPr id="90" name="TextBox 157"/>
            <p:cNvSpPr txBox="1">
              <a:spLocks noChangeArrowheads="1"/>
            </p:cNvSpPr>
            <p:nvPr/>
          </p:nvSpPr>
          <p:spPr bwMode="auto">
            <a:xfrm>
              <a:off x="2371683" y="4695466"/>
              <a:ext cx="910829" cy="374288"/>
            </a:xfrm>
            <a:prstGeom prst="rect">
              <a:avLst/>
            </a:prstGeom>
            <a:noFill/>
            <a:ln w="9525">
              <a:noFill/>
              <a:miter lim="800000"/>
              <a:headEnd/>
              <a:tailEnd/>
            </a:ln>
          </p:spPr>
          <p:txBody>
            <a:bodyPr wrap="square">
              <a:noAutofit/>
            </a:bodyPr>
            <a:lstStyle/>
            <a:p>
              <a:pPr algn="ctr" fontAlgn="ctr">
                <a:defRPr/>
              </a:pPr>
              <a:r>
                <a:rPr lang="en-US" sz="1000" b="1" dirty="0" err="1">
                  <a:solidFill>
                    <a:schemeClr val="bg1"/>
                  </a:solidFill>
                  <a:latin typeface="Calibri" panose="020F0502020204030204" pitchFamily="34" charset="0"/>
                </a:rPr>
                <a:t>Telefono</a:t>
              </a:r>
              <a:endParaRPr lang="en-US" altLang="zh-CN" sz="1000" b="1" kern="0" dirty="0">
                <a:solidFill>
                  <a:schemeClr val="bg1"/>
                </a:solidFill>
                <a:latin typeface="Calibri" panose="020F0502020204030204" pitchFamily="34" charset="0"/>
                <a:ea typeface="+mj-ea"/>
              </a:endParaRPr>
            </a:p>
          </p:txBody>
        </p:sp>
        <p:pic>
          <p:nvPicPr>
            <p:cNvPr id="91" name="图片 134" descr="sj_apple_iphone4_7_m.jpg"/>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712344" y="4111928"/>
              <a:ext cx="232159" cy="564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2" name="TextBox 134"/>
          <p:cNvSpPr txBox="1">
            <a:spLocks noChangeArrowheads="1"/>
          </p:cNvSpPr>
          <p:nvPr/>
        </p:nvSpPr>
        <p:spPr bwMode="auto">
          <a:xfrm>
            <a:off x="4007751" y="2559130"/>
            <a:ext cx="1238425" cy="199911"/>
          </a:xfrm>
          <a:prstGeom prst="rect">
            <a:avLst/>
          </a:prstGeom>
          <a:noFill/>
          <a:ln w="9525">
            <a:noFill/>
            <a:miter lim="800000"/>
            <a:headEnd/>
            <a:tailEnd/>
          </a:ln>
        </p:spPr>
        <p:txBody>
          <a:bodyPr wrap="square" lIns="79932" tIns="39963" rIns="79932" bIns="39963">
            <a:noAutofit/>
          </a:bodyPr>
          <a:lstStyle/>
          <a:p>
            <a:pPr fontAlgn="ctr">
              <a:defRPr/>
            </a:pPr>
            <a:r>
              <a:rPr lang="en-US" sz="1200" dirty="0" err="1">
                <a:solidFill>
                  <a:schemeClr val="bg1"/>
                </a:solidFill>
                <a:latin typeface="Calibri" panose="020F0502020204030204" pitchFamily="34" charset="0"/>
              </a:rPr>
              <a:t>Libro</a:t>
            </a:r>
            <a:r>
              <a:rPr lang="en-US" sz="1200" dirty="0">
                <a:solidFill>
                  <a:schemeClr val="bg1"/>
                </a:solidFill>
                <a:latin typeface="Calibri" panose="020F0502020204030204" pitchFamily="34" charset="0"/>
              </a:rPr>
              <a:t> </a:t>
            </a:r>
            <a:r>
              <a:rPr lang="en-US" sz="1200" dirty="0" err="1">
                <a:solidFill>
                  <a:schemeClr val="bg1"/>
                </a:solidFill>
                <a:latin typeface="Calibri" panose="020F0502020204030204" pitchFamily="34" charset="0"/>
              </a:rPr>
              <a:t>Electrónico</a:t>
            </a:r>
            <a:endParaRPr lang="en-US" altLang="zh-CN" sz="1200" kern="0" dirty="0">
              <a:solidFill>
                <a:schemeClr val="bg1"/>
              </a:solidFill>
              <a:latin typeface="Calibri" panose="020F0502020204030204" pitchFamily="34" charset="0"/>
            </a:endParaRPr>
          </a:p>
        </p:txBody>
      </p:sp>
      <p:sp>
        <p:nvSpPr>
          <p:cNvPr id="93" name="TextBox 134"/>
          <p:cNvSpPr txBox="1">
            <a:spLocks noChangeArrowheads="1"/>
          </p:cNvSpPr>
          <p:nvPr/>
        </p:nvSpPr>
        <p:spPr bwMode="auto">
          <a:xfrm>
            <a:off x="2337928" y="2527314"/>
            <a:ext cx="1545177" cy="388404"/>
          </a:xfrm>
          <a:prstGeom prst="rect">
            <a:avLst/>
          </a:prstGeom>
          <a:noFill/>
          <a:ln w="9525">
            <a:noFill/>
            <a:miter lim="800000"/>
            <a:headEnd/>
            <a:tailEnd/>
          </a:ln>
        </p:spPr>
        <p:txBody>
          <a:bodyPr wrap="square" lIns="79932" tIns="39963" rIns="79932" bIns="39963">
            <a:noAutofit/>
          </a:bodyPr>
          <a:lstStyle/>
          <a:p>
            <a:pPr fontAlgn="ctr">
              <a:defRPr/>
            </a:pPr>
            <a:r>
              <a:rPr lang="en-US" sz="1200" dirty="0">
                <a:solidFill>
                  <a:schemeClr val="bg1"/>
                </a:solidFill>
                <a:latin typeface="Calibri" panose="020F0502020204030204" pitchFamily="34" charset="0"/>
              </a:rPr>
              <a:t>Software </a:t>
            </a:r>
            <a:r>
              <a:rPr lang="en-US" sz="1200" dirty="0" err="1">
                <a:solidFill>
                  <a:schemeClr val="bg1"/>
                </a:solidFill>
                <a:latin typeface="Calibri" panose="020F0502020204030204" pitchFamily="34" charset="0"/>
              </a:rPr>
              <a:t>especifico</a:t>
            </a:r>
            <a:endParaRPr lang="en-US" altLang="zh-CN" sz="1200" kern="0" dirty="0">
              <a:solidFill>
                <a:schemeClr val="bg1"/>
              </a:solidFill>
              <a:latin typeface="Calibri" panose="020F0502020204030204" pitchFamily="34" charset="0"/>
            </a:endParaRPr>
          </a:p>
        </p:txBody>
      </p:sp>
      <p:sp>
        <p:nvSpPr>
          <p:cNvPr id="95" name="TextBox 134"/>
          <p:cNvSpPr txBox="1">
            <a:spLocks noChangeArrowheads="1"/>
          </p:cNvSpPr>
          <p:nvPr/>
        </p:nvSpPr>
        <p:spPr bwMode="auto">
          <a:xfrm>
            <a:off x="3750564" y="2191641"/>
            <a:ext cx="1909277" cy="388404"/>
          </a:xfrm>
          <a:prstGeom prst="rect">
            <a:avLst/>
          </a:prstGeom>
          <a:noFill/>
          <a:ln w="9525">
            <a:noFill/>
            <a:miter lim="800000"/>
            <a:headEnd/>
            <a:tailEnd/>
          </a:ln>
        </p:spPr>
        <p:txBody>
          <a:bodyPr wrap="square" lIns="79932" tIns="39963" rIns="79932" bIns="39963">
            <a:noAutofit/>
          </a:bodyPr>
          <a:lstStyle/>
          <a:p>
            <a:pPr fontAlgn="ctr">
              <a:defRPr/>
            </a:pPr>
            <a:r>
              <a:rPr lang="es-ES" altLang="zh-CN" sz="1200" dirty="0">
                <a:solidFill>
                  <a:schemeClr val="bg1"/>
                </a:solidFill>
                <a:latin typeface="Calibri" panose="020F0502020204030204" pitchFamily="34" charset="0"/>
              </a:rPr>
              <a:t>Videos para Enseñanza</a:t>
            </a:r>
            <a:endParaRPr lang="en-US" altLang="zh-CN" sz="1200" kern="0" dirty="0">
              <a:solidFill>
                <a:schemeClr val="bg1"/>
              </a:solidFill>
              <a:latin typeface="Calibri" panose="020F0502020204030204" pitchFamily="34" charset="0"/>
            </a:endParaRPr>
          </a:p>
        </p:txBody>
      </p:sp>
      <p:sp>
        <p:nvSpPr>
          <p:cNvPr id="98" name="TextBox 134"/>
          <p:cNvSpPr txBox="1">
            <a:spLocks noChangeArrowheads="1"/>
          </p:cNvSpPr>
          <p:nvPr/>
        </p:nvSpPr>
        <p:spPr bwMode="auto">
          <a:xfrm>
            <a:off x="2335676" y="2174121"/>
            <a:ext cx="2165289" cy="388404"/>
          </a:xfrm>
          <a:prstGeom prst="rect">
            <a:avLst/>
          </a:prstGeom>
          <a:noFill/>
          <a:ln w="9525">
            <a:noFill/>
            <a:miter lim="800000"/>
            <a:headEnd/>
            <a:tailEnd/>
          </a:ln>
        </p:spPr>
        <p:txBody>
          <a:bodyPr wrap="square" lIns="79932" tIns="39963" rIns="79932" bIns="39963">
            <a:noAutofit/>
          </a:bodyPr>
          <a:lstStyle/>
          <a:p>
            <a:pPr fontAlgn="ctr">
              <a:defRPr/>
            </a:pPr>
            <a:r>
              <a:rPr lang="en-US" sz="1200" dirty="0" err="1">
                <a:solidFill>
                  <a:schemeClr val="bg1"/>
                </a:solidFill>
                <a:latin typeface="Calibri" panose="020F0502020204030204" pitchFamily="34" charset="0"/>
              </a:rPr>
              <a:t>Entorno</a:t>
            </a:r>
            <a:r>
              <a:rPr lang="en-US" sz="1200" dirty="0">
                <a:solidFill>
                  <a:schemeClr val="bg1"/>
                </a:solidFill>
                <a:latin typeface="Calibri" panose="020F0502020204030204" pitchFamily="34" charset="0"/>
              </a:rPr>
              <a:t> </a:t>
            </a:r>
            <a:r>
              <a:rPr lang="en-US" sz="1200" dirty="0" err="1">
                <a:solidFill>
                  <a:schemeClr val="bg1"/>
                </a:solidFill>
                <a:latin typeface="Calibri" panose="020F0502020204030204" pitchFamily="34" charset="0"/>
              </a:rPr>
              <a:t>Laboratorio</a:t>
            </a:r>
            <a:endParaRPr lang="en-US" altLang="zh-CN" sz="1200" kern="0" dirty="0">
              <a:solidFill>
                <a:schemeClr val="bg1"/>
              </a:solidFill>
              <a:latin typeface="Calibri" panose="020F0502020204030204" pitchFamily="34" charset="0"/>
            </a:endParaRPr>
          </a:p>
        </p:txBody>
      </p:sp>
      <p:sp>
        <p:nvSpPr>
          <p:cNvPr id="99" name="TextBox 157"/>
          <p:cNvSpPr txBox="1">
            <a:spLocks noChangeArrowheads="1"/>
          </p:cNvSpPr>
          <p:nvPr/>
        </p:nvSpPr>
        <p:spPr bwMode="auto">
          <a:xfrm>
            <a:off x="2926356" y="3775800"/>
            <a:ext cx="648956" cy="246157"/>
          </a:xfrm>
          <a:prstGeom prst="rect">
            <a:avLst/>
          </a:prstGeom>
          <a:noFill/>
          <a:ln w="9525">
            <a:noFill/>
            <a:miter lim="800000"/>
            <a:headEnd/>
            <a:tailEnd/>
          </a:ln>
        </p:spPr>
        <p:txBody>
          <a:bodyPr wrap="square">
            <a:noAutofit/>
          </a:bodyPr>
          <a:lstStyle/>
          <a:p>
            <a:pPr algn="ctr" fontAlgn="ctr">
              <a:defRPr/>
            </a:pPr>
            <a:r>
              <a:rPr lang="en-US" sz="1000" b="1" dirty="0">
                <a:solidFill>
                  <a:schemeClr val="bg1"/>
                </a:solidFill>
                <a:latin typeface="Calibri" panose="020F0502020204030204" pitchFamily="34" charset="0"/>
              </a:rPr>
              <a:t>Tablet</a:t>
            </a:r>
            <a:endParaRPr lang="en-US" altLang="zh-CN" sz="1000" b="1" kern="0" dirty="0">
              <a:solidFill>
                <a:schemeClr val="bg1"/>
              </a:solidFill>
              <a:latin typeface="Calibri" panose="020F0502020204030204" pitchFamily="34" charset="0"/>
              <a:ea typeface="+mj-ea"/>
            </a:endParaRPr>
          </a:p>
        </p:txBody>
      </p:sp>
      <p:sp>
        <p:nvSpPr>
          <p:cNvPr id="109" name="Rectangle 29"/>
          <p:cNvSpPr>
            <a:spLocks noChangeArrowheads="1"/>
          </p:cNvSpPr>
          <p:nvPr/>
        </p:nvSpPr>
        <p:spPr bwMode="gray">
          <a:xfrm>
            <a:off x="2619117" y="1504893"/>
            <a:ext cx="2535303" cy="298593"/>
          </a:xfrm>
          <a:prstGeom prst="rect">
            <a:avLst/>
          </a:prstGeom>
          <a:noFill/>
          <a:ln>
            <a:noFill/>
          </a:ln>
          <a:effectLst/>
        </p:spPr>
        <p:txBody>
          <a:bodyPr wrap="square">
            <a:noAutofit/>
          </a:bodyPr>
          <a:lstStyle/>
          <a:p>
            <a:pPr algn="ctr" fontAlgn="ctr">
              <a:defRPr/>
            </a:pPr>
            <a:r>
              <a:rPr lang="en-US" sz="1399" b="1" dirty="0" err="1">
                <a:solidFill>
                  <a:schemeClr val="bg1"/>
                </a:solidFill>
                <a:latin typeface="Calibri" panose="020F0502020204030204" pitchFamily="34" charset="0"/>
              </a:rPr>
              <a:t>Entorno</a:t>
            </a:r>
            <a:r>
              <a:rPr lang="en-US" sz="1399" b="1" dirty="0">
                <a:solidFill>
                  <a:schemeClr val="bg1"/>
                </a:solidFill>
                <a:latin typeface="Calibri" panose="020F0502020204030204" pitchFamily="34" charset="0"/>
              </a:rPr>
              <a:t> Cloud para la </a:t>
            </a:r>
            <a:r>
              <a:rPr lang="en-US" sz="1399" b="1" dirty="0" err="1">
                <a:solidFill>
                  <a:schemeClr val="bg1"/>
                </a:solidFill>
                <a:latin typeface="Calibri" panose="020F0502020204030204" pitchFamily="34" charset="0"/>
              </a:rPr>
              <a:t>compartición</a:t>
            </a:r>
            <a:r>
              <a:rPr lang="en-US" sz="1399" b="1" dirty="0">
                <a:solidFill>
                  <a:schemeClr val="bg1"/>
                </a:solidFill>
                <a:latin typeface="Calibri" panose="020F0502020204030204" pitchFamily="34" charset="0"/>
              </a:rPr>
              <a:t> de </a:t>
            </a:r>
            <a:r>
              <a:rPr lang="en-US" sz="1399" b="1" dirty="0" err="1">
                <a:solidFill>
                  <a:schemeClr val="bg1"/>
                </a:solidFill>
                <a:latin typeface="Calibri" panose="020F0502020204030204" pitchFamily="34" charset="0"/>
              </a:rPr>
              <a:t>recursos</a:t>
            </a:r>
            <a:endParaRPr lang="en-US" altLang="zh-CN" sz="1399" b="1" kern="0" dirty="0">
              <a:solidFill>
                <a:schemeClr val="bg1"/>
              </a:solidFill>
              <a:latin typeface="Calibri" panose="020F0502020204030204" pitchFamily="34" charset="0"/>
              <a:ea typeface="+mj-ea"/>
            </a:endParaRPr>
          </a:p>
        </p:txBody>
      </p:sp>
      <p:sp>
        <p:nvSpPr>
          <p:cNvPr id="111" name="TextBox 130"/>
          <p:cNvSpPr txBox="1"/>
          <p:nvPr/>
        </p:nvSpPr>
        <p:spPr bwMode="auto">
          <a:xfrm>
            <a:off x="4603543" y="4300552"/>
            <a:ext cx="1621326" cy="438413"/>
          </a:xfrm>
          <a:prstGeom prst="rect">
            <a:avLst/>
          </a:prstGeom>
          <a:noFill/>
        </p:spPr>
        <p:txBody>
          <a:bodyPr wrap="square" lIns="68504" tIns="34254" rIns="68504" bIns="34254">
            <a:noAutofit/>
          </a:bodyPr>
          <a:lstStyle/>
          <a:p>
            <a:pPr algn="ctr" fontAlgn="ctr">
              <a:defRPr/>
            </a:pPr>
            <a:r>
              <a:rPr lang="en-US" sz="1200" dirty="0">
                <a:solidFill>
                  <a:schemeClr val="bg1"/>
                </a:solidFill>
                <a:latin typeface="Calibri" panose="020F0502020204030204" pitchFamily="34" charset="0"/>
              </a:rPr>
              <a:t>Centro de </a:t>
            </a:r>
            <a:r>
              <a:rPr lang="en-US" sz="1200" dirty="0" err="1">
                <a:solidFill>
                  <a:schemeClr val="bg1"/>
                </a:solidFill>
                <a:latin typeface="Calibri" panose="020F0502020204030204" pitchFamily="34" charset="0"/>
              </a:rPr>
              <a:t>Gestión</a:t>
            </a:r>
            <a:r>
              <a:rPr lang="en-US" sz="1200" dirty="0">
                <a:solidFill>
                  <a:schemeClr val="bg1"/>
                </a:solidFill>
                <a:latin typeface="Calibri" panose="020F0502020204030204" pitchFamily="34" charset="0"/>
              </a:rPr>
              <a:t> IT</a:t>
            </a:r>
            <a:endParaRPr lang="en-US" altLang="zh-CN" sz="1050" kern="0" dirty="0">
              <a:solidFill>
                <a:schemeClr val="bg1"/>
              </a:solidFill>
              <a:latin typeface="Calibri" panose="020F0502020204030204" pitchFamily="34" charset="0"/>
              <a:ea typeface="+mj-ea"/>
              <a:cs typeface="Arial" pitchFamily="34" charset="0"/>
            </a:endParaRPr>
          </a:p>
        </p:txBody>
      </p:sp>
      <p:sp>
        <p:nvSpPr>
          <p:cNvPr id="114" name="TextBox 133"/>
          <p:cNvSpPr txBox="1"/>
          <p:nvPr/>
        </p:nvSpPr>
        <p:spPr bwMode="auto">
          <a:xfrm>
            <a:off x="816595" y="4299022"/>
            <a:ext cx="808407" cy="438413"/>
          </a:xfrm>
          <a:prstGeom prst="rect">
            <a:avLst/>
          </a:prstGeom>
          <a:noFill/>
        </p:spPr>
        <p:txBody>
          <a:bodyPr wrap="square" lIns="68504" tIns="34254" rIns="68504" bIns="34254">
            <a:noAutofit/>
          </a:bodyPr>
          <a:lstStyle/>
          <a:p>
            <a:pPr algn="ctr" fontAlgn="ctr">
              <a:defRPr/>
            </a:pPr>
            <a:r>
              <a:rPr lang="en-US" sz="1200" dirty="0" err="1">
                <a:solidFill>
                  <a:schemeClr val="bg1"/>
                </a:solidFill>
                <a:latin typeface="Calibri" panose="020F0502020204030204" pitchFamily="34" charset="0"/>
              </a:rPr>
              <a:t>Estudiante</a:t>
            </a:r>
            <a:endParaRPr lang="en-US" sz="1200" dirty="0">
              <a:solidFill>
                <a:schemeClr val="bg1"/>
              </a:solidFill>
              <a:latin typeface="Calibri" panose="020F0502020204030204" pitchFamily="34" charset="0"/>
            </a:endParaRPr>
          </a:p>
        </p:txBody>
      </p:sp>
      <p:sp>
        <p:nvSpPr>
          <p:cNvPr id="115" name="TextBox 134"/>
          <p:cNvSpPr txBox="1"/>
          <p:nvPr/>
        </p:nvSpPr>
        <p:spPr bwMode="auto">
          <a:xfrm>
            <a:off x="4204956" y="5498650"/>
            <a:ext cx="2623046" cy="799753"/>
          </a:xfrm>
          <a:prstGeom prst="rect">
            <a:avLst/>
          </a:prstGeom>
          <a:noFill/>
          <a:ln w="12700">
            <a:noFill/>
            <a:round/>
            <a:headEnd type="triangle" w="med" len="med"/>
            <a:tailEnd type="triangle" w="med" len="med"/>
          </a:ln>
          <a:effectLst>
            <a:outerShdw blurRad="50800" dist="38100" dir="2700000" algn="tl" rotWithShape="0">
              <a:prstClr val="black">
                <a:alpha val="40000"/>
              </a:prstClr>
            </a:outerShdw>
          </a:effectLst>
        </p:spPr>
        <p:txBody>
          <a:bodyPr wrap="square" lIns="53941" tIns="39963" rIns="53941" bIns="39963" anchor="ctr">
            <a:noAutofit/>
          </a:bodyPr>
          <a:lstStyle>
            <a:defPPr>
              <a:defRPr lang="zh-CN"/>
            </a:defPPr>
            <a:lvl1pPr indent="0" algn="ctr" fontAlgn="ctr">
              <a:buClr>
                <a:schemeClr val="tx2"/>
              </a:buClr>
              <a:buSzPct val="100000"/>
              <a:defRPr sz="1200">
                <a:solidFill>
                  <a:schemeClr val="bg1"/>
                </a:solidFill>
                <a:latin typeface="+mj-lt"/>
                <a:ea typeface="宋体" panose="02010600030101010101" pitchFamily="2" charset="-122"/>
              </a:defRPr>
            </a:lvl1pPr>
            <a:lvl2pPr marL="742950" indent="-285750">
              <a:defRPr>
                <a:latin typeface="Arial" panose="020B0604020202020204" pitchFamily="34" charset="0"/>
                <a:ea typeface="宋体" panose="02010600030101010101" pitchFamily="2" charset="-122"/>
              </a:defRPr>
            </a:lvl2pPr>
            <a:lvl3pPr marL="1143000" indent="-228600">
              <a:defRPr>
                <a:latin typeface="Arial" panose="020B0604020202020204" pitchFamily="34" charset="0"/>
                <a:ea typeface="宋体" panose="02010600030101010101" pitchFamily="2" charset="-122"/>
              </a:defRPr>
            </a:lvl3pPr>
            <a:lvl4pPr marL="1600200" indent="-228600">
              <a:defRPr>
                <a:latin typeface="Arial" panose="020B0604020202020204" pitchFamily="34" charset="0"/>
                <a:ea typeface="宋体" panose="02010600030101010101" pitchFamily="2" charset="-122"/>
              </a:defRPr>
            </a:lvl4pPr>
            <a:lvl5pPr marL="2057400" indent="-228600">
              <a:defRPr>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latin typeface="Arial" panose="020B0604020202020204" pitchFamily="34" charset="0"/>
                <a:ea typeface="宋体" panose="02010600030101010101" pitchFamily="2" charset="-122"/>
              </a:defRPr>
            </a:lvl9pPr>
          </a:lstStyle>
          <a:p>
            <a:pPr>
              <a:lnSpc>
                <a:spcPct val="150000"/>
              </a:lnSpc>
            </a:pPr>
            <a:r>
              <a:rPr lang="en-US" dirty="0" err="1"/>
              <a:t>Gestión</a:t>
            </a:r>
            <a:r>
              <a:rPr lang="en-US" dirty="0"/>
              <a:t> </a:t>
            </a:r>
            <a:r>
              <a:rPr lang="en-US" dirty="0" err="1"/>
              <a:t>Centralizada</a:t>
            </a:r>
            <a:endParaRPr lang="en-US" altLang="zh-CN" dirty="0"/>
          </a:p>
          <a:p>
            <a:pPr>
              <a:lnSpc>
                <a:spcPct val="150000"/>
              </a:lnSpc>
            </a:pPr>
            <a:r>
              <a:rPr lang="en-US" dirty="0" err="1"/>
              <a:t>Gestión</a:t>
            </a:r>
            <a:r>
              <a:rPr lang="en-US" dirty="0"/>
              <a:t> Flexible de </a:t>
            </a:r>
            <a:r>
              <a:rPr lang="en-US" dirty="0" err="1"/>
              <a:t>Recursos</a:t>
            </a:r>
            <a:r>
              <a:rPr lang="en-US" dirty="0"/>
              <a:t> IT</a:t>
            </a:r>
            <a:endParaRPr lang="en-US" altLang="zh-CN" dirty="0"/>
          </a:p>
        </p:txBody>
      </p:sp>
      <p:sp>
        <p:nvSpPr>
          <p:cNvPr id="116" name="TextBox 134"/>
          <p:cNvSpPr txBox="1"/>
          <p:nvPr/>
        </p:nvSpPr>
        <p:spPr bwMode="auto">
          <a:xfrm>
            <a:off x="419584" y="5701532"/>
            <a:ext cx="1904765" cy="799753"/>
          </a:xfrm>
          <a:prstGeom prst="rect">
            <a:avLst/>
          </a:prstGeom>
          <a:noFill/>
          <a:ln w="12700">
            <a:noFill/>
            <a:round/>
            <a:headEnd type="triangle" w="med" len="med"/>
            <a:tailEnd type="triangle" w="med" len="med"/>
          </a:ln>
          <a:effectLst>
            <a:outerShdw blurRad="50800" dist="38100" dir="2700000" algn="tl" rotWithShape="0">
              <a:prstClr val="black">
                <a:alpha val="40000"/>
              </a:prstClr>
            </a:outerShdw>
          </a:effectLst>
        </p:spPr>
        <p:txBody>
          <a:bodyPr wrap="square" lIns="53941" tIns="39963" rIns="53941" bIns="39963" anchor="ctr">
            <a:noAutofit/>
          </a:bodyPr>
          <a:lstStyle>
            <a:lvl1pPr marL="171450" indent="-17145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indent="0" algn="ctr" fontAlgn="ctr">
              <a:buClr>
                <a:schemeClr val="tx2"/>
              </a:buClr>
              <a:buSzPct val="100000"/>
              <a:defRPr/>
            </a:pPr>
            <a:r>
              <a:rPr lang="en-US" sz="1200" dirty="0">
                <a:solidFill>
                  <a:schemeClr val="bg1"/>
                </a:solidFill>
                <a:latin typeface="+mj-lt"/>
              </a:rPr>
              <a:t>Accede </a:t>
            </a:r>
            <a:r>
              <a:rPr lang="en-US" sz="1200" dirty="0" err="1">
                <a:solidFill>
                  <a:schemeClr val="bg1"/>
                </a:solidFill>
                <a:latin typeface="+mj-lt"/>
              </a:rPr>
              <a:t>en</a:t>
            </a:r>
            <a:r>
              <a:rPr lang="en-US" sz="1200" dirty="0">
                <a:solidFill>
                  <a:schemeClr val="bg1"/>
                </a:solidFill>
                <a:latin typeface="+mj-lt"/>
              </a:rPr>
              <a:t> </a:t>
            </a:r>
            <a:r>
              <a:rPr lang="en-US" sz="1200" dirty="0" err="1">
                <a:solidFill>
                  <a:schemeClr val="bg1"/>
                </a:solidFill>
                <a:latin typeface="+mj-lt"/>
              </a:rPr>
              <a:t>cualquier</a:t>
            </a:r>
            <a:r>
              <a:rPr lang="en-US" sz="1200" dirty="0">
                <a:solidFill>
                  <a:schemeClr val="bg1"/>
                </a:solidFill>
                <a:latin typeface="+mj-lt"/>
              </a:rPr>
              <a:t> </a:t>
            </a:r>
            <a:r>
              <a:rPr lang="en-US" sz="1200" dirty="0" err="1">
                <a:solidFill>
                  <a:schemeClr val="bg1"/>
                </a:solidFill>
                <a:latin typeface="+mj-lt"/>
              </a:rPr>
              <a:t>momento</a:t>
            </a:r>
            <a:r>
              <a:rPr lang="en-US" sz="1200" dirty="0">
                <a:solidFill>
                  <a:schemeClr val="bg1"/>
                </a:solidFill>
                <a:latin typeface="+mj-lt"/>
              </a:rPr>
              <a:t> y </a:t>
            </a:r>
            <a:r>
              <a:rPr lang="en-US" sz="1200" dirty="0" err="1">
                <a:solidFill>
                  <a:schemeClr val="bg1"/>
                </a:solidFill>
                <a:latin typeface="+mj-lt"/>
              </a:rPr>
              <a:t>desde</a:t>
            </a:r>
            <a:r>
              <a:rPr lang="en-US" sz="1200" dirty="0">
                <a:solidFill>
                  <a:schemeClr val="bg1"/>
                </a:solidFill>
                <a:latin typeface="+mj-lt"/>
              </a:rPr>
              <a:t> </a:t>
            </a:r>
            <a:r>
              <a:rPr lang="en-US" sz="1200" dirty="0" err="1">
                <a:solidFill>
                  <a:schemeClr val="bg1"/>
                </a:solidFill>
                <a:latin typeface="+mj-lt"/>
              </a:rPr>
              <a:t>cualquier</a:t>
            </a:r>
            <a:r>
              <a:rPr lang="en-US" sz="1200" dirty="0">
                <a:solidFill>
                  <a:schemeClr val="bg1"/>
                </a:solidFill>
                <a:latin typeface="+mj-lt"/>
              </a:rPr>
              <a:t> </a:t>
            </a:r>
            <a:r>
              <a:rPr lang="en-US" sz="1200" dirty="0" err="1">
                <a:solidFill>
                  <a:schemeClr val="bg1"/>
                </a:solidFill>
                <a:latin typeface="+mj-lt"/>
              </a:rPr>
              <a:t>sitio</a:t>
            </a:r>
            <a:endParaRPr lang="en-US" sz="1200" dirty="0">
              <a:solidFill>
                <a:schemeClr val="bg1"/>
              </a:solidFill>
              <a:latin typeface="+mj-lt"/>
            </a:endParaRPr>
          </a:p>
          <a:p>
            <a:pPr marL="0" indent="0" algn="ctr" fontAlgn="ctr">
              <a:buClr>
                <a:schemeClr val="tx2"/>
              </a:buClr>
              <a:buSzPct val="100000"/>
              <a:defRPr/>
            </a:pPr>
            <a:r>
              <a:rPr lang="es-ES" altLang="zh-CN" sz="1200" dirty="0">
                <a:solidFill>
                  <a:schemeClr val="bg1"/>
                </a:solidFill>
                <a:latin typeface="+mj-lt"/>
                <a:ea typeface="微软雅黑" panose="020B0503020204020204" pitchFamily="34" charset="-122"/>
                <a:cs typeface="Arial" panose="020B0604020202020204" pitchFamily="34" charset="0"/>
              </a:rPr>
              <a:t>Recursos de aprendizajes amplios</a:t>
            </a:r>
            <a:endParaRPr lang="en-US" altLang="zh-CN" sz="1200" dirty="0">
              <a:solidFill>
                <a:schemeClr val="bg1"/>
              </a:solidFill>
              <a:latin typeface="+mj-lt"/>
              <a:ea typeface="微软雅黑" panose="020B0503020204020204" pitchFamily="34" charset="-122"/>
              <a:cs typeface="Arial" panose="020B0604020202020204" pitchFamily="34" charset="0"/>
            </a:endParaRPr>
          </a:p>
        </p:txBody>
      </p:sp>
      <p:sp>
        <p:nvSpPr>
          <p:cNvPr id="117" name="TextBox 134"/>
          <p:cNvSpPr txBox="1"/>
          <p:nvPr/>
        </p:nvSpPr>
        <p:spPr bwMode="auto">
          <a:xfrm>
            <a:off x="2237312" y="5750715"/>
            <a:ext cx="2289033" cy="799753"/>
          </a:xfrm>
          <a:prstGeom prst="rect">
            <a:avLst/>
          </a:prstGeom>
          <a:noFill/>
          <a:ln w="12700">
            <a:noFill/>
            <a:round/>
            <a:headEnd type="triangle" w="med" len="med"/>
            <a:tailEnd type="triangle" w="med" len="med"/>
          </a:ln>
          <a:effectLst>
            <a:outerShdw blurRad="50800" dist="38100" dir="2700000" algn="tl" rotWithShape="0">
              <a:prstClr val="black">
                <a:alpha val="40000"/>
              </a:prstClr>
            </a:outerShdw>
          </a:effectLst>
        </p:spPr>
        <p:txBody>
          <a:bodyPr wrap="square" lIns="53941" tIns="39963" rIns="53941" bIns="39963" anchor="ctr">
            <a:noAutofit/>
          </a:bodyPr>
          <a:lstStyle>
            <a:defPPr>
              <a:defRPr lang="zh-CN"/>
            </a:defPPr>
            <a:lvl1pPr indent="0" algn="ctr" fontAlgn="ctr">
              <a:buClr>
                <a:schemeClr val="tx2"/>
              </a:buClr>
              <a:buSzPct val="100000"/>
              <a:defRPr sz="1200">
                <a:solidFill>
                  <a:schemeClr val="bg1"/>
                </a:solidFill>
                <a:latin typeface="+mj-lt"/>
                <a:ea typeface="宋体" panose="02010600030101010101" pitchFamily="2" charset="-122"/>
              </a:defRPr>
            </a:lvl1pPr>
            <a:lvl2pPr marL="742950" indent="-285750">
              <a:defRPr>
                <a:latin typeface="Arial" panose="020B0604020202020204" pitchFamily="34" charset="0"/>
                <a:ea typeface="宋体" panose="02010600030101010101" pitchFamily="2" charset="-122"/>
              </a:defRPr>
            </a:lvl2pPr>
            <a:lvl3pPr marL="1143000" indent="-228600">
              <a:defRPr>
                <a:latin typeface="Arial" panose="020B0604020202020204" pitchFamily="34" charset="0"/>
                <a:ea typeface="宋体" panose="02010600030101010101" pitchFamily="2" charset="-122"/>
              </a:defRPr>
            </a:lvl3pPr>
            <a:lvl4pPr marL="1600200" indent="-228600">
              <a:defRPr>
                <a:latin typeface="Arial" panose="020B0604020202020204" pitchFamily="34" charset="0"/>
                <a:ea typeface="宋体" panose="02010600030101010101" pitchFamily="2" charset="-122"/>
              </a:defRPr>
            </a:lvl4pPr>
            <a:lvl5pPr marL="2057400" indent="-228600">
              <a:defRPr>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latin typeface="Arial" panose="020B0604020202020204" pitchFamily="34" charset="0"/>
                <a:ea typeface="宋体" panose="02010600030101010101" pitchFamily="2" charset="-122"/>
              </a:defRPr>
            </a:lvl9pPr>
          </a:lstStyle>
          <a:p>
            <a:r>
              <a:rPr lang="en-US" dirty="0"/>
              <a:t>Sistema </a:t>
            </a:r>
            <a:r>
              <a:rPr lang="en-US" dirty="0" err="1"/>
              <a:t>Personalizado</a:t>
            </a:r>
            <a:r>
              <a:rPr lang="en-US" dirty="0"/>
              <a:t> para el </a:t>
            </a:r>
            <a:r>
              <a:rPr lang="en-US" dirty="0" err="1"/>
              <a:t>profesorado</a:t>
            </a:r>
            <a:r>
              <a:rPr lang="en-US" dirty="0"/>
              <a:t> </a:t>
            </a:r>
          </a:p>
          <a:p>
            <a:r>
              <a:rPr lang="en-US" altLang="zh-CN" dirty="0"/>
              <a:t>Accede </a:t>
            </a:r>
            <a:r>
              <a:rPr lang="en-US" altLang="zh-CN" dirty="0" err="1"/>
              <a:t>en</a:t>
            </a:r>
            <a:r>
              <a:rPr lang="en-US" altLang="zh-CN" dirty="0"/>
              <a:t> </a:t>
            </a:r>
            <a:r>
              <a:rPr lang="en-US" altLang="zh-CN" dirty="0" err="1"/>
              <a:t>cualquier</a:t>
            </a:r>
            <a:r>
              <a:rPr lang="en-US" altLang="zh-CN" dirty="0"/>
              <a:t> </a:t>
            </a:r>
            <a:r>
              <a:rPr lang="en-US" altLang="zh-CN" dirty="0" err="1"/>
              <a:t>momento</a:t>
            </a:r>
            <a:r>
              <a:rPr lang="en-US" altLang="zh-CN" dirty="0"/>
              <a:t> y </a:t>
            </a:r>
            <a:r>
              <a:rPr lang="en-US" altLang="zh-CN" dirty="0" err="1"/>
              <a:t>desde</a:t>
            </a:r>
            <a:r>
              <a:rPr lang="en-US" altLang="zh-CN" dirty="0"/>
              <a:t> </a:t>
            </a:r>
            <a:r>
              <a:rPr lang="en-US" altLang="zh-CN" dirty="0" err="1"/>
              <a:t>cualquier</a:t>
            </a:r>
            <a:r>
              <a:rPr lang="en-US" altLang="zh-CN" dirty="0"/>
              <a:t> </a:t>
            </a:r>
            <a:r>
              <a:rPr lang="en-US" altLang="zh-CN" dirty="0" err="1"/>
              <a:t>sitio</a:t>
            </a:r>
            <a:endParaRPr lang="en-US" altLang="zh-CN" dirty="0"/>
          </a:p>
        </p:txBody>
      </p:sp>
      <p:sp>
        <p:nvSpPr>
          <p:cNvPr id="119" name="TextBox 133"/>
          <p:cNvSpPr txBox="1"/>
          <p:nvPr/>
        </p:nvSpPr>
        <p:spPr bwMode="auto">
          <a:xfrm>
            <a:off x="3005986" y="4318234"/>
            <a:ext cx="715483" cy="253795"/>
          </a:xfrm>
          <a:prstGeom prst="rect">
            <a:avLst/>
          </a:prstGeom>
          <a:noFill/>
        </p:spPr>
        <p:txBody>
          <a:bodyPr wrap="square" lIns="68504" tIns="34254" rIns="68504" bIns="34254">
            <a:noAutofit/>
          </a:bodyPr>
          <a:lstStyle/>
          <a:p>
            <a:pPr algn="ctr" fontAlgn="ctr">
              <a:defRPr/>
            </a:pPr>
            <a:r>
              <a:rPr lang="en-US" sz="1200" dirty="0" err="1">
                <a:solidFill>
                  <a:schemeClr val="bg1"/>
                </a:solidFill>
                <a:latin typeface="Calibri" panose="020F0502020204030204" pitchFamily="34" charset="0"/>
              </a:rPr>
              <a:t>Profesor</a:t>
            </a:r>
            <a:endParaRPr lang="en-US" sz="1200" dirty="0">
              <a:solidFill>
                <a:schemeClr val="bg1"/>
              </a:solidFill>
              <a:latin typeface="Calibri" panose="020F0502020204030204" pitchFamily="34" charset="0"/>
            </a:endParaRPr>
          </a:p>
        </p:txBody>
      </p:sp>
      <p:pic>
        <p:nvPicPr>
          <p:cNvPr id="2" name="图片 1"/>
          <p:cNvPicPr>
            <a:picLocks noChangeAspect="1"/>
          </p:cNvPicPr>
          <p:nvPr/>
        </p:nvPicPr>
        <p:blipFill rotWithShape="1">
          <a:blip r:embed="rId10"/>
          <a:srcRect l="4101"/>
          <a:stretch/>
        </p:blipFill>
        <p:spPr>
          <a:xfrm>
            <a:off x="615803" y="4561235"/>
            <a:ext cx="1512329" cy="985207"/>
          </a:xfrm>
          <a:prstGeom prst="rect">
            <a:avLst/>
          </a:prstGeom>
        </p:spPr>
      </p:pic>
      <p:pic>
        <p:nvPicPr>
          <p:cNvPr id="3" name="图片 2"/>
          <p:cNvPicPr>
            <a:picLocks noChangeAspect="1"/>
          </p:cNvPicPr>
          <p:nvPr/>
        </p:nvPicPr>
        <p:blipFill>
          <a:blip r:embed="rId11"/>
          <a:stretch>
            <a:fillRect/>
          </a:stretch>
        </p:blipFill>
        <p:spPr>
          <a:xfrm>
            <a:off x="2556035" y="4612531"/>
            <a:ext cx="1583819" cy="983888"/>
          </a:xfrm>
          <a:prstGeom prst="rect">
            <a:avLst/>
          </a:prstGeom>
        </p:spPr>
      </p:pic>
      <p:pic>
        <p:nvPicPr>
          <p:cNvPr id="7" name="图片 6"/>
          <p:cNvPicPr>
            <a:picLocks noChangeAspect="1"/>
          </p:cNvPicPr>
          <p:nvPr/>
        </p:nvPicPr>
        <p:blipFill>
          <a:blip r:embed="rId12"/>
          <a:stretch>
            <a:fillRect/>
          </a:stretch>
        </p:blipFill>
        <p:spPr>
          <a:xfrm>
            <a:off x="4606658" y="4601084"/>
            <a:ext cx="1629867" cy="985217"/>
          </a:xfrm>
          <a:prstGeom prst="rect">
            <a:avLst/>
          </a:prstGeom>
        </p:spPr>
      </p:pic>
      <p:sp>
        <p:nvSpPr>
          <p:cNvPr id="143" name="TextBox 332"/>
          <p:cNvSpPr txBox="1"/>
          <p:nvPr/>
        </p:nvSpPr>
        <p:spPr>
          <a:xfrm>
            <a:off x="6789795" y="2331170"/>
            <a:ext cx="2559653" cy="283390"/>
          </a:xfrm>
          <a:prstGeom prst="rect">
            <a:avLst/>
          </a:prstGeom>
          <a:solidFill>
            <a:schemeClr val="accent5">
              <a:lumMod val="75000"/>
            </a:schemeClr>
          </a:solidFill>
          <a:ln>
            <a:noFill/>
          </a:ln>
          <a:effectLst/>
        </p:spPr>
        <p:txBody>
          <a:bodyPr vert="horz" wrap="square" lIns="121916" tIns="60958" rIns="121916" bIns="60958" numCol="1" rtlCol="0" anchor="ctr" anchorCtr="0" compatLnSpc="1">
            <a:prstTxWarp prst="textNoShape">
              <a:avLst/>
            </a:prstTxWarp>
          </a:bodyPr>
          <a:lstStyle/>
          <a:p>
            <a:pPr marL="176164" indent="-176164" algn="ctr" defTabSz="914141">
              <a:lnSpc>
                <a:spcPts val="2399"/>
              </a:lnSpc>
              <a:defRPr/>
            </a:pPr>
            <a:r>
              <a:rPr lang="en-US" altLang="zh-CN" sz="1399" b="1" kern="0" dirty="0">
                <a:solidFill>
                  <a:schemeClr val="bg1"/>
                </a:solidFill>
                <a:ea typeface="宋体" charset="-122"/>
              </a:rPr>
              <a:t>Alta </a:t>
            </a:r>
            <a:r>
              <a:rPr lang="en-US" altLang="zh-CN" sz="1399" b="1" kern="0" dirty="0" err="1">
                <a:solidFill>
                  <a:schemeClr val="bg1"/>
                </a:solidFill>
                <a:ea typeface="宋体" charset="-122"/>
              </a:rPr>
              <a:t>Seguridad</a:t>
            </a:r>
            <a:endParaRPr lang="en-US" altLang="zh-CN" sz="1399" b="1" kern="0" dirty="0">
              <a:solidFill>
                <a:schemeClr val="bg1"/>
              </a:solidFill>
              <a:ea typeface="宋体" charset="-122"/>
            </a:endParaRPr>
          </a:p>
        </p:txBody>
      </p:sp>
      <p:sp>
        <p:nvSpPr>
          <p:cNvPr id="144" name="TextBox 559"/>
          <p:cNvSpPr txBox="1"/>
          <p:nvPr/>
        </p:nvSpPr>
        <p:spPr>
          <a:xfrm>
            <a:off x="6822588" y="2597215"/>
            <a:ext cx="5300151" cy="842538"/>
          </a:xfrm>
          <a:prstGeom prst="rect">
            <a:avLst/>
          </a:prstGeom>
          <a:noFill/>
        </p:spPr>
        <p:txBody>
          <a:bodyPr wrap="square" rtlCol="0">
            <a:spAutoFit/>
          </a:bodyPr>
          <a:lstStyle/>
          <a:p>
            <a:pPr marL="285688" indent="-285688" fontAlgn="ctr">
              <a:lnSpc>
                <a:spcPct val="130000"/>
              </a:lnSpc>
              <a:buFont typeface="Arial" panose="020B0604020202020204" pitchFamily="34" charset="0"/>
              <a:buChar char="•"/>
            </a:pPr>
            <a:r>
              <a:rPr lang="en-US" altLang="zh-CN" sz="1250" dirty="0">
                <a:solidFill>
                  <a:schemeClr val="bg1"/>
                </a:solidFill>
                <a:ea typeface="微软雅黑" pitchFamily="34" charset="-122"/>
              </a:rPr>
              <a:t>La </a:t>
            </a:r>
            <a:r>
              <a:rPr lang="en-US" altLang="zh-CN" sz="1250" dirty="0" err="1">
                <a:solidFill>
                  <a:schemeClr val="bg1"/>
                </a:solidFill>
                <a:ea typeface="微软雅黑" pitchFamily="34" charset="-122"/>
              </a:rPr>
              <a:t>información</a:t>
            </a:r>
            <a:r>
              <a:rPr lang="en-US" altLang="zh-CN" sz="1250" dirty="0">
                <a:solidFill>
                  <a:schemeClr val="bg1"/>
                </a:solidFill>
                <a:ea typeface="微软雅黑" pitchFamily="34" charset="-122"/>
              </a:rPr>
              <a:t> </a:t>
            </a:r>
            <a:r>
              <a:rPr lang="en-US" altLang="zh-CN" sz="1250" dirty="0" err="1">
                <a:solidFill>
                  <a:schemeClr val="bg1"/>
                </a:solidFill>
                <a:ea typeface="微软雅黑" pitchFamily="34" charset="-122"/>
              </a:rPr>
              <a:t>está</a:t>
            </a:r>
            <a:r>
              <a:rPr lang="en-US" altLang="zh-CN" sz="1250" dirty="0">
                <a:solidFill>
                  <a:schemeClr val="bg1"/>
                </a:solidFill>
                <a:ea typeface="微软雅黑" pitchFamily="34" charset="-122"/>
              </a:rPr>
              <a:t> </a:t>
            </a:r>
            <a:r>
              <a:rPr lang="en-US" altLang="zh-CN" sz="1250" dirty="0" err="1">
                <a:solidFill>
                  <a:schemeClr val="bg1"/>
                </a:solidFill>
                <a:ea typeface="微软雅黑" pitchFamily="34" charset="-122"/>
              </a:rPr>
              <a:t>aislada</a:t>
            </a:r>
            <a:r>
              <a:rPr lang="en-US" altLang="zh-CN" sz="1250" dirty="0">
                <a:solidFill>
                  <a:schemeClr val="bg1"/>
                </a:solidFill>
                <a:ea typeface="微软雅黑" pitchFamily="34" charset="-122"/>
              </a:rPr>
              <a:t> de </a:t>
            </a:r>
            <a:r>
              <a:rPr lang="en-US" altLang="zh-CN" sz="1250" dirty="0" err="1">
                <a:solidFill>
                  <a:schemeClr val="bg1"/>
                </a:solidFill>
                <a:ea typeface="微软雅黑" pitchFamily="34" charset="-122"/>
              </a:rPr>
              <a:t>los</a:t>
            </a:r>
            <a:r>
              <a:rPr lang="en-US" altLang="zh-CN" sz="1250" dirty="0">
                <a:solidFill>
                  <a:schemeClr val="bg1"/>
                </a:solidFill>
                <a:ea typeface="微软雅黑" pitchFamily="34" charset="-122"/>
              </a:rPr>
              <a:t> terminals y la </a:t>
            </a:r>
            <a:r>
              <a:rPr lang="en-US" altLang="zh-CN" sz="1250" dirty="0" err="1">
                <a:solidFill>
                  <a:schemeClr val="bg1"/>
                </a:solidFill>
                <a:ea typeface="微软雅黑" pitchFamily="34" charset="-122"/>
              </a:rPr>
              <a:t>gestión</a:t>
            </a:r>
            <a:r>
              <a:rPr lang="en-US" altLang="zh-CN" sz="1250" dirty="0">
                <a:solidFill>
                  <a:schemeClr val="bg1"/>
                </a:solidFill>
                <a:ea typeface="微软雅黑" pitchFamily="34" charset="-122"/>
              </a:rPr>
              <a:t> </a:t>
            </a:r>
            <a:r>
              <a:rPr lang="en-US" altLang="zh-CN" sz="1250" dirty="0" err="1">
                <a:solidFill>
                  <a:schemeClr val="bg1"/>
                </a:solidFill>
                <a:ea typeface="微软雅黑" pitchFamily="34" charset="-122"/>
              </a:rPr>
              <a:t>centralizada</a:t>
            </a:r>
            <a:r>
              <a:rPr lang="en-US" altLang="zh-CN" sz="1250" dirty="0">
                <a:solidFill>
                  <a:schemeClr val="bg1"/>
                </a:solidFill>
                <a:ea typeface="微软雅黑" pitchFamily="34" charset="-122"/>
              </a:rPr>
              <a:t> </a:t>
            </a:r>
            <a:r>
              <a:rPr lang="en-US" altLang="zh-CN" sz="1250" dirty="0" err="1">
                <a:solidFill>
                  <a:schemeClr val="bg1"/>
                </a:solidFill>
                <a:ea typeface="微软雅黑" pitchFamily="34" charset="-122"/>
              </a:rPr>
              <a:t>asegura</a:t>
            </a:r>
            <a:r>
              <a:rPr lang="en-US" altLang="zh-CN" sz="1250" dirty="0">
                <a:solidFill>
                  <a:schemeClr val="bg1"/>
                </a:solidFill>
                <a:ea typeface="微软雅黑" pitchFamily="34" charset="-122"/>
              </a:rPr>
              <a:t> la </a:t>
            </a:r>
            <a:r>
              <a:rPr lang="en-US" altLang="zh-CN" sz="1250" dirty="0" err="1">
                <a:solidFill>
                  <a:schemeClr val="bg1"/>
                </a:solidFill>
                <a:ea typeface="微软雅黑" pitchFamily="34" charset="-122"/>
              </a:rPr>
              <a:t>integridad</a:t>
            </a:r>
            <a:r>
              <a:rPr lang="en-US" altLang="zh-CN" sz="1250" dirty="0">
                <a:solidFill>
                  <a:schemeClr val="bg1"/>
                </a:solidFill>
                <a:ea typeface="微软雅黑" pitchFamily="34" charset="-122"/>
              </a:rPr>
              <a:t> de la </a:t>
            </a:r>
            <a:r>
              <a:rPr lang="en-US" altLang="zh-CN" sz="1250" dirty="0" err="1">
                <a:solidFill>
                  <a:schemeClr val="bg1"/>
                </a:solidFill>
                <a:ea typeface="微软雅黑" pitchFamily="34" charset="-122"/>
              </a:rPr>
              <a:t>información</a:t>
            </a:r>
            <a:endParaRPr lang="en-US" altLang="zh-CN" sz="1250" dirty="0">
              <a:solidFill>
                <a:schemeClr val="bg1"/>
              </a:solidFill>
              <a:ea typeface="微软雅黑" pitchFamily="34" charset="-122"/>
            </a:endParaRPr>
          </a:p>
          <a:p>
            <a:pPr marL="285688" indent="-285688" fontAlgn="ctr">
              <a:lnSpc>
                <a:spcPct val="130000"/>
              </a:lnSpc>
              <a:buFont typeface="Arial" panose="020B0604020202020204" pitchFamily="34" charset="0"/>
              <a:buChar char="•"/>
            </a:pPr>
            <a:r>
              <a:rPr lang="en-US" altLang="zh-CN" sz="1250" dirty="0">
                <a:solidFill>
                  <a:schemeClr val="bg1"/>
                </a:solidFill>
                <a:latin typeface="Calibri" panose="020F0502020204030204" pitchFamily="34" charset="0"/>
                <a:ea typeface="微软雅黑" pitchFamily="34" charset="-122"/>
                <a:cs typeface="Arial" pitchFamily="34" charset="0"/>
              </a:rPr>
              <a:t>No </a:t>
            </a:r>
            <a:r>
              <a:rPr lang="en-US" altLang="zh-CN" sz="1250" dirty="0" err="1">
                <a:solidFill>
                  <a:schemeClr val="bg1"/>
                </a:solidFill>
                <a:latin typeface="Calibri" panose="020F0502020204030204" pitchFamily="34" charset="0"/>
                <a:ea typeface="微软雅黑" pitchFamily="34" charset="-122"/>
                <a:cs typeface="Arial" pitchFamily="34" charset="0"/>
              </a:rPr>
              <a:t>es</a:t>
            </a:r>
            <a:r>
              <a:rPr lang="en-US" altLang="zh-CN" sz="1250" dirty="0">
                <a:solidFill>
                  <a:schemeClr val="bg1"/>
                </a:solidFill>
                <a:latin typeface="Calibri" panose="020F0502020204030204" pitchFamily="34" charset="0"/>
                <a:ea typeface="微软雅黑" pitchFamily="34" charset="-122"/>
                <a:cs typeface="Arial" pitchFamily="34" charset="0"/>
              </a:rPr>
              <a:t> </a:t>
            </a:r>
            <a:r>
              <a:rPr lang="en-US" altLang="zh-CN" sz="1250" dirty="0" err="1">
                <a:solidFill>
                  <a:schemeClr val="bg1"/>
                </a:solidFill>
                <a:latin typeface="Calibri" panose="020F0502020204030204" pitchFamily="34" charset="0"/>
                <a:ea typeface="微软雅黑" pitchFamily="34" charset="-122"/>
                <a:cs typeface="Arial" pitchFamily="34" charset="0"/>
              </a:rPr>
              <a:t>necesario</a:t>
            </a:r>
            <a:r>
              <a:rPr lang="en-US" altLang="zh-CN" sz="1250" dirty="0">
                <a:solidFill>
                  <a:schemeClr val="bg1"/>
                </a:solidFill>
                <a:latin typeface="Calibri" panose="020F0502020204030204" pitchFamily="34" charset="0"/>
                <a:ea typeface="微软雅黑" pitchFamily="34" charset="-122"/>
                <a:cs typeface="Arial" pitchFamily="34" charset="0"/>
              </a:rPr>
              <a:t> </a:t>
            </a:r>
            <a:r>
              <a:rPr lang="en-US" altLang="zh-CN" sz="1250" dirty="0" err="1">
                <a:solidFill>
                  <a:schemeClr val="bg1"/>
                </a:solidFill>
                <a:latin typeface="Calibri" panose="020F0502020204030204" pitchFamily="34" charset="0"/>
                <a:ea typeface="微软雅黑" pitchFamily="34" charset="-122"/>
                <a:cs typeface="Arial" pitchFamily="34" charset="0"/>
              </a:rPr>
              <a:t>memorias</a:t>
            </a:r>
            <a:r>
              <a:rPr lang="en-US" altLang="zh-CN" sz="1250" dirty="0">
                <a:solidFill>
                  <a:schemeClr val="bg1"/>
                </a:solidFill>
                <a:latin typeface="Calibri" panose="020F0502020204030204" pitchFamily="34" charset="0"/>
                <a:ea typeface="微软雅黑" pitchFamily="34" charset="-122"/>
                <a:cs typeface="Arial" pitchFamily="34" charset="0"/>
              </a:rPr>
              <a:t> flash USB, </a:t>
            </a:r>
            <a:r>
              <a:rPr lang="en-US" altLang="zh-CN" sz="1250" dirty="0" err="1">
                <a:solidFill>
                  <a:schemeClr val="bg1"/>
                </a:solidFill>
                <a:latin typeface="Calibri" panose="020F0502020204030204" pitchFamily="34" charset="0"/>
                <a:ea typeface="微软雅黑" pitchFamily="34" charset="-122"/>
                <a:cs typeface="Arial" pitchFamily="34" charset="0"/>
              </a:rPr>
              <a:t>evitamos</a:t>
            </a:r>
            <a:r>
              <a:rPr lang="en-US" altLang="zh-CN" sz="1250" dirty="0">
                <a:solidFill>
                  <a:schemeClr val="bg1"/>
                </a:solidFill>
                <a:latin typeface="Calibri" panose="020F0502020204030204" pitchFamily="34" charset="0"/>
                <a:ea typeface="微软雅黑" pitchFamily="34" charset="-122"/>
                <a:cs typeface="Arial" pitchFamily="34" charset="0"/>
              </a:rPr>
              <a:t> </a:t>
            </a:r>
            <a:r>
              <a:rPr lang="en-US" altLang="zh-CN" sz="1250" dirty="0" err="1">
                <a:solidFill>
                  <a:schemeClr val="bg1"/>
                </a:solidFill>
                <a:latin typeface="Calibri" panose="020F0502020204030204" pitchFamily="34" charset="0"/>
                <a:ea typeface="微软雅黑" pitchFamily="34" charset="-122"/>
                <a:cs typeface="Arial" pitchFamily="34" charset="0"/>
              </a:rPr>
              <a:t>infecciones</a:t>
            </a:r>
            <a:r>
              <a:rPr lang="en-US" altLang="zh-CN" sz="1250" dirty="0">
                <a:solidFill>
                  <a:schemeClr val="bg1"/>
                </a:solidFill>
                <a:latin typeface="Calibri" panose="020F0502020204030204" pitchFamily="34" charset="0"/>
                <a:ea typeface="微软雅黑" pitchFamily="34" charset="-122"/>
                <a:cs typeface="Arial" pitchFamily="34" charset="0"/>
              </a:rPr>
              <a:t> </a:t>
            </a:r>
            <a:r>
              <a:rPr lang="en-US" altLang="zh-CN" sz="1250" dirty="0" err="1">
                <a:solidFill>
                  <a:schemeClr val="bg1"/>
                </a:solidFill>
                <a:latin typeface="Calibri" panose="020F0502020204030204" pitchFamily="34" charset="0"/>
                <a:ea typeface="微软雅黑" pitchFamily="34" charset="-122"/>
                <a:cs typeface="Arial" pitchFamily="34" charset="0"/>
              </a:rPr>
              <a:t>en</a:t>
            </a:r>
            <a:r>
              <a:rPr lang="en-US" altLang="zh-CN" sz="1250" dirty="0">
                <a:solidFill>
                  <a:schemeClr val="bg1"/>
                </a:solidFill>
                <a:latin typeface="Calibri" panose="020F0502020204030204" pitchFamily="34" charset="0"/>
                <a:ea typeface="微软雅黑" pitchFamily="34" charset="-122"/>
                <a:cs typeface="Arial" pitchFamily="34" charset="0"/>
              </a:rPr>
              <a:t> el </a:t>
            </a:r>
            <a:r>
              <a:rPr lang="en-US" altLang="zh-CN" sz="1250" dirty="0" err="1">
                <a:solidFill>
                  <a:schemeClr val="bg1"/>
                </a:solidFill>
                <a:latin typeface="Calibri" panose="020F0502020204030204" pitchFamily="34" charset="0"/>
                <a:ea typeface="微软雅黑" pitchFamily="34" charset="-122"/>
                <a:cs typeface="Arial" pitchFamily="34" charset="0"/>
              </a:rPr>
              <a:t>sistema</a:t>
            </a:r>
            <a:endParaRPr lang="en-US" altLang="zh-CN" sz="1250" dirty="0">
              <a:solidFill>
                <a:schemeClr val="bg1"/>
              </a:solidFill>
              <a:ea typeface="微软雅黑" pitchFamily="34" charset="-122"/>
            </a:endParaRPr>
          </a:p>
        </p:txBody>
      </p:sp>
      <p:sp>
        <p:nvSpPr>
          <p:cNvPr id="148" name="圆角矩形 147"/>
          <p:cNvSpPr/>
          <p:nvPr/>
        </p:nvSpPr>
        <p:spPr>
          <a:xfrm>
            <a:off x="6789794" y="3730668"/>
            <a:ext cx="5284220" cy="1214401"/>
          </a:xfrm>
          <a:prstGeom prst="roundRect">
            <a:avLst>
              <a:gd name="adj" fmla="val 5409"/>
            </a:avLst>
          </a:prstGeom>
          <a:noFill/>
          <a:ln w="3175">
            <a:solidFill>
              <a:srgbClr val="3185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99">
              <a:solidFill>
                <a:schemeClr val="bg1"/>
              </a:solidFill>
            </a:endParaRPr>
          </a:p>
        </p:txBody>
      </p:sp>
      <p:sp>
        <p:nvSpPr>
          <p:cNvPr id="149" name="TextBox 332"/>
          <p:cNvSpPr txBox="1"/>
          <p:nvPr/>
        </p:nvSpPr>
        <p:spPr>
          <a:xfrm>
            <a:off x="6789795" y="3560867"/>
            <a:ext cx="2559653" cy="283390"/>
          </a:xfrm>
          <a:prstGeom prst="rect">
            <a:avLst/>
          </a:prstGeom>
          <a:solidFill>
            <a:schemeClr val="accent5">
              <a:lumMod val="75000"/>
            </a:schemeClr>
          </a:solidFill>
          <a:ln>
            <a:noFill/>
          </a:ln>
          <a:effectLst/>
        </p:spPr>
        <p:txBody>
          <a:bodyPr vert="horz" wrap="square" lIns="121916" tIns="60958" rIns="121916" bIns="60958" numCol="1" rtlCol="0" anchor="ctr" anchorCtr="0" compatLnSpc="1">
            <a:prstTxWarp prst="textNoShape">
              <a:avLst/>
            </a:prstTxWarp>
          </a:bodyPr>
          <a:lstStyle/>
          <a:p>
            <a:pPr marL="176164" indent="-176164" algn="ctr" defTabSz="914141">
              <a:lnSpc>
                <a:spcPts val="2399"/>
              </a:lnSpc>
              <a:defRPr/>
            </a:pPr>
            <a:r>
              <a:rPr lang="en-US" altLang="zh-CN" sz="1399" b="1" kern="0" dirty="0" err="1">
                <a:solidFill>
                  <a:schemeClr val="bg1"/>
                </a:solidFill>
                <a:ea typeface="宋体" charset="-122"/>
              </a:rPr>
              <a:t>Bajo</a:t>
            </a:r>
            <a:r>
              <a:rPr lang="en-US" altLang="zh-CN" sz="1399" b="1" kern="0" dirty="0">
                <a:solidFill>
                  <a:schemeClr val="bg1"/>
                </a:solidFill>
                <a:ea typeface="宋体" charset="-122"/>
              </a:rPr>
              <a:t> TCO</a:t>
            </a:r>
          </a:p>
        </p:txBody>
      </p:sp>
      <p:sp>
        <p:nvSpPr>
          <p:cNvPr id="150" name="TextBox 559"/>
          <p:cNvSpPr txBox="1"/>
          <p:nvPr/>
        </p:nvSpPr>
        <p:spPr>
          <a:xfrm>
            <a:off x="6781578" y="3770659"/>
            <a:ext cx="5341161" cy="1402307"/>
          </a:xfrm>
          <a:prstGeom prst="rect">
            <a:avLst/>
          </a:prstGeom>
          <a:noFill/>
        </p:spPr>
        <p:txBody>
          <a:bodyPr wrap="square" rtlCol="0">
            <a:spAutoFit/>
          </a:bodyPr>
          <a:lstStyle/>
          <a:p>
            <a:pPr marL="285688" indent="-285688" fontAlgn="ctr">
              <a:lnSpc>
                <a:spcPct val="130000"/>
              </a:lnSpc>
              <a:buFont typeface="Arial" panose="020B0604020202020204" pitchFamily="34" charset="0"/>
              <a:buChar char="•"/>
            </a:pPr>
            <a:r>
              <a:rPr lang="en-US" altLang="zh-CN" sz="1250" dirty="0" err="1">
                <a:solidFill>
                  <a:schemeClr val="bg1"/>
                </a:solidFill>
                <a:ea typeface="微软雅黑" pitchFamily="34" charset="-122"/>
              </a:rPr>
              <a:t>Gestión</a:t>
            </a:r>
            <a:r>
              <a:rPr lang="en-US" altLang="zh-CN" sz="1250" dirty="0">
                <a:solidFill>
                  <a:schemeClr val="bg1"/>
                </a:solidFill>
                <a:ea typeface="微软雅黑" pitchFamily="34" charset="-122"/>
              </a:rPr>
              <a:t> </a:t>
            </a:r>
            <a:r>
              <a:rPr lang="en-US" altLang="zh-CN" sz="1250" dirty="0" err="1">
                <a:solidFill>
                  <a:schemeClr val="bg1"/>
                </a:solidFill>
                <a:ea typeface="微软雅黑" pitchFamily="34" charset="-122"/>
              </a:rPr>
              <a:t>Centralizada</a:t>
            </a:r>
            <a:r>
              <a:rPr lang="en-US" altLang="zh-CN" sz="1250" dirty="0">
                <a:solidFill>
                  <a:schemeClr val="bg1"/>
                </a:solidFill>
                <a:ea typeface="微软雅黑" pitchFamily="34" charset="-122"/>
              </a:rPr>
              <a:t>, upgrades flexibles, </a:t>
            </a:r>
            <a:r>
              <a:rPr lang="en-US" altLang="zh-CN" sz="1250" dirty="0" err="1">
                <a:solidFill>
                  <a:schemeClr val="bg1"/>
                </a:solidFill>
                <a:ea typeface="微软雅黑" pitchFamily="34" charset="-122"/>
              </a:rPr>
              <a:t>creación</a:t>
            </a:r>
            <a:r>
              <a:rPr lang="en-US" altLang="zh-CN" sz="1250" dirty="0">
                <a:solidFill>
                  <a:schemeClr val="bg1"/>
                </a:solidFill>
                <a:ea typeface="微软雅黑" pitchFamily="34" charset="-122"/>
              </a:rPr>
              <a:t> de </a:t>
            </a:r>
            <a:r>
              <a:rPr lang="en-US" altLang="zh-CN" sz="1250" dirty="0" err="1">
                <a:solidFill>
                  <a:schemeClr val="bg1"/>
                </a:solidFill>
                <a:ea typeface="微软雅黑" pitchFamily="34" charset="-122"/>
              </a:rPr>
              <a:t>escritorios</a:t>
            </a:r>
            <a:r>
              <a:rPr lang="en-US" altLang="zh-CN" sz="1250" dirty="0">
                <a:solidFill>
                  <a:schemeClr val="bg1"/>
                </a:solidFill>
                <a:ea typeface="微软雅黑" pitchFamily="34" charset="-122"/>
              </a:rPr>
              <a:t> </a:t>
            </a:r>
            <a:r>
              <a:rPr lang="en-US" altLang="zh-CN" sz="1250" dirty="0" err="1">
                <a:solidFill>
                  <a:schemeClr val="bg1"/>
                </a:solidFill>
                <a:ea typeface="微软雅黑" pitchFamily="34" charset="-122"/>
              </a:rPr>
              <a:t>en</a:t>
            </a:r>
            <a:r>
              <a:rPr lang="en-US" altLang="zh-CN" sz="1250" dirty="0">
                <a:solidFill>
                  <a:schemeClr val="bg1"/>
                </a:solidFill>
                <a:ea typeface="微软雅黑" pitchFamily="34" charset="-122"/>
              </a:rPr>
              <a:t> batch. Un </a:t>
            </a:r>
            <a:r>
              <a:rPr lang="en-US" altLang="zh-CN" sz="1250" dirty="0" err="1">
                <a:solidFill>
                  <a:schemeClr val="bg1"/>
                </a:solidFill>
                <a:ea typeface="微软雅黑" pitchFamily="34" charset="-122"/>
              </a:rPr>
              <a:t>usuario</a:t>
            </a:r>
            <a:r>
              <a:rPr lang="en-US" altLang="zh-CN" sz="1250" dirty="0">
                <a:solidFill>
                  <a:schemeClr val="bg1"/>
                </a:solidFill>
                <a:ea typeface="微软雅黑" pitchFamily="34" charset="-122"/>
              </a:rPr>
              <a:t> </a:t>
            </a:r>
            <a:r>
              <a:rPr lang="en-US" altLang="zh-CN" sz="1250" dirty="0" err="1">
                <a:solidFill>
                  <a:schemeClr val="bg1"/>
                </a:solidFill>
                <a:ea typeface="微软雅黑" pitchFamily="34" charset="-122"/>
              </a:rPr>
              <a:t>puede</a:t>
            </a:r>
            <a:r>
              <a:rPr lang="en-US" altLang="zh-CN" sz="1250" dirty="0">
                <a:solidFill>
                  <a:schemeClr val="bg1"/>
                </a:solidFill>
                <a:ea typeface="微软雅黑" pitchFamily="34" charset="-122"/>
              </a:rPr>
              <a:t> realizer </a:t>
            </a:r>
            <a:r>
              <a:rPr lang="en-US" altLang="zh-CN" sz="1250" dirty="0" err="1">
                <a:solidFill>
                  <a:schemeClr val="bg1"/>
                </a:solidFill>
                <a:ea typeface="微软雅黑" pitchFamily="34" charset="-122"/>
              </a:rPr>
              <a:t>mantenimiento</a:t>
            </a:r>
            <a:r>
              <a:rPr lang="en-US" altLang="zh-CN" sz="1250" dirty="0">
                <a:solidFill>
                  <a:schemeClr val="bg1"/>
                </a:solidFill>
                <a:ea typeface="微软雅黑" pitchFamily="34" charset="-122"/>
              </a:rPr>
              <a:t> de hasta</a:t>
            </a:r>
            <a:r>
              <a:rPr lang="en-US" altLang="zh-CN" sz="1250" dirty="0">
                <a:solidFill>
                  <a:schemeClr val="bg1"/>
                </a:solidFill>
                <a:latin typeface="Calibri" panose="020F0502020204030204" pitchFamily="34" charset="0"/>
                <a:ea typeface="微软雅黑" pitchFamily="34" charset="-122"/>
                <a:cs typeface="Arial" pitchFamily="34" charset="0"/>
              </a:rPr>
              <a:t> </a:t>
            </a:r>
            <a:r>
              <a:rPr lang="en-US" altLang="zh-CN" sz="1399" b="1" dirty="0">
                <a:solidFill>
                  <a:schemeClr val="bg1"/>
                </a:solidFill>
                <a:latin typeface="Calibri" panose="020F0502020204030204" pitchFamily="34" charset="0"/>
                <a:ea typeface="微软雅黑" pitchFamily="34" charset="-122"/>
                <a:cs typeface="Arial" pitchFamily="34" charset="0"/>
              </a:rPr>
              <a:t>2,</a:t>
            </a:r>
            <a:r>
              <a:rPr lang="en-US" altLang="zh-CN" sz="1399" b="1" dirty="0">
                <a:solidFill>
                  <a:schemeClr val="bg1"/>
                </a:solidFill>
                <a:ea typeface="微软雅黑" pitchFamily="34" charset="-122"/>
              </a:rPr>
              <a:t>000 </a:t>
            </a:r>
            <a:r>
              <a:rPr lang="en-US" altLang="zh-CN" sz="1399" b="1" dirty="0" err="1">
                <a:solidFill>
                  <a:schemeClr val="bg1"/>
                </a:solidFill>
                <a:ea typeface="微软雅黑" pitchFamily="34" charset="-122"/>
              </a:rPr>
              <a:t>escritorios</a:t>
            </a:r>
            <a:r>
              <a:rPr lang="en-US" altLang="zh-CN" sz="1399" b="1" dirty="0">
                <a:solidFill>
                  <a:schemeClr val="bg1"/>
                </a:solidFill>
                <a:ea typeface="微软雅黑" pitchFamily="34" charset="-122"/>
              </a:rPr>
              <a:t> </a:t>
            </a:r>
            <a:r>
              <a:rPr lang="en-US" altLang="zh-CN" sz="1399" b="1" dirty="0" err="1">
                <a:solidFill>
                  <a:schemeClr val="bg1"/>
                </a:solidFill>
                <a:ea typeface="微软雅黑" pitchFamily="34" charset="-122"/>
              </a:rPr>
              <a:t>virtuales</a:t>
            </a:r>
            <a:endParaRPr lang="en-US" altLang="zh-CN" sz="1250" dirty="0">
              <a:solidFill>
                <a:schemeClr val="bg1"/>
              </a:solidFill>
              <a:ea typeface="微软雅黑" pitchFamily="34" charset="-122"/>
            </a:endParaRPr>
          </a:p>
          <a:p>
            <a:pPr marL="285688" indent="-285688" fontAlgn="ctr">
              <a:lnSpc>
                <a:spcPct val="130000"/>
              </a:lnSpc>
              <a:buFont typeface="Arial" panose="020B0604020202020204" pitchFamily="34" charset="0"/>
              <a:buChar char="•"/>
            </a:pPr>
            <a:r>
              <a:rPr lang="en-US" altLang="zh-CN" sz="1250" dirty="0">
                <a:solidFill>
                  <a:schemeClr val="bg1"/>
                </a:solidFill>
                <a:latin typeface="Calibri" panose="020F0502020204030204" pitchFamily="34" charset="0"/>
                <a:ea typeface="微软雅黑" pitchFamily="34" charset="-122"/>
                <a:cs typeface="Arial" pitchFamily="34" charset="0"/>
              </a:rPr>
              <a:t>Multiples </a:t>
            </a:r>
            <a:r>
              <a:rPr lang="en-US" altLang="zh-CN" sz="1250" dirty="0" err="1">
                <a:solidFill>
                  <a:schemeClr val="bg1"/>
                </a:solidFill>
                <a:latin typeface="Calibri" panose="020F0502020204030204" pitchFamily="34" charset="0"/>
                <a:ea typeface="微软雅黑" pitchFamily="34" charset="-122"/>
                <a:cs typeface="Arial" pitchFamily="34" charset="0"/>
              </a:rPr>
              <a:t>aulas</a:t>
            </a:r>
            <a:r>
              <a:rPr lang="en-US" altLang="zh-CN" sz="1250" dirty="0">
                <a:solidFill>
                  <a:schemeClr val="bg1"/>
                </a:solidFill>
                <a:latin typeface="Calibri" panose="020F0502020204030204" pitchFamily="34" charset="0"/>
                <a:ea typeface="微软雅黑" pitchFamily="34" charset="-122"/>
                <a:cs typeface="Arial" pitchFamily="34" charset="0"/>
              </a:rPr>
              <a:t> </a:t>
            </a:r>
            <a:r>
              <a:rPr lang="en-US" altLang="zh-CN" sz="1250" dirty="0" err="1">
                <a:solidFill>
                  <a:schemeClr val="bg1"/>
                </a:solidFill>
                <a:latin typeface="Calibri" panose="020F0502020204030204" pitchFamily="34" charset="0"/>
                <a:ea typeface="微软雅黑" pitchFamily="34" charset="-122"/>
                <a:cs typeface="Arial" pitchFamily="34" charset="0"/>
              </a:rPr>
              <a:t>comparten</a:t>
            </a:r>
            <a:r>
              <a:rPr lang="en-US" altLang="zh-CN" sz="1250" dirty="0">
                <a:solidFill>
                  <a:schemeClr val="bg1"/>
                </a:solidFill>
                <a:latin typeface="Calibri" panose="020F0502020204030204" pitchFamily="34" charset="0"/>
                <a:ea typeface="微软雅黑" pitchFamily="34" charset="-122"/>
                <a:cs typeface="Arial" pitchFamily="34" charset="0"/>
              </a:rPr>
              <a:t> un </a:t>
            </a:r>
            <a:r>
              <a:rPr lang="en-US" altLang="zh-CN" sz="1250" dirty="0" err="1">
                <a:solidFill>
                  <a:schemeClr val="bg1"/>
                </a:solidFill>
                <a:latin typeface="Calibri" panose="020F0502020204030204" pitchFamily="34" charset="0"/>
                <a:ea typeface="微软雅黑" pitchFamily="34" charset="-122"/>
                <a:cs typeface="Arial" pitchFamily="34" charset="0"/>
              </a:rPr>
              <a:t>único</a:t>
            </a:r>
            <a:r>
              <a:rPr lang="en-US" altLang="zh-CN" sz="1250" dirty="0">
                <a:solidFill>
                  <a:schemeClr val="bg1"/>
                </a:solidFill>
                <a:latin typeface="Calibri" panose="020F0502020204030204" pitchFamily="34" charset="0"/>
                <a:ea typeface="微软雅黑" pitchFamily="34" charset="-122"/>
                <a:cs typeface="Arial" pitchFamily="34" charset="0"/>
              </a:rPr>
              <a:t> pool de </a:t>
            </a:r>
            <a:r>
              <a:rPr lang="en-US" altLang="zh-CN" sz="1250" dirty="0" err="1">
                <a:solidFill>
                  <a:schemeClr val="bg1"/>
                </a:solidFill>
                <a:latin typeface="Calibri" panose="020F0502020204030204" pitchFamily="34" charset="0"/>
                <a:ea typeface="微软雅黑" pitchFamily="34" charset="-122"/>
                <a:cs typeface="Arial" pitchFamily="34" charset="0"/>
              </a:rPr>
              <a:t>recursos</a:t>
            </a:r>
            <a:r>
              <a:rPr lang="en-US" altLang="zh-CN" sz="1250" dirty="0">
                <a:solidFill>
                  <a:schemeClr val="bg1"/>
                </a:solidFill>
                <a:latin typeface="Calibri" panose="020F0502020204030204" pitchFamily="34" charset="0"/>
                <a:ea typeface="微软雅黑" pitchFamily="34" charset="-122"/>
                <a:cs typeface="Arial" pitchFamily="34" charset="0"/>
              </a:rPr>
              <a:t>, </a:t>
            </a:r>
            <a:r>
              <a:rPr lang="en-US" altLang="zh-CN" sz="1250" dirty="0" err="1">
                <a:solidFill>
                  <a:schemeClr val="bg1"/>
                </a:solidFill>
                <a:latin typeface="Calibri" panose="020F0502020204030204" pitchFamily="34" charset="0"/>
                <a:ea typeface="微软雅黑" pitchFamily="34" charset="-122"/>
                <a:cs typeface="Arial" pitchFamily="34" charset="0"/>
              </a:rPr>
              <a:t>mejora</a:t>
            </a:r>
            <a:r>
              <a:rPr lang="en-US" altLang="zh-CN" sz="1250" dirty="0">
                <a:solidFill>
                  <a:schemeClr val="bg1"/>
                </a:solidFill>
                <a:latin typeface="Calibri" panose="020F0502020204030204" pitchFamily="34" charset="0"/>
                <a:ea typeface="微软雅黑" pitchFamily="34" charset="-122"/>
                <a:cs typeface="Arial" pitchFamily="34" charset="0"/>
              </a:rPr>
              <a:t> el ratio de </a:t>
            </a:r>
            <a:r>
              <a:rPr lang="en-US" altLang="zh-CN" sz="1250" dirty="0" err="1">
                <a:solidFill>
                  <a:schemeClr val="bg1"/>
                </a:solidFill>
                <a:latin typeface="Calibri" panose="020F0502020204030204" pitchFamily="34" charset="0"/>
                <a:ea typeface="微软雅黑" pitchFamily="34" charset="-122"/>
                <a:cs typeface="Arial" pitchFamily="34" charset="0"/>
              </a:rPr>
              <a:t>uso</a:t>
            </a:r>
            <a:r>
              <a:rPr lang="en-US" altLang="zh-CN" sz="1250" dirty="0">
                <a:solidFill>
                  <a:schemeClr val="bg1"/>
                </a:solidFill>
                <a:latin typeface="Calibri" panose="020F0502020204030204" pitchFamily="34" charset="0"/>
                <a:ea typeface="微软雅黑" pitchFamily="34" charset="-122"/>
                <a:cs typeface="Arial" pitchFamily="34" charset="0"/>
              </a:rPr>
              <a:t> de la </a:t>
            </a:r>
            <a:r>
              <a:rPr lang="en-US" altLang="zh-CN" sz="1250" dirty="0" err="1">
                <a:solidFill>
                  <a:schemeClr val="bg1"/>
                </a:solidFill>
                <a:latin typeface="Calibri" panose="020F0502020204030204" pitchFamily="34" charset="0"/>
                <a:ea typeface="微软雅黑" pitchFamily="34" charset="-122"/>
                <a:cs typeface="Arial" pitchFamily="34" charset="0"/>
              </a:rPr>
              <a:t>plataforma</a:t>
            </a:r>
            <a:endParaRPr lang="en-US" altLang="zh-CN" sz="1250" dirty="0">
              <a:solidFill>
                <a:schemeClr val="bg1"/>
              </a:solidFill>
              <a:latin typeface="Calibri" panose="020F0502020204030204" pitchFamily="34" charset="0"/>
              <a:ea typeface="微软雅黑" pitchFamily="34" charset="-122"/>
              <a:cs typeface="Arial" pitchFamily="34" charset="0"/>
            </a:endParaRPr>
          </a:p>
        </p:txBody>
      </p:sp>
      <p:sp>
        <p:nvSpPr>
          <p:cNvPr id="151" name="圆角矩形 150"/>
          <p:cNvSpPr/>
          <p:nvPr/>
        </p:nvSpPr>
        <p:spPr>
          <a:xfrm>
            <a:off x="6810527" y="1248071"/>
            <a:ext cx="5263488" cy="928804"/>
          </a:xfrm>
          <a:prstGeom prst="roundRect">
            <a:avLst>
              <a:gd name="adj" fmla="val 5409"/>
            </a:avLst>
          </a:prstGeom>
          <a:noFill/>
          <a:ln w="3175">
            <a:solidFill>
              <a:srgbClr val="3185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99">
              <a:solidFill>
                <a:schemeClr val="bg1"/>
              </a:solidFill>
            </a:endParaRPr>
          </a:p>
        </p:txBody>
      </p:sp>
      <p:sp>
        <p:nvSpPr>
          <p:cNvPr id="152" name="TextBox 332"/>
          <p:cNvSpPr txBox="1"/>
          <p:nvPr/>
        </p:nvSpPr>
        <p:spPr>
          <a:xfrm>
            <a:off x="6789795" y="1068488"/>
            <a:ext cx="2687423" cy="283113"/>
          </a:xfrm>
          <a:prstGeom prst="rect">
            <a:avLst/>
          </a:prstGeom>
          <a:solidFill>
            <a:schemeClr val="accent5">
              <a:lumMod val="75000"/>
            </a:schemeClr>
          </a:solidFill>
          <a:ln>
            <a:noFill/>
          </a:ln>
          <a:effectLst/>
        </p:spPr>
        <p:txBody>
          <a:bodyPr vert="horz" wrap="square" lIns="121916" tIns="60958" rIns="121916" bIns="60958" numCol="1" rtlCol="0" anchor="ctr" anchorCtr="0" compatLnSpc="1">
            <a:prstTxWarp prst="textNoShape">
              <a:avLst/>
            </a:prstTxWarp>
          </a:bodyPr>
          <a:lstStyle/>
          <a:p>
            <a:pPr marL="176164" indent="-176164" algn="ctr" defTabSz="914141">
              <a:lnSpc>
                <a:spcPts val="2399"/>
              </a:lnSpc>
              <a:defRPr/>
            </a:pPr>
            <a:r>
              <a:rPr lang="en-US" altLang="zh-CN" sz="1399" b="1" kern="0" dirty="0" err="1">
                <a:solidFill>
                  <a:schemeClr val="bg1"/>
                </a:solidFill>
                <a:ea typeface="宋体" charset="-122"/>
              </a:rPr>
              <a:t>Enseñanza</a:t>
            </a:r>
            <a:r>
              <a:rPr lang="en-US" altLang="zh-CN" sz="1399" b="1" kern="0" dirty="0">
                <a:solidFill>
                  <a:schemeClr val="bg1"/>
                </a:solidFill>
                <a:ea typeface="宋体" charset="-122"/>
              </a:rPr>
              <a:t> </a:t>
            </a:r>
            <a:r>
              <a:rPr lang="en-US" altLang="zh-CN" sz="1399" b="1" kern="0" dirty="0" err="1">
                <a:solidFill>
                  <a:schemeClr val="bg1"/>
                </a:solidFill>
                <a:ea typeface="宋体" charset="-122"/>
              </a:rPr>
              <a:t>más</a:t>
            </a:r>
            <a:r>
              <a:rPr lang="en-US" altLang="zh-CN" sz="1399" b="1" kern="0" dirty="0">
                <a:solidFill>
                  <a:schemeClr val="bg1"/>
                </a:solidFill>
                <a:ea typeface="宋体" charset="-122"/>
              </a:rPr>
              <a:t> </a:t>
            </a:r>
            <a:r>
              <a:rPr lang="en-US" altLang="zh-CN" sz="1399" b="1" kern="0" dirty="0" err="1">
                <a:solidFill>
                  <a:schemeClr val="bg1"/>
                </a:solidFill>
                <a:ea typeface="宋体" charset="-122"/>
              </a:rPr>
              <a:t>Ágil</a:t>
            </a:r>
            <a:endParaRPr lang="en-US" altLang="zh-CN" sz="1399" b="1" kern="0" dirty="0">
              <a:solidFill>
                <a:schemeClr val="bg1"/>
              </a:solidFill>
              <a:ea typeface="宋体" charset="-122"/>
            </a:endParaRPr>
          </a:p>
        </p:txBody>
      </p:sp>
      <p:sp>
        <p:nvSpPr>
          <p:cNvPr id="153" name="TextBox 559"/>
          <p:cNvSpPr txBox="1"/>
          <p:nvPr/>
        </p:nvSpPr>
        <p:spPr>
          <a:xfrm>
            <a:off x="6867777" y="1314069"/>
            <a:ext cx="5225147" cy="842538"/>
          </a:xfrm>
          <a:prstGeom prst="rect">
            <a:avLst/>
          </a:prstGeom>
          <a:noFill/>
        </p:spPr>
        <p:txBody>
          <a:bodyPr wrap="square" rtlCol="0">
            <a:spAutoFit/>
          </a:bodyPr>
          <a:lstStyle/>
          <a:p>
            <a:pPr marL="285688" indent="-285688" fontAlgn="ctr">
              <a:lnSpc>
                <a:spcPct val="130000"/>
              </a:lnSpc>
              <a:buFont typeface="Arial" panose="020B0604020202020204" pitchFamily="34" charset="0"/>
              <a:buChar char="•"/>
            </a:pPr>
            <a:r>
              <a:rPr lang="en-US" altLang="zh-CN" sz="1250" dirty="0">
                <a:solidFill>
                  <a:schemeClr val="bg1"/>
                </a:solidFill>
                <a:ea typeface="微软雅黑" pitchFamily="34" charset="-122"/>
              </a:rPr>
              <a:t>A </a:t>
            </a:r>
            <a:r>
              <a:rPr lang="en-US" altLang="zh-CN" sz="1250" dirty="0" err="1">
                <a:solidFill>
                  <a:schemeClr val="bg1"/>
                </a:solidFill>
                <a:ea typeface="微软雅黑" pitchFamily="34" charset="-122"/>
              </a:rPr>
              <a:t>cualquier</a:t>
            </a:r>
            <a:r>
              <a:rPr lang="en-US" altLang="zh-CN" sz="1250" dirty="0">
                <a:solidFill>
                  <a:schemeClr val="bg1"/>
                </a:solidFill>
                <a:ea typeface="微软雅黑" pitchFamily="34" charset="-122"/>
              </a:rPr>
              <a:t> hora, </a:t>
            </a:r>
            <a:r>
              <a:rPr lang="en-US" altLang="zh-CN" sz="1250" dirty="0" err="1">
                <a:solidFill>
                  <a:schemeClr val="bg1"/>
                </a:solidFill>
                <a:ea typeface="微软雅黑" pitchFamily="34" charset="-122"/>
              </a:rPr>
              <a:t>desde</a:t>
            </a:r>
            <a:r>
              <a:rPr lang="en-US" altLang="zh-CN" sz="1250" dirty="0">
                <a:solidFill>
                  <a:schemeClr val="bg1"/>
                </a:solidFill>
                <a:ea typeface="微软雅黑" pitchFamily="34" charset="-122"/>
              </a:rPr>
              <a:t> </a:t>
            </a:r>
            <a:r>
              <a:rPr lang="en-US" altLang="zh-CN" sz="1250" dirty="0" err="1">
                <a:solidFill>
                  <a:schemeClr val="bg1"/>
                </a:solidFill>
                <a:ea typeface="微软雅黑" pitchFamily="34" charset="-122"/>
              </a:rPr>
              <a:t>cualquier</a:t>
            </a:r>
            <a:r>
              <a:rPr lang="en-US" altLang="zh-CN" sz="1250" dirty="0">
                <a:solidFill>
                  <a:schemeClr val="bg1"/>
                </a:solidFill>
                <a:ea typeface="微软雅黑" pitchFamily="34" charset="-122"/>
              </a:rPr>
              <a:t> </a:t>
            </a:r>
            <a:r>
              <a:rPr lang="en-US" altLang="zh-CN" sz="1250" dirty="0" err="1">
                <a:solidFill>
                  <a:schemeClr val="bg1"/>
                </a:solidFill>
                <a:ea typeface="微软雅黑" pitchFamily="34" charset="-122"/>
              </a:rPr>
              <a:t>sitio</a:t>
            </a:r>
            <a:r>
              <a:rPr lang="en-US" altLang="zh-CN" sz="1250" dirty="0">
                <a:solidFill>
                  <a:schemeClr val="bg1"/>
                </a:solidFill>
                <a:ea typeface="微软雅黑" pitchFamily="34" charset="-122"/>
              </a:rPr>
              <a:t> y con </a:t>
            </a:r>
            <a:r>
              <a:rPr lang="en-US" altLang="zh-CN" sz="1250" dirty="0" err="1">
                <a:solidFill>
                  <a:schemeClr val="bg1"/>
                </a:solidFill>
                <a:ea typeface="微软雅黑" pitchFamily="34" charset="-122"/>
              </a:rPr>
              <a:t>cualquier</a:t>
            </a:r>
            <a:r>
              <a:rPr lang="en-US" altLang="zh-CN" sz="1250" dirty="0">
                <a:solidFill>
                  <a:schemeClr val="bg1"/>
                </a:solidFill>
                <a:ea typeface="微软雅黑" pitchFamily="34" charset="-122"/>
              </a:rPr>
              <a:t> terminal</a:t>
            </a:r>
            <a:r>
              <a:rPr lang="en-US" altLang="zh-CN" sz="1250" dirty="0">
                <a:solidFill>
                  <a:schemeClr val="bg1"/>
                </a:solidFill>
                <a:latin typeface="Calibri" panose="020F0502020204030204" pitchFamily="34" charset="0"/>
                <a:ea typeface="微软雅黑" pitchFamily="34" charset="-122"/>
                <a:cs typeface="Arial" panose="020B0604020202020204" pitchFamily="34" charset="0"/>
              </a:rPr>
              <a:t> (Android, iOS, MAC, Windows, or Linux)</a:t>
            </a:r>
            <a:endParaRPr lang="en-US" altLang="zh-CN" sz="1250" dirty="0">
              <a:solidFill>
                <a:schemeClr val="bg1"/>
              </a:solidFill>
              <a:ea typeface="微软雅黑" pitchFamily="34" charset="-122"/>
            </a:endParaRPr>
          </a:p>
          <a:p>
            <a:pPr marL="285688" indent="-285688" fontAlgn="ctr">
              <a:lnSpc>
                <a:spcPct val="130000"/>
              </a:lnSpc>
              <a:buFont typeface="Arial" panose="020B0604020202020204" pitchFamily="34" charset="0"/>
              <a:buChar char="•"/>
            </a:pPr>
            <a:r>
              <a:rPr lang="en-US" altLang="zh-CN" sz="1250" dirty="0">
                <a:solidFill>
                  <a:schemeClr val="bg1"/>
                </a:solidFill>
                <a:ea typeface="微软雅黑" pitchFamily="34" charset="-122"/>
              </a:rPr>
              <a:t>Control </a:t>
            </a:r>
            <a:r>
              <a:rPr lang="en-US" altLang="zh-CN" sz="1250" dirty="0" err="1">
                <a:solidFill>
                  <a:schemeClr val="bg1"/>
                </a:solidFill>
                <a:ea typeface="微软雅黑" pitchFamily="34" charset="-122"/>
              </a:rPr>
              <a:t>Centralizado</a:t>
            </a:r>
            <a:r>
              <a:rPr lang="en-US" altLang="zh-CN" sz="1250" dirty="0">
                <a:solidFill>
                  <a:schemeClr val="bg1"/>
                </a:solidFill>
                <a:ea typeface="微软雅黑" pitchFamily="34" charset="-122"/>
              </a:rPr>
              <a:t> del </a:t>
            </a:r>
            <a:r>
              <a:rPr lang="en-US" altLang="zh-CN" sz="1250" dirty="0" err="1">
                <a:solidFill>
                  <a:schemeClr val="bg1"/>
                </a:solidFill>
                <a:ea typeface="微软雅黑" pitchFamily="34" charset="-122"/>
              </a:rPr>
              <a:t>día</a:t>
            </a:r>
            <a:r>
              <a:rPr lang="en-US" altLang="zh-CN" sz="1250" dirty="0">
                <a:solidFill>
                  <a:schemeClr val="bg1"/>
                </a:solidFill>
                <a:ea typeface="微软雅黑" pitchFamily="34" charset="-122"/>
              </a:rPr>
              <a:t> a </a:t>
            </a:r>
            <a:r>
              <a:rPr lang="en-US" altLang="zh-CN" sz="1250" dirty="0" err="1">
                <a:solidFill>
                  <a:schemeClr val="bg1"/>
                </a:solidFill>
                <a:ea typeface="微软雅黑" pitchFamily="34" charset="-122"/>
              </a:rPr>
              <a:t>día</a:t>
            </a:r>
            <a:r>
              <a:rPr lang="en-US" altLang="zh-CN" sz="1250" dirty="0">
                <a:solidFill>
                  <a:schemeClr val="bg1"/>
                </a:solidFill>
                <a:ea typeface="微软雅黑" pitchFamily="34" charset="-122"/>
              </a:rPr>
              <a:t> del </a:t>
            </a:r>
            <a:r>
              <a:rPr lang="en-US" altLang="zh-CN" sz="1250" dirty="0" err="1">
                <a:solidFill>
                  <a:schemeClr val="bg1"/>
                </a:solidFill>
                <a:ea typeface="微软雅黑" pitchFamily="34" charset="-122"/>
              </a:rPr>
              <a:t>usuario</a:t>
            </a:r>
            <a:endParaRPr lang="en-US" altLang="zh-CN" sz="1250" dirty="0">
              <a:solidFill>
                <a:schemeClr val="bg1"/>
              </a:solidFill>
              <a:ea typeface="微软雅黑" pitchFamily="34" charset="-122"/>
            </a:endParaRPr>
          </a:p>
        </p:txBody>
      </p:sp>
      <p:sp>
        <p:nvSpPr>
          <p:cNvPr id="154" name="圆角矩形 153"/>
          <p:cNvSpPr/>
          <p:nvPr/>
        </p:nvSpPr>
        <p:spPr>
          <a:xfrm>
            <a:off x="6798654" y="5248999"/>
            <a:ext cx="5275360" cy="395756"/>
          </a:xfrm>
          <a:prstGeom prst="roundRect">
            <a:avLst>
              <a:gd name="adj" fmla="val 5409"/>
            </a:avLst>
          </a:prstGeom>
          <a:noFill/>
          <a:ln w="3175">
            <a:solidFill>
              <a:srgbClr val="3185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99">
              <a:solidFill>
                <a:schemeClr val="bg1"/>
              </a:solidFill>
            </a:endParaRPr>
          </a:p>
        </p:txBody>
      </p:sp>
      <p:sp>
        <p:nvSpPr>
          <p:cNvPr id="155" name="TextBox 332"/>
          <p:cNvSpPr txBox="1"/>
          <p:nvPr/>
        </p:nvSpPr>
        <p:spPr>
          <a:xfrm>
            <a:off x="6788711" y="5109769"/>
            <a:ext cx="2559653" cy="283390"/>
          </a:xfrm>
          <a:prstGeom prst="rect">
            <a:avLst/>
          </a:prstGeom>
          <a:solidFill>
            <a:schemeClr val="accent5">
              <a:lumMod val="75000"/>
            </a:schemeClr>
          </a:solidFill>
          <a:ln>
            <a:noFill/>
          </a:ln>
          <a:effectLst/>
        </p:spPr>
        <p:txBody>
          <a:bodyPr vert="horz" wrap="square" lIns="121916" tIns="60958" rIns="121916" bIns="60958" numCol="1" rtlCol="0" anchor="ctr" anchorCtr="0" compatLnSpc="1">
            <a:prstTxWarp prst="textNoShape">
              <a:avLst/>
            </a:prstTxWarp>
          </a:bodyPr>
          <a:lstStyle/>
          <a:p>
            <a:pPr marL="176164" indent="-176164" algn="ctr" defTabSz="914141">
              <a:lnSpc>
                <a:spcPts val="2399"/>
              </a:lnSpc>
              <a:defRPr/>
            </a:pPr>
            <a:r>
              <a:rPr lang="en-US" altLang="zh-CN" sz="1200" b="1" kern="0" dirty="0" err="1">
                <a:solidFill>
                  <a:schemeClr val="bg1"/>
                </a:solidFill>
                <a:ea typeface="宋体" charset="-122"/>
              </a:rPr>
              <a:t>Ahorro</a:t>
            </a:r>
            <a:r>
              <a:rPr lang="en-US" altLang="zh-CN" sz="1200" b="1" kern="0" dirty="0">
                <a:solidFill>
                  <a:schemeClr val="bg1"/>
                </a:solidFill>
                <a:ea typeface="宋体" charset="-122"/>
              </a:rPr>
              <a:t> de </a:t>
            </a:r>
            <a:r>
              <a:rPr lang="en-US" altLang="zh-CN" sz="1200" b="1" kern="0" dirty="0" err="1">
                <a:solidFill>
                  <a:schemeClr val="bg1"/>
                </a:solidFill>
                <a:ea typeface="宋体" charset="-122"/>
              </a:rPr>
              <a:t>Costes</a:t>
            </a:r>
            <a:r>
              <a:rPr lang="en-US" altLang="zh-CN" sz="1200" b="1" kern="0" dirty="0">
                <a:solidFill>
                  <a:schemeClr val="bg1"/>
                </a:solidFill>
                <a:ea typeface="宋体" charset="-122"/>
              </a:rPr>
              <a:t> </a:t>
            </a:r>
            <a:r>
              <a:rPr lang="en-US" altLang="zh-CN" sz="1200" b="1" kern="0" dirty="0" err="1">
                <a:solidFill>
                  <a:schemeClr val="bg1"/>
                </a:solidFill>
                <a:ea typeface="宋体" charset="-122"/>
              </a:rPr>
              <a:t>en</a:t>
            </a:r>
            <a:r>
              <a:rPr lang="en-US" altLang="zh-CN" sz="1200" b="1" kern="0" dirty="0">
                <a:solidFill>
                  <a:schemeClr val="bg1"/>
                </a:solidFill>
                <a:ea typeface="宋体" charset="-122"/>
              </a:rPr>
              <a:t> </a:t>
            </a:r>
            <a:r>
              <a:rPr lang="en-US" altLang="zh-CN" sz="1200" b="1" kern="0" dirty="0" err="1">
                <a:solidFill>
                  <a:schemeClr val="bg1"/>
                </a:solidFill>
                <a:ea typeface="宋体" charset="-122"/>
              </a:rPr>
              <a:t>Energía</a:t>
            </a:r>
            <a:endParaRPr lang="en-US" altLang="zh-CN" sz="1200" b="1" kern="0" dirty="0">
              <a:solidFill>
                <a:schemeClr val="bg1"/>
              </a:solidFill>
              <a:ea typeface="宋体" charset="-122"/>
            </a:endParaRPr>
          </a:p>
        </p:txBody>
      </p:sp>
      <p:sp>
        <p:nvSpPr>
          <p:cNvPr id="156" name="TextBox 559"/>
          <p:cNvSpPr txBox="1"/>
          <p:nvPr/>
        </p:nvSpPr>
        <p:spPr>
          <a:xfrm>
            <a:off x="6798654" y="5330861"/>
            <a:ext cx="4037971" cy="380873"/>
          </a:xfrm>
          <a:prstGeom prst="rect">
            <a:avLst/>
          </a:prstGeom>
          <a:noFill/>
        </p:spPr>
        <p:txBody>
          <a:bodyPr wrap="square" rtlCol="0">
            <a:spAutoFit/>
          </a:bodyPr>
          <a:lstStyle/>
          <a:p>
            <a:pPr marL="285688" indent="-285688" fontAlgn="ctr">
              <a:lnSpc>
                <a:spcPct val="150000"/>
              </a:lnSpc>
              <a:buFont typeface="Arial" panose="020B0604020202020204" pitchFamily="34" charset="0"/>
              <a:buChar char="•"/>
            </a:pPr>
            <a:r>
              <a:rPr lang="en-US" altLang="zh-CN" sz="1250" dirty="0" err="1">
                <a:solidFill>
                  <a:schemeClr val="bg1"/>
                </a:solidFill>
                <a:ea typeface="微软雅黑" pitchFamily="34" charset="-122"/>
              </a:rPr>
              <a:t>Consumo</a:t>
            </a:r>
            <a:r>
              <a:rPr lang="en-US" altLang="zh-CN" sz="1250" dirty="0">
                <a:solidFill>
                  <a:schemeClr val="bg1"/>
                </a:solidFill>
                <a:ea typeface="微软雅黑" pitchFamily="34" charset="-122"/>
              </a:rPr>
              <a:t> de un TC: 10W</a:t>
            </a:r>
          </a:p>
        </p:txBody>
      </p:sp>
      <p:sp>
        <p:nvSpPr>
          <p:cNvPr id="157" name="圆角矩形 156"/>
          <p:cNvSpPr/>
          <p:nvPr/>
        </p:nvSpPr>
        <p:spPr>
          <a:xfrm>
            <a:off x="6781578" y="5958987"/>
            <a:ext cx="5292437" cy="390752"/>
          </a:xfrm>
          <a:prstGeom prst="roundRect">
            <a:avLst>
              <a:gd name="adj" fmla="val 5409"/>
            </a:avLst>
          </a:prstGeom>
          <a:noFill/>
          <a:ln w="3175">
            <a:solidFill>
              <a:srgbClr val="3185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99">
              <a:solidFill>
                <a:schemeClr val="bg1"/>
              </a:solidFill>
            </a:endParaRPr>
          </a:p>
        </p:txBody>
      </p:sp>
      <p:sp>
        <p:nvSpPr>
          <p:cNvPr id="158" name="TextBox 332"/>
          <p:cNvSpPr txBox="1"/>
          <p:nvPr/>
        </p:nvSpPr>
        <p:spPr>
          <a:xfrm>
            <a:off x="6770790" y="5773670"/>
            <a:ext cx="2559653" cy="283390"/>
          </a:xfrm>
          <a:prstGeom prst="rect">
            <a:avLst/>
          </a:prstGeom>
          <a:solidFill>
            <a:schemeClr val="accent5">
              <a:lumMod val="75000"/>
            </a:schemeClr>
          </a:solidFill>
          <a:ln>
            <a:noFill/>
          </a:ln>
          <a:effectLst/>
        </p:spPr>
        <p:txBody>
          <a:bodyPr vert="horz" wrap="square" lIns="121916" tIns="60958" rIns="121916" bIns="60958" numCol="1" rtlCol="0" anchor="ctr" anchorCtr="0" compatLnSpc="1">
            <a:prstTxWarp prst="textNoShape">
              <a:avLst/>
            </a:prstTxWarp>
          </a:bodyPr>
          <a:lstStyle/>
          <a:p>
            <a:pPr marL="176164" indent="-176164" algn="ctr" defTabSz="914141">
              <a:lnSpc>
                <a:spcPts val="2399"/>
              </a:lnSpc>
              <a:defRPr/>
            </a:pPr>
            <a:r>
              <a:rPr lang="en-US" altLang="zh-CN" sz="1399" b="1" kern="0" dirty="0">
                <a:solidFill>
                  <a:schemeClr val="bg1"/>
                </a:solidFill>
                <a:ea typeface="宋体" charset="-122"/>
              </a:rPr>
              <a:t>Reliability</a:t>
            </a:r>
          </a:p>
        </p:txBody>
      </p:sp>
      <p:sp>
        <p:nvSpPr>
          <p:cNvPr id="159" name="TextBox 559"/>
          <p:cNvSpPr txBox="1"/>
          <p:nvPr/>
        </p:nvSpPr>
        <p:spPr>
          <a:xfrm>
            <a:off x="6796937" y="6002447"/>
            <a:ext cx="4037971" cy="380873"/>
          </a:xfrm>
          <a:prstGeom prst="rect">
            <a:avLst/>
          </a:prstGeom>
          <a:noFill/>
        </p:spPr>
        <p:txBody>
          <a:bodyPr wrap="square" rtlCol="0">
            <a:spAutoFit/>
          </a:bodyPr>
          <a:lstStyle/>
          <a:p>
            <a:pPr marL="285688" indent="-285688" fontAlgn="ctr">
              <a:lnSpc>
                <a:spcPct val="150000"/>
              </a:lnSpc>
              <a:buFont typeface="Arial" panose="020B0604020202020204" pitchFamily="34" charset="0"/>
              <a:buChar char="•"/>
            </a:pPr>
            <a:r>
              <a:rPr lang="en-US" altLang="zh-CN" sz="1250" dirty="0">
                <a:solidFill>
                  <a:schemeClr val="bg1"/>
                </a:solidFill>
                <a:ea typeface="微软雅黑" pitchFamily="34" charset="-122"/>
              </a:rPr>
              <a:t>Lifespan 20% longer than that of a PC </a:t>
            </a:r>
          </a:p>
        </p:txBody>
      </p:sp>
      <p:pic>
        <p:nvPicPr>
          <p:cNvPr id="57" name="Imagen 56">
            <a:extLst>
              <a:ext uri="{FF2B5EF4-FFF2-40B4-BE49-F238E27FC236}">
                <a16:creationId xmlns:a16="http://schemas.microsoft.com/office/drawing/2014/main" id="{16DA9BFC-F059-EC40-92F2-5F2D8A9090F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63800" y="178915"/>
            <a:ext cx="1388533" cy="355600"/>
          </a:xfrm>
          <a:prstGeom prst="rect">
            <a:avLst/>
          </a:prstGeom>
        </p:spPr>
      </p:pic>
      <p:sp>
        <p:nvSpPr>
          <p:cNvPr id="59" name="Marcador de número de diapositiva 1"/>
          <p:cNvSpPr txBox="1">
            <a:spLocks/>
          </p:cNvSpPr>
          <p:nvPr/>
        </p:nvSpPr>
        <p:spPr>
          <a:xfrm>
            <a:off x="11704622" y="6458134"/>
            <a:ext cx="487378" cy="48134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dirty="0" smtClean="0">
                <a:solidFill>
                  <a:schemeClr val="bg1"/>
                </a:solidFill>
              </a:rPr>
              <a:t>50</a:t>
            </a:r>
            <a:endParaRPr lang="en-US" sz="2000" dirty="0">
              <a:solidFill>
                <a:schemeClr val="bg1"/>
              </a:solidFill>
            </a:endParaRPr>
          </a:p>
        </p:txBody>
      </p:sp>
    </p:spTree>
    <p:extLst>
      <p:ext uri="{BB962C8B-B14F-4D97-AF65-F5344CB8AC3E}">
        <p14:creationId xmlns:p14="http://schemas.microsoft.com/office/powerpoint/2010/main" val="517987719"/>
      </p:ext>
    </p:extLst>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83" name="矩形 382"/>
          <p:cNvSpPr/>
          <p:nvPr/>
        </p:nvSpPr>
        <p:spPr bwMode="auto">
          <a:xfrm>
            <a:off x="1187242" y="4805003"/>
            <a:ext cx="5038844" cy="14605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tIns="35991" rtlCol="0" anchor="t" anchorCtr="0">
            <a:noAutofit/>
          </a:bodyPr>
          <a:lstStyle/>
          <a:p>
            <a:pPr lvl="1"/>
            <a:endParaRPr lang="zh-CN" altLang="en-US" sz="1799" noProof="1">
              <a:sym typeface="Arial"/>
            </a:endParaRPr>
          </a:p>
        </p:txBody>
      </p:sp>
      <p:sp>
        <p:nvSpPr>
          <p:cNvPr id="85" name="标题 1"/>
          <p:cNvSpPr txBox="1">
            <a:spLocks/>
          </p:cNvSpPr>
          <p:nvPr/>
        </p:nvSpPr>
        <p:spPr>
          <a:xfrm>
            <a:off x="132270" y="810581"/>
            <a:ext cx="11301057" cy="493005"/>
          </a:xfrm>
          <a:prstGeom prst="rect">
            <a:avLst/>
          </a:prstGeom>
          <a:noFill/>
        </p:spPr>
        <p:txBody>
          <a:bodyPr wrap="square" lIns="121860" tIns="60930" rIns="121860" bIns="60930" rtlCol="0">
            <a:noAutofit/>
          </a:bodyPr>
          <a:lstStyle>
            <a:defPPr>
              <a:defRPr lang="zh-CN"/>
            </a:defPPr>
            <a:lvl1pPr fontAlgn="ctr">
              <a:defRPr kumimoji="1" b="1">
                <a:gradFill>
                  <a:gsLst>
                    <a:gs pos="49000">
                      <a:prstClr val="white"/>
                    </a:gs>
                    <a:gs pos="100000">
                      <a:prstClr val="white">
                        <a:lumMod val="65000"/>
                      </a:prstClr>
                    </a:gs>
                  </a:gsLst>
                  <a:lin ang="5400000" scaled="1"/>
                </a:gradFill>
                <a:effectLst>
                  <a:outerShdw blurRad="38100" dist="38100" dir="2700000" algn="tl">
                    <a:srgbClr val="000000">
                      <a:alpha val="43137"/>
                    </a:srgbClr>
                  </a:outerShdw>
                </a:effectLst>
                <a:latin typeface="Arial" pitchFamily="34" charset="0"/>
                <a:cs typeface="Arial" pitchFamily="34" charset="0"/>
              </a:defRPr>
            </a:lvl1pPr>
          </a:lstStyle>
          <a:p>
            <a:r>
              <a:rPr lang="en-US" altLang="zh-CN" sz="1799" dirty="0">
                <a:solidFill>
                  <a:schemeClr val="accent1">
                    <a:lumMod val="75000"/>
                  </a:schemeClr>
                </a:solidFill>
                <a:latin typeface="Calibri" panose="020F0502020204030204" pitchFamily="34" charset="0"/>
              </a:rPr>
              <a:t>Smart Campus</a:t>
            </a:r>
            <a:endParaRPr lang="zh-CN" altLang="en-US" sz="1799" dirty="0">
              <a:solidFill>
                <a:schemeClr val="accent1">
                  <a:lumMod val="75000"/>
                </a:schemeClr>
              </a:solidFill>
              <a:latin typeface="Calibri" panose="020F0502020204030204" pitchFamily="34" charset="0"/>
            </a:endParaRPr>
          </a:p>
        </p:txBody>
      </p:sp>
      <p:grpSp>
        <p:nvGrpSpPr>
          <p:cNvPr id="18" name="组合 17"/>
          <p:cNvGrpSpPr/>
          <p:nvPr/>
        </p:nvGrpSpPr>
        <p:grpSpPr>
          <a:xfrm>
            <a:off x="7018967" y="4537788"/>
            <a:ext cx="4487401" cy="1605780"/>
            <a:chOff x="7273072" y="965088"/>
            <a:chExt cx="4476639" cy="1606198"/>
          </a:xfrm>
        </p:grpSpPr>
        <p:sp>
          <p:nvSpPr>
            <p:cNvPr id="90" name="Text Box 20"/>
            <p:cNvSpPr txBox="1">
              <a:spLocks noChangeArrowheads="1"/>
            </p:cNvSpPr>
            <p:nvPr/>
          </p:nvSpPr>
          <p:spPr bwMode="gray">
            <a:xfrm>
              <a:off x="7273072" y="965088"/>
              <a:ext cx="4476639" cy="1443505"/>
            </a:xfrm>
            <a:prstGeom prst="rect">
              <a:avLst/>
            </a:prstGeom>
            <a:noFill/>
            <a:ln>
              <a:solidFill>
                <a:srgbClr val="00B0F0"/>
              </a:solidFill>
            </a:ln>
            <a:effectLst/>
          </p:spPr>
          <p:txBody>
            <a:bodyPr vert="horz" wrap="square" lIns="121916" tIns="60958" rIns="121916" bIns="60958" numCol="1" rtlCol="0" anchor="ctr" anchorCtr="0" compatLnSpc="1">
              <a:prstTxWarp prst="textNoShape">
                <a:avLst/>
              </a:prstTxWarp>
            </a:bodyPr>
            <a:lstStyle>
              <a:defPPr>
                <a:defRPr lang="zh-CN"/>
              </a:defPPr>
              <a:lvl1pPr marL="176202" indent="-176202" algn="ctr" defTabSz="914339">
                <a:lnSpc>
                  <a:spcPct val="120000"/>
                </a:lnSpc>
                <a:defRPr sz="1400" kern="0">
                  <a:solidFill>
                    <a:schemeClr val="bg1"/>
                  </a:solidFill>
                  <a:ea typeface="宋体" charset="-122"/>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endParaRPr lang="en-US" altLang="zh-CN" sz="1399" dirty="0"/>
            </a:p>
          </p:txBody>
        </p:sp>
        <p:sp>
          <p:nvSpPr>
            <p:cNvPr id="91" name="矩形 90"/>
            <p:cNvSpPr/>
            <p:nvPr/>
          </p:nvSpPr>
          <p:spPr bwMode="auto">
            <a:xfrm>
              <a:off x="7273072" y="967067"/>
              <a:ext cx="4476635" cy="396000"/>
            </a:xfrm>
            <a:prstGeom prst="rect">
              <a:avLst/>
            </a:prstGeom>
            <a:solidFill>
              <a:schemeClr val="accent5">
                <a:lumMod val="75000"/>
              </a:schemeClr>
            </a:solidFill>
            <a:ln>
              <a:noFill/>
            </a:ln>
            <a:effectLst/>
          </p:spPr>
          <p:txBody>
            <a:bodyPr vert="horz" wrap="square" lIns="121916" tIns="60958" rIns="121916" bIns="60958" numCol="1" rtlCol="0" anchor="ctr" anchorCtr="0" compatLnSpc="1">
              <a:prstTxWarp prst="textNoShape">
                <a:avLst/>
              </a:prstTxWarp>
            </a:bodyPr>
            <a:lstStyle/>
            <a:p>
              <a:pPr marL="176164" indent="-176164" algn="ctr" defTabSz="914141">
                <a:lnSpc>
                  <a:spcPct val="120000"/>
                </a:lnSpc>
              </a:pPr>
              <a:r>
                <a:rPr lang="en-US" altLang="zh-CN" sz="1399" kern="0" dirty="0">
                  <a:solidFill>
                    <a:schemeClr val="bg1"/>
                  </a:solidFill>
                  <a:ea typeface="宋体" charset="-122"/>
                  <a:sym typeface="Arial" panose="020B0604020202020204" pitchFamily="34" charset="0"/>
                </a:rPr>
                <a:t>Wireless Campus</a:t>
              </a:r>
              <a:endParaRPr lang="zh-CN" altLang="en-US" sz="1399" kern="0" dirty="0">
                <a:solidFill>
                  <a:schemeClr val="bg1"/>
                </a:solidFill>
                <a:ea typeface="宋体" charset="-122"/>
              </a:endParaRPr>
            </a:p>
          </p:txBody>
        </p:sp>
        <p:sp>
          <p:nvSpPr>
            <p:cNvPr id="92" name="TextBox 131"/>
            <p:cNvSpPr txBox="1"/>
            <p:nvPr/>
          </p:nvSpPr>
          <p:spPr>
            <a:xfrm>
              <a:off x="7302112" y="1317425"/>
              <a:ext cx="4294981" cy="1253861"/>
            </a:xfrm>
            <a:prstGeom prst="rect">
              <a:avLst/>
            </a:prstGeom>
            <a:noFill/>
            <a:ln>
              <a:noFill/>
            </a:ln>
            <a:effectLst/>
          </p:spPr>
          <p:txBody>
            <a:bodyPr vert="horz" wrap="square" lIns="121916" tIns="60958" rIns="121916" bIns="60958" numCol="1" rtlCol="0" anchor="ctr" anchorCtr="0" compatLnSpc="1">
              <a:prstTxWarp prst="textNoShape">
                <a:avLst/>
              </a:prstTxWarp>
            </a:bodyPr>
            <a:lstStyle>
              <a:defPPr>
                <a:defRPr lang="zh-CN"/>
              </a:defPPr>
              <a:lvl1pPr marL="176202" indent="-176202" algn="ctr" defTabSz="914339">
                <a:lnSpc>
                  <a:spcPct val="120000"/>
                </a:lnSpc>
                <a:defRPr sz="1400" kern="0">
                  <a:solidFill>
                    <a:schemeClr val="bg1"/>
                  </a:solidFill>
                  <a:ea typeface="宋体" charset="-122"/>
                </a:defRPr>
              </a:lvl1pPr>
            </a:lstStyle>
            <a:p>
              <a:pPr marL="285688" lvl="1" indent="-285688" defTabSz="914141">
                <a:lnSpc>
                  <a:spcPct val="120000"/>
                </a:lnSpc>
                <a:buFont typeface="Arial" panose="020B0604020202020204" pitchFamily="34" charset="0"/>
                <a:buChar char="•"/>
              </a:pPr>
              <a:r>
                <a:rPr lang="en-US" altLang="zh-CN" sz="1299" kern="0" dirty="0" err="1">
                  <a:solidFill>
                    <a:schemeClr val="bg1"/>
                  </a:solidFill>
                  <a:latin typeface="+mj-lt"/>
                  <a:ea typeface="宋体" charset="-122"/>
                </a:rPr>
                <a:t>Cobertura</a:t>
              </a:r>
              <a:r>
                <a:rPr lang="en-US" altLang="zh-CN" sz="1299" kern="0" dirty="0">
                  <a:solidFill>
                    <a:schemeClr val="bg1"/>
                  </a:solidFill>
                  <a:latin typeface="+mj-lt"/>
                  <a:ea typeface="宋体" charset="-122"/>
                </a:rPr>
                <a:t> Wi-Fi: </a:t>
              </a:r>
              <a:r>
                <a:rPr lang="en-US" altLang="zh-CN" sz="1299" kern="0" dirty="0" err="1">
                  <a:solidFill>
                    <a:schemeClr val="bg1"/>
                  </a:solidFill>
                  <a:latin typeface="+mj-lt"/>
                  <a:ea typeface="宋体" charset="-122"/>
                </a:rPr>
                <a:t>Experiencia</a:t>
              </a:r>
              <a:r>
                <a:rPr lang="en-US" altLang="zh-CN" sz="1299" kern="0" dirty="0">
                  <a:solidFill>
                    <a:schemeClr val="bg1"/>
                  </a:solidFill>
                  <a:latin typeface="+mj-lt"/>
                  <a:ea typeface="宋体" charset="-122"/>
                </a:rPr>
                <a:t>  de </a:t>
              </a:r>
              <a:r>
                <a:rPr lang="en-US" altLang="zh-CN" sz="1299" kern="0" dirty="0" err="1">
                  <a:solidFill>
                    <a:schemeClr val="bg1"/>
                  </a:solidFill>
                  <a:latin typeface="+mj-lt"/>
                  <a:ea typeface="宋体" charset="-122"/>
                </a:rPr>
                <a:t>alta</a:t>
              </a:r>
              <a:r>
                <a:rPr lang="en-US" altLang="zh-CN" sz="1299" kern="0" dirty="0">
                  <a:solidFill>
                    <a:schemeClr val="bg1"/>
                  </a:solidFill>
                  <a:latin typeface="+mj-lt"/>
                  <a:ea typeface="宋体" charset="-122"/>
                </a:rPr>
                <a:t> </a:t>
              </a:r>
              <a:r>
                <a:rPr lang="en-US" altLang="zh-CN" sz="1299" kern="0" dirty="0" err="1">
                  <a:solidFill>
                    <a:schemeClr val="bg1"/>
                  </a:solidFill>
                  <a:latin typeface="+mj-lt"/>
                  <a:ea typeface="宋体" charset="-122"/>
                </a:rPr>
                <a:t>velocidad</a:t>
              </a:r>
              <a:r>
                <a:rPr lang="en-US" altLang="zh-CN" sz="1299" kern="0" dirty="0">
                  <a:solidFill>
                    <a:schemeClr val="bg1"/>
                  </a:solidFill>
                  <a:latin typeface="+mj-lt"/>
                  <a:ea typeface="宋体" charset="-122"/>
                </a:rPr>
                <a:t> E2E </a:t>
              </a:r>
              <a:r>
                <a:rPr lang="en-US" altLang="zh-CN" sz="1299" kern="0" dirty="0" err="1">
                  <a:solidFill>
                    <a:schemeClr val="bg1"/>
                  </a:solidFill>
                  <a:latin typeface="+mj-lt"/>
                  <a:ea typeface="宋体" charset="-122"/>
                </a:rPr>
                <a:t>mejorada</a:t>
              </a:r>
              <a:r>
                <a:rPr lang="en-US" altLang="zh-CN" sz="1299" kern="0" dirty="0">
                  <a:solidFill>
                    <a:schemeClr val="bg1"/>
                  </a:solidFill>
                  <a:latin typeface="+mj-lt"/>
                  <a:ea typeface="宋体" charset="-122"/>
                </a:rPr>
                <a:t> </a:t>
              </a:r>
              <a:r>
                <a:rPr lang="en-US" altLang="zh-CN" sz="1299" kern="0" dirty="0" err="1">
                  <a:solidFill>
                    <a:schemeClr val="bg1"/>
                  </a:solidFill>
                  <a:latin typeface="+mj-lt"/>
                  <a:ea typeface="宋体" charset="-122"/>
                </a:rPr>
                <a:t>en</a:t>
              </a:r>
              <a:r>
                <a:rPr lang="en-US" altLang="zh-CN" sz="1299" kern="0" dirty="0">
                  <a:solidFill>
                    <a:schemeClr val="bg1"/>
                  </a:solidFill>
                  <a:latin typeface="+mj-lt"/>
                  <a:ea typeface="宋体" charset="-122"/>
                </a:rPr>
                <a:t> un </a:t>
              </a:r>
              <a:r>
                <a:rPr lang="en-US" altLang="zh-CN" sz="1299" kern="0" dirty="0">
                  <a:solidFill>
                    <a:schemeClr val="bg1"/>
                  </a:solidFill>
                  <a:latin typeface="+mj-lt"/>
                  <a:ea typeface="宋体" charset="-122"/>
                  <a:sym typeface="Arial" panose="020B0604020202020204" pitchFamily="34" charset="0"/>
                </a:rPr>
                <a:t>30%</a:t>
              </a:r>
            </a:p>
            <a:p>
              <a:pPr marL="285688" lvl="1" indent="-285688" defTabSz="914141">
                <a:lnSpc>
                  <a:spcPct val="120000"/>
                </a:lnSpc>
                <a:buFont typeface="Arial" panose="020B0604020202020204" pitchFamily="34" charset="0"/>
                <a:buChar char="•"/>
              </a:pPr>
              <a:r>
                <a:rPr lang="en-US" altLang="zh-CN" sz="1299" kern="0" dirty="0">
                  <a:solidFill>
                    <a:schemeClr val="bg1"/>
                  </a:solidFill>
                  <a:latin typeface="+mj-lt"/>
                  <a:ea typeface="宋体" charset="-122"/>
                  <a:sym typeface="Arial" panose="020B0604020202020204" pitchFamily="34" charset="0"/>
                </a:rPr>
                <a:t>O&amp;M </a:t>
              </a:r>
              <a:r>
                <a:rPr lang="en-US" altLang="zh-CN" sz="1299" kern="0" dirty="0" err="1">
                  <a:solidFill>
                    <a:schemeClr val="bg1"/>
                  </a:solidFill>
                  <a:latin typeface="+mj-lt"/>
                  <a:ea typeface="宋体" charset="-122"/>
                  <a:sym typeface="Arial" panose="020B0604020202020204" pitchFamily="34" charset="0"/>
                </a:rPr>
                <a:t>minimo</a:t>
              </a:r>
              <a:r>
                <a:rPr lang="en-US" altLang="zh-CN" sz="1299" kern="0" dirty="0">
                  <a:solidFill>
                    <a:schemeClr val="bg1"/>
                  </a:solidFill>
                  <a:latin typeface="+mj-lt"/>
                  <a:ea typeface="宋体" charset="-122"/>
                  <a:sym typeface="Arial" panose="020B0604020202020204" pitchFamily="34" charset="0"/>
                </a:rPr>
                <a:t>: </a:t>
              </a:r>
              <a:r>
                <a:rPr lang="en-US" altLang="zh-CN" sz="1299" kern="0" dirty="0" err="1">
                  <a:solidFill>
                    <a:schemeClr val="bg1"/>
                  </a:solidFill>
                  <a:latin typeface="+mj-lt"/>
                  <a:ea typeface="宋体" charset="-122"/>
                  <a:sym typeface="Arial" panose="020B0604020202020204" pitchFamily="34" charset="0"/>
                </a:rPr>
                <a:t>Convergencia</a:t>
              </a:r>
              <a:r>
                <a:rPr lang="en-US" altLang="zh-CN" sz="1299" kern="0" dirty="0">
                  <a:solidFill>
                    <a:schemeClr val="bg1"/>
                  </a:solidFill>
                  <a:latin typeface="+mj-lt"/>
                  <a:ea typeface="宋体" charset="-122"/>
                  <a:sym typeface="Arial" panose="020B0604020202020204" pitchFamily="34" charset="0"/>
                </a:rPr>
                <a:t> de </a:t>
              </a:r>
              <a:r>
                <a:rPr lang="en-US" altLang="zh-CN" sz="1299" kern="0" dirty="0" err="1">
                  <a:solidFill>
                    <a:schemeClr val="bg1"/>
                  </a:solidFill>
                  <a:latin typeface="+mj-lt"/>
                  <a:ea typeface="宋体" charset="-122"/>
                  <a:sym typeface="Arial" panose="020B0604020202020204" pitchFamily="34" charset="0"/>
                </a:rPr>
                <a:t>entorno</a:t>
              </a:r>
              <a:r>
                <a:rPr lang="en-US" altLang="zh-CN" sz="1299" kern="0" dirty="0">
                  <a:solidFill>
                    <a:schemeClr val="bg1"/>
                  </a:solidFill>
                  <a:latin typeface="+mj-lt"/>
                  <a:ea typeface="宋体" charset="-122"/>
                  <a:sym typeface="Arial" panose="020B0604020202020204" pitchFamily="34" charset="0"/>
                </a:rPr>
                <a:t> Wired/wireless, </a:t>
              </a:r>
              <a:r>
                <a:rPr lang="en-US" altLang="zh-CN" sz="1299" kern="0" dirty="0" err="1">
                  <a:solidFill>
                    <a:schemeClr val="bg1"/>
                  </a:solidFill>
                  <a:latin typeface="+mj-lt"/>
                  <a:ea typeface="宋体" charset="-122"/>
                  <a:sym typeface="Arial" panose="020B0604020202020204" pitchFamily="34" charset="0"/>
                </a:rPr>
                <a:t>iPCA</a:t>
              </a:r>
              <a:r>
                <a:rPr lang="en-US" altLang="zh-CN" sz="1299" kern="0" dirty="0">
                  <a:solidFill>
                    <a:schemeClr val="bg1"/>
                  </a:solidFill>
                  <a:latin typeface="+mj-lt"/>
                  <a:ea typeface="宋体" charset="-122"/>
                  <a:sym typeface="Arial" panose="020B0604020202020204" pitchFamily="34" charset="0"/>
                </a:rPr>
                <a:t>, </a:t>
              </a:r>
              <a:r>
                <a:rPr lang="en-US" altLang="zh-CN" sz="1299" kern="0" dirty="0" err="1">
                  <a:solidFill>
                    <a:schemeClr val="bg1"/>
                  </a:solidFill>
                  <a:latin typeface="+mj-lt"/>
                  <a:ea typeface="宋体" charset="-122"/>
                  <a:sym typeface="Arial" panose="020B0604020202020204" pitchFamily="34" charset="0"/>
                </a:rPr>
                <a:t>Mejora</a:t>
              </a:r>
              <a:r>
                <a:rPr lang="en-US" altLang="zh-CN" sz="1299" kern="0" dirty="0">
                  <a:solidFill>
                    <a:schemeClr val="bg1"/>
                  </a:solidFill>
                  <a:latin typeface="+mj-lt"/>
                  <a:ea typeface="宋体" charset="-122"/>
                  <a:sym typeface="Arial" panose="020B0604020202020204" pitchFamily="34" charset="0"/>
                </a:rPr>
                <a:t> de la </a:t>
              </a:r>
              <a:r>
                <a:rPr lang="en-US" altLang="zh-CN" sz="1299" kern="0" dirty="0" err="1">
                  <a:solidFill>
                    <a:schemeClr val="bg1"/>
                  </a:solidFill>
                  <a:latin typeface="+mj-lt"/>
                  <a:ea typeface="宋体" charset="-122"/>
                  <a:sym typeface="Arial" panose="020B0604020202020204" pitchFamily="34" charset="0"/>
                </a:rPr>
                <a:t>eificiencia</a:t>
              </a:r>
              <a:r>
                <a:rPr lang="en-US" altLang="zh-CN" sz="1299" kern="0" dirty="0">
                  <a:solidFill>
                    <a:schemeClr val="bg1"/>
                  </a:solidFill>
                  <a:latin typeface="+mj-lt"/>
                  <a:ea typeface="宋体" charset="-122"/>
                  <a:sym typeface="Arial" panose="020B0604020202020204" pitchFamily="34" charset="0"/>
                </a:rPr>
                <a:t> </a:t>
              </a:r>
              <a:r>
                <a:rPr lang="en-US" altLang="zh-CN" sz="1299" kern="0" dirty="0" err="1">
                  <a:solidFill>
                    <a:schemeClr val="bg1"/>
                  </a:solidFill>
                  <a:latin typeface="+mj-lt"/>
                  <a:ea typeface="宋体" charset="-122"/>
                  <a:sym typeface="Arial" panose="020B0604020202020204" pitchFamily="34" charset="0"/>
                </a:rPr>
                <a:t>en</a:t>
              </a:r>
              <a:r>
                <a:rPr lang="en-US" altLang="zh-CN" sz="1299" kern="0" dirty="0">
                  <a:solidFill>
                    <a:schemeClr val="bg1"/>
                  </a:solidFill>
                  <a:latin typeface="+mj-lt"/>
                  <a:ea typeface="宋体" charset="-122"/>
                  <a:sym typeface="Arial" panose="020B0604020202020204" pitchFamily="34" charset="0"/>
                </a:rPr>
                <a:t> </a:t>
              </a:r>
              <a:r>
                <a:rPr lang="en-US" altLang="zh-CN" sz="1299" kern="0" dirty="0">
                  <a:solidFill>
                    <a:schemeClr val="bg1"/>
                  </a:solidFill>
                  <a:latin typeface="+mj-lt"/>
                  <a:ea typeface="宋体" charset="-122"/>
                </a:rPr>
                <a:t>50% </a:t>
              </a:r>
            </a:p>
          </p:txBody>
        </p:sp>
      </p:grpSp>
      <p:sp>
        <p:nvSpPr>
          <p:cNvPr id="96" name="Freeform 27"/>
          <p:cNvSpPr>
            <a:spLocks noChangeAspect="1" noEditPoints="1"/>
          </p:cNvSpPr>
          <p:nvPr/>
        </p:nvSpPr>
        <p:spPr bwMode="auto">
          <a:xfrm>
            <a:off x="1599412" y="2541588"/>
            <a:ext cx="1393429" cy="667514"/>
          </a:xfrm>
          <a:custGeom>
            <a:avLst/>
            <a:gdLst/>
            <a:ahLst/>
            <a:cxnLst>
              <a:cxn ang="0">
                <a:pos x="8324" y="38"/>
              </a:cxn>
              <a:cxn ang="0">
                <a:pos x="9087" y="203"/>
              </a:cxn>
              <a:cxn ang="0">
                <a:pos x="9799" y="487"/>
              </a:cxn>
              <a:cxn ang="0">
                <a:pos x="10451" y="880"/>
              </a:cxn>
              <a:cxn ang="0">
                <a:pos x="11031" y="1370"/>
              </a:cxn>
              <a:cxn ang="0">
                <a:pos x="11529" y="1947"/>
              </a:cxn>
              <a:cxn ang="0">
                <a:pos x="11934" y="2598"/>
              </a:cxn>
              <a:cxn ang="0">
                <a:pos x="12234" y="3314"/>
              </a:cxn>
              <a:cxn ang="0">
                <a:pos x="12378" y="3497"/>
              </a:cxn>
              <a:cxn ang="0">
                <a:pos x="12496" y="3494"/>
              </a:cxn>
              <a:cxn ang="0">
                <a:pos x="13119" y="3540"/>
              </a:cxn>
              <a:cxn ang="0">
                <a:pos x="13870" y="3738"/>
              </a:cxn>
              <a:cxn ang="0">
                <a:pos x="14554" y="4074"/>
              </a:cxn>
              <a:cxn ang="0">
                <a:pos x="15156" y="4535"/>
              </a:cxn>
              <a:cxn ang="0">
                <a:pos x="15663" y="5102"/>
              </a:cxn>
              <a:cxn ang="0">
                <a:pos x="16056" y="5761"/>
              </a:cxn>
              <a:cxn ang="0">
                <a:pos x="16320" y="6494"/>
              </a:cxn>
              <a:cxn ang="0">
                <a:pos x="16438" y="7286"/>
              </a:cxn>
              <a:cxn ang="0">
                <a:pos x="16401" y="8075"/>
              </a:cxn>
              <a:cxn ang="0">
                <a:pos x="16222" y="8813"/>
              </a:cxn>
              <a:cxn ang="0">
                <a:pos x="15915" y="9491"/>
              </a:cxn>
              <a:cxn ang="0">
                <a:pos x="15494" y="10093"/>
              </a:cxn>
              <a:cxn ang="0">
                <a:pos x="14974" y="10606"/>
              </a:cxn>
              <a:cxn ang="0">
                <a:pos x="14369" y="11014"/>
              </a:cxn>
              <a:cxn ang="0">
                <a:pos x="13693" y="11305"/>
              </a:cxn>
              <a:cxn ang="0">
                <a:pos x="12960" y="11462"/>
              </a:cxn>
              <a:cxn ang="0">
                <a:pos x="3341" y="11487"/>
              </a:cxn>
              <a:cxn ang="0">
                <a:pos x="2760" y="11436"/>
              </a:cxn>
              <a:cxn ang="0">
                <a:pos x="2156" y="11265"/>
              </a:cxn>
              <a:cxn ang="0">
                <a:pos x="1603" y="10987"/>
              </a:cxn>
              <a:cxn ang="0">
                <a:pos x="1113" y="10615"/>
              </a:cxn>
              <a:cxn ang="0">
                <a:pos x="697" y="10159"/>
              </a:cxn>
              <a:cxn ang="0">
                <a:pos x="368" y="9631"/>
              </a:cxn>
              <a:cxn ang="0">
                <a:pos x="137" y="9044"/>
              </a:cxn>
              <a:cxn ang="0">
                <a:pos x="15" y="8410"/>
              </a:cxn>
              <a:cxn ang="0">
                <a:pos x="15" y="7754"/>
              </a:cxn>
              <a:cxn ang="0">
                <a:pos x="132" y="7132"/>
              </a:cxn>
              <a:cxn ang="0">
                <a:pos x="354" y="6556"/>
              </a:cxn>
              <a:cxn ang="0">
                <a:pos x="671" y="6034"/>
              </a:cxn>
              <a:cxn ang="0">
                <a:pos x="1072" y="5582"/>
              </a:cxn>
              <a:cxn ang="0">
                <a:pos x="1546" y="5208"/>
              </a:cxn>
              <a:cxn ang="0">
                <a:pos x="2082" y="4924"/>
              </a:cxn>
              <a:cxn ang="0">
                <a:pos x="2668" y="4741"/>
              </a:cxn>
              <a:cxn ang="0">
                <a:pos x="3015" y="4212"/>
              </a:cxn>
              <a:cxn ang="0">
                <a:pos x="3225" y="3295"/>
              </a:cxn>
              <a:cxn ang="0">
                <a:pos x="3597" y="2453"/>
              </a:cxn>
              <a:cxn ang="0">
                <a:pos x="4113" y="1704"/>
              </a:cxn>
              <a:cxn ang="0">
                <a:pos x="4754" y="1069"/>
              </a:cxn>
              <a:cxn ang="0">
                <a:pos x="5503" y="565"/>
              </a:cxn>
              <a:cxn ang="0">
                <a:pos x="6342" y="211"/>
              </a:cxn>
              <a:cxn ang="0">
                <a:pos x="7250" y="25"/>
              </a:cxn>
              <a:cxn ang="0">
                <a:pos x="9148" y="9515"/>
              </a:cxn>
              <a:cxn ang="0">
                <a:pos x="9106" y="9484"/>
              </a:cxn>
              <a:cxn ang="0">
                <a:pos x="9023" y="9509"/>
              </a:cxn>
              <a:cxn ang="0">
                <a:pos x="9156" y="9528"/>
              </a:cxn>
              <a:cxn ang="0">
                <a:pos x="6408" y="9503"/>
              </a:cxn>
              <a:cxn ang="0">
                <a:pos x="6368" y="9519"/>
              </a:cxn>
            </a:cxnLst>
            <a:rect l="0" t="0" r="r" b="b"/>
            <a:pathLst>
              <a:path w="16443" h="11487">
                <a:moveTo>
                  <a:pt x="7726" y="0"/>
                </a:moveTo>
                <a:lnTo>
                  <a:pt x="7928" y="4"/>
                </a:lnTo>
                <a:lnTo>
                  <a:pt x="8127" y="17"/>
                </a:lnTo>
                <a:lnTo>
                  <a:pt x="8324" y="38"/>
                </a:lnTo>
                <a:lnTo>
                  <a:pt x="8519" y="68"/>
                </a:lnTo>
                <a:lnTo>
                  <a:pt x="8711" y="105"/>
                </a:lnTo>
                <a:lnTo>
                  <a:pt x="8900" y="150"/>
                </a:lnTo>
                <a:lnTo>
                  <a:pt x="9087" y="203"/>
                </a:lnTo>
                <a:lnTo>
                  <a:pt x="9270" y="263"/>
                </a:lnTo>
                <a:lnTo>
                  <a:pt x="9450" y="331"/>
                </a:lnTo>
                <a:lnTo>
                  <a:pt x="9626" y="406"/>
                </a:lnTo>
                <a:lnTo>
                  <a:pt x="9799" y="487"/>
                </a:lnTo>
                <a:lnTo>
                  <a:pt x="9969" y="576"/>
                </a:lnTo>
                <a:lnTo>
                  <a:pt x="10133" y="670"/>
                </a:lnTo>
                <a:lnTo>
                  <a:pt x="10294" y="772"/>
                </a:lnTo>
                <a:lnTo>
                  <a:pt x="10451" y="880"/>
                </a:lnTo>
                <a:lnTo>
                  <a:pt x="10604" y="994"/>
                </a:lnTo>
                <a:lnTo>
                  <a:pt x="10751" y="1113"/>
                </a:lnTo>
                <a:lnTo>
                  <a:pt x="10893" y="1239"/>
                </a:lnTo>
                <a:lnTo>
                  <a:pt x="11031" y="1370"/>
                </a:lnTo>
                <a:lnTo>
                  <a:pt x="11164" y="1507"/>
                </a:lnTo>
                <a:lnTo>
                  <a:pt x="11291" y="1648"/>
                </a:lnTo>
                <a:lnTo>
                  <a:pt x="11412" y="1795"/>
                </a:lnTo>
                <a:lnTo>
                  <a:pt x="11529" y="1947"/>
                </a:lnTo>
                <a:lnTo>
                  <a:pt x="11640" y="2102"/>
                </a:lnTo>
                <a:lnTo>
                  <a:pt x="11743" y="2264"/>
                </a:lnTo>
                <a:lnTo>
                  <a:pt x="11842" y="2429"/>
                </a:lnTo>
                <a:lnTo>
                  <a:pt x="11934" y="2598"/>
                </a:lnTo>
                <a:lnTo>
                  <a:pt x="12019" y="2772"/>
                </a:lnTo>
                <a:lnTo>
                  <a:pt x="12097" y="2948"/>
                </a:lnTo>
                <a:lnTo>
                  <a:pt x="12169" y="3129"/>
                </a:lnTo>
                <a:lnTo>
                  <a:pt x="12234" y="3314"/>
                </a:lnTo>
                <a:lnTo>
                  <a:pt x="12291" y="3501"/>
                </a:lnTo>
                <a:lnTo>
                  <a:pt x="12320" y="3499"/>
                </a:lnTo>
                <a:lnTo>
                  <a:pt x="12349" y="3498"/>
                </a:lnTo>
                <a:lnTo>
                  <a:pt x="12378" y="3497"/>
                </a:lnTo>
                <a:lnTo>
                  <a:pt x="12407" y="3496"/>
                </a:lnTo>
                <a:lnTo>
                  <a:pt x="12437" y="3495"/>
                </a:lnTo>
                <a:lnTo>
                  <a:pt x="12466" y="3494"/>
                </a:lnTo>
                <a:lnTo>
                  <a:pt x="12496" y="3494"/>
                </a:lnTo>
                <a:lnTo>
                  <a:pt x="12524" y="3494"/>
                </a:lnTo>
                <a:lnTo>
                  <a:pt x="12726" y="3499"/>
                </a:lnTo>
                <a:lnTo>
                  <a:pt x="12924" y="3515"/>
                </a:lnTo>
                <a:lnTo>
                  <a:pt x="13119" y="3540"/>
                </a:lnTo>
                <a:lnTo>
                  <a:pt x="13313" y="3575"/>
                </a:lnTo>
                <a:lnTo>
                  <a:pt x="13502" y="3621"/>
                </a:lnTo>
                <a:lnTo>
                  <a:pt x="13688" y="3674"/>
                </a:lnTo>
                <a:lnTo>
                  <a:pt x="13870" y="3738"/>
                </a:lnTo>
                <a:lnTo>
                  <a:pt x="14047" y="3809"/>
                </a:lnTo>
                <a:lnTo>
                  <a:pt x="14221" y="3889"/>
                </a:lnTo>
                <a:lnTo>
                  <a:pt x="14390" y="3977"/>
                </a:lnTo>
                <a:lnTo>
                  <a:pt x="14554" y="4074"/>
                </a:lnTo>
                <a:lnTo>
                  <a:pt x="14712" y="4179"/>
                </a:lnTo>
                <a:lnTo>
                  <a:pt x="14867" y="4290"/>
                </a:lnTo>
                <a:lnTo>
                  <a:pt x="15015" y="4409"/>
                </a:lnTo>
                <a:lnTo>
                  <a:pt x="15156" y="4535"/>
                </a:lnTo>
                <a:lnTo>
                  <a:pt x="15293" y="4667"/>
                </a:lnTo>
                <a:lnTo>
                  <a:pt x="15423" y="4806"/>
                </a:lnTo>
                <a:lnTo>
                  <a:pt x="15546" y="4951"/>
                </a:lnTo>
                <a:lnTo>
                  <a:pt x="15663" y="5102"/>
                </a:lnTo>
                <a:lnTo>
                  <a:pt x="15772" y="5259"/>
                </a:lnTo>
                <a:lnTo>
                  <a:pt x="15875" y="5421"/>
                </a:lnTo>
                <a:lnTo>
                  <a:pt x="15969" y="5588"/>
                </a:lnTo>
                <a:lnTo>
                  <a:pt x="16056" y="5761"/>
                </a:lnTo>
                <a:lnTo>
                  <a:pt x="16134" y="5938"/>
                </a:lnTo>
                <a:lnTo>
                  <a:pt x="16205" y="6119"/>
                </a:lnTo>
                <a:lnTo>
                  <a:pt x="16266" y="6305"/>
                </a:lnTo>
                <a:lnTo>
                  <a:pt x="16320" y="6494"/>
                </a:lnTo>
                <a:lnTo>
                  <a:pt x="16363" y="6687"/>
                </a:lnTo>
                <a:lnTo>
                  <a:pt x="16398" y="6884"/>
                </a:lnTo>
                <a:lnTo>
                  <a:pt x="16422" y="7083"/>
                </a:lnTo>
                <a:lnTo>
                  <a:pt x="16438" y="7286"/>
                </a:lnTo>
                <a:lnTo>
                  <a:pt x="16443" y="7490"/>
                </a:lnTo>
                <a:lnTo>
                  <a:pt x="16438" y="7688"/>
                </a:lnTo>
                <a:lnTo>
                  <a:pt x="16425" y="7883"/>
                </a:lnTo>
                <a:lnTo>
                  <a:pt x="16401" y="8075"/>
                </a:lnTo>
                <a:lnTo>
                  <a:pt x="16369" y="8264"/>
                </a:lnTo>
                <a:lnTo>
                  <a:pt x="16328" y="8451"/>
                </a:lnTo>
                <a:lnTo>
                  <a:pt x="16280" y="8634"/>
                </a:lnTo>
                <a:lnTo>
                  <a:pt x="16222" y="8813"/>
                </a:lnTo>
                <a:lnTo>
                  <a:pt x="16156" y="8989"/>
                </a:lnTo>
                <a:lnTo>
                  <a:pt x="16083" y="9161"/>
                </a:lnTo>
                <a:lnTo>
                  <a:pt x="16003" y="9328"/>
                </a:lnTo>
                <a:lnTo>
                  <a:pt x="15915" y="9491"/>
                </a:lnTo>
                <a:lnTo>
                  <a:pt x="15820" y="9649"/>
                </a:lnTo>
                <a:lnTo>
                  <a:pt x="15717" y="9802"/>
                </a:lnTo>
                <a:lnTo>
                  <a:pt x="15610" y="9950"/>
                </a:lnTo>
                <a:lnTo>
                  <a:pt x="15494" y="10093"/>
                </a:lnTo>
                <a:lnTo>
                  <a:pt x="15373" y="10230"/>
                </a:lnTo>
                <a:lnTo>
                  <a:pt x="15246" y="10361"/>
                </a:lnTo>
                <a:lnTo>
                  <a:pt x="15113" y="10487"/>
                </a:lnTo>
                <a:lnTo>
                  <a:pt x="14974" y="10606"/>
                </a:lnTo>
                <a:lnTo>
                  <a:pt x="14831" y="10718"/>
                </a:lnTo>
                <a:lnTo>
                  <a:pt x="14682" y="10824"/>
                </a:lnTo>
                <a:lnTo>
                  <a:pt x="14527" y="10923"/>
                </a:lnTo>
                <a:lnTo>
                  <a:pt x="14369" y="11014"/>
                </a:lnTo>
                <a:lnTo>
                  <a:pt x="14206" y="11098"/>
                </a:lnTo>
                <a:lnTo>
                  <a:pt x="14039" y="11176"/>
                </a:lnTo>
                <a:lnTo>
                  <a:pt x="13868" y="11244"/>
                </a:lnTo>
                <a:lnTo>
                  <a:pt x="13693" y="11305"/>
                </a:lnTo>
                <a:lnTo>
                  <a:pt x="13514" y="11357"/>
                </a:lnTo>
                <a:lnTo>
                  <a:pt x="13332" y="11401"/>
                </a:lnTo>
                <a:lnTo>
                  <a:pt x="13147" y="11436"/>
                </a:lnTo>
                <a:lnTo>
                  <a:pt x="12960" y="11462"/>
                </a:lnTo>
                <a:lnTo>
                  <a:pt x="12770" y="11479"/>
                </a:lnTo>
                <a:lnTo>
                  <a:pt x="12770" y="11487"/>
                </a:lnTo>
                <a:lnTo>
                  <a:pt x="12524" y="11487"/>
                </a:lnTo>
                <a:lnTo>
                  <a:pt x="3341" y="11487"/>
                </a:lnTo>
                <a:lnTo>
                  <a:pt x="3079" y="11487"/>
                </a:lnTo>
                <a:lnTo>
                  <a:pt x="3079" y="11477"/>
                </a:lnTo>
                <a:lnTo>
                  <a:pt x="2919" y="11459"/>
                </a:lnTo>
                <a:lnTo>
                  <a:pt x="2760" y="11436"/>
                </a:lnTo>
                <a:lnTo>
                  <a:pt x="2605" y="11404"/>
                </a:lnTo>
                <a:lnTo>
                  <a:pt x="2453" y="11365"/>
                </a:lnTo>
                <a:lnTo>
                  <a:pt x="2303" y="11318"/>
                </a:lnTo>
                <a:lnTo>
                  <a:pt x="2156" y="11265"/>
                </a:lnTo>
                <a:lnTo>
                  <a:pt x="2013" y="11205"/>
                </a:lnTo>
                <a:lnTo>
                  <a:pt x="1872" y="11139"/>
                </a:lnTo>
                <a:lnTo>
                  <a:pt x="1736" y="11067"/>
                </a:lnTo>
                <a:lnTo>
                  <a:pt x="1603" y="10987"/>
                </a:lnTo>
                <a:lnTo>
                  <a:pt x="1474" y="10903"/>
                </a:lnTo>
                <a:lnTo>
                  <a:pt x="1349" y="10813"/>
                </a:lnTo>
                <a:lnTo>
                  <a:pt x="1229" y="10716"/>
                </a:lnTo>
                <a:lnTo>
                  <a:pt x="1113" y="10615"/>
                </a:lnTo>
                <a:lnTo>
                  <a:pt x="1001" y="10508"/>
                </a:lnTo>
                <a:lnTo>
                  <a:pt x="895" y="10396"/>
                </a:lnTo>
                <a:lnTo>
                  <a:pt x="793" y="10280"/>
                </a:lnTo>
                <a:lnTo>
                  <a:pt x="697" y="10159"/>
                </a:lnTo>
                <a:lnTo>
                  <a:pt x="606" y="10033"/>
                </a:lnTo>
                <a:lnTo>
                  <a:pt x="521" y="9903"/>
                </a:lnTo>
                <a:lnTo>
                  <a:pt x="441" y="9769"/>
                </a:lnTo>
                <a:lnTo>
                  <a:pt x="368" y="9631"/>
                </a:lnTo>
                <a:lnTo>
                  <a:pt x="300" y="9490"/>
                </a:lnTo>
                <a:lnTo>
                  <a:pt x="239" y="9345"/>
                </a:lnTo>
                <a:lnTo>
                  <a:pt x="185" y="9197"/>
                </a:lnTo>
                <a:lnTo>
                  <a:pt x="137" y="9044"/>
                </a:lnTo>
                <a:lnTo>
                  <a:pt x="96" y="8890"/>
                </a:lnTo>
                <a:lnTo>
                  <a:pt x="62" y="8733"/>
                </a:lnTo>
                <a:lnTo>
                  <a:pt x="35" y="8573"/>
                </a:lnTo>
                <a:lnTo>
                  <a:pt x="15" y="8410"/>
                </a:lnTo>
                <a:lnTo>
                  <a:pt x="4" y="8246"/>
                </a:lnTo>
                <a:lnTo>
                  <a:pt x="0" y="8079"/>
                </a:lnTo>
                <a:lnTo>
                  <a:pt x="4" y="7916"/>
                </a:lnTo>
                <a:lnTo>
                  <a:pt x="15" y="7754"/>
                </a:lnTo>
                <a:lnTo>
                  <a:pt x="34" y="7596"/>
                </a:lnTo>
                <a:lnTo>
                  <a:pt x="60" y="7439"/>
                </a:lnTo>
                <a:lnTo>
                  <a:pt x="92" y="7284"/>
                </a:lnTo>
                <a:lnTo>
                  <a:pt x="132" y="7132"/>
                </a:lnTo>
                <a:lnTo>
                  <a:pt x="178" y="6983"/>
                </a:lnTo>
                <a:lnTo>
                  <a:pt x="230" y="6837"/>
                </a:lnTo>
                <a:lnTo>
                  <a:pt x="289" y="6694"/>
                </a:lnTo>
                <a:lnTo>
                  <a:pt x="354" y="6556"/>
                </a:lnTo>
                <a:lnTo>
                  <a:pt x="424" y="6420"/>
                </a:lnTo>
                <a:lnTo>
                  <a:pt x="502" y="6287"/>
                </a:lnTo>
                <a:lnTo>
                  <a:pt x="584" y="6159"/>
                </a:lnTo>
                <a:lnTo>
                  <a:pt x="671" y="6034"/>
                </a:lnTo>
                <a:lnTo>
                  <a:pt x="765" y="5914"/>
                </a:lnTo>
                <a:lnTo>
                  <a:pt x="862" y="5799"/>
                </a:lnTo>
                <a:lnTo>
                  <a:pt x="965" y="5688"/>
                </a:lnTo>
                <a:lnTo>
                  <a:pt x="1072" y="5582"/>
                </a:lnTo>
                <a:lnTo>
                  <a:pt x="1184" y="5480"/>
                </a:lnTo>
                <a:lnTo>
                  <a:pt x="1301" y="5384"/>
                </a:lnTo>
                <a:lnTo>
                  <a:pt x="1421" y="5293"/>
                </a:lnTo>
                <a:lnTo>
                  <a:pt x="1546" y="5208"/>
                </a:lnTo>
                <a:lnTo>
                  <a:pt x="1675" y="5128"/>
                </a:lnTo>
                <a:lnTo>
                  <a:pt x="1807" y="5054"/>
                </a:lnTo>
                <a:lnTo>
                  <a:pt x="1942" y="4986"/>
                </a:lnTo>
                <a:lnTo>
                  <a:pt x="2082" y="4924"/>
                </a:lnTo>
                <a:lnTo>
                  <a:pt x="2224" y="4869"/>
                </a:lnTo>
                <a:lnTo>
                  <a:pt x="2369" y="4819"/>
                </a:lnTo>
                <a:lnTo>
                  <a:pt x="2517" y="4777"/>
                </a:lnTo>
                <a:lnTo>
                  <a:pt x="2668" y="4741"/>
                </a:lnTo>
                <a:lnTo>
                  <a:pt x="2821" y="4713"/>
                </a:lnTo>
                <a:lnTo>
                  <a:pt x="2976" y="4692"/>
                </a:lnTo>
                <a:lnTo>
                  <a:pt x="2990" y="4450"/>
                </a:lnTo>
                <a:lnTo>
                  <a:pt x="3015" y="4212"/>
                </a:lnTo>
                <a:lnTo>
                  <a:pt x="3051" y="3976"/>
                </a:lnTo>
                <a:lnTo>
                  <a:pt x="3098" y="3744"/>
                </a:lnTo>
                <a:lnTo>
                  <a:pt x="3156" y="3517"/>
                </a:lnTo>
                <a:lnTo>
                  <a:pt x="3225" y="3295"/>
                </a:lnTo>
                <a:lnTo>
                  <a:pt x="3303" y="3076"/>
                </a:lnTo>
                <a:lnTo>
                  <a:pt x="3391" y="2863"/>
                </a:lnTo>
                <a:lnTo>
                  <a:pt x="3489" y="2655"/>
                </a:lnTo>
                <a:lnTo>
                  <a:pt x="3597" y="2453"/>
                </a:lnTo>
                <a:lnTo>
                  <a:pt x="3713" y="2256"/>
                </a:lnTo>
                <a:lnTo>
                  <a:pt x="3837" y="2065"/>
                </a:lnTo>
                <a:lnTo>
                  <a:pt x="3971" y="1882"/>
                </a:lnTo>
                <a:lnTo>
                  <a:pt x="4113" y="1704"/>
                </a:lnTo>
                <a:lnTo>
                  <a:pt x="4262" y="1535"/>
                </a:lnTo>
                <a:lnTo>
                  <a:pt x="4419" y="1371"/>
                </a:lnTo>
                <a:lnTo>
                  <a:pt x="4583" y="1216"/>
                </a:lnTo>
                <a:lnTo>
                  <a:pt x="4754" y="1069"/>
                </a:lnTo>
                <a:lnTo>
                  <a:pt x="4932" y="930"/>
                </a:lnTo>
                <a:lnTo>
                  <a:pt x="5117" y="800"/>
                </a:lnTo>
                <a:lnTo>
                  <a:pt x="5307" y="677"/>
                </a:lnTo>
                <a:lnTo>
                  <a:pt x="5503" y="565"/>
                </a:lnTo>
                <a:lnTo>
                  <a:pt x="5705" y="462"/>
                </a:lnTo>
                <a:lnTo>
                  <a:pt x="5912" y="368"/>
                </a:lnTo>
                <a:lnTo>
                  <a:pt x="6124" y="284"/>
                </a:lnTo>
                <a:lnTo>
                  <a:pt x="6342" y="211"/>
                </a:lnTo>
                <a:lnTo>
                  <a:pt x="6563" y="147"/>
                </a:lnTo>
                <a:lnTo>
                  <a:pt x="6788" y="95"/>
                </a:lnTo>
                <a:lnTo>
                  <a:pt x="7018" y="54"/>
                </a:lnTo>
                <a:lnTo>
                  <a:pt x="7250" y="25"/>
                </a:lnTo>
                <a:lnTo>
                  <a:pt x="7487" y="6"/>
                </a:lnTo>
                <a:lnTo>
                  <a:pt x="7726" y="0"/>
                </a:lnTo>
                <a:close/>
                <a:moveTo>
                  <a:pt x="9156" y="9528"/>
                </a:moveTo>
                <a:lnTo>
                  <a:pt x="9148" y="9515"/>
                </a:lnTo>
                <a:lnTo>
                  <a:pt x="9141" y="9503"/>
                </a:lnTo>
                <a:lnTo>
                  <a:pt x="9134" y="9491"/>
                </a:lnTo>
                <a:lnTo>
                  <a:pt x="9127" y="9478"/>
                </a:lnTo>
                <a:lnTo>
                  <a:pt x="9106" y="9484"/>
                </a:lnTo>
                <a:lnTo>
                  <a:pt x="9086" y="9491"/>
                </a:lnTo>
                <a:lnTo>
                  <a:pt x="9065" y="9498"/>
                </a:lnTo>
                <a:lnTo>
                  <a:pt x="9045" y="9503"/>
                </a:lnTo>
                <a:lnTo>
                  <a:pt x="9023" y="9509"/>
                </a:lnTo>
                <a:lnTo>
                  <a:pt x="9003" y="9515"/>
                </a:lnTo>
                <a:lnTo>
                  <a:pt x="8982" y="9521"/>
                </a:lnTo>
                <a:lnTo>
                  <a:pt x="8961" y="9528"/>
                </a:lnTo>
                <a:lnTo>
                  <a:pt x="9156" y="9528"/>
                </a:lnTo>
                <a:close/>
                <a:moveTo>
                  <a:pt x="6492" y="9528"/>
                </a:moveTo>
                <a:lnTo>
                  <a:pt x="6464" y="9519"/>
                </a:lnTo>
                <a:lnTo>
                  <a:pt x="6435" y="9511"/>
                </a:lnTo>
                <a:lnTo>
                  <a:pt x="6408" y="9503"/>
                </a:lnTo>
                <a:lnTo>
                  <a:pt x="6379" y="9495"/>
                </a:lnTo>
                <a:lnTo>
                  <a:pt x="6376" y="9503"/>
                </a:lnTo>
                <a:lnTo>
                  <a:pt x="6372" y="9511"/>
                </a:lnTo>
                <a:lnTo>
                  <a:pt x="6368" y="9519"/>
                </a:lnTo>
                <a:lnTo>
                  <a:pt x="6364" y="9528"/>
                </a:lnTo>
                <a:lnTo>
                  <a:pt x="6492" y="9528"/>
                </a:lnTo>
                <a:close/>
              </a:path>
            </a:pathLst>
          </a:custGeom>
          <a:gradFill>
            <a:gsLst>
              <a:gs pos="0">
                <a:srgbClr val="00B0F0">
                  <a:alpha val="58824"/>
                </a:srgbClr>
              </a:gs>
              <a:gs pos="52000">
                <a:srgbClr val="00B0F0">
                  <a:alpha val="27059"/>
                </a:srgbClr>
              </a:gs>
              <a:gs pos="100000">
                <a:srgbClr val="00B0F0">
                  <a:alpha val="89020"/>
                </a:srgb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tIns="35991" rtlCol="0" anchor="t" anchorCtr="0">
            <a:noAutofit/>
          </a:bodyPr>
          <a:lstStyle/>
          <a:p>
            <a:endParaRPr lang="zh-CN" altLang="en-US" sz="1799"/>
          </a:p>
        </p:txBody>
      </p:sp>
      <p:grpSp>
        <p:nvGrpSpPr>
          <p:cNvPr id="190" name="组合 282"/>
          <p:cNvGrpSpPr/>
          <p:nvPr/>
        </p:nvGrpSpPr>
        <p:grpSpPr>
          <a:xfrm>
            <a:off x="3409031" y="4011018"/>
            <a:ext cx="324243" cy="284533"/>
            <a:chOff x="-1618534" y="2713542"/>
            <a:chExt cx="795326" cy="527513"/>
          </a:xfrm>
          <a:solidFill>
            <a:schemeClr val="tx1"/>
          </a:solidFill>
        </p:grpSpPr>
        <p:sp>
          <p:nvSpPr>
            <p:cNvPr id="191" name="Freeform 40"/>
            <p:cNvSpPr>
              <a:spLocks/>
            </p:cNvSpPr>
            <p:nvPr/>
          </p:nvSpPr>
          <p:spPr bwMode="auto">
            <a:xfrm>
              <a:off x="-1326373" y="2713542"/>
              <a:ext cx="251583" cy="154196"/>
            </a:xfrm>
            <a:custGeom>
              <a:avLst/>
              <a:gdLst/>
              <a:ahLst/>
              <a:cxnLst>
                <a:cxn ang="0">
                  <a:pos x="124" y="4"/>
                </a:cxn>
                <a:cxn ang="0">
                  <a:pos x="124" y="0"/>
                </a:cxn>
                <a:cxn ang="0">
                  <a:pos x="124" y="0"/>
                </a:cxn>
                <a:cxn ang="0">
                  <a:pos x="122" y="0"/>
                </a:cxn>
                <a:cxn ang="0">
                  <a:pos x="10" y="0"/>
                </a:cxn>
                <a:cxn ang="0">
                  <a:pos x="10" y="0"/>
                </a:cxn>
                <a:cxn ang="0">
                  <a:pos x="6" y="0"/>
                </a:cxn>
                <a:cxn ang="0">
                  <a:pos x="2" y="2"/>
                </a:cxn>
                <a:cxn ang="0">
                  <a:pos x="0" y="6"/>
                </a:cxn>
                <a:cxn ang="0">
                  <a:pos x="0" y="10"/>
                </a:cxn>
                <a:cxn ang="0">
                  <a:pos x="0" y="66"/>
                </a:cxn>
                <a:cxn ang="0">
                  <a:pos x="0" y="66"/>
                </a:cxn>
                <a:cxn ang="0">
                  <a:pos x="0" y="70"/>
                </a:cxn>
                <a:cxn ang="0">
                  <a:pos x="2" y="72"/>
                </a:cxn>
                <a:cxn ang="0">
                  <a:pos x="6" y="74"/>
                </a:cxn>
                <a:cxn ang="0">
                  <a:pos x="10" y="76"/>
                </a:cxn>
                <a:cxn ang="0">
                  <a:pos x="100" y="76"/>
                </a:cxn>
                <a:cxn ang="0">
                  <a:pos x="100" y="76"/>
                </a:cxn>
                <a:cxn ang="0">
                  <a:pos x="110" y="64"/>
                </a:cxn>
                <a:cxn ang="0">
                  <a:pos x="116" y="52"/>
                </a:cxn>
                <a:cxn ang="0">
                  <a:pos x="120" y="40"/>
                </a:cxn>
                <a:cxn ang="0">
                  <a:pos x="122" y="28"/>
                </a:cxn>
                <a:cxn ang="0">
                  <a:pos x="124" y="12"/>
                </a:cxn>
                <a:cxn ang="0">
                  <a:pos x="124" y="4"/>
                </a:cxn>
                <a:cxn ang="0">
                  <a:pos x="124" y="4"/>
                </a:cxn>
              </a:cxnLst>
              <a:rect l="0" t="0" r="r" b="b"/>
              <a:pathLst>
                <a:path w="124" h="76">
                  <a:moveTo>
                    <a:pt x="124" y="4"/>
                  </a:moveTo>
                  <a:lnTo>
                    <a:pt x="124" y="0"/>
                  </a:lnTo>
                  <a:lnTo>
                    <a:pt x="124" y="0"/>
                  </a:lnTo>
                  <a:lnTo>
                    <a:pt x="122" y="0"/>
                  </a:lnTo>
                  <a:lnTo>
                    <a:pt x="10" y="0"/>
                  </a:lnTo>
                  <a:lnTo>
                    <a:pt x="10" y="0"/>
                  </a:lnTo>
                  <a:lnTo>
                    <a:pt x="6" y="0"/>
                  </a:lnTo>
                  <a:lnTo>
                    <a:pt x="2" y="2"/>
                  </a:lnTo>
                  <a:lnTo>
                    <a:pt x="0" y="6"/>
                  </a:lnTo>
                  <a:lnTo>
                    <a:pt x="0" y="10"/>
                  </a:lnTo>
                  <a:lnTo>
                    <a:pt x="0" y="66"/>
                  </a:lnTo>
                  <a:lnTo>
                    <a:pt x="0" y="66"/>
                  </a:lnTo>
                  <a:lnTo>
                    <a:pt x="0" y="70"/>
                  </a:lnTo>
                  <a:lnTo>
                    <a:pt x="2" y="72"/>
                  </a:lnTo>
                  <a:lnTo>
                    <a:pt x="6" y="74"/>
                  </a:lnTo>
                  <a:lnTo>
                    <a:pt x="10" y="76"/>
                  </a:lnTo>
                  <a:lnTo>
                    <a:pt x="100" y="76"/>
                  </a:lnTo>
                  <a:lnTo>
                    <a:pt x="100" y="76"/>
                  </a:lnTo>
                  <a:lnTo>
                    <a:pt x="110" y="64"/>
                  </a:lnTo>
                  <a:lnTo>
                    <a:pt x="116" y="52"/>
                  </a:lnTo>
                  <a:lnTo>
                    <a:pt x="120" y="40"/>
                  </a:lnTo>
                  <a:lnTo>
                    <a:pt x="122" y="28"/>
                  </a:lnTo>
                  <a:lnTo>
                    <a:pt x="124" y="12"/>
                  </a:lnTo>
                  <a:lnTo>
                    <a:pt x="124" y="4"/>
                  </a:lnTo>
                  <a:lnTo>
                    <a:pt x="124" y="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51" algn="ctr" fontAlgn="ctr">
                <a:buClr>
                  <a:srgbClr val="990000"/>
                </a:buClr>
                <a:buSzPct val="60000"/>
                <a:defRPr/>
              </a:pPr>
              <a:endParaRPr lang="zh-CN" altLang="en-US" sz="1799" dirty="0">
                <a:solidFill>
                  <a:schemeClr val="bg1"/>
                </a:solidFill>
                <a:latin typeface="Calibri" panose="020F0502020204030204" pitchFamily="34" charset="0"/>
                <a:sym typeface="Arial"/>
              </a:endParaRPr>
            </a:p>
          </p:txBody>
        </p:sp>
        <p:sp>
          <p:nvSpPr>
            <p:cNvPr id="192" name="Freeform 41"/>
            <p:cNvSpPr>
              <a:spLocks/>
            </p:cNvSpPr>
            <p:nvPr/>
          </p:nvSpPr>
          <p:spPr bwMode="auto">
            <a:xfrm>
              <a:off x="-1610418" y="2713542"/>
              <a:ext cx="247525" cy="154196"/>
            </a:xfrm>
            <a:custGeom>
              <a:avLst/>
              <a:gdLst/>
              <a:ahLst/>
              <a:cxnLst>
                <a:cxn ang="0">
                  <a:pos x="10" y="76"/>
                </a:cxn>
                <a:cxn ang="0">
                  <a:pos x="112" y="76"/>
                </a:cxn>
                <a:cxn ang="0">
                  <a:pos x="112" y="76"/>
                </a:cxn>
                <a:cxn ang="0">
                  <a:pos x="116" y="74"/>
                </a:cxn>
                <a:cxn ang="0">
                  <a:pos x="120" y="72"/>
                </a:cxn>
                <a:cxn ang="0">
                  <a:pos x="122" y="70"/>
                </a:cxn>
                <a:cxn ang="0">
                  <a:pos x="122" y="66"/>
                </a:cxn>
                <a:cxn ang="0">
                  <a:pos x="122" y="10"/>
                </a:cxn>
                <a:cxn ang="0">
                  <a:pos x="122" y="10"/>
                </a:cxn>
                <a:cxn ang="0">
                  <a:pos x="122" y="6"/>
                </a:cxn>
                <a:cxn ang="0">
                  <a:pos x="120" y="2"/>
                </a:cxn>
                <a:cxn ang="0">
                  <a:pos x="116" y="0"/>
                </a:cxn>
                <a:cxn ang="0">
                  <a:pos x="112" y="0"/>
                </a:cxn>
                <a:cxn ang="0">
                  <a:pos x="10" y="0"/>
                </a:cxn>
                <a:cxn ang="0">
                  <a:pos x="10" y="0"/>
                </a:cxn>
                <a:cxn ang="0">
                  <a:pos x="6" y="0"/>
                </a:cxn>
                <a:cxn ang="0">
                  <a:pos x="2" y="2"/>
                </a:cxn>
                <a:cxn ang="0">
                  <a:pos x="0" y="6"/>
                </a:cxn>
                <a:cxn ang="0">
                  <a:pos x="0" y="10"/>
                </a:cxn>
                <a:cxn ang="0">
                  <a:pos x="0" y="66"/>
                </a:cxn>
                <a:cxn ang="0">
                  <a:pos x="0" y="66"/>
                </a:cxn>
                <a:cxn ang="0">
                  <a:pos x="0" y="70"/>
                </a:cxn>
                <a:cxn ang="0">
                  <a:pos x="2" y="72"/>
                </a:cxn>
                <a:cxn ang="0">
                  <a:pos x="6" y="74"/>
                </a:cxn>
                <a:cxn ang="0">
                  <a:pos x="10" y="76"/>
                </a:cxn>
                <a:cxn ang="0">
                  <a:pos x="10" y="76"/>
                </a:cxn>
              </a:cxnLst>
              <a:rect l="0" t="0" r="r" b="b"/>
              <a:pathLst>
                <a:path w="122" h="76">
                  <a:moveTo>
                    <a:pt x="10" y="76"/>
                  </a:moveTo>
                  <a:lnTo>
                    <a:pt x="112" y="76"/>
                  </a:lnTo>
                  <a:lnTo>
                    <a:pt x="112" y="76"/>
                  </a:lnTo>
                  <a:lnTo>
                    <a:pt x="116" y="74"/>
                  </a:lnTo>
                  <a:lnTo>
                    <a:pt x="120" y="72"/>
                  </a:lnTo>
                  <a:lnTo>
                    <a:pt x="122" y="70"/>
                  </a:lnTo>
                  <a:lnTo>
                    <a:pt x="122" y="66"/>
                  </a:lnTo>
                  <a:lnTo>
                    <a:pt x="122" y="10"/>
                  </a:lnTo>
                  <a:lnTo>
                    <a:pt x="122" y="10"/>
                  </a:lnTo>
                  <a:lnTo>
                    <a:pt x="122" y="6"/>
                  </a:lnTo>
                  <a:lnTo>
                    <a:pt x="120" y="2"/>
                  </a:lnTo>
                  <a:lnTo>
                    <a:pt x="116" y="0"/>
                  </a:lnTo>
                  <a:lnTo>
                    <a:pt x="112" y="0"/>
                  </a:lnTo>
                  <a:lnTo>
                    <a:pt x="10" y="0"/>
                  </a:lnTo>
                  <a:lnTo>
                    <a:pt x="10" y="0"/>
                  </a:lnTo>
                  <a:lnTo>
                    <a:pt x="6" y="0"/>
                  </a:lnTo>
                  <a:lnTo>
                    <a:pt x="2" y="2"/>
                  </a:lnTo>
                  <a:lnTo>
                    <a:pt x="0" y="6"/>
                  </a:lnTo>
                  <a:lnTo>
                    <a:pt x="0" y="10"/>
                  </a:lnTo>
                  <a:lnTo>
                    <a:pt x="0" y="66"/>
                  </a:lnTo>
                  <a:lnTo>
                    <a:pt x="0" y="66"/>
                  </a:lnTo>
                  <a:lnTo>
                    <a:pt x="0" y="70"/>
                  </a:lnTo>
                  <a:lnTo>
                    <a:pt x="2" y="72"/>
                  </a:lnTo>
                  <a:lnTo>
                    <a:pt x="6" y="74"/>
                  </a:lnTo>
                  <a:lnTo>
                    <a:pt x="10" y="76"/>
                  </a:lnTo>
                  <a:lnTo>
                    <a:pt x="10" y="7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51" algn="ctr" fontAlgn="ctr">
                <a:buClr>
                  <a:srgbClr val="990000"/>
                </a:buClr>
                <a:buSzPct val="60000"/>
                <a:defRPr/>
              </a:pPr>
              <a:endParaRPr lang="zh-CN" altLang="en-US" sz="1799" dirty="0">
                <a:solidFill>
                  <a:schemeClr val="bg1"/>
                </a:solidFill>
                <a:latin typeface="Calibri" panose="020F0502020204030204" pitchFamily="34" charset="0"/>
                <a:sym typeface="Arial"/>
              </a:endParaRPr>
            </a:p>
          </p:txBody>
        </p:sp>
        <p:sp>
          <p:nvSpPr>
            <p:cNvPr id="193" name="Freeform 42"/>
            <p:cNvSpPr>
              <a:spLocks/>
            </p:cNvSpPr>
            <p:nvPr/>
          </p:nvSpPr>
          <p:spPr bwMode="auto">
            <a:xfrm>
              <a:off x="-1618534" y="2900200"/>
              <a:ext cx="466645" cy="154196"/>
            </a:xfrm>
            <a:custGeom>
              <a:avLst/>
              <a:gdLst/>
              <a:ahLst/>
              <a:cxnLst>
                <a:cxn ang="0">
                  <a:pos x="186" y="76"/>
                </a:cxn>
                <a:cxn ang="0">
                  <a:pos x="186" y="76"/>
                </a:cxn>
                <a:cxn ang="0">
                  <a:pos x="188" y="66"/>
                </a:cxn>
                <a:cxn ang="0">
                  <a:pos x="192" y="56"/>
                </a:cxn>
                <a:cxn ang="0">
                  <a:pos x="202" y="36"/>
                </a:cxn>
                <a:cxn ang="0">
                  <a:pos x="214" y="18"/>
                </a:cxn>
                <a:cxn ang="0">
                  <a:pos x="230" y="0"/>
                </a:cxn>
                <a:cxn ang="0">
                  <a:pos x="230" y="0"/>
                </a:cxn>
                <a:cxn ang="0">
                  <a:pos x="226" y="0"/>
                </a:cxn>
                <a:cxn ang="0">
                  <a:pos x="10" y="0"/>
                </a:cxn>
                <a:cxn ang="0">
                  <a:pos x="10" y="0"/>
                </a:cxn>
                <a:cxn ang="0">
                  <a:pos x="6" y="0"/>
                </a:cxn>
                <a:cxn ang="0">
                  <a:pos x="4" y="4"/>
                </a:cxn>
                <a:cxn ang="0">
                  <a:pos x="2" y="6"/>
                </a:cxn>
                <a:cxn ang="0">
                  <a:pos x="0" y="10"/>
                </a:cxn>
                <a:cxn ang="0">
                  <a:pos x="0" y="66"/>
                </a:cxn>
                <a:cxn ang="0">
                  <a:pos x="0" y="66"/>
                </a:cxn>
                <a:cxn ang="0">
                  <a:pos x="2" y="70"/>
                </a:cxn>
                <a:cxn ang="0">
                  <a:pos x="4" y="74"/>
                </a:cxn>
                <a:cxn ang="0">
                  <a:pos x="6" y="76"/>
                </a:cxn>
                <a:cxn ang="0">
                  <a:pos x="10" y="76"/>
                </a:cxn>
                <a:cxn ang="0">
                  <a:pos x="186" y="76"/>
                </a:cxn>
              </a:cxnLst>
              <a:rect l="0" t="0" r="r" b="b"/>
              <a:pathLst>
                <a:path w="230" h="76">
                  <a:moveTo>
                    <a:pt x="186" y="76"/>
                  </a:moveTo>
                  <a:lnTo>
                    <a:pt x="186" y="76"/>
                  </a:lnTo>
                  <a:lnTo>
                    <a:pt x="188" y="66"/>
                  </a:lnTo>
                  <a:lnTo>
                    <a:pt x="192" y="56"/>
                  </a:lnTo>
                  <a:lnTo>
                    <a:pt x="202" y="36"/>
                  </a:lnTo>
                  <a:lnTo>
                    <a:pt x="214" y="18"/>
                  </a:lnTo>
                  <a:lnTo>
                    <a:pt x="230" y="0"/>
                  </a:lnTo>
                  <a:lnTo>
                    <a:pt x="230" y="0"/>
                  </a:lnTo>
                  <a:lnTo>
                    <a:pt x="226" y="0"/>
                  </a:lnTo>
                  <a:lnTo>
                    <a:pt x="10" y="0"/>
                  </a:lnTo>
                  <a:lnTo>
                    <a:pt x="10" y="0"/>
                  </a:lnTo>
                  <a:lnTo>
                    <a:pt x="6" y="0"/>
                  </a:lnTo>
                  <a:lnTo>
                    <a:pt x="4" y="4"/>
                  </a:lnTo>
                  <a:lnTo>
                    <a:pt x="2" y="6"/>
                  </a:lnTo>
                  <a:lnTo>
                    <a:pt x="0" y="10"/>
                  </a:lnTo>
                  <a:lnTo>
                    <a:pt x="0" y="66"/>
                  </a:lnTo>
                  <a:lnTo>
                    <a:pt x="0" y="66"/>
                  </a:lnTo>
                  <a:lnTo>
                    <a:pt x="2" y="70"/>
                  </a:lnTo>
                  <a:lnTo>
                    <a:pt x="4" y="74"/>
                  </a:lnTo>
                  <a:lnTo>
                    <a:pt x="6" y="76"/>
                  </a:lnTo>
                  <a:lnTo>
                    <a:pt x="10" y="76"/>
                  </a:lnTo>
                  <a:lnTo>
                    <a:pt x="186" y="7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51" algn="ctr" fontAlgn="ctr">
                <a:buClr>
                  <a:srgbClr val="990000"/>
                </a:buClr>
                <a:buSzPct val="60000"/>
                <a:defRPr/>
              </a:pPr>
              <a:endParaRPr lang="zh-CN" altLang="en-US" sz="1799" dirty="0">
                <a:solidFill>
                  <a:schemeClr val="bg1"/>
                </a:solidFill>
                <a:latin typeface="Calibri" panose="020F0502020204030204" pitchFamily="34" charset="0"/>
                <a:sym typeface="Arial"/>
              </a:endParaRPr>
            </a:p>
          </p:txBody>
        </p:sp>
        <p:sp>
          <p:nvSpPr>
            <p:cNvPr id="194" name="Freeform 43"/>
            <p:cNvSpPr>
              <a:spLocks/>
            </p:cNvSpPr>
            <p:nvPr/>
          </p:nvSpPr>
          <p:spPr bwMode="auto">
            <a:xfrm>
              <a:off x="-1610418" y="3086858"/>
              <a:ext cx="247525" cy="154196"/>
            </a:xfrm>
            <a:custGeom>
              <a:avLst/>
              <a:gdLst/>
              <a:ahLst/>
              <a:cxnLst>
                <a:cxn ang="0">
                  <a:pos x="112" y="0"/>
                </a:cxn>
                <a:cxn ang="0">
                  <a:pos x="10" y="0"/>
                </a:cxn>
                <a:cxn ang="0">
                  <a:pos x="10" y="0"/>
                </a:cxn>
                <a:cxn ang="0">
                  <a:pos x="6" y="2"/>
                </a:cxn>
                <a:cxn ang="0">
                  <a:pos x="2" y="4"/>
                </a:cxn>
                <a:cxn ang="0">
                  <a:pos x="0" y="6"/>
                </a:cxn>
                <a:cxn ang="0">
                  <a:pos x="0" y="12"/>
                </a:cxn>
                <a:cxn ang="0">
                  <a:pos x="0" y="66"/>
                </a:cxn>
                <a:cxn ang="0">
                  <a:pos x="0" y="66"/>
                </a:cxn>
                <a:cxn ang="0">
                  <a:pos x="0" y="70"/>
                </a:cxn>
                <a:cxn ang="0">
                  <a:pos x="2" y="74"/>
                </a:cxn>
                <a:cxn ang="0">
                  <a:pos x="6" y="76"/>
                </a:cxn>
                <a:cxn ang="0">
                  <a:pos x="10" y="76"/>
                </a:cxn>
                <a:cxn ang="0">
                  <a:pos x="112" y="76"/>
                </a:cxn>
                <a:cxn ang="0">
                  <a:pos x="112" y="76"/>
                </a:cxn>
                <a:cxn ang="0">
                  <a:pos x="116" y="76"/>
                </a:cxn>
                <a:cxn ang="0">
                  <a:pos x="120" y="74"/>
                </a:cxn>
                <a:cxn ang="0">
                  <a:pos x="122" y="70"/>
                </a:cxn>
                <a:cxn ang="0">
                  <a:pos x="122" y="66"/>
                </a:cxn>
                <a:cxn ang="0">
                  <a:pos x="122" y="12"/>
                </a:cxn>
                <a:cxn ang="0">
                  <a:pos x="122" y="12"/>
                </a:cxn>
                <a:cxn ang="0">
                  <a:pos x="122" y="6"/>
                </a:cxn>
                <a:cxn ang="0">
                  <a:pos x="120" y="4"/>
                </a:cxn>
                <a:cxn ang="0">
                  <a:pos x="116" y="2"/>
                </a:cxn>
                <a:cxn ang="0">
                  <a:pos x="112" y="0"/>
                </a:cxn>
                <a:cxn ang="0">
                  <a:pos x="112" y="0"/>
                </a:cxn>
              </a:cxnLst>
              <a:rect l="0" t="0" r="r" b="b"/>
              <a:pathLst>
                <a:path w="122" h="76">
                  <a:moveTo>
                    <a:pt x="112" y="0"/>
                  </a:moveTo>
                  <a:lnTo>
                    <a:pt x="10" y="0"/>
                  </a:lnTo>
                  <a:lnTo>
                    <a:pt x="10" y="0"/>
                  </a:lnTo>
                  <a:lnTo>
                    <a:pt x="6" y="2"/>
                  </a:lnTo>
                  <a:lnTo>
                    <a:pt x="2" y="4"/>
                  </a:lnTo>
                  <a:lnTo>
                    <a:pt x="0" y="6"/>
                  </a:lnTo>
                  <a:lnTo>
                    <a:pt x="0" y="12"/>
                  </a:lnTo>
                  <a:lnTo>
                    <a:pt x="0" y="66"/>
                  </a:lnTo>
                  <a:lnTo>
                    <a:pt x="0" y="66"/>
                  </a:lnTo>
                  <a:lnTo>
                    <a:pt x="0" y="70"/>
                  </a:lnTo>
                  <a:lnTo>
                    <a:pt x="2" y="74"/>
                  </a:lnTo>
                  <a:lnTo>
                    <a:pt x="6" y="76"/>
                  </a:lnTo>
                  <a:lnTo>
                    <a:pt x="10" y="76"/>
                  </a:lnTo>
                  <a:lnTo>
                    <a:pt x="112" y="76"/>
                  </a:lnTo>
                  <a:lnTo>
                    <a:pt x="112" y="76"/>
                  </a:lnTo>
                  <a:lnTo>
                    <a:pt x="116" y="76"/>
                  </a:lnTo>
                  <a:lnTo>
                    <a:pt x="120" y="74"/>
                  </a:lnTo>
                  <a:lnTo>
                    <a:pt x="122" y="70"/>
                  </a:lnTo>
                  <a:lnTo>
                    <a:pt x="122" y="66"/>
                  </a:lnTo>
                  <a:lnTo>
                    <a:pt x="122" y="12"/>
                  </a:lnTo>
                  <a:lnTo>
                    <a:pt x="122" y="12"/>
                  </a:lnTo>
                  <a:lnTo>
                    <a:pt x="122" y="6"/>
                  </a:lnTo>
                  <a:lnTo>
                    <a:pt x="120" y="4"/>
                  </a:lnTo>
                  <a:lnTo>
                    <a:pt x="116" y="2"/>
                  </a:lnTo>
                  <a:lnTo>
                    <a:pt x="112" y="0"/>
                  </a:lnTo>
                  <a:lnTo>
                    <a:pt x="112"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51" algn="ctr" fontAlgn="ctr">
                <a:buClr>
                  <a:srgbClr val="990000"/>
                </a:buClr>
                <a:buSzPct val="60000"/>
                <a:defRPr/>
              </a:pPr>
              <a:endParaRPr lang="zh-CN" altLang="en-US" sz="1799" dirty="0">
                <a:solidFill>
                  <a:schemeClr val="bg1"/>
                </a:solidFill>
                <a:latin typeface="Calibri" panose="020F0502020204030204" pitchFamily="34" charset="0"/>
                <a:sym typeface="Arial"/>
              </a:endParaRPr>
            </a:p>
          </p:txBody>
        </p:sp>
        <p:sp>
          <p:nvSpPr>
            <p:cNvPr id="195" name="Freeform 44"/>
            <p:cNvSpPr>
              <a:spLocks/>
            </p:cNvSpPr>
            <p:nvPr/>
          </p:nvSpPr>
          <p:spPr bwMode="auto">
            <a:xfrm>
              <a:off x="-1326373" y="3086858"/>
              <a:ext cx="182600" cy="154196"/>
            </a:xfrm>
            <a:custGeom>
              <a:avLst/>
              <a:gdLst/>
              <a:ahLst/>
              <a:cxnLst>
                <a:cxn ang="0">
                  <a:pos x="44" y="16"/>
                </a:cxn>
                <a:cxn ang="0">
                  <a:pos x="44" y="16"/>
                </a:cxn>
                <a:cxn ang="0">
                  <a:pos x="40" y="0"/>
                </a:cxn>
                <a:cxn ang="0">
                  <a:pos x="10" y="0"/>
                </a:cxn>
                <a:cxn ang="0">
                  <a:pos x="10" y="0"/>
                </a:cxn>
                <a:cxn ang="0">
                  <a:pos x="6" y="2"/>
                </a:cxn>
                <a:cxn ang="0">
                  <a:pos x="2" y="4"/>
                </a:cxn>
                <a:cxn ang="0">
                  <a:pos x="0" y="6"/>
                </a:cxn>
                <a:cxn ang="0">
                  <a:pos x="0" y="12"/>
                </a:cxn>
                <a:cxn ang="0">
                  <a:pos x="0" y="66"/>
                </a:cxn>
                <a:cxn ang="0">
                  <a:pos x="0" y="66"/>
                </a:cxn>
                <a:cxn ang="0">
                  <a:pos x="0" y="70"/>
                </a:cxn>
                <a:cxn ang="0">
                  <a:pos x="2" y="74"/>
                </a:cxn>
                <a:cxn ang="0">
                  <a:pos x="6" y="76"/>
                </a:cxn>
                <a:cxn ang="0">
                  <a:pos x="10" y="76"/>
                </a:cxn>
                <a:cxn ang="0">
                  <a:pos x="90" y="76"/>
                </a:cxn>
                <a:cxn ang="0">
                  <a:pos x="90" y="76"/>
                </a:cxn>
                <a:cxn ang="0">
                  <a:pos x="74" y="66"/>
                </a:cxn>
                <a:cxn ang="0">
                  <a:pos x="62" y="50"/>
                </a:cxn>
                <a:cxn ang="0">
                  <a:pos x="50" y="34"/>
                </a:cxn>
                <a:cxn ang="0">
                  <a:pos x="44" y="16"/>
                </a:cxn>
                <a:cxn ang="0">
                  <a:pos x="44" y="16"/>
                </a:cxn>
              </a:cxnLst>
              <a:rect l="0" t="0" r="r" b="b"/>
              <a:pathLst>
                <a:path w="90" h="76">
                  <a:moveTo>
                    <a:pt x="44" y="16"/>
                  </a:moveTo>
                  <a:lnTo>
                    <a:pt x="44" y="16"/>
                  </a:lnTo>
                  <a:lnTo>
                    <a:pt x="40" y="0"/>
                  </a:lnTo>
                  <a:lnTo>
                    <a:pt x="10" y="0"/>
                  </a:lnTo>
                  <a:lnTo>
                    <a:pt x="10" y="0"/>
                  </a:lnTo>
                  <a:lnTo>
                    <a:pt x="6" y="2"/>
                  </a:lnTo>
                  <a:lnTo>
                    <a:pt x="2" y="4"/>
                  </a:lnTo>
                  <a:lnTo>
                    <a:pt x="0" y="6"/>
                  </a:lnTo>
                  <a:lnTo>
                    <a:pt x="0" y="12"/>
                  </a:lnTo>
                  <a:lnTo>
                    <a:pt x="0" y="66"/>
                  </a:lnTo>
                  <a:lnTo>
                    <a:pt x="0" y="66"/>
                  </a:lnTo>
                  <a:lnTo>
                    <a:pt x="0" y="70"/>
                  </a:lnTo>
                  <a:lnTo>
                    <a:pt x="2" y="74"/>
                  </a:lnTo>
                  <a:lnTo>
                    <a:pt x="6" y="76"/>
                  </a:lnTo>
                  <a:lnTo>
                    <a:pt x="10" y="76"/>
                  </a:lnTo>
                  <a:lnTo>
                    <a:pt x="90" y="76"/>
                  </a:lnTo>
                  <a:lnTo>
                    <a:pt x="90" y="76"/>
                  </a:lnTo>
                  <a:lnTo>
                    <a:pt x="74" y="66"/>
                  </a:lnTo>
                  <a:lnTo>
                    <a:pt x="62" y="50"/>
                  </a:lnTo>
                  <a:lnTo>
                    <a:pt x="50" y="34"/>
                  </a:lnTo>
                  <a:lnTo>
                    <a:pt x="44" y="16"/>
                  </a:lnTo>
                  <a:lnTo>
                    <a:pt x="44" y="1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51" algn="ctr" fontAlgn="ctr">
                <a:buClr>
                  <a:srgbClr val="990000"/>
                </a:buClr>
                <a:buSzPct val="60000"/>
                <a:defRPr/>
              </a:pPr>
              <a:endParaRPr lang="zh-CN" altLang="en-US" sz="1799" dirty="0">
                <a:solidFill>
                  <a:schemeClr val="bg1"/>
                </a:solidFill>
                <a:latin typeface="Calibri" panose="020F0502020204030204" pitchFamily="34" charset="0"/>
                <a:sym typeface="Arial"/>
              </a:endParaRPr>
            </a:p>
          </p:txBody>
        </p:sp>
        <p:sp>
          <p:nvSpPr>
            <p:cNvPr id="196" name="Freeform 45"/>
            <p:cNvSpPr>
              <a:spLocks/>
            </p:cNvSpPr>
            <p:nvPr/>
          </p:nvSpPr>
          <p:spPr bwMode="auto">
            <a:xfrm>
              <a:off x="-1216813" y="2721658"/>
              <a:ext cx="393605" cy="519397"/>
            </a:xfrm>
            <a:custGeom>
              <a:avLst/>
              <a:gdLst/>
              <a:ahLst/>
              <a:cxnLst>
                <a:cxn ang="0">
                  <a:pos x="194" y="144"/>
                </a:cxn>
                <a:cxn ang="0">
                  <a:pos x="188" y="112"/>
                </a:cxn>
                <a:cxn ang="0">
                  <a:pos x="174" y="82"/>
                </a:cxn>
                <a:cxn ang="0">
                  <a:pos x="156" y="58"/>
                </a:cxn>
                <a:cxn ang="0">
                  <a:pos x="116" y="22"/>
                </a:cxn>
                <a:cxn ang="0">
                  <a:pos x="84" y="0"/>
                </a:cxn>
                <a:cxn ang="0">
                  <a:pos x="84" y="8"/>
                </a:cxn>
                <a:cxn ang="0">
                  <a:pos x="78" y="42"/>
                </a:cxn>
                <a:cxn ang="0">
                  <a:pos x="64" y="72"/>
                </a:cxn>
                <a:cxn ang="0">
                  <a:pos x="52" y="86"/>
                </a:cxn>
                <a:cxn ang="0">
                  <a:pos x="20" y="122"/>
                </a:cxn>
                <a:cxn ang="0">
                  <a:pos x="6" y="150"/>
                </a:cxn>
                <a:cxn ang="0">
                  <a:pos x="0" y="178"/>
                </a:cxn>
                <a:cxn ang="0">
                  <a:pos x="2" y="192"/>
                </a:cxn>
                <a:cxn ang="0">
                  <a:pos x="12" y="214"/>
                </a:cxn>
                <a:cxn ang="0">
                  <a:pos x="28" y="234"/>
                </a:cxn>
                <a:cxn ang="0">
                  <a:pos x="46" y="248"/>
                </a:cxn>
                <a:cxn ang="0">
                  <a:pos x="70" y="256"/>
                </a:cxn>
                <a:cxn ang="0">
                  <a:pos x="64" y="240"/>
                </a:cxn>
                <a:cxn ang="0">
                  <a:pos x="64" y="214"/>
                </a:cxn>
                <a:cxn ang="0">
                  <a:pos x="72" y="196"/>
                </a:cxn>
                <a:cxn ang="0">
                  <a:pos x="78" y="186"/>
                </a:cxn>
                <a:cxn ang="0">
                  <a:pos x="104" y="146"/>
                </a:cxn>
                <a:cxn ang="0">
                  <a:pos x="112" y="128"/>
                </a:cxn>
                <a:cxn ang="0">
                  <a:pos x="120" y="140"/>
                </a:cxn>
                <a:cxn ang="0">
                  <a:pos x="132" y="168"/>
                </a:cxn>
                <a:cxn ang="0">
                  <a:pos x="140" y="206"/>
                </a:cxn>
                <a:cxn ang="0">
                  <a:pos x="138" y="228"/>
                </a:cxn>
                <a:cxn ang="0">
                  <a:pos x="130" y="248"/>
                </a:cxn>
                <a:cxn ang="0">
                  <a:pos x="142" y="242"/>
                </a:cxn>
                <a:cxn ang="0">
                  <a:pos x="166" y="224"/>
                </a:cxn>
                <a:cxn ang="0">
                  <a:pos x="186" y="200"/>
                </a:cxn>
                <a:cxn ang="0">
                  <a:pos x="194" y="166"/>
                </a:cxn>
                <a:cxn ang="0">
                  <a:pos x="194" y="144"/>
                </a:cxn>
              </a:cxnLst>
              <a:rect l="0" t="0" r="r" b="b"/>
              <a:pathLst>
                <a:path w="194" h="256">
                  <a:moveTo>
                    <a:pt x="194" y="144"/>
                  </a:moveTo>
                  <a:lnTo>
                    <a:pt x="194" y="144"/>
                  </a:lnTo>
                  <a:lnTo>
                    <a:pt x="192" y="128"/>
                  </a:lnTo>
                  <a:lnTo>
                    <a:pt x="188" y="112"/>
                  </a:lnTo>
                  <a:lnTo>
                    <a:pt x="180" y="96"/>
                  </a:lnTo>
                  <a:lnTo>
                    <a:pt x="174" y="82"/>
                  </a:lnTo>
                  <a:lnTo>
                    <a:pt x="164" y="70"/>
                  </a:lnTo>
                  <a:lnTo>
                    <a:pt x="156" y="58"/>
                  </a:lnTo>
                  <a:lnTo>
                    <a:pt x="136" y="38"/>
                  </a:lnTo>
                  <a:lnTo>
                    <a:pt x="116" y="22"/>
                  </a:lnTo>
                  <a:lnTo>
                    <a:pt x="100" y="10"/>
                  </a:lnTo>
                  <a:lnTo>
                    <a:pt x="84" y="0"/>
                  </a:lnTo>
                  <a:lnTo>
                    <a:pt x="84" y="0"/>
                  </a:lnTo>
                  <a:lnTo>
                    <a:pt x="84" y="8"/>
                  </a:lnTo>
                  <a:lnTo>
                    <a:pt x="82" y="30"/>
                  </a:lnTo>
                  <a:lnTo>
                    <a:pt x="78" y="42"/>
                  </a:lnTo>
                  <a:lnTo>
                    <a:pt x="72" y="58"/>
                  </a:lnTo>
                  <a:lnTo>
                    <a:pt x="64" y="72"/>
                  </a:lnTo>
                  <a:lnTo>
                    <a:pt x="52" y="86"/>
                  </a:lnTo>
                  <a:lnTo>
                    <a:pt x="52" y="86"/>
                  </a:lnTo>
                  <a:lnTo>
                    <a:pt x="30" y="110"/>
                  </a:lnTo>
                  <a:lnTo>
                    <a:pt x="20" y="122"/>
                  </a:lnTo>
                  <a:lnTo>
                    <a:pt x="12" y="136"/>
                  </a:lnTo>
                  <a:lnTo>
                    <a:pt x="6" y="150"/>
                  </a:lnTo>
                  <a:lnTo>
                    <a:pt x="2" y="164"/>
                  </a:lnTo>
                  <a:lnTo>
                    <a:pt x="0" y="178"/>
                  </a:lnTo>
                  <a:lnTo>
                    <a:pt x="2" y="192"/>
                  </a:lnTo>
                  <a:lnTo>
                    <a:pt x="2" y="192"/>
                  </a:lnTo>
                  <a:lnTo>
                    <a:pt x="8" y="204"/>
                  </a:lnTo>
                  <a:lnTo>
                    <a:pt x="12" y="214"/>
                  </a:lnTo>
                  <a:lnTo>
                    <a:pt x="20" y="224"/>
                  </a:lnTo>
                  <a:lnTo>
                    <a:pt x="28" y="234"/>
                  </a:lnTo>
                  <a:lnTo>
                    <a:pt x="36" y="242"/>
                  </a:lnTo>
                  <a:lnTo>
                    <a:pt x="46" y="248"/>
                  </a:lnTo>
                  <a:lnTo>
                    <a:pt x="58" y="254"/>
                  </a:lnTo>
                  <a:lnTo>
                    <a:pt x="70" y="256"/>
                  </a:lnTo>
                  <a:lnTo>
                    <a:pt x="70" y="256"/>
                  </a:lnTo>
                  <a:lnTo>
                    <a:pt x="64" y="240"/>
                  </a:lnTo>
                  <a:lnTo>
                    <a:pt x="64" y="222"/>
                  </a:lnTo>
                  <a:lnTo>
                    <a:pt x="64" y="214"/>
                  </a:lnTo>
                  <a:lnTo>
                    <a:pt x="66" y="204"/>
                  </a:lnTo>
                  <a:lnTo>
                    <a:pt x="72" y="196"/>
                  </a:lnTo>
                  <a:lnTo>
                    <a:pt x="78" y="186"/>
                  </a:lnTo>
                  <a:lnTo>
                    <a:pt x="78" y="186"/>
                  </a:lnTo>
                  <a:lnTo>
                    <a:pt x="94" y="164"/>
                  </a:lnTo>
                  <a:lnTo>
                    <a:pt x="104" y="146"/>
                  </a:lnTo>
                  <a:lnTo>
                    <a:pt x="112" y="128"/>
                  </a:lnTo>
                  <a:lnTo>
                    <a:pt x="112" y="128"/>
                  </a:lnTo>
                  <a:lnTo>
                    <a:pt x="114" y="130"/>
                  </a:lnTo>
                  <a:lnTo>
                    <a:pt x="120" y="140"/>
                  </a:lnTo>
                  <a:lnTo>
                    <a:pt x="126" y="152"/>
                  </a:lnTo>
                  <a:lnTo>
                    <a:pt x="132" y="168"/>
                  </a:lnTo>
                  <a:lnTo>
                    <a:pt x="138" y="186"/>
                  </a:lnTo>
                  <a:lnTo>
                    <a:pt x="140" y="206"/>
                  </a:lnTo>
                  <a:lnTo>
                    <a:pt x="138" y="218"/>
                  </a:lnTo>
                  <a:lnTo>
                    <a:pt x="138" y="228"/>
                  </a:lnTo>
                  <a:lnTo>
                    <a:pt x="134" y="238"/>
                  </a:lnTo>
                  <a:lnTo>
                    <a:pt x="130" y="248"/>
                  </a:lnTo>
                  <a:lnTo>
                    <a:pt x="130" y="248"/>
                  </a:lnTo>
                  <a:lnTo>
                    <a:pt x="142" y="242"/>
                  </a:lnTo>
                  <a:lnTo>
                    <a:pt x="154" y="234"/>
                  </a:lnTo>
                  <a:lnTo>
                    <a:pt x="166" y="224"/>
                  </a:lnTo>
                  <a:lnTo>
                    <a:pt x="176" y="212"/>
                  </a:lnTo>
                  <a:lnTo>
                    <a:pt x="186" y="200"/>
                  </a:lnTo>
                  <a:lnTo>
                    <a:pt x="192" y="184"/>
                  </a:lnTo>
                  <a:lnTo>
                    <a:pt x="194" y="166"/>
                  </a:lnTo>
                  <a:lnTo>
                    <a:pt x="194" y="144"/>
                  </a:lnTo>
                  <a:lnTo>
                    <a:pt x="194" y="14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51" algn="ctr" fontAlgn="ctr">
                <a:buClr>
                  <a:srgbClr val="990000"/>
                </a:buClr>
                <a:buSzPct val="60000"/>
                <a:defRPr/>
              </a:pPr>
              <a:endParaRPr lang="zh-CN" altLang="en-US" sz="1799" dirty="0">
                <a:solidFill>
                  <a:schemeClr val="bg1"/>
                </a:solidFill>
                <a:latin typeface="Calibri" panose="020F0502020204030204" pitchFamily="34" charset="0"/>
                <a:sym typeface="Arial"/>
              </a:endParaRPr>
            </a:p>
          </p:txBody>
        </p:sp>
      </p:grpSp>
      <p:grpSp>
        <p:nvGrpSpPr>
          <p:cNvPr id="197" name="组合 594"/>
          <p:cNvGrpSpPr/>
          <p:nvPr/>
        </p:nvGrpSpPr>
        <p:grpSpPr>
          <a:xfrm>
            <a:off x="2300671" y="4865702"/>
            <a:ext cx="310480" cy="321665"/>
            <a:chOff x="9912450" y="3467156"/>
            <a:chExt cx="422263" cy="415926"/>
          </a:xfrm>
          <a:solidFill>
            <a:schemeClr val="tx1"/>
          </a:solidFill>
        </p:grpSpPr>
        <p:sp>
          <p:nvSpPr>
            <p:cNvPr id="198" name="Freeform 510"/>
            <p:cNvSpPr>
              <a:spLocks noEditPoints="1"/>
            </p:cNvSpPr>
            <p:nvPr/>
          </p:nvSpPr>
          <p:spPr bwMode="auto">
            <a:xfrm>
              <a:off x="9912450" y="3740206"/>
              <a:ext cx="415930" cy="142876"/>
            </a:xfrm>
            <a:custGeom>
              <a:avLst/>
              <a:gdLst/>
              <a:ahLst/>
              <a:cxnLst>
                <a:cxn ang="0">
                  <a:pos x="2" y="78"/>
                </a:cxn>
                <a:cxn ang="0">
                  <a:pos x="18" y="90"/>
                </a:cxn>
                <a:cxn ang="0">
                  <a:pos x="252" y="88"/>
                </a:cxn>
                <a:cxn ang="0">
                  <a:pos x="262" y="72"/>
                </a:cxn>
                <a:cxn ang="0">
                  <a:pos x="260" y="10"/>
                </a:cxn>
                <a:cxn ang="0">
                  <a:pos x="244" y="0"/>
                </a:cxn>
                <a:cxn ang="0">
                  <a:pos x="10" y="2"/>
                </a:cxn>
                <a:cxn ang="0">
                  <a:pos x="0" y="18"/>
                </a:cxn>
                <a:cxn ang="0">
                  <a:pos x="74" y="72"/>
                </a:cxn>
                <a:cxn ang="0">
                  <a:pos x="76" y="14"/>
                </a:cxn>
                <a:cxn ang="0">
                  <a:pos x="86" y="10"/>
                </a:cxn>
                <a:cxn ang="0">
                  <a:pos x="96" y="12"/>
                </a:cxn>
                <a:cxn ang="0">
                  <a:pos x="98" y="72"/>
                </a:cxn>
                <a:cxn ang="0">
                  <a:pos x="96" y="78"/>
                </a:cxn>
                <a:cxn ang="0">
                  <a:pos x="86" y="80"/>
                </a:cxn>
                <a:cxn ang="0">
                  <a:pos x="76" y="74"/>
                </a:cxn>
                <a:cxn ang="0">
                  <a:pos x="136" y="60"/>
                </a:cxn>
                <a:cxn ang="0">
                  <a:pos x="124" y="56"/>
                </a:cxn>
                <a:cxn ang="0">
                  <a:pos x="120" y="44"/>
                </a:cxn>
                <a:cxn ang="0">
                  <a:pos x="130" y="30"/>
                </a:cxn>
                <a:cxn ang="0">
                  <a:pos x="142" y="30"/>
                </a:cxn>
                <a:cxn ang="0">
                  <a:pos x="152" y="44"/>
                </a:cxn>
                <a:cxn ang="0">
                  <a:pos x="148" y="56"/>
                </a:cxn>
                <a:cxn ang="0">
                  <a:pos x="136" y="60"/>
                </a:cxn>
                <a:cxn ang="0">
                  <a:pos x="176" y="38"/>
                </a:cxn>
                <a:cxn ang="0">
                  <a:pos x="190" y="28"/>
                </a:cxn>
                <a:cxn ang="0">
                  <a:pos x="202" y="34"/>
                </a:cxn>
                <a:cxn ang="0">
                  <a:pos x="206" y="44"/>
                </a:cxn>
                <a:cxn ang="0">
                  <a:pos x="196" y="60"/>
                </a:cxn>
                <a:cxn ang="0">
                  <a:pos x="184" y="60"/>
                </a:cxn>
                <a:cxn ang="0">
                  <a:pos x="174" y="44"/>
                </a:cxn>
                <a:cxn ang="0">
                  <a:pos x="220" y="44"/>
                </a:cxn>
                <a:cxn ang="0">
                  <a:pos x="230" y="30"/>
                </a:cxn>
                <a:cxn ang="0">
                  <a:pos x="242" y="30"/>
                </a:cxn>
                <a:cxn ang="0">
                  <a:pos x="252" y="44"/>
                </a:cxn>
                <a:cxn ang="0">
                  <a:pos x="248" y="56"/>
                </a:cxn>
                <a:cxn ang="0">
                  <a:pos x="236" y="60"/>
                </a:cxn>
                <a:cxn ang="0">
                  <a:pos x="222" y="50"/>
                </a:cxn>
                <a:cxn ang="0">
                  <a:pos x="54" y="44"/>
                </a:cxn>
                <a:cxn ang="0">
                  <a:pos x="48" y="56"/>
                </a:cxn>
                <a:cxn ang="0">
                  <a:pos x="38" y="60"/>
                </a:cxn>
                <a:cxn ang="0">
                  <a:pos x="22" y="50"/>
                </a:cxn>
                <a:cxn ang="0">
                  <a:pos x="22" y="38"/>
                </a:cxn>
                <a:cxn ang="0">
                  <a:pos x="38" y="28"/>
                </a:cxn>
                <a:cxn ang="0">
                  <a:pos x="48" y="34"/>
                </a:cxn>
                <a:cxn ang="0">
                  <a:pos x="54" y="44"/>
                </a:cxn>
              </a:cxnLst>
              <a:rect l="0" t="0" r="r" b="b"/>
              <a:pathLst>
                <a:path w="262" h="90">
                  <a:moveTo>
                    <a:pt x="0" y="72"/>
                  </a:moveTo>
                  <a:lnTo>
                    <a:pt x="0" y="72"/>
                  </a:lnTo>
                  <a:lnTo>
                    <a:pt x="2" y="78"/>
                  </a:lnTo>
                  <a:lnTo>
                    <a:pt x="6" y="84"/>
                  </a:lnTo>
                  <a:lnTo>
                    <a:pt x="10" y="88"/>
                  </a:lnTo>
                  <a:lnTo>
                    <a:pt x="18" y="90"/>
                  </a:lnTo>
                  <a:lnTo>
                    <a:pt x="244" y="90"/>
                  </a:lnTo>
                  <a:lnTo>
                    <a:pt x="244" y="90"/>
                  </a:lnTo>
                  <a:lnTo>
                    <a:pt x="252" y="88"/>
                  </a:lnTo>
                  <a:lnTo>
                    <a:pt x="256" y="84"/>
                  </a:lnTo>
                  <a:lnTo>
                    <a:pt x="260" y="78"/>
                  </a:lnTo>
                  <a:lnTo>
                    <a:pt x="262" y="72"/>
                  </a:lnTo>
                  <a:lnTo>
                    <a:pt x="262" y="18"/>
                  </a:lnTo>
                  <a:lnTo>
                    <a:pt x="262" y="18"/>
                  </a:lnTo>
                  <a:lnTo>
                    <a:pt x="260" y="10"/>
                  </a:lnTo>
                  <a:lnTo>
                    <a:pt x="256" y="6"/>
                  </a:lnTo>
                  <a:lnTo>
                    <a:pt x="252" y="2"/>
                  </a:lnTo>
                  <a:lnTo>
                    <a:pt x="244" y="0"/>
                  </a:lnTo>
                  <a:lnTo>
                    <a:pt x="18" y="0"/>
                  </a:lnTo>
                  <a:lnTo>
                    <a:pt x="18" y="0"/>
                  </a:lnTo>
                  <a:lnTo>
                    <a:pt x="10" y="2"/>
                  </a:lnTo>
                  <a:lnTo>
                    <a:pt x="6" y="6"/>
                  </a:lnTo>
                  <a:lnTo>
                    <a:pt x="2" y="10"/>
                  </a:lnTo>
                  <a:lnTo>
                    <a:pt x="0" y="18"/>
                  </a:lnTo>
                  <a:lnTo>
                    <a:pt x="0" y="72"/>
                  </a:lnTo>
                  <a:lnTo>
                    <a:pt x="0" y="72"/>
                  </a:lnTo>
                  <a:close/>
                  <a:moveTo>
                    <a:pt x="74" y="72"/>
                  </a:moveTo>
                  <a:lnTo>
                    <a:pt x="74" y="18"/>
                  </a:lnTo>
                  <a:lnTo>
                    <a:pt x="74" y="18"/>
                  </a:lnTo>
                  <a:lnTo>
                    <a:pt x="76" y="14"/>
                  </a:lnTo>
                  <a:lnTo>
                    <a:pt x="78" y="12"/>
                  </a:lnTo>
                  <a:lnTo>
                    <a:pt x="82" y="10"/>
                  </a:lnTo>
                  <a:lnTo>
                    <a:pt x="86" y="10"/>
                  </a:lnTo>
                  <a:lnTo>
                    <a:pt x="86" y="10"/>
                  </a:lnTo>
                  <a:lnTo>
                    <a:pt x="92" y="10"/>
                  </a:lnTo>
                  <a:lnTo>
                    <a:pt x="96" y="12"/>
                  </a:lnTo>
                  <a:lnTo>
                    <a:pt x="98" y="14"/>
                  </a:lnTo>
                  <a:lnTo>
                    <a:pt x="98" y="18"/>
                  </a:lnTo>
                  <a:lnTo>
                    <a:pt x="98" y="72"/>
                  </a:lnTo>
                  <a:lnTo>
                    <a:pt x="98" y="72"/>
                  </a:lnTo>
                  <a:lnTo>
                    <a:pt x="98" y="74"/>
                  </a:lnTo>
                  <a:lnTo>
                    <a:pt x="96" y="78"/>
                  </a:lnTo>
                  <a:lnTo>
                    <a:pt x="92" y="78"/>
                  </a:lnTo>
                  <a:lnTo>
                    <a:pt x="86" y="80"/>
                  </a:lnTo>
                  <a:lnTo>
                    <a:pt x="86" y="80"/>
                  </a:lnTo>
                  <a:lnTo>
                    <a:pt x="82" y="78"/>
                  </a:lnTo>
                  <a:lnTo>
                    <a:pt x="78" y="78"/>
                  </a:lnTo>
                  <a:lnTo>
                    <a:pt x="76" y="74"/>
                  </a:lnTo>
                  <a:lnTo>
                    <a:pt x="74" y="72"/>
                  </a:lnTo>
                  <a:lnTo>
                    <a:pt x="74" y="72"/>
                  </a:lnTo>
                  <a:close/>
                  <a:moveTo>
                    <a:pt x="136" y="60"/>
                  </a:moveTo>
                  <a:lnTo>
                    <a:pt x="136" y="60"/>
                  </a:lnTo>
                  <a:lnTo>
                    <a:pt x="130" y="60"/>
                  </a:lnTo>
                  <a:lnTo>
                    <a:pt x="124" y="56"/>
                  </a:lnTo>
                  <a:lnTo>
                    <a:pt x="122" y="50"/>
                  </a:lnTo>
                  <a:lnTo>
                    <a:pt x="120" y="44"/>
                  </a:lnTo>
                  <a:lnTo>
                    <a:pt x="120" y="44"/>
                  </a:lnTo>
                  <a:lnTo>
                    <a:pt x="122" y="38"/>
                  </a:lnTo>
                  <a:lnTo>
                    <a:pt x="124" y="34"/>
                  </a:lnTo>
                  <a:lnTo>
                    <a:pt x="130" y="30"/>
                  </a:lnTo>
                  <a:lnTo>
                    <a:pt x="136" y="28"/>
                  </a:lnTo>
                  <a:lnTo>
                    <a:pt x="136" y="28"/>
                  </a:lnTo>
                  <a:lnTo>
                    <a:pt x="142" y="30"/>
                  </a:lnTo>
                  <a:lnTo>
                    <a:pt x="148" y="34"/>
                  </a:lnTo>
                  <a:lnTo>
                    <a:pt x="150" y="38"/>
                  </a:lnTo>
                  <a:lnTo>
                    <a:pt x="152" y="44"/>
                  </a:lnTo>
                  <a:lnTo>
                    <a:pt x="152" y="44"/>
                  </a:lnTo>
                  <a:lnTo>
                    <a:pt x="150" y="50"/>
                  </a:lnTo>
                  <a:lnTo>
                    <a:pt x="148" y="56"/>
                  </a:lnTo>
                  <a:lnTo>
                    <a:pt x="142" y="60"/>
                  </a:lnTo>
                  <a:lnTo>
                    <a:pt x="136" y="60"/>
                  </a:lnTo>
                  <a:lnTo>
                    <a:pt x="136" y="60"/>
                  </a:lnTo>
                  <a:close/>
                  <a:moveTo>
                    <a:pt x="174" y="44"/>
                  </a:moveTo>
                  <a:lnTo>
                    <a:pt x="174" y="44"/>
                  </a:lnTo>
                  <a:lnTo>
                    <a:pt x="176" y="38"/>
                  </a:lnTo>
                  <a:lnTo>
                    <a:pt x="178" y="34"/>
                  </a:lnTo>
                  <a:lnTo>
                    <a:pt x="184" y="30"/>
                  </a:lnTo>
                  <a:lnTo>
                    <a:pt x="190" y="28"/>
                  </a:lnTo>
                  <a:lnTo>
                    <a:pt x="190" y="28"/>
                  </a:lnTo>
                  <a:lnTo>
                    <a:pt x="196" y="30"/>
                  </a:lnTo>
                  <a:lnTo>
                    <a:pt x="202" y="34"/>
                  </a:lnTo>
                  <a:lnTo>
                    <a:pt x="204" y="38"/>
                  </a:lnTo>
                  <a:lnTo>
                    <a:pt x="206" y="44"/>
                  </a:lnTo>
                  <a:lnTo>
                    <a:pt x="206" y="44"/>
                  </a:lnTo>
                  <a:lnTo>
                    <a:pt x="204" y="50"/>
                  </a:lnTo>
                  <a:lnTo>
                    <a:pt x="202" y="56"/>
                  </a:lnTo>
                  <a:lnTo>
                    <a:pt x="196" y="60"/>
                  </a:lnTo>
                  <a:lnTo>
                    <a:pt x="190" y="60"/>
                  </a:lnTo>
                  <a:lnTo>
                    <a:pt x="190" y="60"/>
                  </a:lnTo>
                  <a:lnTo>
                    <a:pt x="184" y="60"/>
                  </a:lnTo>
                  <a:lnTo>
                    <a:pt x="178" y="56"/>
                  </a:lnTo>
                  <a:lnTo>
                    <a:pt x="176" y="50"/>
                  </a:lnTo>
                  <a:lnTo>
                    <a:pt x="174" y="44"/>
                  </a:lnTo>
                  <a:lnTo>
                    <a:pt x="174" y="44"/>
                  </a:lnTo>
                  <a:close/>
                  <a:moveTo>
                    <a:pt x="220" y="44"/>
                  </a:moveTo>
                  <a:lnTo>
                    <a:pt x="220" y="44"/>
                  </a:lnTo>
                  <a:lnTo>
                    <a:pt x="222" y="38"/>
                  </a:lnTo>
                  <a:lnTo>
                    <a:pt x="226" y="34"/>
                  </a:lnTo>
                  <a:lnTo>
                    <a:pt x="230" y="30"/>
                  </a:lnTo>
                  <a:lnTo>
                    <a:pt x="236" y="28"/>
                  </a:lnTo>
                  <a:lnTo>
                    <a:pt x="236" y="28"/>
                  </a:lnTo>
                  <a:lnTo>
                    <a:pt x="242" y="30"/>
                  </a:lnTo>
                  <a:lnTo>
                    <a:pt x="248" y="34"/>
                  </a:lnTo>
                  <a:lnTo>
                    <a:pt x="252" y="38"/>
                  </a:lnTo>
                  <a:lnTo>
                    <a:pt x="252" y="44"/>
                  </a:lnTo>
                  <a:lnTo>
                    <a:pt x="252" y="44"/>
                  </a:lnTo>
                  <a:lnTo>
                    <a:pt x="252" y="50"/>
                  </a:lnTo>
                  <a:lnTo>
                    <a:pt x="248" y="56"/>
                  </a:lnTo>
                  <a:lnTo>
                    <a:pt x="242" y="60"/>
                  </a:lnTo>
                  <a:lnTo>
                    <a:pt x="236" y="60"/>
                  </a:lnTo>
                  <a:lnTo>
                    <a:pt x="236" y="60"/>
                  </a:lnTo>
                  <a:lnTo>
                    <a:pt x="230" y="60"/>
                  </a:lnTo>
                  <a:lnTo>
                    <a:pt x="226" y="56"/>
                  </a:lnTo>
                  <a:lnTo>
                    <a:pt x="222" y="50"/>
                  </a:lnTo>
                  <a:lnTo>
                    <a:pt x="220" y="44"/>
                  </a:lnTo>
                  <a:lnTo>
                    <a:pt x="220" y="44"/>
                  </a:lnTo>
                  <a:close/>
                  <a:moveTo>
                    <a:pt x="54" y="44"/>
                  </a:moveTo>
                  <a:lnTo>
                    <a:pt x="54" y="44"/>
                  </a:lnTo>
                  <a:lnTo>
                    <a:pt x="52" y="50"/>
                  </a:lnTo>
                  <a:lnTo>
                    <a:pt x="48" y="56"/>
                  </a:lnTo>
                  <a:lnTo>
                    <a:pt x="44" y="60"/>
                  </a:lnTo>
                  <a:lnTo>
                    <a:pt x="38" y="60"/>
                  </a:lnTo>
                  <a:lnTo>
                    <a:pt x="38" y="60"/>
                  </a:lnTo>
                  <a:lnTo>
                    <a:pt x="32" y="60"/>
                  </a:lnTo>
                  <a:lnTo>
                    <a:pt x="26" y="56"/>
                  </a:lnTo>
                  <a:lnTo>
                    <a:pt x="22" y="50"/>
                  </a:lnTo>
                  <a:lnTo>
                    <a:pt x="22" y="44"/>
                  </a:lnTo>
                  <a:lnTo>
                    <a:pt x="22" y="44"/>
                  </a:lnTo>
                  <a:lnTo>
                    <a:pt x="22" y="38"/>
                  </a:lnTo>
                  <a:lnTo>
                    <a:pt x="26" y="34"/>
                  </a:lnTo>
                  <a:lnTo>
                    <a:pt x="32" y="30"/>
                  </a:lnTo>
                  <a:lnTo>
                    <a:pt x="38" y="28"/>
                  </a:lnTo>
                  <a:lnTo>
                    <a:pt x="38" y="28"/>
                  </a:lnTo>
                  <a:lnTo>
                    <a:pt x="44" y="30"/>
                  </a:lnTo>
                  <a:lnTo>
                    <a:pt x="48" y="34"/>
                  </a:lnTo>
                  <a:lnTo>
                    <a:pt x="52" y="38"/>
                  </a:lnTo>
                  <a:lnTo>
                    <a:pt x="54" y="44"/>
                  </a:lnTo>
                  <a:lnTo>
                    <a:pt x="54" y="4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51" algn="ctr" fontAlgn="ctr">
                <a:buClr>
                  <a:srgbClr val="990000"/>
                </a:buClr>
                <a:buSzPct val="60000"/>
                <a:defRPr/>
              </a:pPr>
              <a:endParaRPr lang="zh-CN" altLang="en-US" sz="1799" dirty="0">
                <a:solidFill>
                  <a:schemeClr val="bg1"/>
                </a:solidFill>
                <a:latin typeface="Calibri" panose="020F0502020204030204" pitchFamily="34" charset="0"/>
                <a:sym typeface="Arial"/>
              </a:endParaRPr>
            </a:p>
          </p:txBody>
        </p:sp>
        <p:sp>
          <p:nvSpPr>
            <p:cNvPr id="199" name="Freeform 511"/>
            <p:cNvSpPr>
              <a:spLocks/>
            </p:cNvSpPr>
            <p:nvPr/>
          </p:nvSpPr>
          <p:spPr bwMode="auto">
            <a:xfrm>
              <a:off x="10096585" y="3467156"/>
              <a:ext cx="238128" cy="60326"/>
            </a:xfrm>
            <a:custGeom>
              <a:avLst/>
              <a:gdLst/>
              <a:ahLst/>
              <a:cxnLst>
                <a:cxn ang="0">
                  <a:pos x="6" y="38"/>
                </a:cxn>
                <a:cxn ang="0">
                  <a:pos x="6" y="38"/>
                </a:cxn>
                <a:cxn ang="0">
                  <a:pos x="22" y="26"/>
                </a:cxn>
                <a:cxn ang="0">
                  <a:pos x="40" y="18"/>
                </a:cxn>
                <a:cxn ang="0">
                  <a:pos x="58" y="14"/>
                </a:cxn>
                <a:cxn ang="0">
                  <a:pos x="76" y="12"/>
                </a:cxn>
                <a:cxn ang="0">
                  <a:pos x="94" y="14"/>
                </a:cxn>
                <a:cxn ang="0">
                  <a:pos x="112" y="18"/>
                </a:cxn>
                <a:cxn ang="0">
                  <a:pos x="128" y="26"/>
                </a:cxn>
                <a:cxn ang="0">
                  <a:pos x="144" y="36"/>
                </a:cxn>
                <a:cxn ang="0">
                  <a:pos x="150" y="26"/>
                </a:cxn>
                <a:cxn ang="0">
                  <a:pos x="150" y="26"/>
                </a:cxn>
                <a:cxn ang="0">
                  <a:pos x="132" y="16"/>
                </a:cxn>
                <a:cxn ang="0">
                  <a:pos x="114" y="6"/>
                </a:cxn>
                <a:cxn ang="0">
                  <a:pos x="96" y="2"/>
                </a:cxn>
                <a:cxn ang="0">
                  <a:pos x="76" y="0"/>
                </a:cxn>
                <a:cxn ang="0">
                  <a:pos x="56" y="2"/>
                </a:cxn>
                <a:cxn ang="0">
                  <a:pos x="36" y="8"/>
                </a:cxn>
                <a:cxn ang="0">
                  <a:pos x="18" y="16"/>
                </a:cxn>
                <a:cxn ang="0">
                  <a:pos x="0" y="26"/>
                </a:cxn>
                <a:cxn ang="0">
                  <a:pos x="6" y="38"/>
                </a:cxn>
              </a:cxnLst>
              <a:rect l="0" t="0" r="r" b="b"/>
              <a:pathLst>
                <a:path w="150" h="38">
                  <a:moveTo>
                    <a:pt x="6" y="38"/>
                  </a:moveTo>
                  <a:lnTo>
                    <a:pt x="6" y="38"/>
                  </a:lnTo>
                  <a:lnTo>
                    <a:pt x="22" y="26"/>
                  </a:lnTo>
                  <a:lnTo>
                    <a:pt x="40" y="18"/>
                  </a:lnTo>
                  <a:lnTo>
                    <a:pt x="58" y="14"/>
                  </a:lnTo>
                  <a:lnTo>
                    <a:pt x="76" y="12"/>
                  </a:lnTo>
                  <a:lnTo>
                    <a:pt x="94" y="14"/>
                  </a:lnTo>
                  <a:lnTo>
                    <a:pt x="112" y="18"/>
                  </a:lnTo>
                  <a:lnTo>
                    <a:pt x="128" y="26"/>
                  </a:lnTo>
                  <a:lnTo>
                    <a:pt x="144" y="36"/>
                  </a:lnTo>
                  <a:lnTo>
                    <a:pt x="150" y="26"/>
                  </a:lnTo>
                  <a:lnTo>
                    <a:pt x="150" y="26"/>
                  </a:lnTo>
                  <a:lnTo>
                    <a:pt x="132" y="16"/>
                  </a:lnTo>
                  <a:lnTo>
                    <a:pt x="114" y="6"/>
                  </a:lnTo>
                  <a:lnTo>
                    <a:pt x="96" y="2"/>
                  </a:lnTo>
                  <a:lnTo>
                    <a:pt x="76" y="0"/>
                  </a:lnTo>
                  <a:lnTo>
                    <a:pt x="56" y="2"/>
                  </a:lnTo>
                  <a:lnTo>
                    <a:pt x="36" y="8"/>
                  </a:lnTo>
                  <a:lnTo>
                    <a:pt x="18" y="16"/>
                  </a:lnTo>
                  <a:lnTo>
                    <a:pt x="0" y="26"/>
                  </a:lnTo>
                  <a:lnTo>
                    <a:pt x="6" y="3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51" algn="ctr" fontAlgn="ctr">
                <a:buClr>
                  <a:srgbClr val="990000"/>
                </a:buClr>
                <a:buSzPct val="60000"/>
                <a:defRPr/>
              </a:pPr>
              <a:endParaRPr lang="zh-CN" altLang="en-US" sz="1799" dirty="0">
                <a:solidFill>
                  <a:schemeClr val="bg1"/>
                </a:solidFill>
                <a:latin typeface="Calibri" panose="020F0502020204030204" pitchFamily="34" charset="0"/>
                <a:sym typeface="Arial"/>
              </a:endParaRPr>
            </a:p>
          </p:txBody>
        </p:sp>
        <p:sp>
          <p:nvSpPr>
            <p:cNvPr id="200" name="Freeform 512"/>
            <p:cNvSpPr>
              <a:spLocks/>
            </p:cNvSpPr>
            <p:nvPr/>
          </p:nvSpPr>
          <p:spPr bwMode="auto">
            <a:xfrm>
              <a:off x="10125176" y="3524306"/>
              <a:ext cx="180977" cy="50800"/>
            </a:xfrm>
            <a:custGeom>
              <a:avLst/>
              <a:gdLst/>
              <a:ahLst/>
              <a:cxnLst>
                <a:cxn ang="0">
                  <a:pos x="114" y="22"/>
                </a:cxn>
                <a:cxn ang="0">
                  <a:pos x="114" y="22"/>
                </a:cxn>
                <a:cxn ang="0">
                  <a:pos x="102" y="12"/>
                </a:cxn>
                <a:cxn ang="0">
                  <a:pos x="88" y="6"/>
                </a:cxn>
                <a:cxn ang="0">
                  <a:pos x="72" y="2"/>
                </a:cxn>
                <a:cxn ang="0">
                  <a:pos x="58" y="0"/>
                </a:cxn>
                <a:cxn ang="0">
                  <a:pos x="42" y="2"/>
                </a:cxn>
                <a:cxn ang="0">
                  <a:pos x="28" y="6"/>
                </a:cxn>
                <a:cxn ang="0">
                  <a:pos x="14" y="12"/>
                </a:cxn>
                <a:cxn ang="0">
                  <a:pos x="0" y="22"/>
                </a:cxn>
                <a:cxn ang="0">
                  <a:pos x="8" y="32"/>
                </a:cxn>
                <a:cxn ang="0">
                  <a:pos x="8" y="32"/>
                </a:cxn>
                <a:cxn ang="0">
                  <a:pos x="8" y="32"/>
                </a:cxn>
                <a:cxn ang="0">
                  <a:pos x="8" y="32"/>
                </a:cxn>
                <a:cxn ang="0">
                  <a:pos x="18" y="24"/>
                </a:cxn>
                <a:cxn ang="0">
                  <a:pos x="30" y="18"/>
                </a:cxn>
                <a:cxn ang="0">
                  <a:pos x="44" y="14"/>
                </a:cxn>
                <a:cxn ang="0">
                  <a:pos x="58" y="12"/>
                </a:cxn>
                <a:cxn ang="0">
                  <a:pos x="72" y="14"/>
                </a:cxn>
                <a:cxn ang="0">
                  <a:pos x="84" y="16"/>
                </a:cxn>
                <a:cxn ang="0">
                  <a:pos x="96" y="24"/>
                </a:cxn>
                <a:cxn ang="0">
                  <a:pos x="108" y="32"/>
                </a:cxn>
                <a:cxn ang="0">
                  <a:pos x="114" y="22"/>
                </a:cxn>
              </a:cxnLst>
              <a:rect l="0" t="0" r="r" b="b"/>
              <a:pathLst>
                <a:path w="114" h="32">
                  <a:moveTo>
                    <a:pt x="114" y="22"/>
                  </a:moveTo>
                  <a:lnTo>
                    <a:pt x="114" y="22"/>
                  </a:lnTo>
                  <a:lnTo>
                    <a:pt x="102" y="12"/>
                  </a:lnTo>
                  <a:lnTo>
                    <a:pt x="88" y="6"/>
                  </a:lnTo>
                  <a:lnTo>
                    <a:pt x="72" y="2"/>
                  </a:lnTo>
                  <a:lnTo>
                    <a:pt x="58" y="0"/>
                  </a:lnTo>
                  <a:lnTo>
                    <a:pt x="42" y="2"/>
                  </a:lnTo>
                  <a:lnTo>
                    <a:pt x="28" y="6"/>
                  </a:lnTo>
                  <a:lnTo>
                    <a:pt x="14" y="12"/>
                  </a:lnTo>
                  <a:lnTo>
                    <a:pt x="0" y="22"/>
                  </a:lnTo>
                  <a:lnTo>
                    <a:pt x="8" y="32"/>
                  </a:lnTo>
                  <a:lnTo>
                    <a:pt x="8" y="32"/>
                  </a:lnTo>
                  <a:lnTo>
                    <a:pt x="8" y="32"/>
                  </a:lnTo>
                  <a:lnTo>
                    <a:pt x="8" y="32"/>
                  </a:lnTo>
                  <a:lnTo>
                    <a:pt x="18" y="24"/>
                  </a:lnTo>
                  <a:lnTo>
                    <a:pt x="30" y="18"/>
                  </a:lnTo>
                  <a:lnTo>
                    <a:pt x="44" y="14"/>
                  </a:lnTo>
                  <a:lnTo>
                    <a:pt x="58" y="12"/>
                  </a:lnTo>
                  <a:lnTo>
                    <a:pt x="72" y="14"/>
                  </a:lnTo>
                  <a:lnTo>
                    <a:pt x="84" y="16"/>
                  </a:lnTo>
                  <a:lnTo>
                    <a:pt x="96" y="24"/>
                  </a:lnTo>
                  <a:lnTo>
                    <a:pt x="108" y="32"/>
                  </a:lnTo>
                  <a:lnTo>
                    <a:pt x="114" y="2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51" algn="ctr" fontAlgn="ctr">
                <a:buClr>
                  <a:srgbClr val="990000"/>
                </a:buClr>
                <a:buSzPct val="60000"/>
                <a:defRPr/>
              </a:pPr>
              <a:endParaRPr lang="zh-CN" altLang="en-US" sz="1799" dirty="0">
                <a:solidFill>
                  <a:schemeClr val="bg1"/>
                </a:solidFill>
                <a:latin typeface="Calibri" panose="020F0502020204030204" pitchFamily="34" charset="0"/>
                <a:sym typeface="Arial"/>
              </a:endParaRPr>
            </a:p>
          </p:txBody>
        </p:sp>
        <p:sp>
          <p:nvSpPr>
            <p:cNvPr id="201" name="Freeform 513"/>
            <p:cNvSpPr>
              <a:spLocks/>
            </p:cNvSpPr>
            <p:nvPr/>
          </p:nvSpPr>
          <p:spPr bwMode="auto">
            <a:xfrm>
              <a:off x="10156916" y="3581448"/>
              <a:ext cx="120651" cy="47626"/>
            </a:xfrm>
            <a:custGeom>
              <a:avLst/>
              <a:gdLst/>
              <a:ahLst/>
              <a:cxnLst>
                <a:cxn ang="0">
                  <a:pos x="72" y="14"/>
                </a:cxn>
                <a:cxn ang="0">
                  <a:pos x="72" y="14"/>
                </a:cxn>
                <a:cxn ang="0">
                  <a:pos x="64" y="8"/>
                </a:cxn>
                <a:cxn ang="0">
                  <a:pos x="56" y="2"/>
                </a:cxn>
                <a:cxn ang="0">
                  <a:pos x="46" y="0"/>
                </a:cxn>
                <a:cxn ang="0">
                  <a:pos x="38" y="0"/>
                </a:cxn>
                <a:cxn ang="0">
                  <a:pos x="28" y="0"/>
                </a:cxn>
                <a:cxn ang="0">
                  <a:pos x="20" y="2"/>
                </a:cxn>
                <a:cxn ang="0">
                  <a:pos x="12" y="8"/>
                </a:cxn>
                <a:cxn ang="0">
                  <a:pos x="4" y="14"/>
                </a:cxn>
                <a:cxn ang="0">
                  <a:pos x="4" y="14"/>
                </a:cxn>
                <a:cxn ang="0">
                  <a:pos x="0" y="18"/>
                </a:cxn>
                <a:cxn ang="0">
                  <a:pos x="6" y="30"/>
                </a:cxn>
                <a:cxn ang="0">
                  <a:pos x="6" y="30"/>
                </a:cxn>
                <a:cxn ang="0">
                  <a:pos x="12" y="22"/>
                </a:cxn>
                <a:cxn ang="0">
                  <a:pos x="12" y="22"/>
                </a:cxn>
                <a:cxn ang="0">
                  <a:pos x="18" y="18"/>
                </a:cxn>
                <a:cxn ang="0">
                  <a:pos x="24" y="14"/>
                </a:cxn>
                <a:cxn ang="0">
                  <a:pos x="30" y="12"/>
                </a:cxn>
                <a:cxn ang="0">
                  <a:pos x="38" y="12"/>
                </a:cxn>
                <a:cxn ang="0">
                  <a:pos x="44" y="12"/>
                </a:cxn>
                <a:cxn ang="0">
                  <a:pos x="52" y="14"/>
                </a:cxn>
                <a:cxn ang="0">
                  <a:pos x="58" y="18"/>
                </a:cxn>
                <a:cxn ang="0">
                  <a:pos x="62" y="22"/>
                </a:cxn>
                <a:cxn ang="0">
                  <a:pos x="62" y="22"/>
                </a:cxn>
                <a:cxn ang="0">
                  <a:pos x="68" y="30"/>
                </a:cxn>
                <a:cxn ang="0">
                  <a:pos x="76" y="18"/>
                </a:cxn>
                <a:cxn ang="0">
                  <a:pos x="76" y="18"/>
                </a:cxn>
                <a:cxn ang="0">
                  <a:pos x="72" y="14"/>
                </a:cxn>
                <a:cxn ang="0">
                  <a:pos x="72" y="14"/>
                </a:cxn>
              </a:cxnLst>
              <a:rect l="0" t="0" r="r" b="b"/>
              <a:pathLst>
                <a:path w="76" h="30">
                  <a:moveTo>
                    <a:pt x="72" y="14"/>
                  </a:moveTo>
                  <a:lnTo>
                    <a:pt x="72" y="14"/>
                  </a:lnTo>
                  <a:lnTo>
                    <a:pt x="64" y="8"/>
                  </a:lnTo>
                  <a:lnTo>
                    <a:pt x="56" y="2"/>
                  </a:lnTo>
                  <a:lnTo>
                    <a:pt x="46" y="0"/>
                  </a:lnTo>
                  <a:lnTo>
                    <a:pt x="38" y="0"/>
                  </a:lnTo>
                  <a:lnTo>
                    <a:pt x="28" y="0"/>
                  </a:lnTo>
                  <a:lnTo>
                    <a:pt x="20" y="2"/>
                  </a:lnTo>
                  <a:lnTo>
                    <a:pt x="12" y="8"/>
                  </a:lnTo>
                  <a:lnTo>
                    <a:pt x="4" y="14"/>
                  </a:lnTo>
                  <a:lnTo>
                    <a:pt x="4" y="14"/>
                  </a:lnTo>
                  <a:lnTo>
                    <a:pt x="0" y="18"/>
                  </a:lnTo>
                  <a:lnTo>
                    <a:pt x="6" y="30"/>
                  </a:lnTo>
                  <a:lnTo>
                    <a:pt x="6" y="30"/>
                  </a:lnTo>
                  <a:lnTo>
                    <a:pt x="12" y="22"/>
                  </a:lnTo>
                  <a:lnTo>
                    <a:pt x="12" y="22"/>
                  </a:lnTo>
                  <a:lnTo>
                    <a:pt x="18" y="18"/>
                  </a:lnTo>
                  <a:lnTo>
                    <a:pt x="24" y="14"/>
                  </a:lnTo>
                  <a:lnTo>
                    <a:pt x="30" y="12"/>
                  </a:lnTo>
                  <a:lnTo>
                    <a:pt x="38" y="12"/>
                  </a:lnTo>
                  <a:lnTo>
                    <a:pt x="44" y="12"/>
                  </a:lnTo>
                  <a:lnTo>
                    <a:pt x="52" y="14"/>
                  </a:lnTo>
                  <a:lnTo>
                    <a:pt x="58" y="18"/>
                  </a:lnTo>
                  <a:lnTo>
                    <a:pt x="62" y="22"/>
                  </a:lnTo>
                  <a:lnTo>
                    <a:pt x="62" y="22"/>
                  </a:lnTo>
                  <a:lnTo>
                    <a:pt x="68" y="30"/>
                  </a:lnTo>
                  <a:lnTo>
                    <a:pt x="76" y="18"/>
                  </a:lnTo>
                  <a:lnTo>
                    <a:pt x="76" y="18"/>
                  </a:lnTo>
                  <a:lnTo>
                    <a:pt x="72" y="14"/>
                  </a:lnTo>
                  <a:lnTo>
                    <a:pt x="72" y="1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51" algn="ctr" fontAlgn="ctr">
                <a:buClr>
                  <a:srgbClr val="990000"/>
                </a:buClr>
                <a:buSzPct val="60000"/>
                <a:defRPr/>
              </a:pPr>
              <a:endParaRPr lang="zh-CN" altLang="en-US" sz="1799" dirty="0">
                <a:solidFill>
                  <a:schemeClr val="bg1"/>
                </a:solidFill>
                <a:latin typeface="Calibri" panose="020F0502020204030204" pitchFamily="34" charset="0"/>
                <a:sym typeface="Arial"/>
              </a:endParaRPr>
            </a:p>
          </p:txBody>
        </p:sp>
        <p:sp>
          <p:nvSpPr>
            <p:cNvPr id="202" name="Rectangle 514"/>
            <p:cNvSpPr>
              <a:spLocks noChangeArrowheads="1"/>
            </p:cNvSpPr>
            <p:nvPr/>
          </p:nvSpPr>
          <p:spPr bwMode="auto">
            <a:xfrm>
              <a:off x="10210891" y="3673513"/>
              <a:ext cx="12701" cy="571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51" algn="ctr" fontAlgn="ctr">
                <a:buClr>
                  <a:srgbClr val="990000"/>
                </a:buClr>
                <a:buSzPct val="60000"/>
                <a:defRPr/>
              </a:pPr>
              <a:endParaRPr lang="zh-CN" altLang="en-US" sz="1799" dirty="0">
                <a:solidFill>
                  <a:schemeClr val="bg1"/>
                </a:solidFill>
                <a:latin typeface="Calibri" panose="020F0502020204030204" pitchFamily="34" charset="0"/>
                <a:sym typeface="Arial"/>
              </a:endParaRPr>
            </a:p>
          </p:txBody>
        </p:sp>
        <p:sp>
          <p:nvSpPr>
            <p:cNvPr id="203" name="Freeform 515"/>
            <p:cNvSpPr>
              <a:spLocks/>
            </p:cNvSpPr>
            <p:nvPr/>
          </p:nvSpPr>
          <p:spPr bwMode="auto">
            <a:xfrm>
              <a:off x="10194925" y="3635376"/>
              <a:ext cx="44450" cy="44450"/>
            </a:xfrm>
            <a:custGeom>
              <a:avLst/>
              <a:gdLst/>
              <a:ahLst/>
              <a:cxnLst>
                <a:cxn ang="0">
                  <a:pos x="14" y="0"/>
                </a:cxn>
                <a:cxn ang="0">
                  <a:pos x="14" y="0"/>
                </a:cxn>
                <a:cxn ang="0">
                  <a:pos x="8" y="0"/>
                </a:cxn>
                <a:cxn ang="0">
                  <a:pos x="4" y="4"/>
                </a:cxn>
                <a:cxn ang="0">
                  <a:pos x="0" y="8"/>
                </a:cxn>
                <a:cxn ang="0">
                  <a:pos x="0" y="14"/>
                </a:cxn>
                <a:cxn ang="0">
                  <a:pos x="0" y="14"/>
                </a:cxn>
                <a:cxn ang="0">
                  <a:pos x="0" y="20"/>
                </a:cxn>
                <a:cxn ang="0">
                  <a:pos x="4" y="24"/>
                </a:cxn>
                <a:cxn ang="0">
                  <a:pos x="8" y="26"/>
                </a:cxn>
                <a:cxn ang="0">
                  <a:pos x="14" y="28"/>
                </a:cxn>
                <a:cxn ang="0">
                  <a:pos x="14" y="28"/>
                </a:cxn>
                <a:cxn ang="0">
                  <a:pos x="20" y="26"/>
                </a:cxn>
                <a:cxn ang="0">
                  <a:pos x="24" y="24"/>
                </a:cxn>
                <a:cxn ang="0">
                  <a:pos x="26" y="20"/>
                </a:cxn>
                <a:cxn ang="0">
                  <a:pos x="28" y="14"/>
                </a:cxn>
                <a:cxn ang="0">
                  <a:pos x="28" y="14"/>
                </a:cxn>
                <a:cxn ang="0">
                  <a:pos x="26" y="8"/>
                </a:cxn>
                <a:cxn ang="0">
                  <a:pos x="24" y="4"/>
                </a:cxn>
                <a:cxn ang="0">
                  <a:pos x="20" y="0"/>
                </a:cxn>
                <a:cxn ang="0">
                  <a:pos x="14" y="0"/>
                </a:cxn>
                <a:cxn ang="0">
                  <a:pos x="14" y="0"/>
                </a:cxn>
              </a:cxnLst>
              <a:rect l="0" t="0" r="r" b="b"/>
              <a:pathLst>
                <a:path w="28" h="28">
                  <a:moveTo>
                    <a:pt x="14" y="0"/>
                  </a:moveTo>
                  <a:lnTo>
                    <a:pt x="14" y="0"/>
                  </a:lnTo>
                  <a:lnTo>
                    <a:pt x="8" y="0"/>
                  </a:lnTo>
                  <a:lnTo>
                    <a:pt x="4" y="4"/>
                  </a:lnTo>
                  <a:lnTo>
                    <a:pt x="0" y="8"/>
                  </a:lnTo>
                  <a:lnTo>
                    <a:pt x="0" y="14"/>
                  </a:lnTo>
                  <a:lnTo>
                    <a:pt x="0" y="14"/>
                  </a:lnTo>
                  <a:lnTo>
                    <a:pt x="0" y="20"/>
                  </a:lnTo>
                  <a:lnTo>
                    <a:pt x="4" y="24"/>
                  </a:lnTo>
                  <a:lnTo>
                    <a:pt x="8" y="26"/>
                  </a:lnTo>
                  <a:lnTo>
                    <a:pt x="14" y="28"/>
                  </a:lnTo>
                  <a:lnTo>
                    <a:pt x="14" y="28"/>
                  </a:lnTo>
                  <a:lnTo>
                    <a:pt x="20" y="26"/>
                  </a:lnTo>
                  <a:lnTo>
                    <a:pt x="24" y="24"/>
                  </a:lnTo>
                  <a:lnTo>
                    <a:pt x="26" y="20"/>
                  </a:lnTo>
                  <a:lnTo>
                    <a:pt x="28" y="14"/>
                  </a:lnTo>
                  <a:lnTo>
                    <a:pt x="28" y="14"/>
                  </a:lnTo>
                  <a:lnTo>
                    <a:pt x="26" y="8"/>
                  </a:lnTo>
                  <a:lnTo>
                    <a:pt x="24" y="4"/>
                  </a:lnTo>
                  <a:lnTo>
                    <a:pt x="20" y="0"/>
                  </a:lnTo>
                  <a:lnTo>
                    <a:pt x="14" y="0"/>
                  </a:lnTo>
                  <a:lnTo>
                    <a:pt x="14"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51" algn="ctr" fontAlgn="ctr">
                <a:buClr>
                  <a:srgbClr val="990000"/>
                </a:buClr>
                <a:buSzPct val="60000"/>
                <a:defRPr/>
              </a:pPr>
              <a:endParaRPr lang="zh-CN" altLang="en-US" sz="1799" dirty="0">
                <a:solidFill>
                  <a:schemeClr val="bg1"/>
                </a:solidFill>
                <a:latin typeface="Calibri" panose="020F0502020204030204" pitchFamily="34" charset="0"/>
                <a:sym typeface="Arial"/>
              </a:endParaRPr>
            </a:p>
          </p:txBody>
        </p:sp>
      </p:grpSp>
      <p:sp>
        <p:nvSpPr>
          <p:cNvPr id="208" name="Line 9"/>
          <p:cNvSpPr>
            <a:spLocks noChangeShapeType="1"/>
          </p:cNvSpPr>
          <p:nvPr/>
        </p:nvSpPr>
        <p:spPr bwMode="auto">
          <a:xfrm rot="5400000" flipH="1">
            <a:off x="4442574" y="4827588"/>
            <a:ext cx="182833" cy="0"/>
          </a:xfrm>
          <a:prstGeom prst="line">
            <a:avLst/>
          </a:prstGeom>
          <a:noFill/>
          <a:ln w="19050">
            <a:solidFill>
              <a:srgbClr val="00B0F0"/>
            </a:solidFill>
            <a:round/>
            <a:headEnd/>
            <a:tailEnd/>
          </a:ln>
          <a:effectLst/>
        </p:spPr>
        <p:txBody>
          <a:bodyPr wrap="square" lIns="79169" tIns="39586" rIns="79169" bIns="39586">
            <a:spAutoFit/>
          </a:bodyPr>
          <a:lstStyle/>
          <a:p>
            <a:pPr defTabSz="1219180"/>
            <a:endParaRPr lang="zh-CN" altLang="en-US" sz="2399" kern="0" dirty="0">
              <a:solidFill>
                <a:schemeClr val="bg1"/>
              </a:solidFill>
              <a:ea typeface="华文细黑"/>
              <a:cs typeface="Arial" pitchFamily="34" charset="0"/>
            </a:endParaRPr>
          </a:p>
        </p:txBody>
      </p:sp>
      <p:sp>
        <p:nvSpPr>
          <p:cNvPr id="209" name="Line 9"/>
          <p:cNvSpPr>
            <a:spLocks noChangeShapeType="1"/>
          </p:cNvSpPr>
          <p:nvPr/>
        </p:nvSpPr>
        <p:spPr bwMode="auto">
          <a:xfrm rot="5400000" flipH="1">
            <a:off x="5340133" y="4796535"/>
            <a:ext cx="226473" cy="0"/>
          </a:xfrm>
          <a:prstGeom prst="line">
            <a:avLst/>
          </a:prstGeom>
          <a:noFill/>
          <a:ln w="12700">
            <a:solidFill>
              <a:srgbClr val="4E6C8A"/>
            </a:solidFill>
            <a:round/>
            <a:headEnd/>
            <a:tailEnd/>
          </a:ln>
          <a:effectLst/>
        </p:spPr>
        <p:txBody>
          <a:bodyPr wrap="square" lIns="79169" tIns="39586" rIns="79169" bIns="39586">
            <a:spAutoFit/>
          </a:bodyPr>
          <a:lstStyle/>
          <a:p>
            <a:pPr defTabSz="1219180"/>
            <a:endParaRPr lang="zh-CN" altLang="en-US" sz="2399" kern="0" dirty="0">
              <a:solidFill>
                <a:schemeClr val="bg1"/>
              </a:solidFill>
              <a:ea typeface="华文细黑"/>
              <a:cs typeface="Arial" pitchFamily="34" charset="0"/>
            </a:endParaRPr>
          </a:p>
        </p:txBody>
      </p:sp>
      <p:sp>
        <p:nvSpPr>
          <p:cNvPr id="210" name="Line 9"/>
          <p:cNvSpPr>
            <a:spLocks noChangeShapeType="1"/>
          </p:cNvSpPr>
          <p:nvPr/>
        </p:nvSpPr>
        <p:spPr bwMode="auto">
          <a:xfrm rot="5400000" flipV="1">
            <a:off x="4035806" y="3285527"/>
            <a:ext cx="1226" cy="2833902"/>
          </a:xfrm>
          <a:prstGeom prst="line">
            <a:avLst/>
          </a:prstGeom>
          <a:noFill/>
          <a:ln w="19050">
            <a:solidFill>
              <a:srgbClr val="00B0F0"/>
            </a:solidFill>
            <a:round/>
            <a:headEnd/>
            <a:tailEnd/>
          </a:ln>
          <a:effectLst/>
        </p:spPr>
        <p:txBody>
          <a:bodyPr wrap="square" lIns="79169" tIns="39586" rIns="79169" bIns="39586">
            <a:spAutoFit/>
          </a:bodyPr>
          <a:lstStyle/>
          <a:p>
            <a:pPr defTabSz="1219180"/>
            <a:endParaRPr lang="zh-CN" altLang="en-US" sz="2399" kern="0" dirty="0">
              <a:solidFill>
                <a:schemeClr val="bg1"/>
              </a:solidFill>
              <a:ea typeface="华文细黑"/>
              <a:cs typeface="Arial" pitchFamily="34" charset="0"/>
            </a:endParaRPr>
          </a:p>
        </p:txBody>
      </p:sp>
      <p:sp>
        <p:nvSpPr>
          <p:cNvPr id="211" name="Line 9"/>
          <p:cNvSpPr>
            <a:spLocks noChangeShapeType="1"/>
          </p:cNvSpPr>
          <p:nvPr/>
        </p:nvSpPr>
        <p:spPr bwMode="auto">
          <a:xfrm rot="5400000" flipH="1">
            <a:off x="3315626" y="4807327"/>
            <a:ext cx="365665" cy="0"/>
          </a:xfrm>
          <a:prstGeom prst="line">
            <a:avLst/>
          </a:prstGeom>
          <a:noFill/>
          <a:ln w="19050">
            <a:solidFill>
              <a:srgbClr val="00B0F0"/>
            </a:solidFill>
            <a:round/>
            <a:headEnd/>
            <a:tailEnd/>
          </a:ln>
          <a:effectLst/>
        </p:spPr>
        <p:txBody>
          <a:bodyPr wrap="square" lIns="79169" tIns="39586" rIns="79169" bIns="39586">
            <a:spAutoFit/>
          </a:bodyPr>
          <a:lstStyle/>
          <a:p>
            <a:pPr defTabSz="1219180"/>
            <a:endParaRPr lang="zh-CN" altLang="en-US" sz="2399" kern="0" dirty="0">
              <a:solidFill>
                <a:schemeClr val="bg1"/>
              </a:solidFill>
              <a:ea typeface="华文细黑"/>
              <a:cs typeface="Arial" pitchFamily="34" charset="0"/>
            </a:endParaRPr>
          </a:p>
        </p:txBody>
      </p:sp>
      <p:sp>
        <p:nvSpPr>
          <p:cNvPr id="215" name="矩形 214"/>
          <p:cNvSpPr/>
          <p:nvPr/>
        </p:nvSpPr>
        <p:spPr>
          <a:xfrm>
            <a:off x="4174045" y="5840401"/>
            <a:ext cx="908484" cy="353120"/>
          </a:xfrm>
          <a:prstGeom prst="rect">
            <a:avLst/>
          </a:prstGeom>
        </p:spPr>
        <p:txBody>
          <a:bodyPr wrap="square" lIns="121912" tIns="60956" rIns="121912" bIns="60956" anchor="ctr">
            <a:noAutofit/>
          </a:bodyPr>
          <a:lstStyle/>
          <a:p>
            <a:pPr lvl="0"/>
            <a:r>
              <a:rPr lang="en-US" altLang="zh-CN" sz="1200" dirty="0" err="1">
                <a:solidFill>
                  <a:schemeClr val="bg1"/>
                </a:solidFill>
                <a:latin typeface="Calibri" panose="020F0502020204030204" pitchFamily="34" charset="0"/>
                <a:ea typeface="微软雅黑" pitchFamily="34" charset="-122"/>
                <a:cs typeface="Arial" pitchFamily="34" charset="0"/>
              </a:rPr>
              <a:t>Biblioteca</a:t>
            </a:r>
            <a:endParaRPr lang="en-US" altLang="zh-CN" sz="1200" dirty="0">
              <a:solidFill>
                <a:schemeClr val="bg1"/>
              </a:solidFill>
              <a:latin typeface="Calibri" panose="020F0502020204030204" pitchFamily="34" charset="0"/>
              <a:ea typeface="微软雅黑" pitchFamily="34" charset="-122"/>
              <a:cs typeface="Arial" pitchFamily="34" charset="0"/>
            </a:endParaRPr>
          </a:p>
        </p:txBody>
      </p:sp>
      <p:sp>
        <p:nvSpPr>
          <p:cNvPr id="226" name="Line 9"/>
          <p:cNvSpPr>
            <a:spLocks noChangeShapeType="1"/>
          </p:cNvSpPr>
          <p:nvPr/>
        </p:nvSpPr>
        <p:spPr bwMode="auto">
          <a:xfrm rot="5400000" flipH="1" flipV="1">
            <a:off x="5331508" y="4819756"/>
            <a:ext cx="216839" cy="0"/>
          </a:xfrm>
          <a:prstGeom prst="line">
            <a:avLst/>
          </a:prstGeom>
          <a:noFill/>
          <a:ln w="19050">
            <a:solidFill>
              <a:srgbClr val="00B0F0"/>
            </a:solidFill>
            <a:round/>
            <a:headEnd/>
            <a:tailEnd/>
          </a:ln>
          <a:effectLst/>
        </p:spPr>
        <p:txBody>
          <a:bodyPr wrap="square" lIns="79169" tIns="39586" rIns="79169" bIns="39586">
            <a:spAutoFit/>
          </a:bodyPr>
          <a:lstStyle/>
          <a:p>
            <a:pPr defTabSz="1219180"/>
            <a:endParaRPr lang="zh-CN" altLang="en-US" sz="2399" kern="0" dirty="0">
              <a:solidFill>
                <a:schemeClr val="bg1"/>
              </a:solidFill>
              <a:ea typeface="华文细黑"/>
              <a:cs typeface="Arial" pitchFamily="34" charset="0"/>
            </a:endParaRPr>
          </a:p>
        </p:txBody>
      </p:sp>
      <p:pic>
        <p:nvPicPr>
          <p:cNvPr id="227" name="Picture 2" descr="F:\10品牌工作\01广告营销\201210G1展厅12连屏\000单页版\教育底图\校园右1.png"/>
          <p:cNvPicPr>
            <a:picLocks noChangeArrowheads="1"/>
          </p:cNvPicPr>
          <p:nvPr/>
        </p:nvPicPr>
        <p:blipFill>
          <a:blip r:embed="rId3" cstate="email"/>
          <a:srcRect/>
          <a:stretch>
            <a:fillRect/>
          </a:stretch>
        </p:blipFill>
        <p:spPr bwMode="auto">
          <a:xfrm flipH="1">
            <a:off x="5091469" y="5156954"/>
            <a:ext cx="857427" cy="731329"/>
          </a:xfrm>
          <a:prstGeom prst="rect">
            <a:avLst/>
          </a:prstGeom>
          <a:ln>
            <a:noFill/>
          </a:ln>
          <a:effectLst>
            <a:softEdge rad="112500"/>
          </a:effectLst>
        </p:spPr>
      </p:pic>
      <p:sp>
        <p:nvSpPr>
          <p:cNvPr id="228" name="矩形 227"/>
          <p:cNvSpPr/>
          <p:nvPr/>
        </p:nvSpPr>
        <p:spPr>
          <a:xfrm>
            <a:off x="1946383" y="5851233"/>
            <a:ext cx="1075832" cy="307768"/>
          </a:xfrm>
          <a:prstGeom prst="rect">
            <a:avLst/>
          </a:prstGeom>
        </p:spPr>
        <p:txBody>
          <a:bodyPr wrap="square" lIns="121912" tIns="60956" rIns="121912" bIns="60956">
            <a:spAutoFit/>
          </a:bodyPr>
          <a:lstStyle/>
          <a:p>
            <a:pPr lvl="0" algn="ctr"/>
            <a:r>
              <a:rPr lang="en-US" altLang="zh-CN" sz="1200" dirty="0">
                <a:solidFill>
                  <a:schemeClr val="bg1"/>
                </a:solidFill>
                <a:latin typeface="Calibri" panose="020F0502020204030204" pitchFamily="34" charset="0"/>
                <a:ea typeface="微软雅黑" pitchFamily="34" charset="-122"/>
                <a:cs typeface="Arial" pitchFamily="34" charset="0"/>
              </a:rPr>
              <a:t>Aula</a:t>
            </a:r>
            <a:endParaRPr lang="zh-CN" altLang="en-US" sz="1200" dirty="0">
              <a:solidFill>
                <a:schemeClr val="bg1"/>
              </a:solidFill>
              <a:latin typeface="Calibri" panose="020F0502020204030204" pitchFamily="34" charset="0"/>
              <a:ea typeface="微软雅黑" pitchFamily="34" charset="-122"/>
              <a:cs typeface="Arial" pitchFamily="34" charset="0"/>
            </a:endParaRPr>
          </a:p>
        </p:txBody>
      </p:sp>
      <p:sp>
        <p:nvSpPr>
          <p:cNvPr id="230" name="Freeform 510"/>
          <p:cNvSpPr>
            <a:spLocks noEditPoints="1"/>
          </p:cNvSpPr>
          <p:nvPr/>
        </p:nvSpPr>
        <p:spPr bwMode="auto">
          <a:xfrm>
            <a:off x="3217089" y="5049451"/>
            <a:ext cx="305823" cy="110496"/>
          </a:xfrm>
          <a:custGeom>
            <a:avLst/>
            <a:gdLst/>
            <a:ahLst/>
            <a:cxnLst>
              <a:cxn ang="0">
                <a:pos x="2" y="78"/>
              </a:cxn>
              <a:cxn ang="0">
                <a:pos x="18" y="90"/>
              </a:cxn>
              <a:cxn ang="0">
                <a:pos x="252" y="88"/>
              </a:cxn>
              <a:cxn ang="0">
                <a:pos x="262" y="72"/>
              </a:cxn>
              <a:cxn ang="0">
                <a:pos x="260" y="10"/>
              </a:cxn>
              <a:cxn ang="0">
                <a:pos x="244" y="0"/>
              </a:cxn>
              <a:cxn ang="0">
                <a:pos x="10" y="2"/>
              </a:cxn>
              <a:cxn ang="0">
                <a:pos x="0" y="18"/>
              </a:cxn>
              <a:cxn ang="0">
                <a:pos x="74" y="72"/>
              </a:cxn>
              <a:cxn ang="0">
                <a:pos x="76" y="14"/>
              </a:cxn>
              <a:cxn ang="0">
                <a:pos x="86" y="10"/>
              </a:cxn>
              <a:cxn ang="0">
                <a:pos x="96" y="12"/>
              </a:cxn>
              <a:cxn ang="0">
                <a:pos x="98" y="72"/>
              </a:cxn>
              <a:cxn ang="0">
                <a:pos x="96" y="78"/>
              </a:cxn>
              <a:cxn ang="0">
                <a:pos x="86" y="80"/>
              </a:cxn>
              <a:cxn ang="0">
                <a:pos x="76" y="74"/>
              </a:cxn>
              <a:cxn ang="0">
                <a:pos x="136" y="60"/>
              </a:cxn>
              <a:cxn ang="0">
                <a:pos x="124" y="56"/>
              </a:cxn>
              <a:cxn ang="0">
                <a:pos x="120" y="44"/>
              </a:cxn>
              <a:cxn ang="0">
                <a:pos x="130" y="30"/>
              </a:cxn>
              <a:cxn ang="0">
                <a:pos x="142" y="30"/>
              </a:cxn>
              <a:cxn ang="0">
                <a:pos x="152" y="44"/>
              </a:cxn>
              <a:cxn ang="0">
                <a:pos x="148" y="56"/>
              </a:cxn>
              <a:cxn ang="0">
                <a:pos x="136" y="60"/>
              </a:cxn>
              <a:cxn ang="0">
                <a:pos x="176" y="38"/>
              </a:cxn>
              <a:cxn ang="0">
                <a:pos x="190" y="28"/>
              </a:cxn>
              <a:cxn ang="0">
                <a:pos x="202" y="34"/>
              </a:cxn>
              <a:cxn ang="0">
                <a:pos x="206" y="44"/>
              </a:cxn>
              <a:cxn ang="0">
                <a:pos x="196" y="60"/>
              </a:cxn>
              <a:cxn ang="0">
                <a:pos x="184" y="60"/>
              </a:cxn>
              <a:cxn ang="0">
                <a:pos x="174" y="44"/>
              </a:cxn>
              <a:cxn ang="0">
                <a:pos x="220" y="44"/>
              </a:cxn>
              <a:cxn ang="0">
                <a:pos x="230" y="30"/>
              </a:cxn>
              <a:cxn ang="0">
                <a:pos x="242" y="30"/>
              </a:cxn>
              <a:cxn ang="0">
                <a:pos x="252" y="44"/>
              </a:cxn>
              <a:cxn ang="0">
                <a:pos x="248" y="56"/>
              </a:cxn>
              <a:cxn ang="0">
                <a:pos x="236" y="60"/>
              </a:cxn>
              <a:cxn ang="0">
                <a:pos x="222" y="50"/>
              </a:cxn>
              <a:cxn ang="0">
                <a:pos x="54" y="44"/>
              </a:cxn>
              <a:cxn ang="0">
                <a:pos x="48" y="56"/>
              </a:cxn>
              <a:cxn ang="0">
                <a:pos x="38" y="60"/>
              </a:cxn>
              <a:cxn ang="0">
                <a:pos x="22" y="50"/>
              </a:cxn>
              <a:cxn ang="0">
                <a:pos x="22" y="38"/>
              </a:cxn>
              <a:cxn ang="0">
                <a:pos x="38" y="28"/>
              </a:cxn>
              <a:cxn ang="0">
                <a:pos x="48" y="34"/>
              </a:cxn>
              <a:cxn ang="0">
                <a:pos x="54" y="44"/>
              </a:cxn>
            </a:cxnLst>
            <a:rect l="0" t="0" r="r" b="b"/>
            <a:pathLst>
              <a:path w="262" h="90">
                <a:moveTo>
                  <a:pt x="0" y="72"/>
                </a:moveTo>
                <a:lnTo>
                  <a:pt x="0" y="72"/>
                </a:lnTo>
                <a:lnTo>
                  <a:pt x="2" y="78"/>
                </a:lnTo>
                <a:lnTo>
                  <a:pt x="6" y="84"/>
                </a:lnTo>
                <a:lnTo>
                  <a:pt x="10" y="88"/>
                </a:lnTo>
                <a:lnTo>
                  <a:pt x="18" y="90"/>
                </a:lnTo>
                <a:lnTo>
                  <a:pt x="244" y="90"/>
                </a:lnTo>
                <a:lnTo>
                  <a:pt x="244" y="90"/>
                </a:lnTo>
                <a:lnTo>
                  <a:pt x="252" y="88"/>
                </a:lnTo>
                <a:lnTo>
                  <a:pt x="256" y="84"/>
                </a:lnTo>
                <a:lnTo>
                  <a:pt x="260" y="78"/>
                </a:lnTo>
                <a:lnTo>
                  <a:pt x="262" y="72"/>
                </a:lnTo>
                <a:lnTo>
                  <a:pt x="262" y="18"/>
                </a:lnTo>
                <a:lnTo>
                  <a:pt x="262" y="18"/>
                </a:lnTo>
                <a:lnTo>
                  <a:pt x="260" y="10"/>
                </a:lnTo>
                <a:lnTo>
                  <a:pt x="256" y="6"/>
                </a:lnTo>
                <a:lnTo>
                  <a:pt x="252" y="2"/>
                </a:lnTo>
                <a:lnTo>
                  <a:pt x="244" y="0"/>
                </a:lnTo>
                <a:lnTo>
                  <a:pt x="18" y="0"/>
                </a:lnTo>
                <a:lnTo>
                  <a:pt x="18" y="0"/>
                </a:lnTo>
                <a:lnTo>
                  <a:pt x="10" y="2"/>
                </a:lnTo>
                <a:lnTo>
                  <a:pt x="6" y="6"/>
                </a:lnTo>
                <a:lnTo>
                  <a:pt x="2" y="10"/>
                </a:lnTo>
                <a:lnTo>
                  <a:pt x="0" y="18"/>
                </a:lnTo>
                <a:lnTo>
                  <a:pt x="0" y="72"/>
                </a:lnTo>
                <a:lnTo>
                  <a:pt x="0" y="72"/>
                </a:lnTo>
                <a:close/>
                <a:moveTo>
                  <a:pt x="74" y="72"/>
                </a:moveTo>
                <a:lnTo>
                  <a:pt x="74" y="18"/>
                </a:lnTo>
                <a:lnTo>
                  <a:pt x="74" y="18"/>
                </a:lnTo>
                <a:lnTo>
                  <a:pt x="76" y="14"/>
                </a:lnTo>
                <a:lnTo>
                  <a:pt x="78" y="12"/>
                </a:lnTo>
                <a:lnTo>
                  <a:pt x="82" y="10"/>
                </a:lnTo>
                <a:lnTo>
                  <a:pt x="86" y="10"/>
                </a:lnTo>
                <a:lnTo>
                  <a:pt x="86" y="10"/>
                </a:lnTo>
                <a:lnTo>
                  <a:pt x="92" y="10"/>
                </a:lnTo>
                <a:lnTo>
                  <a:pt x="96" y="12"/>
                </a:lnTo>
                <a:lnTo>
                  <a:pt x="98" y="14"/>
                </a:lnTo>
                <a:lnTo>
                  <a:pt x="98" y="18"/>
                </a:lnTo>
                <a:lnTo>
                  <a:pt x="98" y="72"/>
                </a:lnTo>
                <a:lnTo>
                  <a:pt x="98" y="72"/>
                </a:lnTo>
                <a:lnTo>
                  <a:pt x="98" y="74"/>
                </a:lnTo>
                <a:lnTo>
                  <a:pt x="96" y="78"/>
                </a:lnTo>
                <a:lnTo>
                  <a:pt x="92" y="78"/>
                </a:lnTo>
                <a:lnTo>
                  <a:pt x="86" y="80"/>
                </a:lnTo>
                <a:lnTo>
                  <a:pt x="86" y="80"/>
                </a:lnTo>
                <a:lnTo>
                  <a:pt x="82" y="78"/>
                </a:lnTo>
                <a:lnTo>
                  <a:pt x="78" y="78"/>
                </a:lnTo>
                <a:lnTo>
                  <a:pt x="76" y="74"/>
                </a:lnTo>
                <a:lnTo>
                  <a:pt x="74" y="72"/>
                </a:lnTo>
                <a:lnTo>
                  <a:pt x="74" y="72"/>
                </a:lnTo>
                <a:close/>
                <a:moveTo>
                  <a:pt x="136" y="60"/>
                </a:moveTo>
                <a:lnTo>
                  <a:pt x="136" y="60"/>
                </a:lnTo>
                <a:lnTo>
                  <a:pt x="130" y="60"/>
                </a:lnTo>
                <a:lnTo>
                  <a:pt x="124" y="56"/>
                </a:lnTo>
                <a:lnTo>
                  <a:pt x="122" y="50"/>
                </a:lnTo>
                <a:lnTo>
                  <a:pt x="120" y="44"/>
                </a:lnTo>
                <a:lnTo>
                  <a:pt x="120" y="44"/>
                </a:lnTo>
                <a:lnTo>
                  <a:pt x="122" y="38"/>
                </a:lnTo>
                <a:lnTo>
                  <a:pt x="124" y="34"/>
                </a:lnTo>
                <a:lnTo>
                  <a:pt x="130" y="30"/>
                </a:lnTo>
                <a:lnTo>
                  <a:pt x="136" y="28"/>
                </a:lnTo>
                <a:lnTo>
                  <a:pt x="136" y="28"/>
                </a:lnTo>
                <a:lnTo>
                  <a:pt x="142" y="30"/>
                </a:lnTo>
                <a:lnTo>
                  <a:pt x="148" y="34"/>
                </a:lnTo>
                <a:lnTo>
                  <a:pt x="150" y="38"/>
                </a:lnTo>
                <a:lnTo>
                  <a:pt x="152" y="44"/>
                </a:lnTo>
                <a:lnTo>
                  <a:pt x="152" y="44"/>
                </a:lnTo>
                <a:lnTo>
                  <a:pt x="150" y="50"/>
                </a:lnTo>
                <a:lnTo>
                  <a:pt x="148" y="56"/>
                </a:lnTo>
                <a:lnTo>
                  <a:pt x="142" y="60"/>
                </a:lnTo>
                <a:lnTo>
                  <a:pt x="136" y="60"/>
                </a:lnTo>
                <a:lnTo>
                  <a:pt x="136" y="60"/>
                </a:lnTo>
                <a:close/>
                <a:moveTo>
                  <a:pt x="174" y="44"/>
                </a:moveTo>
                <a:lnTo>
                  <a:pt x="174" y="44"/>
                </a:lnTo>
                <a:lnTo>
                  <a:pt x="176" y="38"/>
                </a:lnTo>
                <a:lnTo>
                  <a:pt x="178" y="34"/>
                </a:lnTo>
                <a:lnTo>
                  <a:pt x="184" y="30"/>
                </a:lnTo>
                <a:lnTo>
                  <a:pt x="190" y="28"/>
                </a:lnTo>
                <a:lnTo>
                  <a:pt x="190" y="28"/>
                </a:lnTo>
                <a:lnTo>
                  <a:pt x="196" y="30"/>
                </a:lnTo>
                <a:lnTo>
                  <a:pt x="202" y="34"/>
                </a:lnTo>
                <a:lnTo>
                  <a:pt x="204" y="38"/>
                </a:lnTo>
                <a:lnTo>
                  <a:pt x="206" y="44"/>
                </a:lnTo>
                <a:lnTo>
                  <a:pt x="206" y="44"/>
                </a:lnTo>
                <a:lnTo>
                  <a:pt x="204" y="50"/>
                </a:lnTo>
                <a:lnTo>
                  <a:pt x="202" y="56"/>
                </a:lnTo>
                <a:lnTo>
                  <a:pt x="196" y="60"/>
                </a:lnTo>
                <a:lnTo>
                  <a:pt x="190" y="60"/>
                </a:lnTo>
                <a:lnTo>
                  <a:pt x="190" y="60"/>
                </a:lnTo>
                <a:lnTo>
                  <a:pt x="184" y="60"/>
                </a:lnTo>
                <a:lnTo>
                  <a:pt x="178" y="56"/>
                </a:lnTo>
                <a:lnTo>
                  <a:pt x="176" y="50"/>
                </a:lnTo>
                <a:lnTo>
                  <a:pt x="174" y="44"/>
                </a:lnTo>
                <a:lnTo>
                  <a:pt x="174" y="44"/>
                </a:lnTo>
                <a:close/>
                <a:moveTo>
                  <a:pt x="220" y="44"/>
                </a:moveTo>
                <a:lnTo>
                  <a:pt x="220" y="44"/>
                </a:lnTo>
                <a:lnTo>
                  <a:pt x="222" y="38"/>
                </a:lnTo>
                <a:lnTo>
                  <a:pt x="226" y="34"/>
                </a:lnTo>
                <a:lnTo>
                  <a:pt x="230" y="30"/>
                </a:lnTo>
                <a:lnTo>
                  <a:pt x="236" y="28"/>
                </a:lnTo>
                <a:lnTo>
                  <a:pt x="236" y="28"/>
                </a:lnTo>
                <a:lnTo>
                  <a:pt x="242" y="30"/>
                </a:lnTo>
                <a:lnTo>
                  <a:pt x="248" y="34"/>
                </a:lnTo>
                <a:lnTo>
                  <a:pt x="252" y="38"/>
                </a:lnTo>
                <a:lnTo>
                  <a:pt x="252" y="44"/>
                </a:lnTo>
                <a:lnTo>
                  <a:pt x="252" y="44"/>
                </a:lnTo>
                <a:lnTo>
                  <a:pt x="252" y="50"/>
                </a:lnTo>
                <a:lnTo>
                  <a:pt x="248" y="56"/>
                </a:lnTo>
                <a:lnTo>
                  <a:pt x="242" y="60"/>
                </a:lnTo>
                <a:lnTo>
                  <a:pt x="236" y="60"/>
                </a:lnTo>
                <a:lnTo>
                  <a:pt x="236" y="60"/>
                </a:lnTo>
                <a:lnTo>
                  <a:pt x="230" y="60"/>
                </a:lnTo>
                <a:lnTo>
                  <a:pt x="226" y="56"/>
                </a:lnTo>
                <a:lnTo>
                  <a:pt x="222" y="50"/>
                </a:lnTo>
                <a:lnTo>
                  <a:pt x="220" y="44"/>
                </a:lnTo>
                <a:lnTo>
                  <a:pt x="220" y="44"/>
                </a:lnTo>
                <a:close/>
                <a:moveTo>
                  <a:pt x="54" y="44"/>
                </a:moveTo>
                <a:lnTo>
                  <a:pt x="54" y="44"/>
                </a:lnTo>
                <a:lnTo>
                  <a:pt x="52" y="50"/>
                </a:lnTo>
                <a:lnTo>
                  <a:pt x="48" y="56"/>
                </a:lnTo>
                <a:lnTo>
                  <a:pt x="44" y="60"/>
                </a:lnTo>
                <a:lnTo>
                  <a:pt x="38" y="60"/>
                </a:lnTo>
                <a:lnTo>
                  <a:pt x="38" y="60"/>
                </a:lnTo>
                <a:lnTo>
                  <a:pt x="32" y="60"/>
                </a:lnTo>
                <a:lnTo>
                  <a:pt x="26" y="56"/>
                </a:lnTo>
                <a:lnTo>
                  <a:pt x="22" y="50"/>
                </a:lnTo>
                <a:lnTo>
                  <a:pt x="22" y="44"/>
                </a:lnTo>
                <a:lnTo>
                  <a:pt x="22" y="44"/>
                </a:lnTo>
                <a:lnTo>
                  <a:pt x="22" y="38"/>
                </a:lnTo>
                <a:lnTo>
                  <a:pt x="26" y="34"/>
                </a:lnTo>
                <a:lnTo>
                  <a:pt x="32" y="30"/>
                </a:lnTo>
                <a:lnTo>
                  <a:pt x="38" y="28"/>
                </a:lnTo>
                <a:lnTo>
                  <a:pt x="38" y="28"/>
                </a:lnTo>
                <a:lnTo>
                  <a:pt x="44" y="30"/>
                </a:lnTo>
                <a:lnTo>
                  <a:pt x="48" y="34"/>
                </a:lnTo>
                <a:lnTo>
                  <a:pt x="52" y="38"/>
                </a:lnTo>
                <a:lnTo>
                  <a:pt x="54" y="44"/>
                </a:lnTo>
                <a:lnTo>
                  <a:pt x="54" y="44"/>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51" algn="ctr" fontAlgn="ctr">
              <a:buClr>
                <a:srgbClr val="990000"/>
              </a:buClr>
              <a:buSzPct val="60000"/>
              <a:defRPr/>
            </a:pPr>
            <a:endParaRPr lang="zh-CN" altLang="en-US" sz="1799" dirty="0">
              <a:solidFill>
                <a:schemeClr val="bg1"/>
              </a:solidFill>
              <a:latin typeface="Calibri" panose="020F0502020204030204" pitchFamily="34" charset="0"/>
              <a:sym typeface="Arial"/>
            </a:endParaRPr>
          </a:p>
        </p:txBody>
      </p:sp>
      <p:sp>
        <p:nvSpPr>
          <p:cNvPr id="232" name="矩形 231"/>
          <p:cNvSpPr/>
          <p:nvPr/>
        </p:nvSpPr>
        <p:spPr>
          <a:xfrm>
            <a:off x="3074251" y="5851232"/>
            <a:ext cx="1060697" cy="307768"/>
          </a:xfrm>
          <a:prstGeom prst="rect">
            <a:avLst/>
          </a:prstGeom>
        </p:spPr>
        <p:txBody>
          <a:bodyPr wrap="square" lIns="121912" tIns="60956" rIns="121912" bIns="60956">
            <a:spAutoFit/>
          </a:bodyPr>
          <a:lstStyle/>
          <a:p>
            <a:pPr algn="ctr"/>
            <a:r>
              <a:rPr lang="en-US" altLang="zh-CN" sz="1200" dirty="0">
                <a:solidFill>
                  <a:schemeClr val="bg1"/>
                </a:solidFill>
                <a:latin typeface="Calibri" panose="020F0502020204030204" pitchFamily="34" charset="0"/>
                <a:ea typeface="微软雅黑" pitchFamily="34" charset="-122"/>
                <a:cs typeface="Arial" pitchFamily="34" charset="0"/>
              </a:rPr>
              <a:t>Playground</a:t>
            </a:r>
            <a:endParaRPr lang="zh-CN" altLang="en-US" sz="1100" dirty="0">
              <a:solidFill>
                <a:schemeClr val="bg1"/>
              </a:solidFill>
              <a:latin typeface="Calibri" panose="020F0502020204030204" pitchFamily="34" charset="0"/>
              <a:ea typeface="微软雅黑" pitchFamily="34" charset="-122"/>
              <a:cs typeface="Arial" pitchFamily="34" charset="0"/>
            </a:endParaRPr>
          </a:p>
        </p:txBody>
      </p:sp>
      <p:sp>
        <p:nvSpPr>
          <p:cNvPr id="253" name="矩形 252"/>
          <p:cNvSpPr/>
          <p:nvPr/>
        </p:nvSpPr>
        <p:spPr>
          <a:xfrm>
            <a:off x="1777832" y="2858282"/>
            <a:ext cx="1041282" cy="323029"/>
          </a:xfrm>
          <a:prstGeom prst="rect">
            <a:avLst/>
          </a:prstGeom>
        </p:spPr>
        <p:txBody>
          <a:bodyPr wrap="square" lIns="121912" tIns="60956" rIns="121912" bIns="60956">
            <a:spAutoFit/>
          </a:bodyPr>
          <a:lstStyle/>
          <a:p>
            <a:pPr algn="ctr">
              <a:defRPr/>
            </a:pPr>
            <a:r>
              <a:rPr lang="en-US" altLang="zh-CN" sz="1299" b="1" dirty="0">
                <a:solidFill>
                  <a:schemeClr val="bg1"/>
                </a:solidFill>
                <a:latin typeface="Calibri" panose="020F0502020204030204" pitchFamily="34" charset="0"/>
                <a:ea typeface="微软雅黑" pitchFamily="34" charset="-122"/>
                <a:cs typeface="Arial" pitchFamily="34" charset="0"/>
              </a:rPr>
              <a:t>Internet </a:t>
            </a:r>
          </a:p>
        </p:txBody>
      </p:sp>
      <p:sp>
        <p:nvSpPr>
          <p:cNvPr id="279" name="820259510"/>
          <p:cNvSpPr txBox="1">
            <a:spLocks noChangeArrowheads="1"/>
          </p:cNvSpPr>
          <p:nvPr/>
        </p:nvSpPr>
        <p:spPr bwMode="auto">
          <a:xfrm>
            <a:off x="2793835" y="2027533"/>
            <a:ext cx="1782119" cy="269114"/>
          </a:xfrm>
          <a:prstGeom prst="rect">
            <a:avLst/>
          </a:prstGeom>
          <a:noFill/>
          <a:ln w="9525">
            <a:noFill/>
            <a:miter lim="800000"/>
            <a:headEnd/>
            <a:tailEnd/>
          </a:ln>
        </p:spPr>
        <p:txBody>
          <a:bodyPr wrap="square" lIns="68519" tIns="34259" rIns="68519" bIns="34259">
            <a:spAutoFit/>
          </a:bodyPr>
          <a:lstStyle/>
          <a:p>
            <a:pPr algn="ctr">
              <a:defRPr/>
            </a:pPr>
            <a:r>
              <a:rPr lang="en-US" altLang="zh-CN" sz="1299" kern="0" dirty="0">
                <a:solidFill>
                  <a:schemeClr val="bg1"/>
                </a:solidFill>
                <a:latin typeface="+mj-lt"/>
                <a:cs typeface="Arial" pitchFamily="34" charset="0"/>
              </a:rPr>
              <a:t>Cloud Data Center</a:t>
            </a:r>
            <a:endParaRPr lang="zh-CN" altLang="en-US" sz="1299" kern="0" dirty="0">
              <a:solidFill>
                <a:schemeClr val="bg1"/>
              </a:solidFill>
              <a:latin typeface="+mj-lt"/>
              <a:cs typeface="Arial" pitchFamily="34" charset="0"/>
            </a:endParaRPr>
          </a:p>
        </p:txBody>
      </p:sp>
      <p:grpSp>
        <p:nvGrpSpPr>
          <p:cNvPr id="280" name="组合 294"/>
          <p:cNvGrpSpPr/>
          <p:nvPr/>
        </p:nvGrpSpPr>
        <p:grpSpPr>
          <a:xfrm>
            <a:off x="3294733" y="4471984"/>
            <a:ext cx="466815" cy="135921"/>
            <a:chOff x="3293224" y="1661160"/>
            <a:chExt cx="952523" cy="143976"/>
          </a:xfrm>
          <a:solidFill>
            <a:schemeClr val="tx1"/>
          </a:solidFill>
        </p:grpSpPr>
        <p:grpSp>
          <p:nvGrpSpPr>
            <p:cNvPr id="281" name="组合 192"/>
            <p:cNvGrpSpPr/>
            <p:nvPr/>
          </p:nvGrpSpPr>
          <p:grpSpPr>
            <a:xfrm>
              <a:off x="3984132" y="1725247"/>
              <a:ext cx="108860" cy="20192"/>
              <a:chOff x="10707167" y="1194489"/>
              <a:chExt cx="196850" cy="36513"/>
            </a:xfrm>
            <a:grpFill/>
          </p:grpSpPr>
          <p:sp>
            <p:nvSpPr>
              <p:cNvPr id="283" name="Freeform 6"/>
              <p:cNvSpPr>
                <a:spLocks/>
              </p:cNvSpPr>
              <p:nvPr/>
            </p:nvSpPr>
            <p:spPr bwMode="auto">
              <a:xfrm>
                <a:off x="10707167" y="1194489"/>
                <a:ext cx="36513" cy="36513"/>
              </a:xfrm>
              <a:custGeom>
                <a:avLst/>
                <a:gdLst/>
                <a:ahLst/>
                <a:cxnLst>
                  <a:cxn ang="0">
                    <a:pos x="189" y="343"/>
                  </a:cxn>
                  <a:cxn ang="0">
                    <a:pos x="222" y="336"/>
                  </a:cxn>
                  <a:cxn ang="0">
                    <a:pos x="253" y="322"/>
                  </a:cxn>
                  <a:cxn ang="0">
                    <a:pos x="280" y="304"/>
                  </a:cxn>
                  <a:cxn ang="0">
                    <a:pos x="304" y="282"/>
                  </a:cxn>
                  <a:cxn ang="0">
                    <a:pos x="322" y="254"/>
                  </a:cxn>
                  <a:cxn ang="0">
                    <a:pos x="335" y="224"/>
                  </a:cxn>
                  <a:cxn ang="0">
                    <a:pos x="341" y="190"/>
                  </a:cxn>
                  <a:cxn ang="0">
                    <a:pos x="341" y="154"/>
                  </a:cxn>
                  <a:cxn ang="0">
                    <a:pos x="335" y="122"/>
                  </a:cxn>
                  <a:cxn ang="0">
                    <a:pos x="322" y="91"/>
                  </a:cxn>
                  <a:cxn ang="0">
                    <a:pos x="304" y="64"/>
                  </a:cxn>
                  <a:cxn ang="0">
                    <a:pos x="280" y="40"/>
                  </a:cxn>
                  <a:cxn ang="0">
                    <a:pos x="253" y="22"/>
                  </a:cxn>
                  <a:cxn ang="0">
                    <a:pos x="222" y="9"/>
                  </a:cxn>
                  <a:cxn ang="0">
                    <a:pos x="189" y="1"/>
                  </a:cxn>
                  <a:cxn ang="0">
                    <a:pos x="154" y="1"/>
                  </a:cxn>
                  <a:cxn ang="0">
                    <a:pos x="121" y="9"/>
                  </a:cxn>
                  <a:cxn ang="0">
                    <a:pos x="90" y="22"/>
                  </a:cxn>
                  <a:cxn ang="0">
                    <a:pos x="63" y="40"/>
                  </a:cxn>
                  <a:cxn ang="0">
                    <a:pos x="39" y="64"/>
                  </a:cxn>
                  <a:cxn ang="0">
                    <a:pos x="21" y="91"/>
                  </a:cxn>
                  <a:cxn ang="0">
                    <a:pos x="9" y="122"/>
                  </a:cxn>
                  <a:cxn ang="0">
                    <a:pos x="2" y="154"/>
                  </a:cxn>
                  <a:cxn ang="0">
                    <a:pos x="2" y="190"/>
                  </a:cxn>
                  <a:cxn ang="0">
                    <a:pos x="9" y="224"/>
                  </a:cxn>
                  <a:cxn ang="0">
                    <a:pos x="21" y="254"/>
                  </a:cxn>
                  <a:cxn ang="0">
                    <a:pos x="39" y="282"/>
                  </a:cxn>
                  <a:cxn ang="0">
                    <a:pos x="63" y="304"/>
                  </a:cxn>
                  <a:cxn ang="0">
                    <a:pos x="90" y="322"/>
                  </a:cxn>
                  <a:cxn ang="0">
                    <a:pos x="121" y="336"/>
                  </a:cxn>
                  <a:cxn ang="0">
                    <a:pos x="154" y="343"/>
                  </a:cxn>
                </a:cxnLst>
                <a:rect l="0" t="0" r="r" b="b"/>
                <a:pathLst>
                  <a:path w="342" h="344">
                    <a:moveTo>
                      <a:pt x="171" y="344"/>
                    </a:moveTo>
                    <a:lnTo>
                      <a:pt x="189" y="343"/>
                    </a:lnTo>
                    <a:lnTo>
                      <a:pt x="206" y="340"/>
                    </a:lnTo>
                    <a:lnTo>
                      <a:pt x="222" y="336"/>
                    </a:lnTo>
                    <a:lnTo>
                      <a:pt x="238" y="331"/>
                    </a:lnTo>
                    <a:lnTo>
                      <a:pt x="253" y="322"/>
                    </a:lnTo>
                    <a:lnTo>
                      <a:pt x="267" y="314"/>
                    </a:lnTo>
                    <a:lnTo>
                      <a:pt x="280" y="304"/>
                    </a:lnTo>
                    <a:lnTo>
                      <a:pt x="292" y="293"/>
                    </a:lnTo>
                    <a:lnTo>
                      <a:pt x="304" y="282"/>
                    </a:lnTo>
                    <a:lnTo>
                      <a:pt x="313" y="268"/>
                    </a:lnTo>
                    <a:lnTo>
                      <a:pt x="322" y="254"/>
                    </a:lnTo>
                    <a:lnTo>
                      <a:pt x="329" y="239"/>
                    </a:lnTo>
                    <a:lnTo>
                      <a:pt x="335" y="224"/>
                    </a:lnTo>
                    <a:lnTo>
                      <a:pt x="339" y="206"/>
                    </a:lnTo>
                    <a:lnTo>
                      <a:pt x="341" y="190"/>
                    </a:lnTo>
                    <a:lnTo>
                      <a:pt x="342" y="173"/>
                    </a:lnTo>
                    <a:lnTo>
                      <a:pt x="341" y="154"/>
                    </a:lnTo>
                    <a:lnTo>
                      <a:pt x="339" y="138"/>
                    </a:lnTo>
                    <a:lnTo>
                      <a:pt x="335" y="122"/>
                    </a:lnTo>
                    <a:lnTo>
                      <a:pt x="329" y="105"/>
                    </a:lnTo>
                    <a:lnTo>
                      <a:pt x="322" y="91"/>
                    </a:lnTo>
                    <a:lnTo>
                      <a:pt x="313" y="77"/>
                    </a:lnTo>
                    <a:lnTo>
                      <a:pt x="304" y="64"/>
                    </a:lnTo>
                    <a:lnTo>
                      <a:pt x="292" y="51"/>
                    </a:lnTo>
                    <a:lnTo>
                      <a:pt x="280" y="40"/>
                    </a:lnTo>
                    <a:lnTo>
                      <a:pt x="267" y="30"/>
                    </a:lnTo>
                    <a:lnTo>
                      <a:pt x="253" y="22"/>
                    </a:lnTo>
                    <a:lnTo>
                      <a:pt x="238" y="15"/>
                    </a:lnTo>
                    <a:lnTo>
                      <a:pt x="222" y="9"/>
                    </a:lnTo>
                    <a:lnTo>
                      <a:pt x="206" y="4"/>
                    </a:lnTo>
                    <a:lnTo>
                      <a:pt x="189" y="1"/>
                    </a:lnTo>
                    <a:lnTo>
                      <a:pt x="171" y="0"/>
                    </a:lnTo>
                    <a:lnTo>
                      <a:pt x="154" y="1"/>
                    </a:lnTo>
                    <a:lnTo>
                      <a:pt x="137" y="4"/>
                    </a:lnTo>
                    <a:lnTo>
                      <a:pt x="121" y="9"/>
                    </a:lnTo>
                    <a:lnTo>
                      <a:pt x="105" y="15"/>
                    </a:lnTo>
                    <a:lnTo>
                      <a:pt x="90" y="22"/>
                    </a:lnTo>
                    <a:lnTo>
                      <a:pt x="76" y="30"/>
                    </a:lnTo>
                    <a:lnTo>
                      <a:pt x="63" y="40"/>
                    </a:lnTo>
                    <a:lnTo>
                      <a:pt x="50" y="51"/>
                    </a:lnTo>
                    <a:lnTo>
                      <a:pt x="39" y="64"/>
                    </a:lnTo>
                    <a:lnTo>
                      <a:pt x="30" y="77"/>
                    </a:lnTo>
                    <a:lnTo>
                      <a:pt x="21" y="91"/>
                    </a:lnTo>
                    <a:lnTo>
                      <a:pt x="14" y="105"/>
                    </a:lnTo>
                    <a:lnTo>
                      <a:pt x="9" y="122"/>
                    </a:lnTo>
                    <a:lnTo>
                      <a:pt x="4" y="138"/>
                    </a:lnTo>
                    <a:lnTo>
                      <a:pt x="2" y="154"/>
                    </a:lnTo>
                    <a:lnTo>
                      <a:pt x="0" y="173"/>
                    </a:lnTo>
                    <a:lnTo>
                      <a:pt x="2" y="190"/>
                    </a:lnTo>
                    <a:lnTo>
                      <a:pt x="4" y="206"/>
                    </a:lnTo>
                    <a:lnTo>
                      <a:pt x="9" y="224"/>
                    </a:lnTo>
                    <a:lnTo>
                      <a:pt x="14" y="239"/>
                    </a:lnTo>
                    <a:lnTo>
                      <a:pt x="21" y="254"/>
                    </a:lnTo>
                    <a:lnTo>
                      <a:pt x="30" y="268"/>
                    </a:lnTo>
                    <a:lnTo>
                      <a:pt x="39" y="282"/>
                    </a:lnTo>
                    <a:lnTo>
                      <a:pt x="50" y="293"/>
                    </a:lnTo>
                    <a:lnTo>
                      <a:pt x="63" y="304"/>
                    </a:lnTo>
                    <a:lnTo>
                      <a:pt x="76" y="314"/>
                    </a:lnTo>
                    <a:lnTo>
                      <a:pt x="90" y="322"/>
                    </a:lnTo>
                    <a:lnTo>
                      <a:pt x="105" y="331"/>
                    </a:lnTo>
                    <a:lnTo>
                      <a:pt x="121" y="336"/>
                    </a:lnTo>
                    <a:lnTo>
                      <a:pt x="137" y="340"/>
                    </a:lnTo>
                    <a:lnTo>
                      <a:pt x="154" y="343"/>
                    </a:lnTo>
                    <a:lnTo>
                      <a:pt x="171" y="344"/>
                    </a:lnTo>
                    <a:close/>
                  </a:path>
                </a:pathLst>
              </a:custGeom>
              <a:grpFill/>
              <a:ln w="9525">
                <a:solidFill>
                  <a:srgbClr val="00B0F0"/>
                </a:solidFill>
                <a:round/>
                <a:headEnd/>
                <a:tailEnd/>
              </a:ln>
            </p:spPr>
            <p:txBody>
              <a:bodyPr vert="horz" wrap="square" lIns="91416" tIns="45708" rIns="91416" bIns="45708" numCol="1" anchor="t" anchorCtr="0" compatLnSpc="1">
                <a:prstTxWarp prst="textNoShape">
                  <a:avLst/>
                </a:prstTxWarp>
              </a:bodyPr>
              <a:lstStyle/>
              <a:p>
                <a:endParaRPr lang="zh-CN" altLang="en-US" sz="1799" dirty="0">
                  <a:solidFill>
                    <a:schemeClr val="bg1"/>
                  </a:solidFill>
                  <a:latin typeface="Calibri" panose="020F0502020204030204" pitchFamily="34" charset="0"/>
                  <a:ea typeface="微软雅黑" pitchFamily="34" charset="-122"/>
                </a:endParaRPr>
              </a:p>
            </p:txBody>
          </p:sp>
          <p:sp>
            <p:nvSpPr>
              <p:cNvPr id="284" name="Freeform 7"/>
              <p:cNvSpPr>
                <a:spLocks/>
              </p:cNvSpPr>
              <p:nvPr/>
            </p:nvSpPr>
            <p:spPr bwMode="auto">
              <a:xfrm>
                <a:off x="10761142" y="1194489"/>
                <a:ext cx="36513" cy="36513"/>
              </a:xfrm>
              <a:custGeom>
                <a:avLst/>
                <a:gdLst/>
                <a:ahLst/>
                <a:cxnLst>
                  <a:cxn ang="0">
                    <a:pos x="189" y="343"/>
                  </a:cxn>
                  <a:cxn ang="0">
                    <a:pos x="222" y="336"/>
                  </a:cxn>
                  <a:cxn ang="0">
                    <a:pos x="253" y="322"/>
                  </a:cxn>
                  <a:cxn ang="0">
                    <a:pos x="280" y="304"/>
                  </a:cxn>
                  <a:cxn ang="0">
                    <a:pos x="303" y="282"/>
                  </a:cxn>
                  <a:cxn ang="0">
                    <a:pos x="321" y="254"/>
                  </a:cxn>
                  <a:cxn ang="0">
                    <a:pos x="335" y="224"/>
                  </a:cxn>
                  <a:cxn ang="0">
                    <a:pos x="342" y="190"/>
                  </a:cxn>
                  <a:cxn ang="0">
                    <a:pos x="342" y="154"/>
                  </a:cxn>
                  <a:cxn ang="0">
                    <a:pos x="335" y="122"/>
                  </a:cxn>
                  <a:cxn ang="0">
                    <a:pos x="321" y="91"/>
                  </a:cxn>
                  <a:cxn ang="0">
                    <a:pos x="303" y="64"/>
                  </a:cxn>
                  <a:cxn ang="0">
                    <a:pos x="280" y="40"/>
                  </a:cxn>
                  <a:cxn ang="0">
                    <a:pos x="253" y="22"/>
                  </a:cxn>
                  <a:cxn ang="0">
                    <a:pos x="222" y="9"/>
                  </a:cxn>
                  <a:cxn ang="0">
                    <a:pos x="189" y="1"/>
                  </a:cxn>
                  <a:cxn ang="0">
                    <a:pos x="154" y="1"/>
                  </a:cxn>
                  <a:cxn ang="0">
                    <a:pos x="121" y="9"/>
                  </a:cxn>
                  <a:cxn ang="0">
                    <a:pos x="90" y="22"/>
                  </a:cxn>
                  <a:cxn ang="0">
                    <a:pos x="63" y="40"/>
                  </a:cxn>
                  <a:cxn ang="0">
                    <a:pos x="40" y="64"/>
                  </a:cxn>
                  <a:cxn ang="0">
                    <a:pos x="21" y="91"/>
                  </a:cxn>
                  <a:cxn ang="0">
                    <a:pos x="8" y="122"/>
                  </a:cxn>
                  <a:cxn ang="0">
                    <a:pos x="1" y="154"/>
                  </a:cxn>
                  <a:cxn ang="0">
                    <a:pos x="1" y="190"/>
                  </a:cxn>
                  <a:cxn ang="0">
                    <a:pos x="8" y="224"/>
                  </a:cxn>
                  <a:cxn ang="0">
                    <a:pos x="21" y="254"/>
                  </a:cxn>
                  <a:cxn ang="0">
                    <a:pos x="40" y="282"/>
                  </a:cxn>
                  <a:cxn ang="0">
                    <a:pos x="63" y="304"/>
                  </a:cxn>
                  <a:cxn ang="0">
                    <a:pos x="90" y="322"/>
                  </a:cxn>
                  <a:cxn ang="0">
                    <a:pos x="121" y="336"/>
                  </a:cxn>
                  <a:cxn ang="0">
                    <a:pos x="154" y="343"/>
                  </a:cxn>
                </a:cxnLst>
                <a:rect l="0" t="0" r="r" b="b"/>
                <a:pathLst>
                  <a:path w="343" h="344">
                    <a:moveTo>
                      <a:pt x="172" y="344"/>
                    </a:moveTo>
                    <a:lnTo>
                      <a:pt x="189" y="343"/>
                    </a:lnTo>
                    <a:lnTo>
                      <a:pt x="205" y="340"/>
                    </a:lnTo>
                    <a:lnTo>
                      <a:pt x="222" y="336"/>
                    </a:lnTo>
                    <a:lnTo>
                      <a:pt x="238" y="331"/>
                    </a:lnTo>
                    <a:lnTo>
                      <a:pt x="253" y="322"/>
                    </a:lnTo>
                    <a:lnTo>
                      <a:pt x="267" y="314"/>
                    </a:lnTo>
                    <a:lnTo>
                      <a:pt x="280" y="304"/>
                    </a:lnTo>
                    <a:lnTo>
                      <a:pt x="292" y="293"/>
                    </a:lnTo>
                    <a:lnTo>
                      <a:pt x="303" y="282"/>
                    </a:lnTo>
                    <a:lnTo>
                      <a:pt x="313" y="268"/>
                    </a:lnTo>
                    <a:lnTo>
                      <a:pt x="321" y="254"/>
                    </a:lnTo>
                    <a:lnTo>
                      <a:pt x="330" y="239"/>
                    </a:lnTo>
                    <a:lnTo>
                      <a:pt x="335" y="224"/>
                    </a:lnTo>
                    <a:lnTo>
                      <a:pt x="339" y="206"/>
                    </a:lnTo>
                    <a:lnTo>
                      <a:pt x="342" y="190"/>
                    </a:lnTo>
                    <a:lnTo>
                      <a:pt x="343" y="173"/>
                    </a:lnTo>
                    <a:lnTo>
                      <a:pt x="342" y="154"/>
                    </a:lnTo>
                    <a:lnTo>
                      <a:pt x="339" y="138"/>
                    </a:lnTo>
                    <a:lnTo>
                      <a:pt x="335" y="122"/>
                    </a:lnTo>
                    <a:lnTo>
                      <a:pt x="330" y="105"/>
                    </a:lnTo>
                    <a:lnTo>
                      <a:pt x="321" y="91"/>
                    </a:lnTo>
                    <a:lnTo>
                      <a:pt x="313" y="77"/>
                    </a:lnTo>
                    <a:lnTo>
                      <a:pt x="303" y="64"/>
                    </a:lnTo>
                    <a:lnTo>
                      <a:pt x="292" y="51"/>
                    </a:lnTo>
                    <a:lnTo>
                      <a:pt x="280" y="40"/>
                    </a:lnTo>
                    <a:lnTo>
                      <a:pt x="267" y="30"/>
                    </a:lnTo>
                    <a:lnTo>
                      <a:pt x="253" y="22"/>
                    </a:lnTo>
                    <a:lnTo>
                      <a:pt x="238" y="15"/>
                    </a:lnTo>
                    <a:lnTo>
                      <a:pt x="222" y="9"/>
                    </a:lnTo>
                    <a:lnTo>
                      <a:pt x="205" y="4"/>
                    </a:lnTo>
                    <a:lnTo>
                      <a:pt x="189" y="1"/>
                    </a:lnTo>
                    <a:lnTo>
                      <a:pt x="172" y="0"/>
                    </a:lnTo>
                    <a:lnTo>
                      <a:pt x="154" y="1"/>
                    </a:lnTo>
                    <a:lnTo>
                      <a:pt x="137" y="4"/>
                    </a:lnTo>
                    <a:lnTo>
                      <a:pt x="121" y="9"/>
                    </a:lnTo>
                    <a:lnTo>
                      <a:pt x="105" y="15"/>
                    </a:lnTo>
                    <a:lnTo>
                      <a:pt x="90" y="22"/>
                    </a:lnTo>
                    <a:lnTo>
                      <a:pt x="76" y="30"/>
                    </a:lnTo>
                    <a:lnTo>
                      <a:pt x="63" y="40"/>
                    </a:lnTo>
                    <a:lnTo>
                      <a:pt x="51" y="51"/>
                    </a:lnTo>
                    <a:lnTo>
                      <a:pt x="40" y="64"/>
                    </a:lnTo>
                    <a:lnTo>
                      <a:pt x="30" y="77"/>
                    </a:lnTo>
                    <a:lnTo>
                      <a:pt x="21" y="91"/>
                    </a:lnTo>
                    <a:lnTo>
                      <a:pt x="14" y="105"/>
                    </a:lnTo>
                    <a:lnTo>
                      <a:pt x="8" y="122"/>
                    </a:lnTo>
                    <a:lnTo>
                      <a:pt x="4" y="138"/>
                    </a:lnTo>
                    <a:lnTo>
                      <a:pt x="1" y="154"/>
                    </a:lnTo>
                    <a:lnTo>
                      <a:pt x="0" y="173"/>
                    </a:lnTo>
                    <a:lnTo>
                      <a:pt x="1" y="190"/>
                    </a:lnTo>
                    <a:lnTo>
                      <a:pt x="4" y="206"/>
                    </a:lnTo>
                    <a:lnTo>
                      <a:pt x="8" y="224"/>
                    </a:lnTo>
                    <a:lnTo>
                      <a:pt x="14" y="239"/>
                    </a:lnTo>
                    <a:lnTo>
                      <a:pt x="21" y="254"/>
                    </a:lnTo>
                    <a:lnTo>
                      <a:pt x="30" y="268"/>
                    </a:lnTo>
                    <a:lnTo>
                      <a:pt x="40" y="282"/>
                    </a:lnTo>
                    <a:lnTo>
                      <a:pt x="51" y="293"/>
                    </a:lnTo>
                    <a:lnTo>
                      <a:pt x="63" y="304"/>
                    </a:lnTo>
                    <a:lnTo>
                      <a:pt x="76" y="314"/>
                    </a:lnTo>
                    <a:lnTo>
                      <a:pt x="90" y="322"/>
                    </a:lnTo>
                    <a:lnTo>
                      <a:pt x="105" y="331"/>
                    </a:lnTo>
                    <a:lnTo>
                      <a:pt x="121" y="336"/>
                    </a:lnTo>
                    <a:lnTo>
                      <a:pt x="137" y="340"/>
                    </a:lnTo>
                    <a:lnTo>
                      <a:pt x="154" y="343"/>
                    </a:lnTo>
                    <a:lnTo>
                      <a:pt x="172" y="344"/>
                    </a:lnTo>
                    <a:close/>
                  </a:path>
                </a:pathLst>
              </a:custGeom>
              <a:grpFill/>
              <a:ln w="9525">
                <a:solidFill>
                  <a:srgbClr val="00B0F0"/>
                </a:solidFill>
                <a:round/>
                <a:headEnd/>
                <a:tailEnd/>
              </a:ln>
            </p:spPr>
            <p:txBody>
              <a:bodyPr vert="horz" wrap="square" lIns="91416" tIns="45708" rIns="91416" bIns="45708" numCol="1" anchor="t" anchorCtr="0" compatLnSpc="1">
                <a:prstTxWarp prst="textNoShape">
                  <a:avLst/>
                </a:prstTxWarp>
              </a:bodyPr>
              <a:lstStyle/>
              <a:p>
                <a:endParaRPr lang="zh-CN" altLang="en-US" sz="1799" dirty="0">
                  <a:solidFill>
                    <a:schemeClr val="bg1"/>
                  </a:solidFill>
                  <a:latin typeface="Calibri" panose="020F0502020204030204" pitchFamily="34" charset="0"/>
                  <a:ea typeface="微软雅黑" pitchFamily="34" charset="-122"/>
                </a:endParaRPr>
              </a:p>
            </p:txBody>
          </p:sp>
          <p:sp>
            <p:nvSpPr>
              <p:cNvPr id="285" name="Freeform 8"/>
              <p:cNvSpPr>
                <a:spLocks/>
              </p:cNvSpPr>
              <p:nvPr/>
            </p:nvSpPr>
            <p:spPr bwMode="auto">
              <a:xfrm>
                <a:off x="10813529" y="1194489"/>
                <a:ext cx="36513" cy="36513"/>
              </a:xfrm>
              <a:custGeom>
                <a:avLst/>
                <a:gdLst/>
                <a:ahLst/>
                <a:cxnLst>
                  <a:cxn ang="0">
                    <a:pos x="188" y="343"/>
                  </a:cxn>
                  <a:cxn ang="0">
                    <a:pos x="221" y="336"/>
                  </a:cxn>
                  <a:cxn ang="0">
                    <a:pos x="252" y="322"/>
                  </a:cxn>
                  <a:cxn ang="0">
                    <a:pos x="279" y="304"/>
                  </a:cxn>
                  <a:cxn ang="0">
                    <a:pos x="303" y="282"/>
                  </a:cxn>
                  <a:cxn ang="0">
                    <a:pos x="321" y="254"/>
                  </a:cxn>
                  <a:cxn ang="0">
                    <a:pos x="334" y="224"/>
                  </a:cxn>
                  <a:cxn ang="0">
                    <a:pos x="340" y="190"/>
                  </a:cxn>
                  <a:cxn ang="0">
                    <a:pos x="340" y="154"/>
                  </a:cxn>
                  <a:cxn ang="0">
                    <a:pos x="334" y="122"/>
                  </a:cxn>
                  <a:cxn ang="0">
                    <a:pos x="321" y="91"/>
                  </a:cxn>
                  <a:cxn ang="0">
                    <a:pos x="303" y="64"/>
                  </a:cxn>
                  <a:cxn ang="0">
                    <a:pos x="279" y="40"/>
                  </a:cxn>
                  <a:cxn ang="0">
                    <a:pos x="252" y="22"/>
                  </a:cxn>
                  <a:cxn ang="0">
                    <a:pos x="221" y="9"/>
                  </a:cxn>
                  <a:cxn ang="0">
                    <a:pos x="188" y="1"/>
                  </a:cxn>
                  <a:cxn ang="0">
                    <a:pos x="153" y="1"/>
                  </a:cxn>
                  <a:cxn ang="0">
                    <a:pos x="120" y="9"/>
                  </a:cxn>
                  <a:cxn ang="0">
                    <a:pos x="89" y="22"/>
                  </a:cxn>
                  <a:cxn ang="0">
                    <a:pos x="62" y="40"/>
                  </a:cxn>
                  <a:cxn ang="0">
                    <a:pos x="38" y="64"/>
                  </a:cxn>
                  <a:cxn ang="0">
                    <a:pos x="20" y="91"/>
                  </a:cxn>
                  <a:cxn ang="0">
                    <a:pos x="7" y="122"/>
                  </a:cxn>
                  <a:cxn ang="0">
                    <a:pos x="1" y="154"/>
                  </a:cxn>
                  <a:cxn ang="0">
                    <a:pos x="1" y="190"/>
                  </a:cxn>
                  <a:cxn ang="0">
                    <a:pos x="7" y="224"/>
                  </a:cxn>
                  <a:cxn ang="0">
                    <a:pos x="20" y="254"/>
                  </a:cxn>
                  <a:cxn ang="0">
                    <a:pos x="38" y="282"/>
                  </a:cxn>
                  <a:cxn ang="0">
                    <a:pos x="62" y="304"/>
                  </a:cxn>
                  <a:cxn ang="0">
                    <a:pos x="89" y="322"/>
                  </a:cxn>
                  <a:cxn ang="0">
                    <a:pos x="120" y="336"/>
                  </a:cxn>
                  <a:cxn ang="0">
                    <a:pos x="153" y="343"/>
                  </a:cxn>
                </a:cxnLst>
                <a:rect l="0" t="0" r="r" b="b"/>
                <a:pathLst>
                  <a:path w="341" h="344">
                    <a:moveTo>
                      <a:pt x="170" y="344"/>
                    </a:moveTo>
                    <a:lnTo>
                      <a:pt x="188" y="343"/>
                    </a:lnTo>
                    <a:lnTo>
                      <a:pt x="205" y="340"/>
                    </a:lnTo>
                    <a:lnTo>
                      <a:pt x="221" y="336"/>
                    </a:lnTo>
                    <a:lnTo>
                      <a:pt x="237" y="331"/>
                    </a:lnTo>
                    <a:lnTo>
                      <a:pt x="252" y="322"/>
                    </a:lnTo>
                    <a:lnTo>
                      <a:pt x="266" y="314"/>
                    </a:lnTo>
                    <a:lnTo>
                      <a:pt x="279" y="304"/>
                    </a:lnTo>
                    <a:lnTo>
                      <a:pt x="291" y="293"/>
                    </a:lnTo>
                    <a:lnTo>
                      <a:pt x="303" y="282"/>
                    </a:lnTo>
                    <a:lnTo>
                      <a:pt x="312" y="268"/>
                    </a:lnTo>
                    <a:lnTo>
                      <a:pt x="321" y="254"/>
                    </a:lnTo>
                    <a:lnTo>
                      <a:pt x="328" y="239"/>
                    </a:lnTo>
                    <a:lnTo>
                      <a:pt x="334" y="224"/>
                    </a:lnTo>
                    <a:lnTo>
                      <a:pt x="338" y="206"/>
                    </a:lnTo>
                    <a:lnTo>
                      <a:pt x="340" y="190"/>
                    </a:lnTo>
                    <a:lnTo>
                      <a:pt x="341" y="173"/>
                    </a:lnTo>
                    <a:lnTo>
                      <a:pt x="340" y="154"/>
                    </a:lnTo>
                    <a:lnTo>
                      <a:pt x="338" y="138"/>
                    </a:lnTo>
                    <a:lnTo>
                      <a:pt x="334" y="122"/>
                    </a:lnTo>
                    <a:lnTo>
                      <a:pt x="328" y="105"/>
                    </a:lnTo>
                    <a:lnTo>
                      <a:pt x="321" y="91"/>
                    </a:lnTo>
                    <a:lnTo>
                      <a:pt x="312" y="77"/>
                    </a:lnTo>
                    <a:lnTo>
                      <a:pt x="303" y="64"/>
                    </a:lnTo>
                    <a:lnTo>
                      <a:pt x="291" y="51"/>
                    </a:lnTo>
                    <a:lnTo>
                      <a:pt x="279" y="40"/>
                    </a:lnTo>
                    <a:lnTo>
                      <a:pt x="266" y="30"/>
                    </a:lnTo>
                    <a:lnTo>
                      <a:pt x="252" y="22"/>
                    </a:lnTo>
                    <a:lnTo>
                      <a:pt x="237" y="15"/>
                    </a:lnTo>
                    <a:lnTo>
                      <a:pt x="221" y="9"/>
                    </a:lnTo>
                    <a:lnTo>
                      <a:pt x="205" y="4"/>
                    </a:lnTo>
                    <a:lnTo>
                      <a:pt x="188" y="1"/>
                    </a:lnTo>
                    <a:lnTo>
                      <a:pt x="170" y="0"/>
                    </a:lnTo>
                    <a:lnTo>
                      <a:pt x="153" y="1"/>
                    </a:lnTo>
                    <a:lnTo>
                      <a:pt x="136" y="4"/>
                    </a:lnTo>
                    <a:lnTo>
                      <a:pt x="120" y="9"/>
                    </a:lnTo>
                    <a:lnTo>
                      <a:pt x="104" y="15"/>
                    </a:lnTo>
                    <a:lnTo>
                      <a:pt x="89" y="22"/>
                    </a:lnTo>
                    <a:lnTo>
                      <a:pt x="75" y="30"/>
                    </a:lnTo>
                    <a:lnTo>
                      <a:pt x="62" y="40"/>
                    </a:lnTo>
                    <a:lnTo>
                      <a:pt x="49" y="51"/>
                    </a:lnTo>
                    <a:lnTo>
                      <a:pt x="38" y="64"/>
                    </a:lnTo>
                    <a:lnTo>
                      <a:pt x="29" y="77"/>
                    </a:lnTo>
                    <a:lnTo>
                      <a:pt x="20" y="91"/>
                    </a:lnTo>
                    <a:lnTo>
                      <a:pt x="13" y="105"/>
                    </a:lnTo>
                    <a:lnTo>
                      <a:pt x="7" y="122"/>
                    </a:lnTo>
                    <a:lnTo>
                      <a:pt x="3" y="138"/>
                    </a:lnTo>
                    <a:lnTo>
                      <a:pt x="1" y="154"/>
                    </a:lnTo>
                    <a:lnTo>
                      <a:pt x="0" y="173"/>
                    </a:lnTo>
                    <a:lnTo>
                      <a:pt x="1" y="190"/>
                    </a:lnTo>
                    <a:lnTo>
                      <a:pt x="3" y="206"/>
                    </a:lnTo>
                    <a:lnTo>
                      <a:pt x="7" y="224"/>
                    </a:lnTo>
                    <a:lnTo>
                      <a:pt x="13" y="239"/>
                    </a:lnTo>
                    <a:lnTo>
                      <a:pt x="20" y="254"/>
                    </a:lnTo>
                    <a:lnTo>
                      <a:pt x="29" y="268"/>
                    </a:lnTo>
                    <a:lnTo>
                      <a:pt x="38" y="282"/>
                    </a:lnTo>
                    <a:lnTo>
                      <a:pt x="49" y="293"/>
                    </a:lnTo>
                    <a:lnTo>
                      <a:pt x="62" y="304"/>
                    </a:lnTo>
                    <a:lnTo>
                      <a:pt x="75" y="314"/>
                    </a:lnTo>
                    <a:lnTo>
                      <a:pt x="89" y="322"/>
                    </a:lnTo>
                    <a:lnTo>
                      <a:pt x="104" y="331"/>
                    </a:lnTo>
                    <a:lnTo>
                      <a:pt x="120" y="336"/>
                    </a:lnTo>
                    <a:lnTo>
                      <a:pt x="136" y="340"/>
                    </a:lnTo>
                    <a:lnTo>
                      <a:pt x="153" y="343"/>
                    </a:lnTo>
                    <a:lnTo>
                      <a:pt x="170" y="344"/>
                    </a:lnTo>
                    <a:close/>
                  </a:path>
                </a:pathLst>
              </a:custGeom>
              <a:grpFill/>
              <a:ln w="9525">
                <a:solidFill>
                  <a:srgbClr val="00B0F0"/>
                </a:solidFill>
                <a:round/>
                <a:headEnd/>
                <a:tailEnd/>
              </a:ln>
            </p:spPr>
            <p:txBody>
              <a:bodyPr vert="horz" wrap="square" lIns="91416" tIns="45708" rIns="91416" bIns="45708" numCol="1" anchor="t" anchorCtr="0" compatLnSpc="1">
                <a:prstTxWarp prst="textNoShape">
                  <a:avLst/>
                </a:prstTxWarp>
              </a:bodyPr>
              <a:lstStyle/>
              <a:p>
                <a:endParaRPr lang="zh-CN" altLang="en-US" sz="1799" dirty="0">
                  <a:solidFill>
                    <a:schemeClr val="bg1"/>
                  </a:solidFill>
                  <a:latin typeface="Calibri" panose="020F0502020204030204" pitchFamily="34" charset="0"/>
                  <a:ea typeface="微软雅黑" pitchFamily="34" charset="-122"/>
                </a:endParaRPr>
              </a:p>
            </p:txBody>
          </p:sp>
          <p:sp>
            <p:nvSpPr>
              <p:cNvPr id="286" name="Freeform 9"/>
              <p:cNvSpPr>
                <a:spLocks/>
              </p:cNvSpPr>
              <p:nvPr/>
            </p:nvSpPr>
            <p:spPr bwMode="auto">
              <a:xfrm>
                <a:off x="10867504" y="1194489"/>
                <a:ext cx="36513" cy="36513"/>
              </a:xfrm>
              <a:custGeom>
                <a:avLst/>
                <a:gdLst/>
                <a:ahLst/>
                <a:cxnLst>
                  <a:cxn ang="0">
                    <a:pos x="189" y="343"/>
                  </a:cxn>
                  <a:cxn ang="0">
                    <a:pos x="222" y="336"/>
                  </a:cxn>
                  <a:cxn ang="0">
                    <a:pos x="253" y="322"/>
                  </a:cxn>
                  <a:cxn ang="0">
                    <a:pos x="280" y="304"/>
                  </a:cxn>
                  <a:cxn ang="0">
                    <a:pos x="303" y="282"/>
                  </a:cxn>
                  <a:cxn ang="0">
                    <a:pos x="322" y="254"/>
                  </a:cxn>
                  <a:cxn ang="0">
                    <a:pos x="335" y="224"/>
                  </a:cxn>
                  <a:cxn ang="0">
                    <a:pos x="342" y="190"/>
                  </a:cxn>
                  <a:cxn ang="0">
                    <a:pos x="342" y="154"/>
                  </a:cxn>
                  <a:cxn ang="0">
                    <a:pos x="335" y="122"/>
                  </a:cxn>
                  <a:cxn ang="0">
                    <a:pos x="322" y="91"/>
                  </a:cxn>
                  <a:cxn ang="0">
                    <a:pos x="303" y="64"/>
                  </a:cxn>
                  <a:cxn ang="0">
                    <a:pos x="280" y="40"/>
                  </a:cxn>
                  <a:cxn ang="0">
                    <a:pos x="253" y="22"/>
                  </a:cxn>
                  <a:cxn ang="0">
                    <a:pos x="222" y="9"/>
                  </a:cxn>
                  <a:cxn ang="0">
                    <a:pos x="189" y="1"/>
                  </a:cxn>
                  <a:cxn ang="0">
                    <a:pos x="154" y="1"/>
                  </a:cxn>
                  <a:cxn ang="0">
                    <a:pos x="121" y="9"/>
                  </a:cxn>
                  <a:cxn ang="0">
                    <a:pos x="90" y="22"/>
                  </a:cxn>
                  <a:cxn ang="0">
                    <a:pos x="63" y="40"/>
                  </a:cxn>
                  <a:cxn ang="0">
                    <a:pos x="40" y="64"/>
                  </a:cxn>
                  <a:cxn ang="0">
                    <a:pos x="21" y="91"/>
                  </a:cxn>
                  <a:cxn ang="0">
                    <a:pos x="8" y="122"/>
                  </a:cxn>
                  <a:cxn ang="0">
                    <a:pos x="1" y="154"/>
                  </a:cxn>
                  <a:cxn ang="0">
                    <a:pos x="1" y="190"/>
                  </a:cxn>
                  <a:cxn ang="0">
                    <a:pos x="8" y="224"/>
                  </a:cxn>
                  <a:cxn ang="0">
                    <a:pos x="21" y="254"/>
                  </a:cxn>
                  <a:cxn ang="0">
                    <a:pos x="40" y="282"/>
                  </a:cxn>
                  <a:cxn ang="0">
                    <a:pos x="63" y="304"/>
                  </a:cxn>
                  <a:cxn ang="0">
                    <a:pos x="90" y="322"/>
                  </a:cxn>
                  <a:cxn ang="0">
                    <a:pos x="121" y="336"/>
                  </a:cxn>
                  <a:cxn ang="0">
                    <a:pos x="154" y="343"/>
                  </a:cxn>
                </a:cxnLst>
                <a:rect l="0" t="0" r="r" b="b"/>
                <a:pathLst>
                  <a:path w="343" h="344">
                    <a:moveTo>
                      <a:pt x="172" y="344"/>
                    </a:moveTo>
                    <a:lnTo>
                      <a:pt x="189" y="343"/>
                    </a:lnTo>
                    <a:lnTo>
                      <a:pt x="206" y="340"/>
                    </a:lnTo>
                    <a:lnTo>
                      <a:pt x="222" y="336"/>
                    </a:lnTo>
                    <a:lnTo>
                      <a:pt x="238" y="331"/>
                    </a:lnTo>
                    <a:lnTo>
                      <a:pt x="253" y="322"/>
                    </a:lnTo>
                    <a:lnTo>
                      <a:pt x="267" y="314"/>
                    </a:lnTo>
                    <a:lnTo>
                      <a:pt x="280" y="304"/>
                    </a:lnTo>
                    <a:lnTo>
                      <a:pt x="292" y="293"/>
                    </a:lnTo>
                    <a:lnTo>
                      <a:pt x="303" y="282"/>
                    </a:lnTo>
                    <a:lnTo>
                      <a:pt x="313" y="268"/>
                    </a:lnTo>
                    <a:lnTo>
                      <a:pt x="322" y="254"/>
                    </a:lnTo>
                    <a:lnTo>
                      <a:pt x="329" y="239"/>
                    </a:lnTo>
                    <a:lnTo>
                      <a:pt x="335" y="224"/>
                    </a:lnTo>
                    <a:lnTo>
                      <a:pt x="339" y="206"/>
                    </a:lnTo>
                    <a:lnTo>
                      <a:pt x="342" y="190"/>
                    </a:lnTo>
                    <a:lnTo>
                      <a:pt x="343" y="173"/>
                    </a:lnTo>
                    <a:lnTo>
                      <a:pt x="342" y="154"/>
                    </a:lnTo>
                    <a:lnTo>
                      <a:pt x="339" y="138"/>
                    </a:lnTo>
                    <a:lnTo>
                      <a:pt x="335" y="122"/>
                    </a:lnTo>
                    <a:lnTo>
                      <a:pt x="329" y="105"/>
                    </a:lnTo>
                    <a:lnTo>
                      <a:pt x="322" y="91"/>
                    </a:lnTo>
                    <a:lnTo>
                      <a:pt x="313" y="77"/>
                    </a:lnTo>
                    <a:lnTo>
                      <a:pt x="303" y="64"/>
                    </a:lnTo>
                    <a:lnTo>
                      <a:pt x="292" y="51"/>
                    </a:lnTo>
                    <a:lnTo>
                      <a:pt x="280" y="40"/>
                    </a:lnTo>
                    <a:lnTo>
                      <a:pt x="267" y="30"/>
                    </a:lnTo>
                    <a:lnTo>
                      <a:pt x="253" y="22"/>
                    </a:lnTo>
                    <a:lnTo>
                      <a:pt x="238" y="15"/>
                    </a:lnTo>
                    <a:lnTo>
                      <a:pt x="222" y="9"/>
                    </a:lnTo>
                    <a:lnTo>
                      <a:pt x="206" y="4"/>
                    </a:lnTo>
                    <a:lnTo>
                      <a:pt x="189" y="1"/>
                    </a:lnTo>
                    <a:lnTo>
                      <a:pt x="172" y="0"/>
                    </a:lnTo>
                    <a:lnTo>
                      <a:pt x="154" y="1"/>
                    </a:lnTo>
                    <a:lnTo>
                      <a:pt x="137" y="4"/>
                    </a:lnTo>
                    <a:lnTo>
                      <a:pt x="121" y="9"/>
                    </a:lnTo>
                    <a:lnTo>
                      <a:pt x="105" y="15"/>
                    </a:lnTo>
                    <a:lnTo>
                      <a:pt x="90" y="22"/>
                    </a:lnTo>
                    <a:lnTo>
                      <a:pt x="76" y="30"/>
                    </a:lnTo>
                    <a:lnTo>
                      <a:pt x="63" y="40"/>
                    </a:lnTo>
                    <a:lnTo>
                      <a:pt x="51" y="51"/>
                    </a:lnTo>
                    <a:lnTo>
                      <a:pt x="40" y="64"/>
                    </a:lnTo>
                    <a:lnTo>
                      <a:pt x="30" y="77"/>
                    </a:lnTo>
                    <a:lnTo>
                      <a:pt x="21" y="91"/>
                    </a:lnTo>
                    <a:lnTo>
                      <a:pt x="14" y="105"/>
                    </a:lnTo>
                    <a:lnTo>
                      <a:pt x="8" y="122"/>
                    </a:lnTo>
                    <a:lnTo>
                      <a:pt x="4" y="138"/>
                    </a:lnTo>
                    <a:lnTo>
                      <a:pt x="1" y="154"/>
                    </a:lnTo>
                    <a:lnTo>
                      <a:pt x="0" y="173"/>
                    </a:lnTo>
                    <a:lnTo>
                      <a:pt x="1" y="190"/>
                    </a:lnTo>
                    <a:lnTo>
                      <a:pt x="4" y="206"/>
                    </a:lnTo>
                    <a:lnTo>
                      <a:pt x="8" y="224"/>
                    </a:lnTo>
                    <a:lnTo>
                      <a:pt x="14" y="239"/>
                    </a:lnTo>
                    <a:lnTo>
                      <a:pt x="21" y="254"/>
                    </a:lnTo>
                    <a:lnTo>
                      <a:pt x="30" y="268"/>
                    </a:lnTo>
                    <a:lnTo>
                      <a:pt x="40" y="282"/>
                    </a:lnTo>
                    <a:lnTo>
                      <a:pt x="51" y="293"/>
                    </a:lnTo>
                    <a:lnTo>
                      <a:pt x="63" y="304"/>
                    </a:lnTo>
                    <a:lnTo>
                      <a:pt x="76" y="314"/>
                    </a:lnTo>
                    <a:lnTo>
                      <a:pt x="90" y="322"/>
                    </a:lnTo>
                    <a:lnTo>
                      <a:pt x="105" y="331"/>
                    </a:lnTo>
                    <a:lnTo>
                      <a:pt x="121" y="336"/>
                    </a:lnTo>
                    <a:lnTo>
                      <a:pt x="137" y="340"/>
                    </a:lnTo>
                    <a:lnTo>
                      <a:pt x="154" y="343"/>
                    </a:lnTo>
                    <a:lnTo>
                      <a:pt x="172" y="344"/>
                    </a:lnTo>
                    <a:close/>
                  </a:path>
                </a:pathLst>
              </a:custGeom>
              <a:grpFill/>
              <a:ln w="9525">
                <a:solidFill>
                  <a:srgbClr val="00B0F0"/>
                </a:solidFill>
                <a:round/>
                <a:headEnd/>
                <a:tailEnd/>
              </a:ln>
            </p:spPr>
            <p:txBody>
              <a:bodyPr vert="horz" wrap="square" lIns="91416" tIns="45708" rIns="91416" bIns="45708" numCol="1" anchor="t" anchorCtr="0" compatLnSpc="1">
                <a:prstTxWarp prst="textNoShape">
                  <a:avLst/>
                </a:prstTxWarp>
              </a:bodyPr>
              <a:lstStyle/>
              <a:p>
                <a:endParaRPr lang="zh-CN" altLang="en-US" sz="1799" dirty="0">
                  <a:solidFill>
                    <a:schemeClr val="bg1"/>
                  </a:solidFill>
                  <a:latin typeface="Calibri" panose="020F0502020204030204" pitchFamily="34" charset="0"/>
                  <a:ea typeface="微软雅黑" pitchFamily="34" charset="-122"/>
                </a:endParaRPr>
              </a:p>
            </p:txBody>
          </p:sp>
        </p:grpSp>
        <p:sp>
          <p:nvSpPr>
            <p:cNvPr id="282" name="Freeform 14"/>
            <p:cNvSpPr>
              <a:spLocks noEditPoints="1"/>
            </p:cNvSpPr>
            <p:nvPr/>
          </p:nvSpPr>
          <p:spPr bwMode="auto">
            <a:xfrm>
              <a:off x="3293224" y="1661160"/>
              <a:ext cx="952523" cy="143976"/>
            </a:xfrm>
            <a:custGeom>
              <a:avLst/>
              <a:gdLst/>
              <a:ahLst/>
              <a:cxnLst>
                <a:cxn ang="0">
                  <a:pos x="15920" y="15"/>
                </a:cxn>
                <a:cxn ang="0">
                  <a:pos x="16066" y="82"/>
                </a:cxn>
                <a:cxn ang="0">
                  <a:pos x="16180" y="191"/>
                </a:cxn>
                <a:cxn ang="0">
                  <a:pos x="16254" y="333"/>
                </a:cxn>
                <a:cxn ang="0">
                  <a:pos x="16275" y="1979"/>
                </a:cxn>
                <a:cxn ang="0">
                  <a:pos x="16247" y="2142"/>
                </a:cxn>
                <a:cxn ang="0">
                  <a:pos x="16166" y="2279"/>
                </a:cxn>
                <a:cxn ang="0">
                  <a:pos x="16047" y="2384"/>
                </a:cxn>
                <a:cxn ang="0">
                  <a:pos x="15897" y="2443"/>
                </a:cxn>
                <a:cxn ang="0">
                  <a:pos x="425" y="2450"/>
                </a:cxn>
                <a:cxn ang="0">
                  <a:pos x="269" y="2406"/>
                </a:cxn>
                <a:cxn ang="0">
                  <a:pos x="139" y="2313"/>
                </a:cxn>
                <a:cxn ang="0">
                  <a:pos x="47" y="2184"/>
                </a:cxn>
                <a:cxn ang="0">
                  <a:pos x="2" y="2027"/>
                </a:cxn>
                <a:cxn ang="0">
                  <a:pos x="9" y="379"/>
                </a:cxn>
                <a:cxn ang="0">
                  <a:pos x="68" y="228"/>
                </a:cxn>
                <a:cxn ang="0">
                  <a:pos x="173" y="109"/>
                </a:cxn>
                <a:cxn ang="0">
                  <a:pos x="310" y="29"/>
                </a:cxn>
                <a:cxn ang="0">
                  <a:pos x="473" y="0"/>
                </a:cxn>
                <a:cxn ang="0">
                  <a:pos x="3118" y="686"/>
                </a:cxn>
                <a:cxn ang="0">
                  <a:pos x="3301" y="780"/>
                </a:cxn>
                <a:cxn ang="0">
                  <a:pos x="3442" y="928"/>
                </a:cxn>
                <a:cxn ang="0">
                  <a:pos x="3528" y="1118"/>
                </a:cxn>
                <a:cxn ang="0">
                  <a:pos x="3544" y="1333"/>
                </a:cxn>
                <a:cxn ang="0">
                  <a:pos x="3487" y="1535"/>
                </a:cxn>
                <a:cxn ang="0">
                  <a:pos x="3368" y="1703"/>
                </a:cxn>
                <a:cxn ang="0">
                  <a:pos x="3200" y="1822"/>
                </a:cxn>
                <a:cxn ang="0">
                  <a:pos x="2999" y="1879"/>
                </a:cxn>
                <a:cxn ang="0">
                  <a:pos x="2784" y="1863"/>
                </a:cxn>
                <a:cxn ang="0">
                  <a:pos x="2595" y="1778"/>
                </a:cxn>
                <a:cxn ang="0">
                  <a:pos x="2446" y="1636"/>
                </a:cxn>
                <a:cxn ang="0">
                  <a:pos x="2353" y="1452"/>
                </a:cxn>
                <a:cxn ang="0">
                  <a:pos x="2326" y="1239"/>
                </a:cxn>
                <a:cxn ang="0">
                  <a:pos x="2373" y="1032"/>
                </a:cxn>
                <a:cxn ang="0">
                  <a:pos x="2484" y="859"/>
                </a:cxn>
                <a:cxn ang="0">
                  <a:pos x="2646" y="733"/>
                </a:cxn>
                <a:cxn ang="0">
                  <a:pos x="2843" y="665"/>
                </a:cxn>
                <a:cxn ang="0">
                  <a:pos x="14482" y="476"/>
                </a:cxn>
                <a:cxn ang="0">
                  <a:pos x="14578" y="503"/>
                </a:cxn>
                <a:cxn ang="0">
                  <a:pos x="14659" y="560"/>
                </a:cxn>
                <a:cxn ang="0">
                  <a:pos x="14716" y="640"/>
                </a:cxn>
                <a:cxn ang="0">
                  <a:pos x="14743" y="737"/>
                </a:cxn>
                <a:cxn ang="0">
                  <a:pos x="14739" y="1758"/>
                </a:cxn>
                <a:cxn ang="0">
                  <a:pos x="14702" y="1850"/>
                </a:cxn>
                <a:cxn ang="0">
                  <a:pos x="14638" y="1925"/>
                </a:cxn>
                <a:cxn ang="0">
                  <a:pos x="14553" y="1974"/>
                </a:cxn>
                <a:cxn ang="0">
                  <a:pos x="14452" y="1991"/>
                </a:cxn>
                <a:cxn ang="0">
                  <a:pos x="7495" y="1979"/>
                </a:cxn>
                <a:cxn ang="0">
                  <a:pos x="7407" y="1933"/>
                </a:cxn>
                <a:cxn ang="0">
                  <a:pos x="7339" y="1862"/>
                </a:cxn>
                <a:cxn ang="0">
                  <a:pos x="7298" y="1772"/>
                </a:cxn>
                <a:cxn ang="0">
                  <a:pos x="7289" y="752"/>
                </a:cxn>
                <a:cxn ang="0">
                  <a:pos x="7312" y="653"/>
                </a:cxn>
                <a:cxn ang="0">
                  <a:pos x="7365" y="571"/>
                </a:cxn>
                <a:cxn ang="0">
                  <a:pos x="7443" y="509"/>
                </a:cxn>
                <a:cxn ang="0">
                  <a:pos x="7537" y="477"/>
                </a:cxn>
              </a:cxnLst>
              <a:rect l="0" t="0" r="r" b="b"/>
              <a:pathLst>
                <a:path w="16275" h="2453">
                  <a:moveTo>
                    <a:pt x="473" y="0"/>
                  </a:moveTo>
                  <a:lnTo>
                    <a:pt x="15802" y="0"/>
                  </a:lnTo>
                  <a:lnTo>
                    <a:pt x="15826" y="1"/>
                  </a:lnTo>
                  <a:lnTo>
                    <a:pt x="15850" y="2"/>
                  </a:lnTo>
                  <a:lnTo>
                    <a:pt x="15874" y="5"/>
                  </a:lnTo>
                  <a:lnTo>
                    <a:pt x="15897" y="10"/>
                  </a:lnTo>
                  <a:lnTo>
                    <a:pt x="15920" y="15"/>
                  </a:lnTo>
                  <a:lnTo>
                    <a:pt x="15942" y="21"/>
                  </a:lnTo>
                  <a:lnTo>
                    <a:pt x="15964" y="29"/>
                  </a:lnTo>
                  <a:lnTo>
                    <a:pt x="15986" y="38"/>
                  </a:lnTo>
                  <a:lnTo>
                    <a:pt x="16006" y="47"/>
                  </a:lnTo>
                  <a:lnTo>
                    <a:pt x="16027" y="57"/>
                  </a:lnTo>
                  <a:lnTo>
                    <a:pt x="16047" y="69"/>
                  </a:lnTo>
                  <a:lnTo>
                    <a:pt x="16066" y="82"/>
                  </a:lnTo>
                  <a:lnTo>
                    <a:pt x="16085" y="95"/>
                  </a:lnTo>
                  <a:lnTo>
                    <a:pt x="16102" y="109"/>
                  </a:lnTo>
                  <a:lnTo>
                    <a:pt x="16119" y="123"/>
                  </a:lnTo>
                  <a:lnTo>
                    <a:pt x="16136" y="140"/>
                  </a:lnTo>
                  <a:lnTo>
                    <a:pt x="16152" y="156"/>
                  </a:lnTo>
                  <a:lnTo>
                    <a:pt x="16166" y="173"/>
                  </a:lnTo>
                  <a:lnTo>
                    <a:pt x="16180" y="191"/>
                  </a:lnTo>
                  <a:lnTo>
                    <a:pt x="16194" y="210"/>
                  </a:lnTo>
                  <a:lnTo>
                    <a:pt x="16206" y="228"/>
                  </a:lnTo>
                  <a:lnTo>
                    <a:pt x="16218" y="249"/>
                  </a:lnTo>
                  <a:lnTo>
                    <a:pt x="16228" y="269"/>
                  </a:lnTo>
                  <a:lnTo>
                    <a:pt x="16237" y="289"/>
                  </a:lnTo>
                  <a:lnTo>
                    <a:pt x="16247" y="312"/>
                  </a:lnTo>
                  <a:lnTo>
                    <a:pt x="16254" y="333"/>
                  </a:lnTo>
                  <a:lnTo>
                    <a:pt x="16260" y="356"/>
                  </a:lnTo>
                  <a:lnTo>
                    <a:pt x="16265" y="379"/>
                  </a:lnTo>
                  <a:lnTo>
                    <a:pt x="16270" y="401"/>
                  </a:lnTo>
                  <a:lnTo>
                    <a:pt x="16273" y="426"/>
                  </a:lnTo>
                  <a:lnTo>
                    <a:pt x="16274" y="449"/>
                  </a:lnTo>
                  <a:lnTo>
                    <a:pt x="16275" y="474"/>
                  </a:lnTo>
                  <a:lnTo>
                    <a:pt x="16275" y="1979"/>
                  </a:lnTo>
                  <a:lnTo>
                    <a:pt x="16274" y="2003"/>
                  </a:lnTo>
                  <a:lnTo>
                    <a:pt x="16273" y="2027"/>
                  </a:lnTo>
                  <a:lnTo>
                    <a:pt x="16270" y="2051"/>
                  </a:lnTo>
                  <a:lnTo>
                    <a:pt x="16265" y="2073"/>
                  </a:lnTo>
                  <a:lnTo>
                    <a:pt x="16260" y="2097"/>
                  </a:lnTo>
                  <a:lnTo>
                    <a:pt x="16254" y="2119"/>
                  </a:lnTo>
                  <a:lnTo>
                    <a:pt x="16247" y="2142"/>
                  </a:lnTo>
                  <a:lnTo>
                    <a:pt x="16237" y="2163"/>
                  </a:lnTo>
                  <a:lnTo>
                    <a:pt x="16228" y="2184"/>
                  </a:lnTo>
                  <a:lnTo>
                    <a:pt x="16218" y="2204"/>
                  </a:lnTo>
                  <a:lnTo>
                    <a:pt x="16206" y="2224"/>
                  </a:lnTo>
                  <a:lnTo>
                    <a:pt x="16194" y="2244"/>
                  </a:lnTo>
                  <a:lnTo>
                    <a:pt x="16180" y="2262"/>
                  </a:lnTo>
                  <a:lnTo>
                    <a:pt x="16166" y="2279"/>
                  </a:lnTo>
                  <a:lnTo>
                    <a:pt x="16152" y="2297"/>
                  </a:lnTo>
                  <a:lnTo>
                    <a:pt x="16136" y="2313"/>
                  </a:lnTo>
                  <a:lnTo>
                    <a:pt x="16119" y="2329"/>
                  </a:lnTo>
                  <a:lnTo>
                    <a:pt x="16102" y="2344"/>
                  </a:lnTo>
                  <a:lnTo>
                    <a:pt x="16085" y="2358"/>
                  </a:lnTo>
                  <a:lnTo>
                    <a:pt x="16066" y="2371"/>
                  </a:lnTo>
                  <a:lnTo>
                    <a:pt x="16047" y="2384"/>
                  </a:lnTo>
                  <a:lnTo>
                    <a:pt x="16027" y="2395"/>
                  </a:lnTo>
                  <a:lnTo>
                    <a:pt x="16006" y="2406"/>
                  </a:lnTo>
                  <a:lnTo>
                    <a:pt x="15986" y="2415"/>
                  </a:lnTo>
                  <a:lnTo>
                    <a:pt x="15964" y="2424"/>
                  </a:lnTo>
                  <a:lnTo>
                    <a:pt x="15942" y="2431"/>
                  </a:lnTo>
                  <a:lnTo>
                    <a:pt x="15920" y="2437"/>
                  </a:lnTo>
                  <a:lnTo>
                    <a:pt x="15897" y="2443"/>
                  </a:lnTo>
                  <a:lnTo>
                    <a:pt x="15874" y="2447"/>
                  </a:lnTo>
                  <a:lnTo>
                    <a:pt x="15850" y="2450"/>
                  </a:lnTo>
                  <a:lnTo>
                    <a:pt x="15826" y="2451"/>
                  </a:lnTo>
                  <a:lnTo>
                    <a:pt x="15802" y="2453"/>
                  </a:lnTo>
                  <a:lnTo>
                    <a:pt x="473" y="2453"/>
                  </a:lnTo>
                  <a:lnTo>
                    <a:pt x="449" y="2451"/>
                  </a:lnTo>
                  <a:lnTo>
                    <a:pt x="425" y="2450"/>
                  </a:lnTo>
                  <a:lnTo>
                    <a:pt x="401" y="2447"/>
                  </a:lnTo>
                  <a:lnTo>
                    <a:pt x="378" y="2443"/>
                  </a:lnTo>
                  <a:lnTo>
                    <a:pt x="355" y="2437"/>
                  </a:lnTo>
                  <a:lnTo>
                    <a:pt x="333" y="2431"/>
                  </a:lnTo>
                  <a:lnTo>
                    <a:pt x="310" y="2424"/>
                  </a:lnTo>
                  <a:lnTo>
                    <a:pt x="289" y="2415"/>
                  </a:lnTo>
                  <a:lnTo>
                    <a:pt x="269" y="2406"/>
                  </a:lnTo>
                  <a:lnTo>
                    <a:pt x="248" y="2395"/>
                  </a:lnTo>
                  <a:lnTo>
                    <a:pt x="228" y="2384"/>
                  </a:lnTo>
                  <a:lnTo>
                    <a:pt x="209" y="2371"/>
                  </a:lnTo>
                  <a:lnTo>
                    <a:pt x="190" y="2358"/>
                  </a:lnTo>
                  <a:lnTo>
                    <a:pt x="173" y="2344"/>
                  </a:lnTo>
                  <a:lnTo>
                    <a:pt x="156" y="2329"/>
                  </a:lnTo>
                  <a:lnTo>
                    <a:pt x="139" y="2313"/>
                  </a:lnTo>
                  <a:lnTo>
                    <a:pt x="123" y="2297"/>
                  </a:lnTo>
                  <a:lnTo>
                    <a:pt x="108" y="2279"/>
                  </a:lnTo>
                  <a:lnTo>
                    <a:pt x="95" y="2262"/>
                  </a:lnTo>
                  <a:lnTo>
                    <a:pt x="81" y="2244"/>
                  </a:lnTo>
                  <a:lnTo>
                    <a:pt x="68" y="2224"/>
                  </a:lnTo>
                  <a:lnTo>
                    <a:pt x="57" y="2204"/>
                  </a:lnTo>
                  <a:lnTo>
                    <a:pt x="47" y="2184"/>
                  </a:lnTo>
                  <a:lnTo>
                    <a:pt x="38" y="2163"/>
                  </a:lnTo>
                  <a:lnTo>
                    <a:pt x="28" y="2142"/>
                  </a:lnTo>
                  <a:lnTo>
                    <a:pt x="21" y="2119"/>
                  </a:lnTo>
                  <a:lnTo>
                    <a:pt x="15" y="2097"/>
                  </a:lnTo>
                  <a:lnTo>
                    <a:pt x="9" y="2073"/>
                  </a:lnTo>
                  <a:lnTo>
                    <a:pt x="5" y="2051"/>
                  </a:lnTo>
                  <a:lnTo>
                    <a:pt x="2" y="2027"/>
                  </a:lnTo>
                  <a:lnTo>
                    <a:pt x="1" y="2003"/>
                  </a:lnTo>
                  <a:lnTo>
                    <a:pt x="0" y="1979"/>
                  </a:lnTo>
                  <a:lnTo>
                    <a:pt x="0" y="474"/>
                  </a:lnTo>
                  <a:lnTo>
                    <a:pt x="1" y="449"/>
                  </a:lnTo>
                  <a:lnTo>
                    <a:pt x="2" y="426"/>
                  </a:lnTo>
                  <a:lnTo>
                    <a:pt x="5" y="401"/>
                  </a:lnTo>
                  <a:lnTo>
                    <a:pt x="9" y="379"/>
                  </a:lnTo>
                  <a:lnTo>
                    <a:pt x="15" y="356"/>
                  </a:lnTo>
                  <a:lnTo>
                    <a:pt x="21" y="333"/>
                  </a:lnTo>
                  <a:lnTo>
                    <a:pt x="28" y="312"/>
                  </a:lnTo>
                  <a:lnTo>
                    <a:pt x="38" y="289"/>
                  </a:lnTo>
                  <a:lnTo>
                    <a:pt x="47" y="269"/>
                  </a:lnTo>
                  <a:lnTo>
                    <a:pt x="57" y="249"/>
                  </a:lnTo>
                  <a:lnTo>
                    <a:pt x="68" y="228"/>
                  </a:lnTo>
                  <a:lnTo>
                    <a:pt x="81" y="210"/>
                  </a:lnTo>
                  <a:lnTo>
                    <a:pt x="95" y="191"/>
                  </a:lnTo>
                  <a:lnTo>
                    <a:pt x="108" y="173"/>
                  </a:lnTo>
                  <a:lnTo>
                    <a:pt x="123" y="156"/>
                  </a:lnTo>
                  <a:lnTo>
                    <a:pt x="139" y="140"/>
                  </a:lnTo>
                  <a:lnTo>
                    <a:pt x="156" y="123"/>
                  </a:lnTo>
                  <a:lnTo>
                    <a:pt x="173" y="109"/>
                  </a:lnTo>
                  <a:lnTo>
                    <a:pt x="190" y="95"/>
                  </a:lnTo>
                  <a:lnTo>
                    <a:pt x="209" y="82"/>
                  </a:lnTo>
                  <a:lnTo>
                    <a:pt x="228" y="69"/>
                  </a:lnTo>
                  <a:lnTo>
                    <a:pt x="248" y="57"/>
                  </a:lnTo>
                  <a:lnTo>
                    <a:pt x="269" y="47"/>
                  </a:lnTo>
                  <a:lnTo>
                    <a:pt x="289" y="38"/>
                  </a:lnTo>
                  <a:lnTo>
                    <a:pt x="310" y="29"/>
                  </a:lnTo>
                  <a:lnTo>
                    <a:pt x="333" y="21"/>
                  </a:lnTo>
                  <a:lnTo>
                    <a:pt x="355" y="15"/>
                  </a:lnTo>
                  <a:lnTo>
                    <a:pt x="378" y="10"/>
                  </a:lnTo>
                  <a:lnTo>
                    <a:pt x="401" y="5"/>
                  </a:lnTo>
                  <a:lnTo>
                    <a:pt x="425" y="2"/>
                  </a:lnTo>
                  <a:lnTo>
                    <a:pt x="449" y="1"/>
                  </a:lnTo>
                  <a:lnTo>
                    <a:pt x="473" y="0"/>
                  </a:lnTo>
                  <a:close/>
                  <a:moveTo>
                    <a:pt x="2937" y="658"/>
                  </a:moveTo>
                  <a:lnTo>
                    <a:pt x="2967" y="659"/>
                  </a:lnTo>
                  <a:lnTo>
                    <a:pt x="2999" y="661"/>
                  </a:lnTo>
                  <a:lnTo>
                    <a:pt x="3029" y="665"/>
                  </a:lnTo>
                  <a:lnTo>
                    <a:pt x="3059" y="670"/>
                  </a:lnTo>
                  <a:lnTo>
                    <a:pt x="3088" y="678"/>
                  </a:lnTo>
                  <a:lnTo>
                    <a:pt x="3118" y="686"/>
                  </a:lnTo>
                  <a:lnTo>
                    <a:pt x="3146" y="696"/>
                  </a:lnTo>
                  <a:lnTo>
                    <a:pt x="3174" y="706"/>
                  </a:lnTo>
                  <a:lnTo>
                    <a:pt x="3200" y="719"/>
                  </a:lnTo>
                  <a:lnTo>
                    <a:pt x="3227" y="733"/>
                  </a:lnTo>
                  <a:lnTo>
                    <a:pt x="3252" y="747"/>
                  </a:lnTo>
                  <a:lnTo>
                    <a:pt x="3277" y="763"/>
                  </a:lnTo>
                  <a:lnTo>
                    <a:pt x="3301" y="780"/>
                  </a:lnTo>
                  <a:lnTo>
                    <a:pt x="3324" y="799"/>
                  </a:lnTo>
                  <a:lnTo>
                    <a:pt x="3347" y="817"/>
                  </a:lnTo>
                  <a:lnTo>
                    <a:pt x="3368" y="838"/>
                  </a:lnTo>
                  <a:lnTo>
                    <a:pt x="3388" y="859"/>
                  </a:lnTo>
                  <a:lnTo>
                    <a:pt x="3408" y="881"/>
                  </a:lnTo>
                  <a:lnTo>
                    <a:pt x="3425" y="905"/>
                  </a:lnTo>
                  <a:lnTo>
                    <a:pt x="3442" y="928"/>
                  </a:lnTo>
                  <a:lnTo>
                    <a:pt x="3458" y="954"/>
                  </a:lnTo>
                  <a:lnTo>
                    <a:pt x="3473" y="979"/>
                  </a:lnTo>
                  <a:lnTo>
                    <a:pt x="3487" y="1006"/>
                  </a:lnTo>
                  <a:lnTo>
                    <a:pt x="3499" y="1032"/>
                  </a:lnTo>
                  <a:lnTo>
                    <a:pt x="3509" y="1061"/>
                  </a:lnTo>
                  <a:lnTo>
                    <a:pt x="3519" y="1089"/>
                  </a:lnTo>
                  <a:lnTo>
                    <a:pt x="3528" y="1118"/>
                  </a:lnTo>
                  <a:lnTo>
                    <a:pt x="3535" y="1147"/>
                  </a:lnTo>
                  <a:lnTo>
                    <a:pt x="3540" y="1178"/>
                  </a:lnTo>
                  <a:lnTo>
                    <a:pt x="3544" y="1208"/>
                  </a:lnTo>
                  <a:lnTo>
                    <a:pt x="3546" y="1239"/>
                  </a:lnTo>
                  <a:lnTo>
                    <a:pt x="3547" y="1271"/>
                  </a:lnTo>
                  <a:lnTo>
                    <a:pt x="3546" y="1302"/>
                  </a:lnTo>
                  <a:lnTo>
                    <a:pt x="3544" y="1333"/>
                  </a:lnTo>
                  <a:lnTo>
                    <a:pt x="3540" y="1363"/>
                  </a:lnTo>
                  <a:lnTo>
                    <a:pt x="3535" y="1394"/>
                  </a:lnTo>
                  <a:lnTo>
                    <a:pt x="3528" y="1423"/>
                  </a:lnTo>
                  <a:lnTo>
                    <a:pt x="3519" y="1452"/>
                  </a:lnTo>
                  <a:lnTo>
                    <a:pt x="3509" y="1480"/>
                  </a:lnTo>
                  <a:lnTo>
                    <a:pt x="3499" y="1508"/>
                  </a:lnTo>
                  <a:lnTo>
                    <a:pt x="3487" y="1535"/>
                  </a:lnTo>
                  <a:lnTo>
                    <a:pt x="3473" y="1562"/>
                  </a:lnTo>
                  <a:lnTo>
                    <a:pt x="3458" y="1587"/>
                  </a:lnTo>
                  <a:lnTo>
                    <a:pt x="3442" y="1612"/>
                  </a:lnTo>
                  <a:lnTo>
                    <a:pt x="3425" y="1636"/>
                  </a:lnTo>
                  <a:lnTo>
                    <a:pt x="3408" y="1659"/>
                  </a:lnTo>
                  <a:lnTo>
                    <a:pt x="3388" y="1681"/>
                  </a:lnTo>
                  <a:lnTo>
                    <a:pt x="3368" y="1703"/>
                  </a:lnTo>
                  <a:lnTo>
                    <a:pt x="3347" y="1723"/>
                  </a:lnTo>
                  <a:lnTo>
                    <a:pt x="3324" y="1742"/>
                  </a:lnTo>
                  <a:lnTo>
                    <a:pt x="3301" y="1761"/>
                  </a:lnTo>
                  <a:lnTo>
                    <a:pt x="3277" y="1778"/>
                  </a:lnTo>
                  <a:lnTo>
                    <a:pt x="3252" y="1793"/>
                  </a:lnTo>
                  <a:lnTo>
                    <a:pt x="3227" y="1809"/>
                  </a:lnTo>
                  <a:lnTo>
                    <a:pt x="3200" y="1822"/>
                  </a:lnTo>
                  <a:lnTo>
                    <a:pt x="3174" y="1834"/>
                  </a:lnTo>
                  <a:lnTo>
                    <a:pt x="3146" y="1845"/>
                  </a:lnTo>
                  <a:lnTo>
                    <a:pt x="3118" y="1854"/>
                  </a:lnTo>
                  <a:lnTo>
                    <a:pt x="3088" y="1863"/>
                  </a:lnTo>
                  <a:lnTo>
                    <a:pt x="3059" y="1870"/>
                  </a:lnTo>
                  <a:lnTo>
                    <a:pt x="3029" y="1875"/>
                  </a:lnTo>
                  <a:lnTo>
                    <a:pt x="2999" y="1879"/>
                  </a:lnTo>
                  <a:lnTo>
                    <a:pt x="2967" y="1882"/>
                  </a:lnTo>
                  <a:lnTo>
                    <a:pt x="2937" y="1882"/>
                  </a:lnTo>
                  <a:lnTo>
                    <a:pt x="2905" y="1882"/>
                  </a:lnTo>
                  <a:lnTo>
                    <a:pt x="2874" y="1879"/>
                  </a:lnTo>
                  <a:lnTo>
                    <a:pt x="2843" y="1875"/>
                  </a:lnTo>
                  <a:lnTo>
                    <a:pt x="2814" y="1870"/>
                  </a:lnTo>
                  <a:lnTo>
                    <a:pt x="2784" y="1863"/>
                  </a:lnTo>
                  <a:lnTo>
                    <a:pt x="2755" y="1854"/>
                  </a:lnTo>
                  <a:lnTo>
                    <a:pt x="2726" y="1845"/>
                  </a:lnTo>
                  <a:lnTo>
                    <a:pt x="2699" y="1834"/>
                  </a:lnTo>
                  <a:lnTo>
                    <a:pt x="2671" y="1822"/>
                  </a:lnTo>
                  <a:lnTo>
                    <a:pt x="2646" y="1809"/>
                  </a:lnTo>
                  <a:lnTo>
                    <a:pt x="2619" y="1793"/>
                  </a:lnTo>
                  <a:lnTo>
                    <a:pt x="2595" y="1778"/>
                  </a:lnTo>
                  <a:lnTo>
                    <a:pt x="2570" y="1761"/>
                  </a:lnTo>
                  <a:lnTo>
                    <a:pt x="2548" y="1742"/>
                  </a:lnTo>
                  <a:lnTo>
                    <a:pt x="2526" y="1723"/>
                  </a:lnTo>
                  <a:lnTo>
                    <a:pt x="2504" y="1703"/>
                  </a:lnTo>
                  <a:lnTo>
                    <a:pt x="2484" y="1681"/>
                  </a:lnTo>
                  <a:lnTo>
                    <a:pt x="2465" y="1659"/>
                  </a:lnTo>
                  <a:lnTo>
                    <a:pt x="2446" y="1636"/>
                  </a:lnTo>
                  <a:lnTo>
                    <a:pt x="2430" y="1612"/>
                  </a:lnTo>
                  <a:lnTo>
                    <a:pt x="2414" y="1587"/>
                  </a:lnTo>
                  <a:lnTo>
                    <a:pt x="2399" y="1562"/>
                  </a:lnTo>
                  <a:lnTo>
                    <a:pt x="2385" y="1535"/>
                  </a:lnTo>
                  <a:lnTo>
                    <a:pt x="2373" y="1508"/>
                  </a:lnTo>
                  <a:lnTo>
                    <a:pt x="2362" y="1480"/>
                  </a:lnTo>
                  <a:lnTo>
                    <a:pt x="2353" y="1452"/>
                  </a:lnTo>
                  <a:lnTo>
                    <a:pt x="2345" y="1423"/>
                  </a:lnTo>
                  <a:lnTo>
                    <a:pt x="2337" y="1394"/>
                  </a:lnTo>
                  <a:lnTo>
                    <a:pt x="2332" y="1363"/>
                  </a:lnTo>
                  <a:lnTo>
                    <a:pt x="2328" y="1333"/>
                  </a:lnTo>
                  <a:lnTo>
                    <a:pt x="2326" y="1302"/>
                  </a:lnTo>
                  <a:lnTo>
                    <a:pt x="2325" y="1271"/>
                  </a:lnTo>
                  <a:lnTo>
                    <a:pt x="2326" y="1239"/>
                  </a:lnTo>
                  <a:lnTo>
                    <a:pt x="2328" y="1208"/>
                  </a:lnTo>
                  <a:lnTo>
                    <a:pt x="2332" y="1178"/>
                  </a:lnTo>
                  <a:lnTo>
                    <a:pt x="2337" y="1147"/>
                  </a:lnTo>
                  <a:lnTo>
                    <a:pt x="2345" y="1118"/>
                  </a:lnTo>
                  <a:lnTo>
                    <a:pt x="2353" y="1089"/>
                  </a:lnTo>
                  <a:lnTo>
                    <a:pt x="2362" y="1061"/>
                  </a:lnTo>
                  <a:lnTo>
                    <a:pt x="2373" y="1032"/>
                  </a:lnTo>
                  <a:lnTo>
                    <a:pt x="2385" y="1006"/>
                  </a:lnTo>
                  <a:lnTo>
                    <a:pt x="2399" y="979"/>
                  </a:lnTo>
                  <a:lnTo>
                    <a:pt x="2414" y="954"/>
                  </a:lnTo>
                  <a:lnTo>
                    <a:pt x="2430" y="928"/>
                  </a:lnTo>
                  <a:lnTo>
                    <a:pt x="2446" y="905"/>
                  </a:lnTo>
                  <a:lnTo>
                    <a:pt x="2465" y="881"/>
                  </a:lnTo>
                  <a:lnTo>
                    <a:pt x="2484" y="859"/>
                  </a:lnTo>
                  <a:lnTo>
                    <a:pt x="2504" y="838"/>
                  </a:lnTo>
                  <a:lnTo>
                    <a:pt x="2526" y="817"/>
                  </a:lnTo>
                  <a:lnTo>
                    <a:pt x="2548" y="799"/>
                  </a:lnTo>
                  <a:lnTo>
                    <a:pt x="2570" y="780"/>
                  </a:lnTo>
                  <a:lnTo>
                    <a:pt x="2595" y="763"/>
                  </a:lnTo>
                  <a:lnTo>
                    <a:pt x="2619" y="747"/>
                  </a:lnTo>
                  <a:lnTo>
                    <a:pt x="2646" y="733"/>
                  </a:lnTo>
                  <a:lnTo>
                    <a:pt x="2671" y="719"/>
                  </a:lnTo>
                  <a:lnTo>
                    <a:pt x="2699" y="706"/>
                  </a:lnTo>
                  <a:lnTo>
                    <a:pt x="2726" y="696"/>
                  </a:lnTo>
                  <a:lnTo>
                    <a:pt x="2755" y="686"/>
                  </a:lnTo>
                  <a:lnTo>
                    <a:pt x="2784" y="678"/>
                  </a:lnTo>
                  <a:lnTo>
                    <a:pt x="2814" y="670"/>
                  </a:lnTo>
                  <a:lnTo>
                    <a:pt x="2843" y="665"/>
                  </a:lnTo>
                  <a:lnTo>
                    <a:pt x="2874" y="661"/>
                  </a:lnTo>
                  <a:lnTo>
                    <a:pt x="2905" y="659"/>
                  </a:lnTo>
                  <a:lnTo>
                    <a:pt x="2937" y="658"/>
                  </a:lnTo>
                  <a:close/>
                  <a:moveTo>
                    <a:pt x="7582" y="474"/>
                  </a:moveTo>
                  <a:lnTo>
                    <a:pt x="14452" y="474"/>
                  </a:lnTo>
                  <a:lnTo>
                    <a:pt x="14467" y="474"/>
                  </a:lnTo>
                  <a:lnTo>
                    <a:pt x="14482" y="476"/>
                  </a:lnTo>
                  <a:lnTo>
                    <a:pt x="14497" y="477"/>
                  </a:lnTo>
                  <a:lnTo>
                    <a:pt x="14511" y="480"/>
                  </a:lnTo>
                  <a:lnTo>
                    <a:pt x="14525" y="483"/>
                  </a:lnTo>
                  <a:lnTo>
                    <a:pt x="14539" y="487"/>
                  </a:lnTo>
                  <a:lnTo>
                    <a:pt x="14553" y="492"/>
                  </a:lnTo>
                  <a:lnTo>
                    <a:pt x="14566" y="497"/>
                  </a:lnTo>
                  <a:lnTo>
                    <a:pt x="14578" y="503"/>
                  </a:lnTo>
                  <a:lnTo>
                    <a:pt x="14592" y="509"/>
                  </a:lnTo>
                  <a:lnTo>
                    <a:pt x="14604" y="517"/>
                  </a:lnTo>
                  <a:lnTo>
                    <a:pt x="14616" y="524"/>
                  </a:lnTo>
                  <a:lnTo>
                    <a:pt x="14627" y="532"/>
                  </a:lnTo>
                  <a:lnTo>
                    <a:pt x="14638" y="541"/>
                  </a:lnTo>
                  <a:lnTo>
                    <a:pt x="14649" y="550"/>
                  </a:lnTo>
                  <a:lnTo>
                    <a:pt x="14659" y="560"/>
                  </a:lnTo>
                  <a:lnTo>
                    <a:pt x="14669" y="571"/>
                  </a:lnTo>
                  <a:lnTo>
                    <a:pt x="14678" y="581"/>
                  </a:lnTo>
                  <a:lnTo>
                    <a:pt x="14686" y="592"/>
                  </a:lnTo>
                  <a:lnTo>
                    <a:pt x="14694" y="603"/>
                  </a:lnTo>
                  <a:lnTo>
                    <a:pt x="14702" y="615"/>
                  </a:lnTo>
                  <a:lnTo>
                    <a:pt x="14710" y="628"/>
                  </a:lnTo>
                  <a:lnTo>
                    <a:pt x="14716" y="640"/>
                  </a:lnTo>
                  <a:lnTo>
                    <a:pt x="14722" y="653"/>
                  </a:lnTo>
                  <a:lnTo>
                    <a:pt x="14727" y="666"/>
                  </a:lnTo>
                  <a:lnTo>
                    <a:pt x="14732" y="680"/>
                  </a:lnTo>
                  <a:lnTo>
                    <a:pt x="14736" y="694"/>
                  </a:lnTo>
                  <a:lnTo>
                    <a:pt x="14739" y="708"/>
                  </a:lnTo>
                  <a:lnTo>
                    <a:pt x="14741" y="722"/>
                  </a:lnTo>
                  <a:lnTo>
                    <a:pt x="14743" y="737"/>
                  </a:lnTo>
                  <a:lnTo>
                    <a:pt x="14744" y="752"/>
                  </a:lnTo>
                  <a:lnTo>
                    <a:pt x="14745" y="767"/>
                  </a:lnTo>
                  <a:lnTo>
                    <a:pt x="14745" y="1699"/>
                  </a:lnTo>
                  <a:lnTo>
                    <a:pt x="14744" y="1714"/>
                  </a:lnTo>
                  <a:lnTo>
                    <a:pt x="14743" y="1728"/>
                  </a:lnTo>
                  <a:lnTo>
                    <a:pt x="14741" y="1742"/>
                  </a:lnTo>
                  <a:lnTo>
                    <a:pt x="14739" y="1758"/>
                  </a:lnTo>
                  <a:lnTo>
                    <a:pt x="14736" y="1771"/>
                  </a:lnTo>
                  <a:lnTo>
                    <a:pt x="14732" y="1785"/>
                  </a:lnTo>
                  <a:lnTo>
                    <a:pt x="14727" y="1798"/>
                  </a:lnTo>
                  <a:lnTo>
                    <a:pt x="14722" y="1812"/>
                  </a:lnTo>
                  <a:lnTo>
                    <a:pt x="14716" y="1825"/>
                  </a:lnTo>
                  <a:lnTo>
                    <a:pt x="14710" y="1838"/>
                  </a:lnTo>
                  <a:lnTo>
                    <a:pt x="14702" y="1850"/>
                  </a:lnTo>
                  <a:lnTo>
                    <a:pt x="14694" y="1862"/>
                  </a:lnTo>
                  <a:lnTo>
                    <a:pt x="14686" y="1874"/>
                  </a:lnTo>
                  <a:lnTo>
                    <a:pt x="14678" y="1885"/>
                  </a:lnTo>
                  <a:lnTo>
                    <a:pt x="14669" y="1895"/>
                  </a:lnTo>
                  <a:lnTo>
                    <a:pt x="14659" y="1905"/>
                  </a:lnTo>
                  <a:lnTo>
                    <a:pt x="14649" y="1916"/>
                  </a:lnTo>
                  <a:lnTo>
                    <a:pt x="14638" y="1925"/>
                  </a:lnTo>
                  <a:lnTo>
                    <a:pt x="14627" y="1933"/>
                  </a:lnTo>
                  <a:lnTo>
                    <a:pt x="14616" y="1941"/>
                  </a:lnTo>
                  <a:lnTo>
                    <a:pt x="14604" y="1949"/>
                  </a:lnTo>
                  <a:lnTo>
                    <a:pt x="14592" y="1956"/>
                  </a:lnTo>
                  <a:lnTo>
                    <a:pt x="14578" y="1962"/>
                  </a:lnTo>
                  <a:lnTo>
                    <a:pt x="14566" y="1969"/>
                  </a:lnTo>
                  <a:lnTo>
                    <a:pt x="14553" y="1974"/>
                  </a:lnTo>
                  <a:lnTo>
                    <a:pt x="14539" y="1979"/>
                  </a:lnTo>
                  <a:lnTo>
                    <a:pt x="14525" y="1982"/>
                  </a:lnTo>
                  <a:lnTo>
                    <a:pt x="14511" y="1986"/>
                  </a:lnTo>
                  <a:lnTo>
                    <a:pt x="14497" y="1988"/>
                  </a:lnTo>
                  <a:lnTo>
                    <a:pt x="14482" y="1990"/>
                  </a:lnTo>
                  <a:lnTo>
                    <a:pt x="14467" y="1991"/>
                  </a:lnTo>
                  <a:lnTo>
                    <a:pt x="14452" y="1991"/>
                  </a:lnTo>
                  <a:lnTo>
                    <a:pt x="7582" y="1991"/>
                  </a:lnTo>
                  <a:lnTo>
                    <a:pt x="7567" y="1991"/>
                  </a:lnTo>
                  <a:lnTo>
                    <a:pt x="7552" y="1990"/>
                  </a:lnTo>
                  <a:lnTo>
                    <a:pt x="7537" y="1988"/>
                  </a:lnTo>
                  <a:lnTo>
                    <a:pt x="7523" y="1986"/>
                  </a:lnTo>
                  <a:lnTo>
                    <a:pt x="7509" y="1982"/>
                  </a:lnTo>
                  <a:lnTo>
                    <a:pt x="7495" y="1979"/>
                  </a:lnTo>
                  <a:lnTo>
                    <a:pt x="7481" y="1974"/>
                  </a:lnTo>
                  <a:lnTo>
                    <a:pt x="7468" y="1969"/>
                  </a:lnTo>
                  <a:lnTo>
                    <a:pt x="7455" y="1962"/>
                  </a:lnTo>
                  <a:lnTo>
                    <a:pt x="7443" y="1956"/>
                  </a:lnTo>
                  <a:lnTo>
                    <a:pt x="7431" y="1949"/>
                  </a:lnTo>
                  <a:lnTo>
                    <a:pt x="7418" y="1941"/>
                  </a:lnTo>
                  <a:lnTo>
                    <a:pt x="7407" y="1933"/>
                  </a:lnTo>
                  <a:lnTo>
                    <a:pt x="7396" y="1925"/>
                  </a:lnTo>
                  <a:lnTo>
                    <a:pt x="7385" y="1916"/>
                  </a:lnTo>
                  <a:lnTo>
                    <a:pt x="7375" y="1905"/>
                  </a:lnTo>
                  <a:lnTo>
                    <a:pt x="7365" y="1895"/>
                  </a:lnTo>
                  <a:lnTo>
                    <a:pt x="7356" y="1885"/>
                  </a:lnTo>
                  <a:lnTo>
                    <a:pt x="7347" y="1874"/>
                  </a:lnTo>
                  <a:lnTo>
                    <a:pt x="7339" y="1862"/>
                  </a:lnTo>
                  <a:lnTo>
                    <a:pt x="7332" y="1850"/>
                  </a:lnTo>
                  <a:lnTo>
                    <a:pt x="7325" y="1838"/>
                  </a:lnTo>
                  <a:lnTo>
                    <a:pt x="7318" y="1825"/>
                  </a:lnTo>
                  <a:lnTo>
                    <a:pt x="7312" y="1812"/>
                  </a:lnTo>
                  <a:lnTo>
                    <a:pt x="7306" y="1798"/>
                  </a:lnTo>
                  <a:lnTo>
                    <a:pt x="7302" y="1785"/>
                  </a:lnTo>
                  <a:lnTo>
                    <a:pt x="7298" y="1772"/>
                  </a:lnTo>
                  <a:lnTo>
                    <a:pt x="7295" y="1758"/>
                  </a:lnTo>
                  <a:lnTo>
                    <a:pt x="7292" y="1742"/>
                  </a:lnTo>
                  <a:lnTo>
                    <a:pt x="7290" y="1728"/>
                  </a:lnTo>
                  <a:lnTo>
                    <a:pt x="7289" y="1714"/>
                  </a:lnTo>
                  <a:lnTo>
                    <a:pt x="7289" y="1699"/>
                  </a:lnTo>
                  <a:lnTo>
                    <a:pt x="7289" y="767"/>
                  </a:lnTo>
                  <a:lnTo>
                    <a:pt x="7289" y="752"/>
                  </a:lnTo>
                  <a:lnTo>
                    <a:pt x="7290" y="737"/>
                  </a:lnTo>
                  <a:lnTo>
                    <a:pt x="7292" y="722"/>
                  </a:lnTo>
                  <a:lnTo>
                    <a:pt x="7295" y="708"/>
                  </a:lnTo>
                  <a:lnTo>
                    <a:pt x="7298" y="694"/>
                  </a:lnTo>
                  <a:lnTo>
                    <a:pt x="7302" y="680"/>
                  </a:lnTo>
                  <a:lnTo>
                    <a:pt x="7306" y="666"/>
                  </a:lnTo>
                  <a:lnTo>
                    <a:pt x="7312" y="653"/>
                  </a:lnTo>
                  <a:lnTo>
                    <a:pt x="7318" y="640"/>
                  </a:lnTo>
                  <a:lnTo>
                    <a:pt x="7325" y="628"/>
                  </a:lnTo>
                  <a:lnTo>
                    <a:pt x="7332" y="615"/>
                  </a:lnTo>
                  <a:lnTo>
                    <a:pt x="7339" y="603"/>
                  </a:lnTo>
                  <a:lnTo>
                    <a:pt x="7347" y="592"/>
                  </a:lnTo>
                  <a:lnTo>
                    <a:pt x="7356" y="581"/>
                  </a:lnTo>
                  <a:lnTo>
                    <a:pt x="7365" y="571"/>
                  </a:lnTo>
                  <a:lnTo>
                    <a:pt x="7375" y="560"/>
                  </a:lnTo>
                  <a:lnTo>
                    <a:pt x="7385" y="550"/>
                  </a:lnTo>
                  <a:lnTo>
                    <a:pt x="7396" y="541"/>
                  </a:lnTo>
                  <a:lnTo>
                    <a:pt x="7407" y="532"/>
                  </a:lnTo>
                  <a:lnTo>
                    <a:pt x="7418" y="524"/>
                  </a:lnTo>
                  <a:lnTo>
                    <a:pt x="7431" y="517"/>
                  </a:lnTo>
                  <a:lnTo>
                    <a:pt x="7443" y="509"/>
                  </a:lnTo>
                  <a:lnTo>
                    <a:pt x="7455" y="503"/>
                  </a:lnTo>
                  <a:lnTo>
                    <a:pt x="7468" y="497"/>
                  </a:lnTo>
                  <a:lnTo>
                    <a:pt x="7481" y="492"/>
                  </a:lnTo>
                  <a:lnTo>
                    <a:pt x="7495" y="487"/>
                  </a:lnTo>
                  <a:lnTo>
                    <a:pt x="7509" y="483"/>
                  </a:lnTo>
                  <a:lnTo>
                    <a:pt x="7523" y="480"/>
                  </a:lnTo>
                  <a:lnTo>
                    <a:pt x="7537" y="477"/>
                  </a:lnTo>
                  <a:lnTo>
                    <a:pt x="7552" y="476"/>
                  </a:lnTo>
                  <a:lnTo>
                    <a:pt x="7567" y="474"/>
                  </a:lnTo>
                  <a:lnTo>
                    <a:pt x="7582" y="474"/>
                  </a:lnTo>
                  <a:close/>
                </a:path>
              </a:pathLst>
            </a:custGeom>
            <a:grpFill/>
            <a:ln w="9525">
              <a:solidFill>
                <a:srgbClr val="00B0F0"/>
              </a:solidFill>
              <a:round/>
              <a:headEnd/>
              <a:tailEnd/>
            </a:ln>
          </p:spPr>
          <p:txBody>
            <a:bodyPr vert="horz" wrap="square" lIns="91416" tIns="45708" rIns="91416" bIns="45708" numCol="1" anchor="t" anchorCtr="0" compatLnSpc="1">
              <a:prstTxWarp prst="textNoShape">
                <a:avLst/>
              </a:prstTxWarp>
            </a:bodyPr>
            <a:lstStyle/>
            <a:p>
              <a:endParaRPr lang="zh-CN" altLang="en-US" sz="1799" dirty="0">
                <a:solidFill>
                  <a:schemeClr val="bg1"/>
                </a:solidFill>
                <a:latin typeface="Calibri" panose="020F0502020204030204" pitchFamily="34" charset="0"/>
                <a:ea typeface="微软雅黑" pitchFamily="34" charset="-122"/>
              </a:endParaRPr>
            </a:p>
          </p:txBody>
        </p:sp>
      </p:grpSp>
      <p:grpSp>
        <p:nvGrpSpPr>
          <p:cNvPr id="287" name="组合 281"/>
          <p:cNvGrpSpPr>
            <a:grpSpLocks noChangeAspect="1"/>
          </p:cNvGrpSpPr>
          <p:nvPr/>
        </p:nvGrpSpPr>
        <p:grpSpPr>
          <a:xfrm>
            <a:off x="4267942" y="4982024"/>
            <a:ext cx="260956" cy="165386"/>
            <a:chOff x="3882807" y="2848575"/>
            <a:chExt cx="365343" cy="231544"/>
          </a:xfrm>
          <a:solidFill>
            <a:schemeClr val="tx1"/>
          </a:solidFill>
        </p:grpSpPr>
        <p:sp>
          <p:nvSpPr>
            <p:cNvPr id="288" name="Freeform 66"/>
            <p:cNvSpPr>
              <a:spLocks/>
            </p:cNvSpPr>
            <p:nvPr/>
          </p:nvSpPr>
          <p:spPr bwMode="auto">
            <a:xfrm>
              <a:off x="4171870" y="2848575"/>
              <a:ext cx="76280" cy="203478"/>
            </a:xfrm>
            <a:custGeom>
              <a:avLst/>
              <a:gdLst/>
              <a:ahLst/>
              <a:cxnLst>
                <a:cxn ang="0">
                  <a:pos x="2" y="102"/>
                </a:cxn>
                <a:cxn ang="0">
                  <a:pos x="2" y="102"/>
                </a:cxn>
                <a:cxn ang="0">
                  <a:pos x="10" y="92"/>
                </a:cxn>
                <a:cxn ang="0">
                  <a:pos x="16" y="82"/>
                </a:cxn>
                <a:cxn ang="0">
                  <a:pos x="20" y="70"/>
                </a:cxn>
                <a:cxn ang="0">
                  <a:pos x="22" y="58"/>
                </a:cxn>
                <a:cxn ang="0">
                  <a:pos x="22" y="58"/>
                </a:cxn>
                <a:cxn ang="0">
                  <a:pos x="20" y="46"/>
                </a:cxn>
                <a:cxn ang="0">
                  <a:pos x="16" y="34"/>
                </a:cxn>
                <a:cxn ang="0">
                  <a:pos x="10" y="24"/>
                </a:cxn>
                <a:cxn ang="0">
                  <a:pos x="2" y="14"/>
                </a:cxn>
                <a:cxn ang="0">
                  <a:pos x="2" y="14"/>
                </a:cxn>
                <a:cxn ang="0">
                  <a:pos x="2" y="10"/>
                </a:cxn>
                <a:cxn ang="0">
                  <a:pos x="0" y="8"/>
                </a:cxn>
                <a:cxn ang="0">
                  <a:pos x="2" y="4"/>
                </a:cxn>
                <a:cxn ang="0">
                  <a:pos x="2" y="2"/>
                </a:cxn>
                <a:cxn ang="0">
                  <a:pos x="2" y="2"/>
                </a:cxn>
                <a:cxn ang="0">
                  <a:pos x="6" y="0"/>
                </a:cxn>
                <a:cxn ang="0">
                  <a:pos x="8" y="0"/>
                </a:cxn>
                <a:cxn ang="0">
                  <a:pos x="12" y="0"/>
                </a:cxn>
                <a:cxn ang="0">
                  <a:pos x="14" y="2"/>
                </a:cxn>
                <a:cxn ang="0">
                  <a:pos x="14" y="2"/>
                </a:cxn>
                <a:cxn ang="0">
                  <a:pos x="24" y="14"/>
                </a:cxn>
                <a:cxn ang="0">
                  <a:pos x="32" y="28"/>
                </a:cxn>
                <a:cxn ang="0">
                  <a:pos x="36" y="42"/>
                </a:cxn>
                <a:cxn ang="0">
                  <a:pos x="38" y="58"/>
                </a:cxn>
                <a:cxn ang="0">
                  <a:pos x="36" y="72"/>
                </a:cxn>
                <a:cxn ang="0">
                  <a:pos x="32" y="88"/>
                </a:cxn>
                <a:cxn ang="0">
                  <a:pos x="24" y="100"/>
                </a:cxn>
                <a:cxn ang="0">
                  <a:pos x="14" y="114"/>
                </a:cxn>
                <a:cxn ang="0">
                  <a:pos x="14" y="114"/>
                </a:cxn>
                <a:cxn ang="0">
                  <a:pos x="12" y="116"/>
                </a:cxn>
                <a:cxn ang="0">
                  <a:pos x="8" y="116"/>
                </a:cxn>
                <a:cxn ang="0">
                  <a:pos x="6" y="116"/>
                </a:cxn>
                <a:cxn ang="0">
                  <a:pos x="2" y="114"/>
                </a:cxn>
                <a:cxn ang="0">
                  <a:pos x="2" y="114"/>
                </a:cxn>
                <a:cxn ang="0">
                  <a:pos x="2" y="110"/>
                </a:cxn>
                <a:cxn ang="0">
                  <a:pos x="0" y="108"/>
                </a:cxn>
                <a:cxn ang="0">
                  <a:pos x="2" y="104"/>
                </a:cxn>
                <a:cxn ang="0">
                  <a:pos x="2" y="102"/>
                </a:cxn>
                <a:cxn ang="0">
                  <a:pos x="2" y="102"/>
                </a:cxn>
              </a:cxnLst>
              <a:rect l="0" t="0" r="r" b="b"/>
              <a:pathLst>
                <a:path w="38" h="116">
                  <a:moveTo>
                    <a:pt x="2" y="102"/>
                  </a:moveTo>
                  <a:lnTo>
                    <a:pt x="2" y="102"/>
                  </a:lnTo>
                  <a:lnTo>
                    <a:pt x="10" y="92"/>
                  </a:lnTo>
                  <a:lnTo>
                    <a:pt x="16" y="82"/>
                  </a:lnTo>
                  <a:lnTo>
                    <a:pt x="20" y="70"/>
                  </a:lnTo>
                  <a:lnTo>
                    <a:pt x="22" y="58"/>
                  </a:lnTo>
                  <a:lnTo>
                    <a:pt x="22" y="58"/>
                  </a:lnTo>
                  <a:lnTo>
                    <a:pt x="20" y="46"/>
                  </a:lnTo>
                  <a:lnTo>
                    <a:pt x="16" y="34"/>
                  </a:lnTo>
                  <a:lnTo>
                    <a:pt x="10" y="24"/>
                  </a:lnTo>
                  <a:lnTo>
                    <a:pt x="2" y="14"/>
                  </a:lnTo>
                  <a:lnTo>
                    <a:pt x="2" y="14"/>
                  </a:lnTo>
                  <a:lnTo>
                    <a:pt x="2" y="10"/>
                  </a:lnTo>
                  <a:lnTo>
                    <a:pt x="0" y="8"/>
                  </a:lnTo>
                  <a:lnTo>
                    <a:pt x="2" y="4"/>
                  </a:lnTo>
                  <a:lnTo>
                    <a:pt x="2" y="2"/>
                  </a:lnTo>
                  <a:lnTo>
                    <a:pt x="2" y="2"/>
                  </a:lnTo>
                  <a:lnTo>
                    <a:pt x="6" y="0"/>
                  </a:lnTo>
                  <a:lnTo>
                    <a:pt x="8" y="0"/>
                  </a:lnTo>
                  <a:lnTo>
                    <a:pt x="12" y="0"/>
                  </a:lnTo>
                  <a:lnTo>
                    <a:pt x="14" y="2"/>
                  </a:lnTo>
                  <a:lnTo>
                    <a:pt x="14" y="2"/>
                  </a:lnTo>
                  <a:lnTo>
                    <a:pt x="24" y="14"/>
                  </a:lnTo>
                  <a:lnTo>
                    <a:pt x="32" y="28"/>
                  </a:lnTo>
                  <a:lnTo>
                    <a:pt x="36" y="42"/>
                  </a:lnTo>
                  <a:lnTo>
                    <a:pt x="38" y="58"/>
                  </a:lnTo>
                  <a:lnTo>
                    <a:pt x="36" y="72"/>
                  </a:lnTo>
                  <a:lnTo>
                    <a:pt x="32" y="88"/>
                  </a:lnTo>
                  <a:lnTo>
                    <a:pt x="24" y="100"/>
                  </a:lnTo>
                  <a:lnTo>
                    <a:pt x="14" y="114"/>
                  </a:lnTo>
                  <a:lnTo>
                    <a:pt x="14" y="114"/>
                  </a:lnTo>
                  <a:lnTo>
                    <a:pt x="12" y="116"/>
                  </a:lnTo>
                  <a:lnTo>
                    <a:pt x="8" y="116"/>
                  </a:lnTo>
                  <a:lnTo>
                    <a:pt x="6" y="116"/>
                  </a:lnTo>
                  <a:lnTo>
                    <a:pt x="2" y="114"/>
                  </a:lnTo>
                  <a:lnTo>
                    <a:pt x="2" y="114"/>
                  </a:lnTo>
                  <a:lnTo>
                    <a:pt x="2" y="110"/>
                  </a:lnTo>
                  <a:lnTo>
                    <a:pt x="0" y="108"/>
                  </a:lnTo>
                  <a:lnTo>
                    <a:pt x="2" y="104"/>
                  </a:lnTo>
                  <a:lnTo>
                    <a:pt x="2" y="102"/>
                  </a:lnTo>
                  <a:lnTo>
                    <a:pt x="2" y="102"/>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fontAlgn="ctr"/>
              <a:endParaRPr lang="en-US" altLang="zh-CN" sz="1799" dirty="0">
                <a:solidFill>
                  <a:schemeClr val="bg1"/>
                </a:solidFill>
                <a:latin typeface="Calibri" panose="020F0502020204030204" pitchFamily="34" charset="0"/>
                <a:ea typeface="微软雅黑" pitchFamily="34" charset="-122"/>
              </a:endParaRPr>
            </a:p>
          </p:txBody>
        </p:sp>
        <p:sp>
          <p:nvSpPr>
            <p:cNvPr id="289" name="Freeform 67"/>
            <p:cNvSpPr>
              <a:spLocks/>
            </p:cNvSpPr>
            <p:nvPr/>
          </p:nvSpPr>
          <p:spPr bwMode="auto">
            <a:xfrm>
              <a:off x="4139752" y="2876641"/>
              <a:ext cx="56207" cy="143838"/>
            </a:xfrm>
            <a:custGeom>
              <a:avLst/>
              <a:gdLst/>
              <a:ahLst/>
              <a:cxnLst>
                <a:cxn ang="0">
                  <a:pos x="2" y="68"/>
                </a:cxn>
                <a:cxn ang="0">
                  <a:pos x="2" y="68"/>
                </a:cxn>
                <a:cxn ang="0">
                  <a:pos x="6" y="62"/>
                </a:cxn>
                <a:cxn ang="0">
                  <a:pos x="10" y="56"/>
                </a:cxn>
                <a:cxn ang="0">
                  <a:pos x="12" y="48"/>
                </a:cxn>
                <a:cxn ang="0">
                  <a:pos x="12" y="42"/>
                </a:cxn>
                <a:cxn ang="0">
                  <a:pos x="12" y="34"/>
                </a:cxn>
                <a:cxn ang="0">
                  <a:pos x="10" y="28"/>
                </a:cxn>
                <a:cxn ang="0">
                  <a:pos x="6" y="20"/>
                </a:cxn>
                <a:cxn ang="0">
                  <a:pos x="2" y="14"/>
                </a:cxn>
                <a:cxn ang="0">
                  <a:pos x="2" y="14"/>
                </a:cxn>
                <a:cxn ang="0">
                  <a:pos x="0" y="12"/>
                </a:cxn>
                <a:cxn ang="0">
                  <a:pos x="0" y="8"/>
                </a:cxn>
                <a:cxn ang="0">
                  <a:pos x="0" y="6"/>
                </a:cxn>
                <a:cxn ang="0">
                  <a:pos x="2" y="4"/>
                </a:cxn>
                <a:cxn ang="0">
                  <a:pos x="2" y="4"/>
                </a:cxn>
                <a:cxn ang="0">
                  <a:pos x="4" y="2"/>
                </a:cxn>
                <a:cxn ang="0">
                  <a:pos x="8" y="0"/>
                </a:cxn>
                <a:cxn ang="0">
                  <a:pos x="10" y="2"/>
                </a:cxn>
                <a:cxn ang="0">
                  <a:pos x="12" y="4"/>
                </a:cxn>
                <a:cxn ang="0">
                  <a:pos x="12" y="4"/>
                </a:cxn>
                <a:cxn ang="0">
                  <a:pos x="20" y="12"/>
                </a:cxn>
                <a:cxn ang="0">
                  <a:pos x="24" y="22"/>
                </a:cxn>
                <a:cxn ang="0">
                  <a:pos x="28" y="32"/>
                </a:cxn>
                <a:cxn ang="0">
                  <a:pos x="28" y="42"/>
                </a:cxn>
                <a:cxn ang="0">
                  <a:pos x="28" y="52"/>
                </a:cxn>
                <a:cxn ang="0">
                  <a:pos x="24" y="62"/>
                </a:cxn>
                <a:cxn ang="0">
                  <a:pos x="20" y="72"/>
                </a:cxn>
                <a:cxn ang="0">
                  <a:pos x="12" y="80"/>
                </a:cxn>
                <a:cxn ang="0">
                  <a:pos x="12" y="80"/>
                </a:cxn>
                <a:cxn ang="0">
                  <a:pos x="10" y="82"/>
                </a:cxn>
                <a:cxn ang="0">
                  <a:pos x="8" y="82"/>
                </a:cxn>
                <a:cxn ang="0">
                  <a:pos x="4" y="82"/>
                </a:cxn>
                <a:cxn ang="0">
                  <a:pos x="2" y="80"/>
                </a:cxn>
                <a:cxn ang="0">
                  <a:pos x="2" y="80"/>
                </a:cxn>
                <a:cxn ang="0">
                  <a:pos x="0" y="78"/>
                </a:cxn>
                <a:cxn ang="0">
                  <a:pos x="0" y="74"/>
                </a:cxn>
                <a:cxn ang="0">
                  <a:pos x="0" y="72"/>
                </a:cxn>
                <a:cxn ang="0">
                  <a:pos x="2" y="68"/>
                </a:cxn>
                <a:cxn ang="0">
                  <a:pos x="2" y="68"/>
                </a:cxn>
              </a:cxnLst>
              <a:rect l="0" t="0" r="r" b="b"/>
              <a:pathLst>
                <a:path w="28" h="82">
                  <a:moveTo>
                    <a:pt x="2" y="68"/>
                  </a:moveTo>
                  <a:lnTo>
                    <a:pt x="2" y="68"/>
                  </a:lnTo>
                  <a:lnTo>
                    <a:pt x="6" y="62"/>
                  </a:lnTo>
                  <a:lnTo>
                    <a:pt x="10" y="56"/>
                  </a:lnTo>
                  <a:lnTo>
                    <a:pt x="12" y="48"/>
                  </a:lnTo>
                  <a:lnTo>
                    <a:pt x="12" y="42"/>
                  </a:lnTo>
                  <a:lnTo>
                    <a:pt x="12" y="34"/>
                  </a:lnTo>
                  <a:lnTo>
                    <a:pt x="10" y="28"/>
                  </a:lnTo>
                  <a:lnTo>
                    <a:pt x="6" y="20"/>
                  </a:lnTo>
                  <a:lnTo>
                    <a:pt x="2" y="14"/>
                  </a:lnTo>
                  <a:lnTo>
                    <a:pt x="2" y="14"/>
                  </a:lnTo>
                  <a:lnTo>
                    <a:pt x="0" y="12"/>
                  </a:lnTo>
                  <a:lnTo>
                    <a:pt x="0" y="8"/>
                  </a:lnTo>
                  <a:lnTo>
                    <a:pt x="0" y="6"/>
                  </a:lnTo>
                  <a:lnTo>
                    <a:pt x="2" y="4"/>
                  </a:lnTo>
                  <a:lnTo>
                    <a:pt x="2" y="4"/>
                  </a:lnTo>
                  <a:lnTo>
                    <a:pt x="4" y="2"/>
                  </a:lnTo>
                  <a:lnTo>
                    <a:pt x="8" y="0"/>
                  </a:lnTo>
                  <a:lnTo>
                    <a:pt x="10" y="2"/>
                  </a:lnTo>
                  <a:lnTo>
                    <a:pt x="12" y="4"/>
                  </a:lnTo>
                  <a:lnTo>
                    <a:pt x="12" y="4"/>
                  </a:lnTo>
                  <a:lnTo>
                    <a:pt x="20" y="12"/>
                  </a:lnTo>
                  <a:lnTo>
                    <a:pt x="24" y="22"/>
                  </a:lnTo>
                  <a:lnTo>
                    <a:pt x="28" y="32"/>
                  </a:lnTo>
                  <a:lnTo>
                    <a:pt x="28" y="42"/>
                  </a:lnTo>
                  <a:lnTo>
                    <a:pt x="28" y="52"/>
                  </a:lnTo>
                  <a:lnTo>
                    <a:pt x="24" y="62"/>
                  </a:lnTo>
                  <a:lnTo>
                    <a:pt x="20" y="72"/>
                  </a:lnTo>
                  <a:lnTo>
                    <a:pt x="12" y="80"/>
                  </a:lnTo>
                  <a:lnTo>
                    <a:pt x="12" y="80"/>
                  </a:lnTo>
                  <a:lnTo>
                    <a:pt x="10" y="82"/>
                  </a:lnTo>
                  <a:lnTo>
                    <a:pt x="8" y="82"/>
                  </a:lnTo>
                  <a:lnTo>
                    <a:pt x="4" y="82"/>
                  </a:lnTo>
                  <a:lnTo>
                    <a:pt x="2" y="80"/>
                  </a:lnTo>
                  <a:lnTo>
                    <a:pt x="2" y="80"/>
                  </a:lnTo>
                  <a:lnTo>
                    <a:pt x="0" y="78"/>
                  </a:lnTo>
                  <a:lnTo>
                    <a:pt x="0" y="74"/>
                  </a:lnTo>
                  <a:lnTo>
                    <a:pt x="0" y="72"/>
                  </a:lnTo>
                  <a:lnTo>
                    <a:pt x="2" y="68"/>
                  </a:lnTo>
                  <a:lnTo>
                    <a:pt x="2" y="68"/>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fontAlgn="ctr"/>
              <a:endParaRPr lang="en-US" altLang="zh-CN" sz="1799" dirty="0">
                <a:solidFill>
                  <a:schemeClr val="bg1"/>
                </a:solidFill>
                <a:latin typeface="Calibri" panose="020F0502020204030204" pitchFamily="34" charset="0"/>
                <a:ea typeface="微软雅黑" pitchFamily="34" charset="-122"/>
              </a:endParaRPr>
            </a:p>
          </p:txBody>
        </p:sp>
        <p:sp>
          <p:nvSpPr>
            <p:cNvPr id="290" name="Freeform 68"/>
            <p:cNvSpPr>
              <a:spLocks/>
            </p:cNvSpPr>
            <p:nvPr/>
          </p:nvSpPr>
          <p:spPr bwMode="auto">
            <a:xfrm>
              <a:off x="3882807" y="2848575"/>
              <a:ext cx="76280" cy="203478"/>
            </a:xfrm>
            <a:custGeom>
              <a:avLst/>
              <a:gdLst/>
              <a:ahLst/>
              <a:cxnLst>
                <a:cxn ang="0">
                  <a:pos x="34" y="14"/>
                </a:cxn>
                <a:cxn ang="0">
                  <a:pos x="34" y="14"/>
                </a:cxn>
                <a:cxn ang="0">
                  <a:pos x="26" y="24"/>
                </a:cxn>
                <a:cxn ang="0">
                  <a:pos x="22" y="34"/>
                </a:cxn>
                <a:cxn ang="0">
                  <a:pos x="18" y="46"/>
                </a:cxn>
                <a:cxn ang="0">
                  <a:pos x="16" y="58"/>
                </a:cxn>
                <a:cxn ang="0">
                  <a:pos x="16" y="58"/>
                </a:cxn>
                <a:cxn ang="0">
                  <a:pos x="18" y="70"/>
                </a:cxn>
                <a:cxn ang="0">
                  <a:pos x="22" y="82"/>
                </a:cxn>
                <a:cxn ang="0">
                  <a:pos x="26" y="92"/>
                </a:cxn>
                <a:cxn ang="0">
                  <a:pos x="34" y="102"/>
                </a:cxn>
                <a:cxn ang="0">
                  <a:pos x="34" y="102"/>
                </a:cxn>
                <a:cxn ang="0">
                  <a:pos x="36" y="104"/>
                </a:cxn>
                <a:cxn ang="0">
                  <a:pos x="38" y="108"/>
                </a:cxn>
                <a:cxn ang="0">
                  <a:pos x="36" y="110"/>
                </a:cxn>
                <a:cxn ang="0">
                  <a:pos x="34" y="114"/>
                </a:cxn>
                <a:cxn ang="0">
                  <a:pos x="34" y="114"/>
                </a:cxn>
                <a:cxn ang="0">
                  <a:pos x="32" y="116"/>
                </a:cxn>
                <a:cxn ang="0">
                  <a:pos x="30" y="116"/>
                </a:cxn>
                <a:cxn ang="0">
                  <a:pos x="26" y="116"/>
                </a:cxn>
                <a:cxn ang="0">
                  <a:pos x="24" y="114"/>
                </a:cxn>
                <a:cxn ang="0">
                  <a:pos x="24" y="114"/>
                </a:cxn>
                <a:cxn ang="0">
                  <a:pos x="14" y="100"/>
                </a:cxn>
                <a:cxn ang="0">
                  <a:pos x="6" y="88"/>
                </a:cxn>
                <a:cxn ang="0">
                  <a:pos x="2" y="72"/>
                </a:cxn>
                <a:cxn ang="0">
                  <a:pos x="0" y="58"/>
                </a:cxn>
                <a:cxn ang="0">
                  <a:pos x="2" y="42"/>
                </a:cxn>
                <a:cxn ang="0">
                  <a:pos x="6" y="28"/>
                </a:cxn>
                <a:cxn ang="0">
                  <a:pos x="14" y="14"/>
                </a:cxn>
                <a:cxn ang="0">
                  <a:pos x="24" y="2"/>
                </a:cxn>
                <a:cxn ang="0">
                  <a:pos x="24" y="2"/>
                </a:cxn>
                <a:cxn ang="0">
                  <a:pos x="26" y="0"/>
                </a:cxn>
                <a:cxn ang="0">
                  <a:pos x="30" y="0"/>
                </a:cxn>
                <a:cxn ang="0">
                  <a:pos x="32" y="0"/>
                </a:cxn>
                <a:cxn ang="0">
                  <a:pos x="34" y="2"/>
                </a:cxn>
                <a:cxn ang="0">
                  <a:pos x="34" y="2"/>
                </a:cxn>
                <a:cxn ang="0">
                  <a:pos x="36" y="4"/>
                </a:cxn>
                <a:cxn ang="0">
                  <a:pos x="38" y="8"/>
                </a:cxn>
                <a:cxn ang="0">
                  <a:pos x="36" y="10"/>
                </a:cxn>
                <a:cxn ang="0">
                  <a:pos x="34" y="14"/>
                </a:cxn>
                <a:cxn ang="0">
                  <a:pos x="34" y="14"/>
                </a:cxn>
              </a:cxnLst>
              <a:rect l="0" t="0" r="r" b="b"/>
              <a:pathLst>
                <a:path w="38" h="116">
                  <a:moveTo>
                    <a:pt x="34" y="14"/>
                  </a:moveTo>
                  <a:lnTo>
                    <a:pt x="34" y="14"/>
                  </a:lnTo>
                  <a:lnTo>
                    <a:pt x="26" y="24"/>
                  </a:lnTo>
                  <a:lnTo>
                    <a:pt x="22" y="34"/>
                  </a:lnTo>
                  <a:lnTo>
                    <a:pt x="18" y="46"/>
                  </a:lnTo>
                  <a:lnTo>
                    <a:pt x="16" y="58"/>
                  </a:lnTo>
                  <a:lnTo>
                    <a:pt x="16" y="58"/>
                  </a:lnTo>
                  <a:lnTo>
                    <a:pt x="18" y="70"/>
                  </a:lnTo>
                  <a:lnTo>
                    <a:pt x="22" y="82"/>
                  </a:lnTo>
                  <a:lnTo>
                    <a:pt x="26" y="92"/>
                  </a:lnTo>
                  <a:lnTo>
                    <a:pt x="34" y="102"/>
                  </a:lnTo>
                  <a:lnTo>
                    <a:pt x="34" y="102"/>
                  </a:lnTo>
                  <a:lnTo>
                    <a:pt x="36" y="104"/>
                  </a:lnTo>
                  <a:lnTo>
                    <a:pt x="38" y="108"/>
                  </a:lnTo>
                  <a:lnTo>
                    <a:pt x="36" y="110"/>
                  </a:lnTo>
                  <a:lnTo>
                    <a:pt x="34" y="114"/>
                  </a:lnTo>
                  <a:lnTo>
                    <a:pt x="34" y="114"/>
                  </a:lnTo>
                  <a:lnTo>
                    <a:pt x="32" y="116"/>
                  </a:lnTo>
                  <a:lnTo>
                    <a:pt x="30" y="116"/>
                  </a:lnTo>
                  <a:lnTo>
                    <a:pt x="26" y="116"/>
                  </a:lnTo>
                  <a:lnTo>
                    <a:pt x="24" y="114"/>
                  </a:lnTo>
                  <a:lnTo>
                    <a:pt x="24" y="114"/>
                  </a:lnTo>
                  <a:lnTo>
                    <a:pt x="14" y="100"/>
                  </a:lnTo>
                  <a:lnTo>
                    <a:pt x="6" y="88"/>
                  </a:lnTo>
                  <a:lnTo>
                    <a:pt x="2" y="72"/>
                  </a:lnTo>
                  <a:lnTo>
                    <a:pt x="0" y="58"/>
                  </a:lnTo>
                  <a:lnTo>
                    <a:pt x="2" y="42"/>
                  </a:lnTo>
                  <a:lnTo>
                    <a:pt x="6" y="28"/>
                  </a:lnTo>
                  <a:lnTo>
                    <a:pt x="14" y="14"/>
                  </a:lnTo>
                  <a:lnTo>
                    <a:pt x="24" y="2"/>
                  </a:lnTo>
                  <a:lnTo>
                    <a:pt x="24" y="2"/>
                  </a:lnTo>
                  <a:lnTo>
                    <a:pt x="26" y="0"/>
                  </a:lnTo>
                  <a:lnTo>
                    <a:pt x="30" y="0"/>
                  </a:lnTo>
                  <a:lnTo>
                    <a:pt x="32" y="0"/>
                  </a:lnTo>
                  <a:lnTo>
                    <a:pt x="34" y="2"/>
                  </a:lnTo>
                  <a:lnTo>
                    <a:pt x="34" y="2"/>
                  </a:lnTo>
                  <a:lnTo>
                    <a:pt x="36" y="4"/>
                  </a:lnTo>
                  <a:lnTo>
                    <a:pt x="38" y="8"/>
                  </a:lnTo>
                  <a:lnTo>
                    <a:pt x="36" y="10"/>
                  </a:lnTo>
                  <a:lnTo>
                    <a:pt x="34" y="14"/>
                  </a:lnTo>
                  <a:lnTo>
                    <a:pt x="34" y="14"/>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fontAlgn="ctr"/>
              <a:endParaRPr lang="en-US" altLang="zh-CN" sz="1799" dirty="0">
                <a:solidFill>
                  <a:schemeClr val="bg1"/>
                </a:solidFill>
                <a:latin typeface="Calibri" panose="020F0502020204030204" pitchFamily="34" charset="0"/>
                <a:ea typeface="微软雅黑" pitchFamily="34" charset="-122"/>
              </a:endParaRPr>
            </a:p>
          </p:txBody>
        </p:sp>
        <p:sp>
          <p:nvSpPr>
            <p:cNvPr id="291" name="Freeform 69"/>
            <p:cNvSpPr>
              <a:spLocks/>
            </p:cNvSpPr>
            <p:nvPr/>
          </p:nvSpPr>
          <p:spPr bwMode="auto">
            <a:xfrm>
              <a:off x="3930984" y="2876641"/>
              <a:ext cx="60221" cy="143838"/>
            </a:xfrm>
            <a:custGeom>
              <a:avLst/>
              <a:gdLst/>
              <a:ahLst/>
              <a:cxnLst>
                <a:cxn ang="0">
                  <a:pos x="28" y="14"/>
                </a:cxn>
                <a:cxn ang="0">
                  <a:pos x="28" y="14"/>
                </a:cxn>
                <a:cxn ang="0">
                  <a:pos x="24" y="20"/>
                </a:cxn>
                <a:cxn ang="0">
                  <a:pos x="20" y="28"/>
                </a:cxn>
                <a:cxn ang="0">
                  <a:pos x="18" y="34"/>
                </a:cxn>
                <a:cxn ang="0">
                  <a:pos x="16" y="42"/>
                </a:cxn>
                <a:cxn ang="0">
                  <a:pos x="18" y="48"/>
                </a:cxn>
                <a:cxn ang="0">
                  <a:pos x="20" y="56"/>
                </a:cxn>
                <a:cxn ang="0">
                  <a:pos x="24" y="62"/>
                </a:cxn>
                <a:cxn ang="0">
                  <a:pos x="28" y="68"/>
                </a:cxn>
                <a:cxn ang="0">
                  <a:pos x="28" y="68"/>
                </a:cxn>
                <a:cxn ang="0">
                  <a:pos x="30" y="72"/>
                </a:cxn>
                <a:cxn ang="0">
                  <a:pos x="30" y="74"/>
                </a:cxn>
                <a:cxn ang="0">
                  <a:pos x="30" y="78"/>
                </a:cxn>
                <a:cxn ang="0">
                  <a:pos x="28" y="80"/>
                </a:cxn>
                <a:cxn ang="0">
                  <a:pos x="28" y="80"/>
                </a:cxn>
                <a:cxn ang="0">
                  <a:pos x="26" y="82"/>
                </a:cxn>
                <a:cxn ang="0">
                  <a:pos x="22" y="82"/>
                </a:cxn>
                <a:cxn ang="0">
                  <a:pos x="20" y="82"/>
                </a:cxn>
                <a:cxn ang="0">
                  <a:pos x="16" y="80"/>
                </a:cxn>
                <a:cxn ang="0">
                  <a:pos x="16" y="80"/>
                </a:cxn>
                <a:cxn ang="0">
                  <a:pos x="10" y="72"/>
                </a:cxn>
                <a:cxn ang="0">
                  <a:pos x="4" y="62"/>
                </a:cxn>
                <a:cxn ang="0">
                  <a:pos x="2" y="52"/>
                </a:cxn>
                <a:cxn ang="0">
                  <a:pos x="0" y="42"/>
                </a:cxn>
                <a:cxn ang="0">
                  <a:pos x="2" y="32"/>
                </a:cxn>
                <a:cxn ang="0">
                  <a:pos x="4" y="22"/>
                </a:cxn>
                <a:cxn ang="0">
                  <a:pos x="10" y="12"/>
                </a:cxn>
                <a:cxn ang="0">
                  <a:pos x="16" y="4"/>
                </a:cxn>
                <a:cxn ang="0">
                  <a:pos x="16" y="4"/>
                </a:cxn>
                <a:cxn ang="0">
                  <a:pos x="20" y="2"/>
                </a:cxn>
                <a:cxn ang="0">
                  <a:pos x="22" y="0"/>
                </a:cxn>
                <a:cxn ang="0">
                  <a:pos x="26" y="2"/>
                </a:cxn>
                <a:cxn ang="0">
                  <a:pos x="28" y="4"/>
                </a:cxn>
                <a:cxn ang="0">
                  <a:pos x="28" y="4"/>
                </a:cxn>
                <a:cxn ang="0">
                  <a:pos x="30" y="6"/>
                </a:cxn>
                <a:cxn ang="0">
                  <a:pos x="30" y="8"/>
                </a:cxn>
                <a:cxn ang="0">
                  <a:pos x="30" y="12"/>
                </a:cxn>
                <a:cxn ang="0">
                  <a:pos x="28" y="14"/>
                </a:cxn>
                <a:cxn ang="0">
                  <a:pos x="28" y="14"/>
                </a:cxn>
              </a:cxnLst>
              <a:rect l="0" t="0" r="r" b="b"/>
              <a:pathLst>
                <a:path w="30" h="82">
                  <a:moveTo>
                    <a:pt x="28" y="14"/>
                  </a:moveTo>
                  <a:lnTo>
                    <a:pt x="28" y="14"/>
                  </a:lnTo>
                  <a:lnTo>
                    <a:pt x="24" y="20"/>
                  </a:lnTo>
                  <a:lnTo>
                    <a:pt x="20" y="28"/>
                  </a:lnTo>
                  <a:lnTo>
                    <a:pt x="18" y="34"/>
                  </a:lnTo>
                  <a:lnTo>
                    <a:pt x="16" y="42"/>
                  </a:lnTo>
                  <a:lnTo>
                    <a:pt x="18" y="48"/>
                  </a:lnTo>
                  <a:lnTo>
                    <a:pt x="20" y="56"/>
                  </a:lnTo>
                  <a:lnTo>
                    <a:pt x="24" y="62"/>
                  </a:lnTo>
                  <a:lnTo>
                    <a:pt x="28" y="68"/>
                  </a:lnTo>
                  <a:lnTo>
                    <a:pt x="28" y="68"/>
                  </a:lnTo>
                  <a:lnTo>
                    <a:pt x="30" y="72"/>
                  </a:lnTo>
                  <a:lnTo>
                    <a:pt x="30" y="74"/>
                  </a:lnTo>
                  <a:lnTo>
                    <a:pt x="30" y="78"/>
                  </a:lnTo>
                  <a:lnTo>
                    <a:pt x="28" y="80"/>
                  </a:lnTo>
                  <a:lnTo>
                    <a:pt x="28" y="80"/>
                  </a:lnTo>
                  <a:lnTo>
                    <a:pt x="26" y="82"/>
                  </a:lnTo>
                  <a:lnTo>
                    <a:pt x="22" y="82"/>
                  </a:lnTo>
                  <a:lnTo>
                    <a:pt x="20" y="82"/>
                  </a:lnTo>
                  <a:lnTo>
                    <a:pt x="16" y="80"/>
                  </a:lnTo>
                  <a:lnTo>
                    <a:pt x="16" y="80"/>
                  </a:lnTo>
                  <a:lnTo>
                    <a:pt x="10" y="72"/>
                  </a:lnTo>
                  <a:lnTo>
                    <a:pt x="4" y="62"/>
                  </a:lnTo>
                  <a:lnTo>
                    <a:pt x="2" y="52"/>
                  </a:lnTo>
                  <a:lnTo>
                    <a:pt x="0" y="42"/>
                  </a:lnTo>
                  <a:lnTo>
                    <a:pt x="2" y="32"/>
                  </a:lnTo>
                  <a:lnTo>
                    <a:pt x="4" y="22"/>
                  </a:lnTo>
                  <a:lnTo>
                    <a:pt x="10" y="12"/>
                  </a:lnTo>
                  <a:lnTo>
                    <a:pt x="16" y="4"/>
                  </a:lnTo>
                  <a:lnTo>
                    <a:pt x="16" y="4"/>
                  </a:lnTo>
                  <a:lnTo>
                    <a:pt x="20" y="2"/>
                  </a:lnTo>
                  <a:lnTo>
                    <a:pt x="22" y="0"/>
                  </a:lnTo>
                  <a:lnTo>
                    <a:pt x="26" y="2"/>
                  </a:lnTo>
                  <a:lnTo>
                    <a:pt x="28" y="4"/>
                  </a:lnTo>
                  <a:lnTo>
                    <a:pt x="28" y="4"/>
                  </a:lnTo>
                  <a:lnTo>
                    <a:pt x="30" y="6"/>
                  </a:lnTo>
                  <a:lnTo>
                    <a:pt x="30" y="8"/>
                  </a:lnTo>
                  <a:lnTo>
                    <a:pt x="30" y="12"/>
                  </a:lnTo>
                  <a:lnTo>
                    <a:pt x="28" y="14"/>
                  </a:lnTo>
                  <a:lnTo>
                    <a:pt x="28" y="14"/>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fontAlgn="ctr"/>
              <a:endParaRPr lang="en-US" altLang="zh-CN" sz="1799" dirty="0">
                <a:solidFill>
                  <a:schemeClr val="bg1"/>
                </a:solidFill>
                <a:latin typeface="Calibri" panose="020F0502020204030204" pitchFamily="34" charset="0"/>
                <a:ea typeface="微软雅黑" pitchFamily="34" charset="-122"/>
              </a:endParaRPr>
            </a:p>
          </p:txBody>
        </p:sp>
        <p:sp>
          <p:nvSpPr>
            <p:cNvPr id="292" name="Freeform 71"/>
            <p:cNvSpPr>
              <a:spLocks/>
            </p:cNvSpPr>
            <p:nvPr/>
          </p:nvSpPr>
          <p:spPr bwMode="auto">
            <a:xfrm>
              <a:off x="4043398" y="2936281"/>
              <a:ext cx="44162" cy="143838"/>
            </a:xfrm>
            <a:custGeom>
              <a:avLst/>
              <a:gdLst/>
              <a:ahLst/>
              <a:cxnLst>
                <a:cxn ang="0">
                  <a:pos x="22" y="76"/>
                </a:cxn>
                <a:cxn ang="0">
                  <a:pos x="22" y="76"/>
                </a:cxn>
                <a:cxn ang="0">
                  <a:pos x="20" y="80"/>
                </a:cxn>
                <a:cxn ang="0">
                  <a:pos x="16" y="82"/>
                </a:cxn>
                <a:cxn ang="0">
                  <a:pos x="4" y="82"/>
                </a:cxn>
                <a:cxn ang="0">
                  <a:pos x="4" y="82"/>
                </a:cxn>
                <a:cxn ang="0">
                  <a:pos x="2" y="80"/>
                </a:cxn>
                <a:cxn ang="0">
                  <a:pos x="0" y="76"/>
                </a:cxn>
                <a:cxn ang="0">
                  <a:pos x="0" y="4"/>
                </a:cxn>
                <a:cxn ang="0">
                  <a:pos x="0" y="4"/>
                </a:cxn>
                <a:cxn ang="0">
                  <a:pos x="2" y="2"/>
                </a:cxn>
                <a:cxn ang="0">
                  <a:pos x="4" y="0"/>
                </a:cxn>
                <a:cxn ang="0">
                  <a:pos x="16" y="0"/>
                </a:cxn>
                <a:cxn ang="0">
                  <a:pos x="16" y="0"/>
                </a:cxn>
                <a:cxn ang="0">
                  <a:pos x="20" y="2"/>
                </a:cxn>
                <a:cxn ang="0">
                  <a:pos x="22" y="4"/>
                </a:cxn>
                <a:cxn ang="0">
                  <a:pos x="22" y="76"/>
                </a:cxn>
              </a:cxnLst>
              <a:rect l="0" t="0" r="r" b="b"/>
              <a:pathLst>
                <a:path w="22" h="82">
                  <a:moveTo>
                    <a:pt x="22" y="76"/>
                  </a:moveTo>
                  <a:lnTo>
                    <a:pt x="22" y="76"/>
                  </a:lnTo>
                  <a:lnTo>
                    <a:pt x="20" y="80"/>
                  </a:lnTo>
                  <a:lnTo>
                    <a:pt x="16" y="82"/>
                  </a:lnTo>
                  <a:lnTo>
                    <a:pt x="4" y="82"/>
                  </a:lnTo>
                  <a:lnTo>
                    <a:pt x="4" y="82"/>
                  </a:lnTo>
                  <a:lnTo>
                    <a:pt x="2" y="80"/>
                  </a:lnTo>
                  <a:lnTo>
                    <a:pt x="0" y="76"/>
                  </a:lnTo>
                  <a:lnTo>
                    <a:pt x="0" y="4"/>
                  </a:lnTo>
                  <a:lnTo>
                    <a:pt x="0" y="4"/>
                  </a:lnTo>
                  <a:lnTo>
                    <a:pt x="2" y="2"/>
                  </a:lnTo>
                  <a:lnTo>
                    <a:pt x="4" y="0"/>
                  </a:lnTo>
                  <a:lnTo>
                    <a:pt x="16" y="0"/>
                  </a:lnTo>
                  <a:lnTo>
                    <a:pt x="16" y="0"/>
                  </a:lnTo>
                  <a:lnTo>
                    <a:pt x="20" y="2"/>
                  </a:lnTo>
                  <a:lnTo>
                    <a:pt x="22" y="4"/>
                  </a:lnTo>
                  <a:lnTo>
                    <a:pt x="22" y="76"/>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fontAlgn="ctr"/>
              <a:endParaRPr lang="en-US" altLang="zh-CN" sz="1799" dirty="0">
                <a:solidFill>
                  <a:schemeClr val="bg1"/>
                </a:solidFill>
                <a:latin typeface="Calibri" panose="020F0502020204030204" pitchFamily="34" charset="0"/>
                <a:ea typeface="微软雅黑" pitchFamily="34" charset="-122"/>
              </a:endParaRPr>
            </a:p>
          </p:txBody>
        </p:sp>
      </p:grpSp>
      <p:grpSp>
        <p:nvGrpSpPr>
          <p:cNvPr id="293" name="组合 281"/>
          <p:cNvGrpSpPr>
            <a:grpSpLocks noChangeAspect="1"/>
          </p:cNvGrpSpPr>
          <p:nvPr/>
        </p:nvGrpSpPr>
        <p:grpSpPr>
          <a:xfrm>
            <a:off x="5240241" y="5006270"/>
            <a:ext cx="260956" cy="165386"/>
            <a:chOff x="3882807" y="2848575"/>
            <a:chExt cx="365343" cy="231544"/>
          </a:xfrm>
          <a:solidFill>
            <a:schemeClr val="tx1"/>
          </a:solidFill>
        </p:grpSpPr>
        <p:sp>
          <p:nvSpPr>
            <p:cNvPr id="294" name="Freeform 66"/>
            <p:cNvSpPr>
              <a:spLocks/>
            </p:cNvSpPr>
            <p:nvPr/>
          </p:nvSpPr>
          <p:spPr bwMode="auto">
            <a:xfrm>
              <a:off x="4171870" y="2848575"/>
              <a:ext cx="76280" cy="203478"/>
            </a:xfrm>
            <a:custGeom>
              <a:avLst/>
              <a:gdLst/>
              <a:ahLst/>
              <a:cxnLst>
                <a:cxn ang="0">
                  <a:pos x="2" y="102"/>
                </a:cxn>
                <a:cxn ang="0">
                  <a:pos x="2" y="102"/>
                </a:cxn>
                <a:cxn ang="0">
                  <a:pos x="10" y="92"/>
                </a:cxn>
                <a:cxn ang="0">
                  <a:pos x="16" y="82"/>
                </a:cxn>
                <a:cxn ang="0">
                  <a:pos x="20" y="70"/>
                </a:cxn>
                <a:cxn ang="0">
                  <a:pos x="22" y="58"/>
                </a:cxn>
                <a:cxn ang="0">
                  <a:pos x="22" y="58"/>
                </a:cxn>
                <a:cxn ang="0">
                  <a:pos x="20" y="46"/>
                </a:cxn>
                <a:cxn ang="0">
                  <a:pos x="16" y="34"/>
                </a:cxn>
                <a:cxn ang="0">
                  <a:pos x="10" y="24"/>
                </a:cxn>
                <a:cxn ang="0">
                  <a:pos x="2" y="14"/>
                </a:cxn>
                <a:cxn ang="0">
                  <a:pos x="2" y="14"/>
                </a:cxn>
                <a:cxn ang="0">
                  <a:pos x="2" y="10"/>
                </a:cxn>
                <a:cxn ang="0">
                  <a:pos x="0" y="8"/>
                </a:cxn>
                <a:cxn ang="0">
                  <a:pos x="2" y="4"/>
                </a:cxn>
                <a:cxn ang="0">
                  <a:pos x="2" y="2"/>
                </a:cxn>
                <a:cxn ang="0">
                  <a:pos x="2" y="2"/>
                </a:cxn>
                <a:cxn ang="0">
                  <a:pos x="6" y="0"/>
                </a:cxn>
                <a:cxn ang="0">
                  <a:pos x="8" y="0"/>
                </a:cxn>
                <a:cxn ang="0">
                  <a:pos x="12" y="0"/>
                </a:cxn>
                <a:cxn ang="0">
                  <a:pos x="14" y="2"/>
                </a:cxn>
                <a:cxn ang="0">
                  <a:pos x="14" y="2"/>
                </a:cxn>
                <a:cxn ang="0">
                  <a:pos x="24" y="14"/>
                </a:cxn>
                <a:cxn ang="0">
                  <a:pos x="32" y="28"/>
                </a:cxn>
                <a:cxn ang="0">
                  <a:pos x="36" y="42"/>
                </a:cxn>
                <a:cxn ang="0">
                  <a:pos x="38" y="58"/>
                </a:cxn>
                <a:cxn ang="0">
                  <a:pos x="36" y="72"/>
                </a:cxn>
                <a:cxn ang="0">
                  <a:pos x="32" y="88"/>
                </a:cxn>
                <a:cxn ang="0">
                  <a:pos x="24" y="100"/>
                </a:cxn>
                <a:cxn ang="0">
                  <a:pos x="14" y="114"/>
                </a:cxn>
                <a:cxn ang="0">
                  <a:pos x="14" y="114"/>
                </a:cxn>
                <a:cxn ang="0">
                  <a:pos x="12" y="116"/>
                </a:cxn>
                <a:cxn ang="0">
                  <a:pos x="8" y="116"/>
                </a:cxn>
                <a:cxn ang="0">
                  <a:pos x="6" y="116"/>
                </a:cxn>
                <a:cxn ang="0">
                  <a:pos x="2" y="114"/>
                </a:cxn>
                <a:cxn ang="0">
                  <a:pos x="2" y="114"/>
                </a:cxn>
                <a:cxn ang="0">
                  <a:pos x="2" y="110"/>
                </a:cxn>
                <a:cxn ang="0">
                  <a:pos x="0" y="108"/>
                </a:cxn>
                <a:cxn ang="0">
                  <a:pos x="2" y="104"/>
                </a:cxn>
                <a:cxn ang="0">
                  <a:pos x="2" y="102"/>
                </a:cxn>
                <a:cxn ang="0">
                  <a:pos x="2" y="102"/>
                </a:cxn>
              </a:cxnLst>
              <a:rect l="0" t="0" r="r" b="b"/>
              <a:pathLst>
                <a:path w="38" h="116">
                  <a:moveTo>
                    <a:pt x="2" y="102"/>
                  </a:moveTo>
                  <a:lnTo>
                    <a:pt x="2" y="102"/>
                  </a:lnTo>
                  <a:lnTo>
                    <a:pt x="10" y="92"/>
                  </a:lnTo>
                  <a:lnTo>
                    <a:pt x="16" y="82"/>
                  </a:lnTo>
                  <a:lnTo>
                    <a:pt x="20" y="70"/>
                  </a:lnTo>
                  <a:lnTo>
                    <a:pt x="22" y="58"/>
                  </a:lnTo>
                  <a:lnTo>
                    <a:pt x="22" y="58"/>
                  </a:lnTo>
                  <a:lnTo>
                    <a:pt x="20" y="46"/>
                  </a:lnTo>
                  <a:lnTo>
                    <a:pt x="16" y="34"/>
                  </a:lnTo>
                  <a:lnTo>
                    <a:pt x="10" y="24"/>
                  </a:lnTo>
                  <a:lnTo>
                    <a:pt x="2" y="14"/>
                  </a:lnTo>
                  <a:lnTo>
                    <a:pt x="2" y="14"/>
                  </a:lnTo>
                  <a:lnTo>
                    <a:pt x="2" y="10"/>
                  </a:lnTo>
                  <a:lnTo>
                    <a:pt x="0" y="8"/>
                  </a:lnTo>
                  <a:lnTo>
                    <a:pt x="2" y="4"/>
                  </a:lnTo>
                  <a:lnTo>
                    <a:pt x="2" y="2"/>
                  </a:lnTo>
                  <a:lnTo>
                    <a:pt x="2" y="2"/>
                  </a:lnTo>
                  <a:lnTo>
                    <a:pt x="6" y="0"/>
                  </a:lnTo>
                  <a:lnTo>
                    <a:pt x="8" y="0"/>
                  </a:lnTo>
                  <a:lnTo>
                    <a:pt x="12" y="0"/>
                  </a:lnTo>
                  <a:lnTo>
                    <a:pt x="14" y="2"/>
                  </a:lnTo>
                  <a:lnTo>
                    <a:pt x="14" y="2"/>
                  </a:lnTo>
                  <a:lnTo>
                    <a:pt x="24" y="14"/>
                  </a:lnTo>
                  <a:lnTo>
                    <a:pt x="32" y="28"/>
                  </a:lnTo>
                  <a:lnTo>
                    <a:pt x="36" y="42"/>
                  </a:lnTo>
                  <a:lnTo>
                    <a:pt x="38" y="58"/>
                  </a:lnTo>
                  <a:lnTo>
                    <a:pt x="36" y="72"/>
                  </a:lnTo>
                  <a:lnTo>
                    <a:pt x="32" y="88"/>
                  </a:lnTo>
                  <a:lnTo>
                    <a:pt x="24" y="100"/>
                  </a:lnTo>
                  <a:lnTo>
                    <a:pt x="14" y="114"/>
                  </a:lnTo>
                  <a:lnTo>
                    <a:pt x="14" y="114"/>
                  </a:lnTo>
                  <a:lnTo>
                    <a:pt x="12" y="116"/>
                  </a:lnTo>
                  <a:lnTo>
                    <a:pt x="8" y="116"/>
                  </a:lnTo>
                  <a:lnTo>
                    <a:pt x="6" y="116"/>
                  </a:lnTo>
                  <a:lnTo>
                    <a:pt x="2" y="114"/>
                  </a:lnTo>
                  <a:lnTo>
                    <a:pt x="2" y="114"/>
                  </a:lnTo>
                  <a:lnTo>
                    <a:pt x="2" y="110"/>
                  </a:lnTo>
                  <a:lnTo>
                    <a:pt x="0" y="108"/>
                  </a:lnTo>
                  <a:lnTo>
                    <a:pt x="2" y="104"/>
                  </a:lnTo>
                  <a:lnTo>
                    <a:pt x="2" y="102"/>
                  </a:lnTo>
                  <a:lnTo>
                    <a:pt x="2" y="102"/>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fontAlgn="ctr"/>
              <a:endParaRPr lang="en-US" altLang="zh-CN" sz="1799" dirty="0">
                <a:solidFill>
                  <a:schemeClr val="bg1"/>
                </a:solidFill>
                <a:latin typeface="Calibri" panose="020F0502020204030204" pitchFamily="34" charset="0"/>
                <a:ea typeface="微软雅黑" pitchFamily="34" charset="-122"/>
              </a:endParaRPr>
            </a:p>
          </p:txBody>
        </p:sp>
        <p:sp>
          <p:nvSpPr>
            <p:cNvPr id="295" name="Freeform 67"/>
            <p:cNvSpPr>
              <a:spLocks/>
            </p:cNvSpPr>
            <p:nvPr/>
          </p:nvSpPr>
          <p:spPr bwMode="auto">
            <a:xfrm>
              <a:off x="4139752" y="2876641"/>
              <a:ext cx="56207" cy="143838"/>
            </a:xfrm>
            <a:custGeom>
              <a:avLst/>
              <a:gdLst/>
              <a:ahLst/>
              <a:cxnLst>
                <a:cxn ang="0">
                  <a:pos x="2" y="68"/>
                </a:cxn>
                <a:cxn ang="0">
                  <a:pos x="2" y="68"/>
                </a:cxn>
                <a:cxn ang="0">
                  <a:pos x="6" y="62"/>
                </a:cxn>
                <a:cxn ang="0">
                  <a:pos x="10" y="56"/>
                </a:cxn>
                <a:cxn ang="0">
                  <a:pos x="12" y="48"/>
                </a:cxn>
                <a:cxn ang="0">
                  <a:pos x="12" y="42"/>
                </a:cxn>
                <a:cxn ang="0">
                  <a:pos x="12" y="34"/>
                </a:cxn>
                <a:cxn ang="0">
                  <a:pos x="10" y="28"/>
                </a:cxn>
                <a:cxn ang="0">
                  <a:pos x="6" y="20"/>
                </a:cxn>
                <a:cxn ang="0">
                  <a:pos x="2" y="14"/>
                </a:cxn>
                <a:cxn ang="0">
                  <a:pos x="2" y="14"/>
                </a:cxn>
                <a:cxn ang="0">
                  <a:pos x="0" y="12"/>
                </a:cxn>
                <a:cxn ang="0">
                  <a:pos x="0" y="8"/>
                </a:cxn>
                <a:cxn ang="0">
                  <a:pos x="0" y="6"/>
                </a:cxn>
                <a:cxn ang="0">
                  <a:pos x="2" y="4"/>
                </a:cxn>
                <a:cxn ang="0">
                  <a:pos x="2" y="4"/>
                </a:cxn>
                <a:cxn ang="0">
                  <a:pos x="4" y="2"/>
                </a:cxn>
                <a:cxn ang="0">
                  <a:pos x="8" y="0"/>
                </a:cxn>
                <a:cxn ang="0">
                  <a:pos x="10" y="2"/>
                </a:cxn>
                <a:cxn ang="0">
                  <a:pos x="12" y="4"/>
                </a:cxn>
                <a:cxn ang="0">
                  <a:pos x="12" y="4"/>
                </a:cxn>
                <a:cxn ang="0">
                  <a:pos x="20" y="12"/>
                </a:cxn>
                <a:cxn ang="0">
                  <a:pos x="24" y="22"/>
                </a:cxn>
                <a:cxn ang="0">
                  <a:pos x="28" y="32"/>
                </a:cxn>
                <a:cxn ang="0">
                  <a:pos x="28" y="42"/>
                </a:cxn>
                <a:cxn ang="0">
                  <a:pos x="28" y="52"/>
                </a:cxn>
                <a:cxn ang="0">
                  <a:pos x="24" y="62"/>
                </a:cxn>
                <a:cxn ang="0">
                  <a:pos x="20" y="72"/>
                </a:cxn>
                <a:cxn ang="0">
                  <a:pos x="12" y="80"/>
                </a:cxn>
                <a:cxn ang="0">
                  <a:pos x="12" y="80"/>
                </a:cxn>
                <a:cxn ang="0">
                  <a:pos x="10" y="82"/>
                </a:cxn>
                <a:cxn ang="0">
                  <a:pos x="8" y="82"/>
                </a:cxn>
                <a:cxn ang="0">
                  <a:pos x="4" y="82"/>
                </a:cxn>
                <a:cxn ang="0">
                  <a:pos x="2" y="80"/>
                </a:cxn>
                <a:cxn ang="0">
                  <a:pos x="2" y="80"/>
                </a:cxn>
                <a:cxn ang="0">
                  <a:pos x="0" y="78"/>
                </a:cxn>
                <a:cxn ang="0">
                  <a:pos x="0" y="74"/>
                </a:cxn>
                <a:cxn ang="0">
                  <a:pos x="0" y="72"/>
                </a:cxn>
                <a:cxn ang="0">
                  <a:pos x="2" y="68"/>
                </a:cxn>
                <a:cxn ang="0">
                  <a:pos x="2" y="68"/>
                </a:cxn>
              </a:cxnLst>
              <a:rect l="0" t="0" r="r" b="b"/>
              <a:pathLst>
                <a:path w="28" h="82">
                  <a:moveTo>
                    <a:pt x="2" y="68"/>
                  </a:moveTo>
                  <a:lnTo>
                    <a:pt x="2" y="68"/>
                  </a:lnTo>
                  <a:lnTo>
                    <a:pt x="6" y="62"/>
                  </a:lnTo>
                  <a:lnTo>
                    <a:pt x="10" y="56"/>
                  </a:lnTo>
                  <a:lnTo>
                    <a:pt x="12" y="48"/>
                  </a:lnTo>
                  <a:lnTo>
                    <a:pt x="12" y="42"/>
                  </a:lnTo>
                  <a:lnTo>
                    <a:pt x="12" y="34"/>
                  </a:lnTo>
                  <a:lnTo>
                    <a:pt x="10" y="28"/>
                  </a:lnTo>
                  <a:lnTo>
                    <a:pt x="6" y="20"/>
                  </a:lnTo>
                  <a:lnTo>
                    <a:pt x="2" y="14"/>
                  </a:lnTo>
                  <a:lnTo>
                    <a:pt x="2" y="14"/>
                  </a:lnTo>
                  <a:lnTo>
                    <a:pt x="0" y="12"/>
                  </a:lnTo>
                  <a:lnTo>
                    <a:pt x="0" y="8"/>
                  </a:lnTo>
                  <a:lnTo>
                    <a:pt x="0" y="6"/>
                  </a:lnTo>
                  <a:lnTo>
                    <a:pt x="2" y="4"/>
                  </a:lnTo>
                  <a:lnTo>
                    <a:pt x="2" y="4"/>
                  </a:lnTo>
                  <a:lnTo>
                    <a:pt x="4" y="2"/>
                  </a:lnTo>
                  <a:lnTo>
                    <a:pt x="8" y="0"/>
                  </a:lnTo>
                  <a:lnTo>
                    <a:pt x="10" y="2"/>
                  </a:lnTo>
                  <a:lnTo>
                    <a:pt x="12" y="4"/>
                  </a:lnTo>
                  <a:lnTo>
                    <a:pt x="12" y="4"/>
                  </a:lnTo>
                  <a:lnTo>
                    <a:pt x="20" y="12"/>
                  </a:lnTo>
                  <a:lnTo>
                    <a:pt x="24" y="22"/>
                  </a:lnTo>
                  <a:lnTo>
                    <a:pt x="28" y="32"/>
                  </a:lnTo>
                  <a:lnTo>
                    <a:pt x="28" y="42"/>
                  </a:lnTo>
                  <a:lnTo>
                    <a:pt x="28" y="52"/>
                  </a:lnTo>
                  <a:lnTo>
                    <a:pt x="24" y="62"/>
                  </a:lnTo>
                  <a:lnTo>
                    <a:pt x="20" y="72"/>
                  </a:lnTo>
                  <a:lnTo>
                    <a:pt x="12" y="80"/>
                  </a:lnTo>
                  <a:lnTo>
                    <a:pt x="12" y="80"/>
                  </a:lnTo>
                  <a:lnTo>
                    <a:pt x="10" y="82"/>
                  </a:lnTo>
                  <a:lnTo>
                    <a:pt x="8" y="82"/>
                  </a:lnTo>
                  <a:lnTo>
                    <a:pt x="4" y="82"/>
                  </a:lnTo>
                  <a:lnTo>
                    <a:pt x="2" y="80"/>
                  </a:lnTo>
                  <a:lnTo>
                    <a:pt x="2" y="80"/>
                  </a:lnTo>
                  <a:lnTo>
                    <a:pt x="0" y="78"/>
                  </a:lnTo>
                  <a:lnTo>
                    <a:pt x="0" y="74"/>
                  </a:lnTo>
                  <a:lnTo>
                    <a:pt x="0" y="72"/>
                  </a:lnTo>
                  <a:lnTo>
                    <a:pt x="2" y="68"/>
                  </a:lnTo>
                  <a:lnTo>
                    <a:pt x="2" y="68"/>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fontAlgn="ctr"/>
              <a:endParaRPr lang="en-US" altLang="zh-CN" sz="1799" dirty="0">
                <a:solidFill>
                  <a:schemeClr val="bg1"/>
                </a:solidFill>
                <a:latin typeface="Calibri" panose="020F0502020204030204" pitchFamily="34" charset="0"/>
                <a:ea typeface="微软雅黑" pitchFamily="34" charset="-122"/>
              </a:endParaRPr>
            </a:p>
          </p:txBody>
        </p:sp>
        <p:sp>
          <p:nvSpPr>
            <p:cNvPr id="296" name="Freeform 68"/>
            <p:cNvSpPr>
              <a:spLocks/>
            </p:cNvSpPr>
            <p:nvPr/>
          </p:nvSpPr>
          <p:spPr bwMode="auto">
            <a:xfrm>
              <a:off x="3882807" y="2848575"/>
              <a:ext cx="76280" cy="203478"/>
            </a:xfrm>
            <a:custGeom>
              <a:avLst/>
              <a:gdLst/>
              <a:ahLst/>
              <a:cxnLst>
                <a:cxn ang="0">
                  <a:pos x="34" y="14"/>
                </a:cxn>
                <a:cxn ang="0">
                  <a:pos x="34" y="14"/>
                </a:cxn>
                <a:cxn ang="0">
                  <a:pos x="26" y="24"/>
                </a:cxn>
                <a:cxn ang="0">
                  <a:pos x="22" y="34"/>
                </a:cxn>
                <a:cxn ang="0">
                  <a:pos x="18" y="46"/>
                </a:cxn>
                <a:cxn ang="0">
                  <a:pos x="16" y="58"/>
                </a:cxn>
                <a:cxn ang="0">
                  <a:pos x="16" y="58"/>
                </a:cxn>
                <a:cxn ang="0">
                  <a:pos x="18" y="70"/>
                </a:cxn>
                <a:cxn ang="0">
                  <a:pos x="22" y="82"/>
                </a:cxn>
                <a:cxn ang="0">
                  <a:pos x="26" y="92"/>
                </a:cxn>
                <a:cxn ang="0">
                  <a:pos x="34" y="102"/>
                </a:cxn>
                <a:cxn ang="0">
                  <a:pos x="34" y="102"/>
                </a:cxn>
                <a:cxn ang="0">
                  <a:pos x="36" y="104"/>
                </a:cxn>
                <a:cxn ang="0">
                  <a:pos x="38" y="108"/>
                </a:cxn>
                <a:cxn ang="0">
                  <a:pos x="36" y="110"/>
                </a:cxn>
                <a:cxn ang="0">
                  <a:pos x="34" y="114"/>
                </a:cxn>
                <a:cxn ang="0">
                  <a:pos x="34" y="114"/>
                </a:cxn>
                <a:cxn ang="0">
                  <a:pos x="32" y="116"/>
                </a:cxn>
                <a:cxn ang="0">
                  <a:pos x="30" y="116"/>
                </a:cxn>
                <a:cxn ang="0">
                  <a:pos x="26" y="116"/>
                </a:cxn>
                <a:cxn ang="0">
                  <a:pos x="24" y="114"/>
                </a:cxn>
                <a:cxn ang="0">
                  <a:pos x="24" y="114"/>
                </a:cxn>
                <a:cxn ang="0">
                  <a:pos x="14" y="100"/>
                </a:cxn>
                <a:cxn ang="0">
                  <a:pos x="6" y="88"/>
                </a:cxn>
                <a:cxn ang="0">
                  <a:pos x="2" y="72"/>
                </a:cxn>
                <a:cxn ang="0">
                  <a:pos x="0" y="58"/>
                </a:cxn>
                <a:cxn ang="0">
                  <a:pos x="2" y="42"/>
                </a:cxn>
                <a:cxn ang="0">
                  <a:pos x="6" y="28"/>
                </a:cxn>
                <a:cxn ang="0">
                  <a:pos x="14" y="14"/>
                </a:cxn>
                <a:cxn ang="0">
                  <a:pos x="24" y="2"/>
                </a:cxn>
                <a:cxn ang="0">
                  <a:pos x="24" y="2"/>
                </a:cxn>
                <a:cxn ang="0">
                  <a:pos x="26" y="0"/>
                </a:cxn>
                <a:cxn ang="0">
                  <a:pos x="30" y="0"/>
                </a:cxn>
                <a:cxn ang="0">
                  <a:pos x="32" y="0"/>
                </a:cxn>
                <a:cxn ang="0">
                  <a:pos x="34" y="2"/>
                </a:cxn>
                <a:cxn ang="0">
                  <a:pos x="34" y="2"/>
                </a:cxn>
                <a:cxn ang="0">
                  <a:pos x="36" y="4"/>
                </a:cxn>
                <a:cxn ang="0">
                  <a:pos x="38" y="8"/>
                </a:cxn>
                <a:cxn ang="0">
                  <a:pos x="36" y="10"/>
                </a:cxn>
                <a:cxn ang="0">
                  <a:pos x="34" y="14"/>
                </a:cxn>
                <a:cxn ang="0">
                  <a:pos x="34" y="14"/>
                </a:cxn>
              </a:cxnLst>
              <a:rect l="0" t="0" r="r" b="b"/>
              <a:pathLst>
                <a:path w="38" h="116">
                  <a:moveTo>
                    <a:pt x="34" y="14"/>
                  </a:moveTo>
                  <a:lnTo>
                    <a:pt x="34" y="14"/>
                  </a:lnTo>
                  <a:lnTo>
                    <a:pt x="26" y="24"/>
                  </a:lnTo>
                  <a:lnTo>
                    <a:pt x="22" y="34"/>
                  </a:lnTo>
                  <a:lnTo>
                    <a:pt x="18" y="46"/>
                  </a:lnTo>
                  <a:lnTo>
                    <a:pt x="16" y="58"/>
                  </a:lnTo>
                  <a:lnTo>
                    <a:pt x="16" y="58"/>
                  </a:lnTo>
                  <a:lnTo>
                    <a:pt x="18" y="70"/>
                  </a:lnTo>
                  <a:lnTo>
                    <a:pt x="22" y="82"/>
                  </a:lnTo>
                  <a:lnTo>
                    <a:pt x="26" y="92"/>
                  </a:lnTo>
                  <a:lnTo>
                    <a:pt x="34" y="102"/>
                  </a:lnTo>
                  <a:lnTo>
                    <a:pt x="34" y="102"/>
                  </a:lnTo>
                  <a:lnTo>
                    <a:pt x="36" y="104"/>
                  </a:lnTo>
                  <a:lnTo>
                    <a:pt x="38" y="108"/>
                  </a:lnTo>
                  <a:lnTo>
                    <a:pt x="36" y="110"/>
                  </a:lnTo>
                  <a:lnTo>
                    <a:pt x="34" y="114"/>
                  </a:lnTo>
                  <a:lnTo>
                    <a:pt x="34" y="114"/>
                  </a:lnTo>
                  <a:lnTo>
                    <a:pt x="32" y="116"/>
                  </a:lnTo>
                  <a:lnTo>
                    <a:pt x="30" y="116"/>
                  </a:lnTo>
                  <a:lnTo>
                    <a:pt x="26" y="116"/>
                  </a:lnTo>
                  <a:lnTo>
                    <a:pt x="24" y="114"/>
                  </a:lnTo>
                  <a:lnTo>
                    <a:pt x="24" y="114"/>
                  </a:lnTo>
                  <a:lnTo>
                    <a:pt x="14" y="100"/>
                  </a:lnTo>
                  <a:lnTo>
                    <a:pt x="6" y="88"/>
                  </a:lnTo>
                  <a:lnTo>
                    <a:pt x="2" y="72"/>
                  </a:lnTo>
                  <a:lnTo>
                    <a:pt x="0" y="58"/>
                  </a:lnTo>
                  <a:lnTo>
                    <a:pt x="2" y="42"/>
                  </a:lnTo>
                  <a:lnTo>
                    <a:pt x="6" y="28"/>
                  </a:lnTo>
                  <a:lnTo>
                    <a:pt x="14" y="14"/>
                  </a:lnTo>
                  <a:lnTo>
                    <a:pt x="24" y="2"/>
                  </a:lnTo>
                  <a:lnTo>
                    <a:pt x="24" y="2"/>
                  </a:lnTo>
                  <a:lnTo>
                    <a:pt x="26" y="0"/>
                  </a:lnTo>
                  <a:lnTo>
                    <a:pt x="30" y="0"/>
                  </a:lnTo>
                  <a:lnTo>
                    <a:pt x="32" y="0"/>
                  </a:lnTo>
                  <a:lnTo>
                    <a:pt x="34" y="2"/>
                  </a:lnTo>
                  <a:lnTo>
                    <a:pt x="34" y="2"/>
                  </a:lnTo>
                  <a:lnTo>
                    <a:pt x="36" y="4"/>
                  </a:lnTo>
                  <a:lnTo>
                    <a:pt x="38" y="8"/>
                  </a:lnTo>
                  <a:lnTo>
                    <a:pt x="36" y="10"/>
                  </a:lnTo>
                  <a:lnTo>
                    <a:pt x="34" y="14"/>
                  </a:lnTo>
                  <a:lnTo>
                    <a:pt x="34" y="14"/>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fontAlgn="ctr"/>
              <a:endParaRPr lang="en-US" altLang="zh-CN" sz="1799" dirty="0">
                <a:solidFill>
                  <a:schemeClr val="bg1"/>
                </a:solidFill>
                <a:latin typeface="Calibri" panose="020F0502020204030204" pitchFamily="34" charset="0"/>
                <a:ea typeface="微软雅黑" pitchFamily="34" charset="-122"/>
              </a:endParaRPr>
            </a:p>
          </p:txBody>
        </p:sp>
        <p:sp>
          <p:nvSpPr>
            <p:cNvPr id="297" name="Freeform 69"/>
            <p:cNvSpPr>
              <a:spLocks/>
            </p:cNvSpPr>
            <p:nvPr/>
          </p:nvSpPr>
          <p:spPr bwMode="auto">
            <a:xfrm>
              <a:off x="3930984" y="2876641"/>
              <a:ext cx="60221" cy="143838"/>
            </a:xfrm>
            <a:custGeom>
              <a:avLst/>
              <a:gdLst/>
              <a:ahLst/>
              <a:cxnLst>
                <a:cxn ang="0">
                  <a:pos x="28" y="14"/>
                </a:cxn>
                <a:cxn ang="0">
                  <a:pos x="28" y="14"/>
                </a:cxn>
                <a:cxn ang="0">
                  <a:pos x="24" y="20"/>
                </a:cxn>
                <a:cxn ang="0">
                  <a:pos x="20" y="28"/>
                </a:cxn>
                <a:cxn ang="0">
                  <a:pos x="18" y="34"/>
                </a:cxn>
                <a:cxn ang="0">
                  <a:pos x="16" y="42"/>
                </a:cxn>
                <a:cxn ang="0">
                  <a:pos x="18" y="48"/>
                </a:cxn>
                <a:cxn ang="0">
                  <a:pos x="20" y="56"/>
                </a:cxn>
                <a:cxn ang="0">
                  <a:pos x="24" y="62"/>
                </a:cxn>
                <a:cxn ang="0">
                  <a:pos x="28" y="68"/>
                </a:cxn>
                <a:cxn ang="0">
                  <a:pos x="28" y="68"/>
                </a:cxn>
                <a:cxn ang="0">
                  <a:pos x="30" y="72"/>
                </a:cxn>
                <a:cxn ang="0">
                  <a:pos x="30" y="74"/>
                </a:cxn>
                <a:cxn ang="0">
                  <a:pos x="30" y="78"/>
                </a:cxn>
                <a:cxn ang="0">
                  <a:pos x="28" y="80"/>
                </a:cxn>
                <a:cxn ang="0">
                  <a:pos x="28" y="80"/>
                </a:cxn>
                <a:cxn ang="0">
                  <a:pos x="26" y="82"/>
                </a:cxn>
                <a:cxn ang="0">
                  <a:pos x="22" y="82"/>
                </a:cxn>
                <a:cxn ang="0">
                  <a:pos x="20" y="82"/>
                </a:cxn>
                <a:cxn ang="0">
                  <a:pos x="16" y="80"/>
                </a:cxn>
                <a:cxn ang="0">
                  <a:pos x="16" y="80"/>
                </a:cxn>
                <a:cxn ang="0">
                  <a:pos x="10" y="72"/>
                </a:cxn>
                <a:cxn ang="0">
                  <a:pos x="4" y="62"/>
                </a:cxn>
                <a:cxn ang="0">
                  <a:pos x="2" y="52"/>
                </a:cxn>
                <a:cxn ang="0">
                  <a:pos x="0" y="42"/>
                </a:cxn>
                <a:cxn ang="0">
                  <a:pos x="2" y="32"/>
                </a:cxn>
                <a:cxn ang="0">
                  <a:pos x="4" y="22"/>
                </a:cxn>
                <a:cxn ang="0">
                  <a:pos x="10" y="12"/>
                </a:cxn>
                <a:cxn ang="0">
                  <a:pos x="16" y="4"/>
                </a:cxn>
                <a:cxn ang="0">
                  <a:pos x="16" y="4"/>
                </a:cxn>
                <a:cxn ang="0">
                  <a:pos x="20" y="2"/>
                </a:cxn>
                <a:cxn ang="0">
                  <a:pos x="22" y="0"/>
                </a:cxn>
                <a:cxn ang="0">
                  <a:pos x="26" y="2"/>
                </a:cxn>
                <a:cxn ang="0">
                  <a:pos x="28" y="4"/>
                </a:cxn>
                <a:cxn ang="0">
                  <a:pos x="28" y="4"/>
                </a:cxn>
                <a:cxn ang="0">
                  <a:pos x="30" y="6"/>
                </a:cxn>
                <a:cxn ang="0">
                  <a:pos x="30" y="8"/>
                </a:cxn>
                <a:cxn ang="0">
                  <a:pos x="30" y="12"/>
                </a:cxn>
                <a:cxn ang="0">
                  <a:pos x="28" y="14"/>
                </a:cxn>
                <a:cxn ang="0">
                  <a:pos x="28" y="14"/>
                </a:cxn>
              </a:cxnLst>
              <a:rect l="0" t="0" r="r" b="b"/>
              <a:pathLst>
                <a:path w="30" h="82">
                  <a:moveTo>
                    <a:pt x="28" y="14"/>
                  </a:moveTo>
                  <a:lnTo>
                    <a:pt x="28" y="14"/>
                  </a:lnTo>
                  <a:lnTo>
                    <a:pt x="24" y="20"/>
                  </a:lnTo>
                  <a:lnTo>
                    <a:pt x="20" y="28"/>
                  </a:lnTo>
                  <a:lnTo>
                    <a:pt x="18" y="34"/>
                  </a:lnTo>
                  <a:lnTo>
                    <a:pt x="16" y="42"/>
                  </a:lnTo>
                  <a:lnTo>
                    <a:pt x="18" y="48"/>
                  </a:lnTo>
                  <a:lnTo>
                    <a:pt x="20" y="56"/>
                  </a:lnTo>
                  <a:lnTo>
                    <a:pt x="24" y="62"/>
                  </a:lnTo>
                  <a:lnTo>
                    <a:pt x="28" y="68"/>
                  </a:lnTo>
                  <a:lnTo>
                    <a:pt x="28" y="68"/>
                  </a:lnTo>
                  <a:lnTo>
                    <a:pt x="30" y="72"/>
                  </a:lnTo>
                  <a:lnTo>
                    <a:pt x="30" y="74"/>
                  </a:lnTo>
                  <a:lnTo>
                    <a:pt x="30" y="78"/>
                  </a:lnTo>
                  <a:lnTo>
                    <a:pt x="28" y="80"/>
                  </a:lnTo>
                  <a:lnTo>
                    <a:pt x="28" y="80"/>
                  </a:lnTo>
                  <a:lnTo>
                    <a:pt x="26" y="82"/>
                  </a:lnTo>
                  <a:lnTo>
                    <a:pt x="22" y="82"/>
                  </a:lnTo>
                  <a:lnTo>
                    <a:pt x="20" y="82"/>
                  </a:lnTo>
                  <a:lnTo>
                    <a:pt x="16" y="80"/>
                  </a:lnTo>
                  <a:lnTo>
                    <a:pt x="16" y="80"/>
                  </a:lnTo>
                  <a:lnTo>
                    <a:pt x="10" y="72"/>
                  </a:lnTo>
                  <a:lnTo>
                    <a:pt x="4" y="62"/>
                  </a:lnTo>
                  <a:lnTo>
                    <a:pt x="2" y="52"/>
                  </a:lnTo>
                  <a:lnTo>
                    <a:pt x="0" y="42"/>
                  </a:lnTo>
                  <a:lnTo>
                    <a:pt x="2" y="32"/>
                  </a:lnTo>
                  <a:lnTo>
                    <a:pt x="4" y="22"/>
                  </a:lnTo>
                  <a:lnTo>
                    <a:pt x="10" y="12"/>
                  </a:lnTo>
                  <a:lnTo>
                    <a:pt x="16" y="4"/>
                  </a:lnTo>
                  <a:lnTo>
                    <a:pt x="16" y="4"/>
                  </a:lnTo>
                  <a:lnTo>
                    <a:pt x="20" y="2"/>
                  </a:lnTo>
                  <a:lnTo>
                    <a:pt x="22" y="0"/>
                  </a:lnTo>
                  <a:lnTo>
                    <a:pt x="26" y="2"/>
                  </a:lnTo>
                  <a:lnTo>
                    <a:pt x="28" y="4"/>
                  </a:lnTo>
                  <a:lnTo>
                    <a:pt x="28" y="4"/>
                  </a:lnTo>
                  <a:lnTo>
                    <a:pt x="30" y="6"/>
                  </a:lnTo>
                  <a:lnTo>
                    <a:pt x="30" y="8"/>
                  </a:lnTo>
                  <a:lnTo>
                    <a:pt x="30" y="12"/>
                  </a:lnTo>
                  <a:lnTo>
                    <a:pt x="28" y="14"/>
                  </a:lnTo>
                  <a:lnTo>
                    <a:pt x="28" y="14"/>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fontAlgn="ctr"/>
              <a:endParaRPr lang="en-US" altLang="zh-CN" sz="1799" dirty="0">
                <a:solidFill>
                  <a:schemeClr val="bg1"/>
                </a:solidFill>
                <a:latin typeface="Calibri" panose="020F0502020204030204" pitchFamily="34" charset="0"/>
                <a:ea typeface="微软雅黑" pitchFamily="34" charset="-122"/>
              </a:endParaRPr>
            </a:p>
          </p:txBody>
        </p:sp>
        <p:sp>
          <p:nvSpPr>
            <p:cNvPr id="298" name="Freeform 71"/>
            <p:cNvSpPr>
              <a:spLocks/>
            </p:cNvSpPr>
            <p:nvPr/>
          </p:nvSpPr>
          <p:spPr bwMode="auto">
            <a:xfrm>
              <a:off x="4043398" y="2936281"/>
              <a:ext cx="44162" cy="143838"/>
            </a:xfrm>
            <a:custGeom>
              <a:avLst/>
              <a:gdLst/>
              <a:ahLst/>
              <a:cxnLst>
                <a:cxn ang="0">
                  <a:pos x="22" y="76"/>
                </a:cxn>
                <a:cxn ang="0">
                  <a:pos x="22" y="76"/>
                </a:cxn>
                <a:cxn ang="0">
                  <a:pos x="20" y="80"/>
                </a:cxn>
                <a:cxn ang="0">
                  <a:pos x="16" y="82"/>
                </a:cxn>
                <a:cxn ang="0">
                  <a:pos x="4" y="82"/>
                </a:cxn>
                <a:cxn ang="0">
                  <a:pos x="4" y="82"/>
                </a:cxn>
                <a:cxn ang="0">
                  <a:pos x="2" y="80"/>
                </a:cxn>
                <a:cxn ang="0">
                  <a:pos x="0" y="76"/>
                </a:cxn>
                <a:cxn ang="0">
                  <a:pos x="0" y="4"/>
                </a:cxn>
                <a:cxn ang="0">
                  <a:pos x="0" y="4"/>
                </a:cxn>
                <a:cxn ang="0">
                  <a:pos x="2" y="2"/>
                </a:cxn>
                <a:cxn ang="0">
                  <a:pos x="4" y="0"/>
                </a:cxn>
                <a:cxn ang="0">
                  <a:pos x="16" y="0"/>
                </a:cxn>
                <a:cxn ang="0">
                  <a:pos x="16" y="0"/>
                </a:cxn>
                <a:cxn ang="0">
                  <a:pos x="20" y="2"/>
                </a:cxn>
                <a:cxn ang="0">
                  <a:pos x="22" y="4"/>
                </a:cxn>
                <a:cxn ang="0">
                  <a:pos x="22" y="76"/>
                </a:cxn>
              </a:cxnLst>
              <a:rect l="0" t="0" r="r" b="b"/>
              <a:pathLst>
                <a:path w="22" h="82">
                  <a:moveTo>
                    <a:pt x="22" y="76"/>
                  </a:moveTo>
                  <a:lnTo>
                    <a:pt x="22" y="76"/>
                  </a:lnTo>
                  <a:lnTo>
                    <a:pt x="20" y="80"/>
                  </a:lnTo>
                  <a:lnTo>
                    <a:pt x="16" y="82"/>
                  </a:lnTo>
                  <a:lnTo>
                    <a:pt x="4" y="82"/>
                  </a:lnTo>
                  <a:lnTo>
                    <a:pt x="4" y="82"/>
                  </a:lnTo>
                  <a:lnTo>
                    <a:pt x="2" y="80"/>
                  </a:lnTo>
                  <a:lnTo>
                    <a:pt x="0" y="76"/>
                  </a:lnTo>
                  <a:lnTo>
                    <a:pt x="0" y="4"/>
                  </a:lnTo>
                  <a:lnTo>
                    <a:pt x="0" y="4"/>
                  </a:lnTo>
                  <a:lnTo>
                    <a:pt x="2" y="2"/>
                  </a:lnTo>
                  <a:lnTo>
                    <a:pt x="4" y="0"/>
                  </a:lnTo>
                  <a:lnTo>
                    <a:pt x="16" y="0"/>
                  </a:lnTo>
                  <a:lnTo>
                    <a:pt x="16" y="0"/>
                  </a:lnTo>
                  <a:lnTo>
                    <a:pt x="20" y="2"/>
                  </a:lnTo>
                  <a:lnTo>
                    <a:pt x="22" y="4"/>
                  </a:lnTo>
                  <a:lnTo>
                    <a:pt x="22" y="76"/>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pPr fontAlgn="ctr"/>
              <a:endParaRPr lang="en-US" altLang="zh-CN" sz="1799" dirty="0">
                <a:solidFill>
                  <a:schemeClr val="bg1"/>
                </a:solidFill>
                <a:latin typeface="Calibri" panose="020F0502020204030204" pitchFamily="34" charset="0"/>
                <a:ea typeface="微软雅黑" pitchFamily="34" charset="-122"/>
              </a:endParaRPr>
            </a:p>
          </p:txBody>
        </p:sp>
      </p:grpSp>
      <p:sp>
        <p:nvSpPr>
          <p:cNvPr id="299" name="Line 9"/>
          <p:cNvSpPr>
            <a:spLocks noChangeShapeType="1"/>
          </p:cNvSpPr>
          <p:nvPr/>
        </p:nvSpPr>
        <p:spPr bwMode="auto">
          <a:xfrm rot="5400000" flipH="1">
            <a:off x="2535957" y="4821209"/>
            <a:ext cx="182833" cy="0"/>
          </a:xfrm>
          <a:prstGeom prst="line">
            <a:avLst/>
          </a:prstGeom>
          <a:noFill/>
          <a:ln w="19050">
            <a:solidFill>
              <a:srgbClr val="00B0F0"/>
            </a:solidFill>
            <a:round/>
            <a:headEnd/>
            <a:tailEnd/>
          </a:ln>
          <a:effectLst/>
        </p:spPr>
        <p:txBody>
          <a:bodyPr wrap="square" lIns="79169" tIns="39586" rIns="79169" bIns="39586">
            <a:spAutoFit/>
          </a:bodyPr>
          <a:lstStyle/>
          <a:p>
            <a:pPr defTabSz="1219180"/>
            <a:endParaRPr lang="zh-CN" altLang="en-US" sz="2399" kern="0" dirty="0">
              <a:solidFill>
                <a:schemeClr val="bg1"/>
              </a:solidFill>
              <a:ea typeface="华文细黑"/>
              <a:cs typeface="Arial" pitchFamily="34" charset="0"/>
            </a:endParaRPr>
          </a:p>
        </p:txBody>
      </p:sp>
      <p:pic>
        <p:nvPicPr>
          <p:cNvPr id="300" name="图片 29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88771" y="5330114"/>
            <a:ext cx="959871" cy="639913"/>
          </a:xfrm>
          <a:prstGeom prst="rect">
            <a:avLst/>
          </a:prstGeom>
          <a:ln>
            <a:noFill/>
          </a:ln>
          <a:effectLst>
            <a:softEdge rad="112500"/>
          </a:effectLst>
        </p:spPr>
      </p:pic>
      <p:pic>
        <p:nvPicPr>
          <p:cNvPr id="301" name="图片 300"/>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083261" y="5307804"/>
            <a:ext cx="922236" cy="639913"/>
          </a:xfrm>
          <a:prstGeom prst="rect">
            <a:avLst/>
          </a:prstGeom>
          <a:ln>
            <a:noFill/>
          </a:ln>
          <a:effectLst>
            <a:softEdge rad="112500"/>
          </a:effectLst>
        </p:spPr>
      </p:pic>
      <p:pic>
        <p:nvPicPr>
          <p:cNvPr id="302" name="Picture 2" descr="F:\10品牌工作\01广告营销\201210G1展厅12连屏\000单页版\教育底图\教育左1.png"/>
          <p:cNvPicPr>
            <a:picLocks noChangeAspect="1" noChangeArrowheads="1"/>
          </p:cNvPicPr>
          <p:nvPr/>
        </p:nvPicPr>
        <p:blipFill>
          <a:blip r:embed="rId6" cstate="email"/>
          <a:srcRect/>
          <a:stretch>
            <a:fillRect/>
          </a:stretch>
        </p:blipFill>
        <p:spPr bwMode="auto">
          <a:xfrm>
            <a:off x="4123601" y="5241672"/>
            <a:ext cx="1041164" cy="685621"/>
          </a:xfrm>
          <a:prstGeom prst="rect">
            <a:avLst/>
          </a:prstGeom>
          <a:ln>
            <a:noFill/>
          </a:ln>
          <a:effectLst>
            <a:softEdge rad="112500"/>
          </a:effectLst>
        </p:spPr>
      </p:pic>
      <p:sp>
        <p:nvSpPr>
          <p:cNvPr id="303" name="矩形 302"/>
          <p:cNvSpPr/>
          <p:nvPr/>
        </p:nvSpPr>
        <p:spPr>
          <a:xfrm>
            <a:off x="5130625" y="5770543"/>
            <a:ext cx="987129" cy="353120"/>
          </a:xfrm>
          <a:prstGeom prst="rect">
            <a:avLst/>
          </a:prstGeom>
        </p:spPr>
        <p:txBody>
          <a:bodyPr wrap="square" lIns="121912" tIns="60956" rIns="121912" bIns="60956" anchor="ctr">
            <a:noAutofit/>
          </a:bodyPr>
          <a:lstStyle/>
          <a:p>
            <a:pPr lvl="0"/>
            <a:r>
              <a:rPr lang="en-US" altLang="zh-CN" sz="1200" dirty="0" err="1">
                <a:solidFill>
                  <a:schemeClr val="bg1"/>
                </a:solidFill>
                <a:latin typeface="Calibri" panose="020F0502020204030204" pitchFamily="34" charset="0"/>
                <a:ea typeface="微软雅黑" pitchFamily="34" charset="-122"/>
                <a:cs typeface="Arial" pitchFamily="34" charset="0"/>
              </a:rPr>
              <a:t>Residencia</a:t>
            </a:r>
            <a:endParaRPr lang="en-US" altLang="zh-CN" sz="1100" dirty="0">
              <a:solidFill>
                <a:schemeClr val="bg1"/>
              </a:solidFill>
              <a:latin typeface="Calibri" panose="020F0502020204030204" pitchFamily="34" charset="0"/>
              <a:ea typeface="微软雅黑" pitchFamily="34" charset="-122"/>
              <a:cs typeface="Arial" pitchFamily="34" charset="0"/>
            </a:endParaRPr>
          </a:p>
        </p:txBody>
      </p:sp>
      <p:grpSp>
        <p:nvGrpSpPr>
          <p:cNvPr id="311" name="组合 333"/>
          <p:cNvGrpSpPr>
            <a:grpSpLocks noChangeAspect="1"/>
          </p:cNvGrpSpPr>
          <p:nvPr/>
        </p:nvGrpSpPr>
        <p:grpSpPr>
          <a:xfrm rot="10800000">
            <a:off x="2693255" y="4923707"/>
            <a:ext cx="193815" cy="260956"/>
            <a:chOff x="-6559550" y="2457450"/>
            <a:chExt cx="1612900" cy="2171701"/>
          </a:xfrm>
          <a:solidFill>
            <a:schemeClr val="tx1"/>
          </a:solidFill>
        </p:grpSpPr>
        <p:sp>
          <p:nvSpPr>
            <p:cNvPr id="312" name="Freeform 17"/>
            <p:cNvSpPr>
              <a:spLocks noEditPoints="1"/>
            </p:cNvSpPr>
            <p:nvPr/>
          </p:nvSpPr>
          <p:spPr bwMode="auto">
            <a:xfrm>
              <a:off x="-6559550" y="2457450"/>
              <a:ext cx="1612900" cy="1611313"/>
            </a:xfrm>
            <a:custGeom>
              <a:avLst/>
              <a:gdLst/>
              <a:ahLst/>
              <a:cxnLst>
                <a:cxn ang="0">
                  <a:pos x="5423" y="5270"/>
                </a:cxn>
                <a:cxn ang="0">
                  <a:pos x="5837" y="5481"/>
                </a:cxn>
                <a:cxn ang="0">
                  <a:pos x="6155" y="5814"/>
                </a:cxn>
                <a:cxn ang="0">
                  <a:pos x="6347" y="6240"/>
                </a:cxn>
                <a:cxn ang="0">
                  <a:pos x="6384" y="6723"/>
                </a:cxn>
                <a:cxn ang="0">
                  <a:pos x="6255" y="7178"/>
                </a:cxn>
                <a:cxn ang="0">
                  <a:pos x="5987" y="7554"/>
                </a:cxn>
                <a:cxn ang="0">
                  <a:pos x="5610" y="7822"/>
                </a:cxn>
                <a:cxn ang="0">
                  <a:pos x="5155" y="7952"/>
                </a:cxn>
                <a:cxn ang="0">
                  <a:pos x="4671" y="7915"/>
                </a:cxn>
                <a:cxn ang="0">
                  <a:pos x="4245" y="7723"/>
                </a:cxn>
                <a:cxn ang="0">
                  <a:pos x="3912" y="7405"/>
                </a:cxn>
                <a:cxn ang="0">
                  <a:pos x="3700" y="6991"/>
                </a:cxn>
                <a:cxn ang="0">
                  <a:pos x="3640" y="6512"/>
                </a:cxn>
                <a:cxn ang="0">
                  <a:pos x="3746" y="6048"/>
                </a:cxn>
                <a:cxn ang="0">
                  <a:pos x="3996" y="5658"/>
                </a:cxn>
                <a:cxn ang="0">
                  <a:pos x="4359" y="5374"/>
                </a:cxn>
                <a:cxn ang="0">
                  <a:pos x="4805" y="5223"/>
                </a:cxn>
                <a:cxn ang="0">
                  <a:pos x="7023" y="71"/>
                </a:cxn>
                <a:cxn ang="0">
                  <a:pos x="8998" y="737"/>
                </a:cxn>
                <a:cxn ang="0">
                  <a:pos x="10605" y="2000"/>
                </a:cxn>
                <a:cxn ang="0">
                  <a:pos x="11712" y="3724"/>
                </a:cxn>
                <a:cxn ang="0">
                  <a:pos x="12184" y="5779"/>
                </a:cxn>
                <a:cxn ang="0">
                  <a:pos x="11917" y="7900"/>
                </a:cxn>
                <a:cxn ang="0">
                  <a:pos x="10978" y="9733"/>
                </a:cxn>
                <a:cxn ang="0">
                  <a:pos x="9500" y="11140"/>
                </a:cxn>
                <a:cxn ang="0">
                  <a:pos x="7616" y="11991"/>
                </a:cxn>
                <a:cxn ang="0">
                  <a:pos x="5474" y="12152"/>
                </a:cxn>
                <a:cxn ang="0">
                  <a:pos x="3457" y="11581"/>
                </a:cxn>
                <a:cxn ang="0">
                  <a:pos x="1789" y="10395"/>
                </a:cxn>
                <a:cxn ang="0">
                  <a:pos x="603" y="8728"/>
                </a:cxn>
                <a:cxn ang="0">
                  <a:pos x="32" y="6713"/>
                </a:cxn>
                <a:cxn ang="0">
                  <a:pos x="192" y="4572"/>
                </a:cxn>
                <a:cxn ang="0">
                  <a:pos x="1043" y="2690"/>
                </a:cxn>
                <a:cxn ang="0">
                  <a:pos x="2453" y="1213"/>
                </a:cxn>
                <a:cxn ang="0">
                  <a:pos x="4286" y="275"/>
                </a:cxn>
                <a:cxn ang="0">
                  <a:pos x="5014" y="3439"/>
                </a:cxn>
                <a:cxn ang="0">
                  <a:pos x="6094" y="3630"/>
                </a:cxn>
                <a:cxn ang="0">
                  <a:pos x="7013" y="4158"/>
                </a:cxn>
                <a:cxn ang="0">
                  <a:pos x="7704" y="4955"/>
                </a:cxn>
                <a:cxn ang="0">
                  <a:pos x="8097" y="5951"/>
                </a:cxn>
                <a:cxn ang="0">
                  <a:pos x="8124" y="7061"/>
                </a:cxn>
                <a:cxn ang="0">
                  <a:pos x="7780" y="8080"/>
                </a:cxn>
                <a:cxn ang="0">
                  <a:pos x="7128" y="8909"/>
                </a:cxn>
                <a:cxn ang="0">
                  <a:pos x="6237" y="9479"/>
                </a:cxn>
                <a:cxn ang="0">
                  <a:pos x="5176" y="9722"/>
                </a:cxn>
                <a:cxn ang="0">
                  <a:pos x="4080" y="9585"/>
                </a:cxn>
                <a:cxn ang="0">
                  <a:pos x="3133" y="9101"/>
                </a:cxn>
                <a:cxn ang="0">
                  <a:pos x="2407" y="8338"/>
                </a:cxn>
                <a:cxn ang="0">
                  <a:pos x="1967" y="7367"/>
                </a:cxn>
                <a:cxn ang="0">
                  <a:pos x="1884" y="6263"/>
                </a:cxn>
                <a:cxn ang="0">
                  <a:pos x="2179" y="5222"/>
                </a:cxn>
                <a:cxn ang="0">
                  <a:pos x="2792" y="4362"/>
                </a:cxn>
                <a:cxn ang="0">
                  <a:pos x="3652" y="3750"/>
                </a:cxn>
                <a:cxn ang="0">
                  <a:pos x="4693" y="3456"/>
                </a:cxn>
              </a:cxnLst>
              <a:rect l="0" t="0" r="r" b="b"/>
              <a:pathLst>
                <a:path w="12192" h="12184">
                  <a:moveTo>
                    <a:pt x="5014" y="5207"/>
                  </a:moveTo>
                  <a:lnTo>
                    <a:pt x="5085" y="5209"/>
                  </a:lnTo>
                  <a:lnTo>
                    <a:pt x="5155" y="5214"/>
                  </a:lnTo>
                  <a:lnTo>
                    <a:pt x="5224" y="5223"/>
                  </a:lnTo>
                  <a:lnTo>
                    <a:pt x="5292" y="5236"/>
                  </a:lnTo>
                  <a:lnTo>
                    <a:pt x="5357" y="5251"/>
                  </a:lnTo>
                  <a:lnTo>
                    <a:pt x="5423" y="5270"/>
                  </a:lnTo>
                  <a:lnTo>
                    <a:pt x="5487" y="5291"/>
                  </a:lnTo>
                  <a:lnTo>
                    <a:pt x="5549" y="5316"/>
                  </a:lnTo>
                  <a:lnTo>
                    <a:pt x="5610" y="5343"/>
                  </a:lnTo>
                  <a:lnTo>
                    <a:pt x="5669" y="5374"/>
                  </a:lnTo>
                  <a:lnTo>
                    <a:pt x="5727" y="5407"/>
                  </a:lnTo>
                  <a:lnTo>
                    <a:pt x="5783" y="5443"/>
                  </a:lnTo>
                  <a:lnTo>
                    <a:pt x="5837" y="5481"/>
                  </a:lnTo>
                  <a:lnTo>
                    <a:pt x="5889" y="5522"/>
                  </a:lnTo>
                  <a:lnTo>
                    <a:pt x="5939" y="5565"/>
                  </a:lnTo>
                  <a:lnTo>
                    <a:pt x="5987" y="5611"/>
                  </a:lnTo>
                  <a:lnTo>
                    <a:pt x="6033" y="5658"/>
                  </a:lnTo>
                  <a:lnTo>
                    <a:pt x="6076" y="5709"/>
                  </a:lnTo>
                  <a:lnTo>
                    <a:pt x="6117" y="5761"/>
                  </a:lnTo>
                  <a:lnTo>
                    <a:pt x="6155" y="5814"/>
                  </a:lnTo>
                  <a:lnTo>
                    <a:pt x="6191" y="5871"/>
                  </a:lnTo>
                  <a:lnTo>
                    <a:pt x="6225" y="5928"/>
                  </a:lnTo>
                  <a:lnTo>
                    <a:pt x="6255" y="5988"/>
                  </a:lnTo>
                  <a:lnTo>
                    <a:pt x="6282" y="6048"/>
                  </a:lnTo>
                  <a:lnTo>
                    <a:pt x="6307" y="6111"/>
                  </a:lnTo>
                  <a:lnTo>
                    <a:pt x="6329" y="6174"/>
                  </a:lnTo>
                  <a:lnTo>
                    <a:pt x="6347" y="6240"/>
                  </a:lnTo>
                  <a:lnTo>
                    <a:pt x="6362" y="6306"/>
                  </a:lnTo>
                  <a:lnTo>
                    <a:pt x="6375" y="6374"/>
                  </a:lnTo>
                  <a:lnTo>
                    <a:pt x="6384" y="6442"/>
                  </a:lnTo>
                  <a:lnTo>
                    <a:pt x="6389" y="6512"/>
                  </a:lnTo>
                  <a:lnTo>
                    <a:pt x="6391" y="6583"/>
                  </a:lnTo>
                  <a:lnTo>
                    <a:pt x="6389" y="6654"/>
                  </a:lnTo>
                  <a:lnTo>
                    <a:pt x="6384" y="6723"/>
                  </a:lnTo>
                  <a:lnTo>
                    <a:pt x="6375" y="6792"/>
                  </a:lnTo>
                  <a:lnTo>
                    <a:pt x="6362" y="6860"/>
                  </a:lnTo>
                  <a:lnTo>
                    <a:pt x="6347" y="6926"/>
                  </a:lnTo>
                  <a:lnTo>
                    <a:pt x="6329" y="6991"/>
                  </a:lnTo>
                  <a:lnTo>
                    <a:pt x="6307" y="7055"/>
                  </a:lnTo>
                  <a:lnTo>
                    <a:pt x="6282" y="7117"/>
                  </a:lnTo>
                  <a:lnTo>
                    <a:pt x="6255" y="7178"/>
                  </a:lnTo>
                  <a:lnTo>
                    <a:pt x="6225" y="7237"/>
                  </a:lnTo>
                  <a:lnTo>
                    <a:pt x="6191" y="7295"/>
                  </a:lnTo>
                  <a:lnTo>
                    <a:pt x="6155" y="7351"/>
                  </a:lnTo>
                  <a:lnTo>
                    <a:pt x="6117" y="7405"/>
                  </a:lnTo>
                  <a:lnTo>
                    <a:pt x="6076" y="7457"/>
                  </a:lnTo>
                  <a:lnTo>
                    <a:pt x="6033" y="7507"/>
                  </a:lnTo>
                  <a:lnTo>
                    <a:pt x="5987" y="7554"/>
                  </a:lnTo>
                  <a:lnTo>
                    <a:pt x="5939" y="7601"/>
                  </a:lnTo>
                  <a:lnTo>
                    <a:pt x="5889" y="7644"/>
                  </a:lnTo>
                  <a:lnTo>
                    <a:pt x="5837" y="7685"/>
                  </a:lnTo>
                  <a:lnTo>
                    <a:pt x="5783" y="7723"/>
                  </a:lnTo>
                  <a:lnTo>
                    <a:pt x="5727" y="7759"/>
                  </a:lnTo>
                  <a:lnTo>
                    <a:pt x="5669" y="7792"/>
                  </a:lnTo>
                  <a:lnTo>
                    <a:pt x="5610" y="7822"/>
                  </a:lnTo>
                  <a:lnTo>
                    <a:pt x="5549" y="7850"/>
                  </a:lnTo>
                  <a:lnTo>
                    <a:pt x="5487" y="7875"/>
                  </a:lnTo>
                  <a:lnTo>
                    <a:pt x="5423" y="7896"/>
                  </a:lnTo>
                  <a:lnTo>
                    <a:pt x="5357" y="7915"/>
                  </a:lnTo>
                  <a:lnTo>
                    <a:pt x="5292" y="7930"/>
                  </a:lnTo>
                  <a:lnTo>
                    <a:pt x="5224" y="7942"/>
                  </a:lnTo>
                  <a:lnTo>
                    <a:pt x="5155" y="7952"/>
                  </a:lnTo>
                  <a:lnTo>
                    <a:pt x="5085" y="7957"/>
                  </a:lnTo>
                  <a:lnTo>
                    <a:pt x="5014" y="7959"/>
                  </a:lnTo>
                  <a:lnTo>
                    <a:pt x="4944" y="7957"/>
                  </a:lnTo>
                  <a:lnTo>
                    <a:pt x="4874" y="7952"/>
                  </a:lnTo>
                  <a:lnTo>
                    <a:pt x="4805" y="7942"/>
                  </a:lnTo>
                  <a:lnTo>
                    <a:pt x="4737" y="7930"/>
                  </a:lnTo>
                  <a:lnTo>
                    <a:pt x="4671" y="7915"/>
                  </a:lnTo>
                  <a:lnTo>
                    <a:pt x="4606" y="7896"/>
                  </a:lnTo>
                  <a:lnTo>
                    <a:pt x="4542" y="7875"/>
                  </a:lnTo>
                  <a:lnTo>
                    <a:pt x="4479" y="7850"/>
                  </a:lnTo>
                  <a:lnTo>
                    <a:pt x="4419" y="7822"/>
                  </a:lnTo>
                  <a:lnTo>
                    <a:pt x="4359" y="7792"/>
                  </a:lnTo>
                  <a:lnTo>
                    <a:pt x="4302" y="7759"/>
                  </a:lnTo>
                  <a:lnTo>
                    <a:pt x="4245" y="7723"/>
                  </a:lnTo>
                  <a:lnTo>
                    <a:pt x="4192" y="7685"/>
                  </a:lnTo>
                  <a:lnTo>
                    <a:pt x="4140" y="7644"/>
                  </a:lnTo>
                  <a:lnTo>
                    <a:pt x="4089" y="7601"/>
                  </a:lnTo>
                  <a:lnTo>
                    <a:pt x="4042" y="7554"/>
                  </a:lnTo>
                  <a:lnTo>
                    <a:pt x="3996" y="7507"/>
                  </a:lnTo>
                  <a:lnTo>
                    <a:pt x="3953" y="7457"/>
                  </a:lnTo>
                  <a:lnTo>
                    <a:pt x="3912" y="7405"/>
                  </a:lnTo>
                  <a:lnTo>
                    <a:pt x="3874" y="7351"/>
                  </a:lnTo>
                  <a:lnTo>
                    <a:pt x="3838" y="7295"/>
                  </a:lnTo>
                  <a:lnTo>
                    <a:pt x="3805" y="7237"/>
                  </a:lnTo>
                  <a:lnTo>
                    <a:pt x="3774" y="7178"/>
                  </a:lnTo>
                  <a:lnTo>
                    <a:pt x="3746" y="7117"/>
                  </a:lnTo>
                  <a:lnTo>
                    <a:pt x="3722" y="7055"/>
                  </a:lnTo>
                  <a:lnTo>
                    <a:pt x="3700" y="6991"/>
                  </a:lnTo>
                  <a:lnTo>
                    <a:pt x="3682" y="6926"/>
                  </a:lnTo>
                  <a:lnTo>
                    <a:pt x="3666" y="6860"/>
                  </a:lnTo>
                  <a:lnTo>
                    <a:pt x="3654" y="6792"/>
                  </a:lnTo>
                  <a:lnTo>
                    <a:pt x="3645" y="6723"/>
                  </a:lnTo>
                  <a:lnTo>
                    <a:pt x="3640" y="6654"/>
                  </a:lnTo>
                  <a:lnTo>
                    <a:pt x="3638" y="6583"/>
                  </a:lnTo>
                  <a:lnTo>
                    <a:pt x="3640" y="6512"/>
                  </a:lnTo>
                  <a:lnTo>
                    <a:pt x="3645" y="6442"/>
                  </a:lnTo>
                  <a:lnTo>
                    <a:pt x="3654" y="6374"/>
                  </a:lnTo>
                  <a:lnTo>
                    <a:pt x="3666" y="6306"/>
                  </a:lnTo>
                  <a:lnTo>
                    <a:pt x="3682" y="6240"/>
                  </a:lnTo>
                  <a:lnTo>
                    <a:pt x="3700" y="6174"/>
                  </a:lnTo>
                  <a:lnTo>
                    <a:pt x="3722" y="6111"/>
                  </a:lnTo>
                  <a:lnTo>
                    <a:pt x="3746" y="6048"/>
                  </a:lnTo>
                  <a:lnTo>
                    <a:pt x="3774" y="5988"/>
                  </a:lnTo>
                  <a:lnTo>
                    <a:pt x="3805" y="5928"/>
                  </a:lnTo>
                  <a:lnTo>
                    <a:pt x="3838" y="5871"/>
                  </a:lnTo>
                  <a:lnTo>
                    <a:pt x="3874" y="5814"/>
                  </a:lnTo>
                  <a:lnTo>
                    <a:pt x="3912" y="5761"/>
                  </a:lnTo>
                  <a:lnTo>
                    <a:pt x="3953" y="5709"/>
                  </a:lnTo>
                  <a:lnTo>
                    <a:pt x="3996" y="5658"/>
                  </a:lnTo>
                  <a:lnTo>
                    <a:pt x="4042" y="5611"/>
                  </a:lnTo>
                  <a:lnTo>
                    <a:pt x="4089" y="5565"/>
                  </a:lnTo>
                  <a:lnTo>
                    <a:pt x="4140" y="5522"/>
                  </a:lnTo>
                  <a:lnTo>
                    <a:pt x="4192" y="5481"/>
                  </a:lnTo>
                  <a:lnTo>
                    <a:pt x="4245" y="5443"/>
                  </a:lnTo>
                  <a:lnTo>
                    <a:pt x="4302" y="5407"/>
                  </a:lnTo>
                  <a:lnTo>
                    <a:pt x="4359" y="5374"/>
                  </a:lnTo>
                  <a:lnTo>
                    <a:pt x="4419" y="5343"/>
                  </a:lnTo>
                  <a:lnTo>
                    <a:pt x="4479" y="5316"/>
                  </a:lnTo>
                  <a:lnTo>
                    <a:pt x="4542" y="5291"/>
                  </a:lnTo>
                  <a:lnTo>
                    <a:pt x="4606" y="5270"/>
                  </a:lnTo>
                  <a:lnTo>
                    <a:pt x="4671" y="5251"/>
                  </a:lnTo>
                  <a:lnTo>
                    <a:pt x="4737" y="5236"/>
                  </a:lnTo>
                  <a:lnTo>
                    <a:pt x="4805" y="5223"/>
                  </a:lnTo>
                  <a:lnTo>
                    <a:pt x="4874" y="5214"/>
                  </a:lnTo>
                  <a:lnTo>
                    <a:pt x="4944" y="5209"/>
                  </a:lnTo>
                  <a:lnTo>
                    <a:pt x="5014" y="5207"/>
                  </a:lnTo>
                  <a:close/>
                  <a:moveTo>
                    <a:pt x="6097" y="0"/>
                  </a:moveTo>
                  <a:lnTo>
                    <a:pt x="6409" y="8"/>
                  </a:lnTo>
                  <a:lnTo>
                    <a:pt x="6718" y="32"/>
                  </a:lnTo>
                  <a:lnTo>
                    <a:pt x="7023" y="71"/>
                  </a:lnTo>
                  <a:lnTo>
                    <a:pt x="7322" y="124"/>
                  </a:lnTo>
                  <a:lnTo>
                    <a:pt x="7616" y="193"/>
                  </a:lnTo>
                  <a:lnTo>
                    <a:pt x="7906" y="275"/>
                  </a:lnTo>
                  <a:lnTo>
                    <a:pt x="8188" y="370"/>
                  </a:lnTo>
                  <a:lnTo>
                    <a:pt x="8465" y="480"/>
                  </a:lnTo>
                  <a:lnTo>
                    <a:pt x="8735" y="602"/>
                  </a:lnTo>
                  <a:lnTo>
                    <a:pt x="8998" y="737"/>
                  </a:lnTo>
                  <a:lnTo>
                    <a:pt x="9253" y="884"/>
                  </a:lnTo>
                  <a:lnTo>
                    <a:pt x="9500" y="1042"/>
                  </a:lnTo>
                  <a:lnTo>
                    <a:pt x="9739" y="1213"/>
                  </a:lnTo>
                  <a:lnTo>
                    <a:pt x="9970" y="1394"/>
                  </a:lnTo>
                  <a:lnTo>
                    <a:pt x="10191" y="1586"/>
                  </a:lnTo>
                  <a:lnTo>
                    <a:pt x="10403" y="1787"/>
                  </a:lnTo>
                  <a:lnTo>
                    <a:pt x="10605" y="2000"/>
                  </a:lnTo>
                  <a:lnTo>
                    <a:pt x="10797" y="2220"/>
                  </a:lnTo>
                  <a:lnTo>
                    <a:pt x="10978" y="2451"/>
                  </a:lnTo>
                  <a:lnTo>
                    <a:pt x="11149" y="2690"/>
                  </a:lnTo>
                  <a:lnTo>
                    <a:pt x="11307" y="2937"/>
                  </a:lnTo>
                  <a:lnTo>
                    <a:pt x="11455" y="3192"/>
                  </a:lnTo>
                  <a:lnTo>
                    <a:pt x="11589" y="3455"/>
                  </a:lnTo>
                  <a:lnTo>
                    <a:pt x="11712" y="3724"/>
                  </a:lnTo>
                  <a:lnTo>
                    <a:pt x="11821" y="4000"/>
                  </a:lnTo>
                  <a:lnTo>
                    <a:pt x="11917" y="4284"/>
                  </a:lnTo>
                  <a:lnTo>
                    <a:pt x="11999" y="4572"/>
                  </a:lnTo>
                  <a:lnTo>
                    <a:pt x="12068" y="4866"/>
                  </a:lnTo>
                  <a:lnTo>
                    <a:pt x="12121" y="5166"/>
                  </a:lnTo>
                  <a:lnTo>
                    <a:pt x="12160" y="5471"/>
                  </a:lnTo>
                  <a:lnTo>
                    <a:pt x="12184" y="5779"/>
                  </a:lnTo>
                  <a:lnTo>
                    <a:pt x="12192" y="6091"/>
                  </a:lnTo>
                  <a:lnTo>
                    <a:pt x="12184" y="6404"/>
                  </a:lnTo>
                  <a:lnTo>
                    <a:pt x="12160" y="6713"/>
                  </a:lnTo>
                  <a:lnTo>
                    <a:pt x="12121" y="7017"/>
                  </a:lnTo>
                  <a:lnTo>
                    <a:pt x="12068" y="7316"/>
                  </a:lnTo>
                  <a:lnTo>
                    <a:pt x="11999" y="7611"/>
                  </a:lnTo>
                  <a:lnTo>
                    <a:pt x="11917" y="7900"/>
                  </a:lnTo>
                  <a:lnTo>
                    <a:pt x="11821" y="8182"/>
                  </a:lnTo>
                  <a:lnTo>
                    <a:pt x="11712" y="8459"/>
                  </a:lnTo>
                  <a:lnTo>
                    <a:pt x="11589" y="8728"/>
                  </a:lnTo>
                  <a:lnTo>
                    <a:pt x="11455" y="8991"/>
                  </a:lnTo>
                  <a:lnTo>
                    <a:pt x="11307" y="9246"/>
                  </a:lnTo>
                  <a:lnTo>
                    <a:pt x="11149" y="9494"/>
                  </a:lnTo>
                  <a:lnTo>
                    <a:pt x="10978" y="9733"/>
                  </a:lnTo>
                  <a:lnTo>
                    <a:pt x="10797" y="9962"/>
                  </a:lnTo>
                  <a:lnTo>
                    <a:pt x="10605" y="10184"/>
                  </a:lnTo>
                  <a:lnTo>
                    <a:pt x="10403" y="10395"/>
                  </a:lnTo>
                  <a:lnTo>
                    <a:pt x="10191" y="10598"/>
                  </a:lnTo>
                  <a:lnTo>
                    <a:pt x="9970" y="10789"/>
                  </a:lnTo>
                  <a:lnTo>
                    <a:pt x="9739" y="10970"/>
                  </a:lnTo>
                  <a:lnTo>
                    <a:pt x="9500" y="11140"/>
                  </a:lnTo>
                  <a:lnTo>
                    <a:pt x="9253" y="11299"/>
                  </a:lnTo>
                  <a:lnTo>
                    <a:pt x="8998" y="11446"/>
                  </a:lnTo>
                  <a:lnTo>
                    <a:pt x="8735" y="11581"/>
                  </a:lnTo>
                  <a:lnTo>
                    <a:pt x="8465" y="11704"/>
                  </a:lnTo>
                  <a:lnTo>
                    <a:pt x="8188" y="11812"/>
                  </a:lnTo>
                  <a:lnTo>
                    <a:pt x="7906" y="11909"/>
                  </a:lnTo>
                  <a:lnTo>
                    <a:pt x="7616" y="11991"/>
                  </a:lnTo>
                  <a:lnTo>
                    <a:pt x="7322" y="12060"/>
                  </a:lnTo>
                  <a:lnTo>
                    <a:pt x="7023" y="12113"/>
                  </a:lnTo>
                  <a:lnTo>
                    <a:pt x="6718" y="12152"/>
                  </a:lnTo>
                  <a:lnTo>
                    <a:pt x="6409" y="12176"/>
                  </a:lnTo>
                  <a:lnTo>
                    <a:pt x="6097" y="12184"/>
                  </a:lnTo>
                  <a:lnTo>
                    <a:pt x="5783" y="12176"/>
                  </a:lnTo>
                  <a:lnTo>
                    <a:pt x="5474" y="12152"/>
                  </a:lnTo>
                  <a:lnTo>
                    <a:pt x="5169" y="12113"/>
                  </a:lnTo>
                  <a:lnTo>
                    <a:pt x="4870" y="12060"/>
                  </a:lnTo>
                  <a:lnTo>
                    <a:pt x="4576" y="11991"/>
                  </a:lnTo>
                  <a:lnTo>
                    <a:pt x="4286" y="11909"/>
                  </a:lnTo>
                  <a:lnTo>
                    <a:pt x="4004" y="11812"/>
                  </a:lnTo>
                  <a:lnTo>
                    <a:pt x="3727" y="11704"/>
                  </a:lnTo>
                  <a:lnTo>
                    <a:pt x="3457" y="11581"/>
                  </a:lnTo>
                  <a:lnTo>
                    <a:pt x="3194" y="11446"/>
                  </a:lnTo>
                  <a:lnTo>
                    <a:pt x="2939" y="11299"/>
                  </a:lnTo>
                  <a:lnTo>
                    <a:pt x="2692" y="11140"/>
                  </a:lnTo>
                  <a:lnTo>
                    <a:pt x="2453" y="10970"/>
                  </a:lnTo>
                  <a:lnTo>
                    <a:pt x="2222" y="10789"/>
                  </a:lnTo>
                  <a:lnTo>
                    <a:pt x="2001" y="10598"/>
                  </a:lnTo>
                  <a:lnTo>
                    <a:pt x="1789" y="10395"/>
                  </a:lnTo>
                  <a:lnTo>
                    <a:pt x="1587" y="10184"/>
                  </a:lnTo>
                  <a:lnTo>
                    <a:pt x="1395" y="9962"/>
                  </a:lnTo>
                  <a:lnTo>
                    <a:pt x="1214" y="9733"/>
                  </a:lnTo>
                  <a:lnTo>
                    <a:pt x="1043" y="9494"/>
                  </a:lnTo>
                  <a:lnTo>
                    <a:pt x="885" y="9246"/>
                  </a:lnTo>
                  <a:lnTo>
                    <a:pt x="737" y="8991"/>
                  </a:lnTo>
                  <a:lnTo>
                    <a:pt x="603" y="8728"/>
                  </a:lnTo>
                  <a:lnTo>
                    <a:pt x="480" y="8459"/>
                  </a:lnTo>
                  <a:lnTo>
                    <a:pt x="371" y="8182"/>
                  </a:lnTo>
                  <a:lnTo>
                    <a:pt x="275" y="7900"/>
                  </a:lnTo>
                  <a:lnTo>
                    <a:pt x="192" y="7611"/>
                  </a:lnTo>
                  <a:lnTo>
                    <a:pt x="124" y="7316"/>
                  </a:lnTo>
                  <a:lnTo>
                    <a:pt x="71" y="7017"/>
                  </a:lnTo>
                  <a:lnTo>
                    <a:pt x="32" y="6713"/>
                  </a:lnTo>
                  <a:lnTo>
                    <a:pt x="8" y="6404"/>
                  </a:lnTo>
                  <a:lnTo>
                    <a:pt x="0" y="6091"/>
                  </a:lnTo>
                  <a:lnTo>
                    <a:pt x="8" y="5779"/>
                  </a:lnTo>
                  <a:lnTo>
                    <a:pt x="32" y="5471"/>
                  </a:lnTo>
                  <a:lnTo>
                    <a:pt x="71" y="5166"/>
                  </a:lnTo>
                  <a:lnTo>
                    <a:pt x="124" y="4866"/>
                  </a:lnTo>
                  <a:lnTo>
                    <a:pt x="192" y="4572"/>
                  </a:lnTo>
                  <a:lnTo>
                    <a:pt x="275" y="4284"/>
                  </a:lnTo>
                  <a:lnTo>
                    <a:pt x="371" y="4000"/>
                  </a:lnTo>
                  <a:lnTo>
                    <a:pt x="480" y="3724"/>
                  </a:lnTo>
                  <a:lnTo>
                    <a:pt x="603" y="3455"/>
                  </a:lnTo>
                  <a:lnTo>
                    <a:pt x="737" y="3192"/>
                  </a:lnTo>
                  <a:lnTo>
                    <a:pt x="885" y="2937"/>
                  </a:lnTo>
                  <a:lnTo>
                    <a:pt x="1043" y="2690"/>
                  </a:lnTo>
                  <a:lnTo>
                    <a:pt x="1214" y="2451"/>
                  </a:lnTo>
                  <a:lnTo>
                    <a:pt x="1395" y="2220"/>
                  </a:lnTo>
                  <a:lnTo>
                    <a:pt x="1587" y="2000"/>
                  </a:lnTo>
                  <a:lnTo>
                    <a:pt x="1789" y="1787"/>
                  </a:lnTo>
                  <a:lnTo>
                    <a:pt x="2001" y="1586"/>
                  </a:lnTo>
                  <a:lnTo>
                    <a:pt x="2222" y="1394"/>
                  </a:lnTo>
                  <a:lnTo>
                    <a:pt x="2453" y="1213"/>
                  </a:lnTo>
                  <a:lnTo>
                    <a:pt x="2692" y="1042"/>
                  </a:lnTo>
                  <a:lnTo>
                    <a:pt x="2939" y="884"/>
                  </a:lnTo>
                  <a:lnTo>
                    <a:pt x="3194" y="737"/>
                  </a:lnTo>
                  <a:lnTo>
                    <a:pt x="3457" y="602"/>
                  </a:lnTo>
                  <a:lnTo>
                    <a:pt x="3727" y="480"/>
                  </a:lnTo>
                  <a:lnTo>
                    <a:pt x="4004" y="370"/>
                  </a:lnTo>
                  <a:lnTo>
                    <a:pt x="4286" y="275"/>
                  </a:lnTo>
                  <a:lnTo>
                    <a:pt x="4576" y="193"/>
                  </a:lnTo>
                  <a:lnTo>
                    <a:pt x="4870" y="124"/>
                  </a:lnTo>
                  <a:lnTo>
                    <a:pt x="5169" y="71"/>
                  </a:lnTo>
                  <a:lnTo>
                    <a:pt x="5474" y="32"/>
                  </a:lnTo>
                  <a:lnTo>
                    <a:pt x="5783" y="8"/>
                  </a:lnTo>
                  <a:lnTo>
                    <a:pt x="6097" y="0"/>
                  </a:lnTo>
                  <a:close/>
                  <a:moveTo>
                    <a:pt x="5014" y="3439"/>
                  </a:moveTo>
                  <a:lnTo>
                    <a:pt x="5176" y="3443"/>
                  </a:lnTo>
                  <a:lnTo>
                    <a:pt x="5336" y="3456"/>
                  </a:lnTo>
                  <a:lnTo>
                    <a:pt x="5493" y="3475"/>
                  </a:lnTo>
                  <a:lnTo>
                    <a:pt x="5647" y="3503"/>
                  </a:lnTo>
                  <a:lnTo>
                    <a:pt x="5799" y="3538"/>
                  </a:lnTo>
                  <a:lnTo>
                    <a:pt x="5949" y="3581"/>
                  </a:lnTo>
                  <a:lnTo>
                    <a:pt x="6094" y="3630"/>
                  </a:lnTo>
                  <a:lnTo>
                    <a:pt x="6237" y="3686"/>
                  </a:lnTo>
                  <a:lnTo>
                    <a:pt x="6377" y="3750"/>
                  </a:lnTo>
                  <a:lnTo>
                    <a:pt x="6512" y="3819"/>
                  </a:lnTo>
                  <a:lnTo>
                    <a:pt x="6644" y="3895"/>
                  </a:lnTo>
                  <a:lnTo>
                    <a:pt x="6771" y="3977"/>
                  </a:lnTo>
                  <a:lnTo>
                    <a:pt x="6895" y="4065"/>
                  </a:lnTo>
                  <a:lnTo>
                    <a:pt x="7013" y="4158"/>
                  </a:lnTo>
                  <a:lnTo>
                    <a:pt x="7128" y="4257"/>
                  </a:lnTo>
                  <a:lnTo>
                    <a:pt x="7237" y="4362"/>
                  </a:lnTo>
                  <a:lnTo>
                    <a:pt x="7342" y="4470"/>
                  </a:lnTo>
                  <a:lnTo>
                    <a:pt x="7440" y="4585"/>
                  </a:lnTo>
                  <a:lnTo>
                    <a:pt x="7534" y="4704"/>
                  </a:lnTo>
                  <a:lnTo>
                    <a:pt x="7622" y="4827"/>
                  </a:lnTo>
                  <a:lnTo>
                    <a:pt x="7704" y="4955"/>
                  </a:lnTo>
                  <a:lnTo>
                    <a:pt x="7780" y="5086"/>
                  </a:lnTo>
                  <a:lnTo>
                    <a:pt x="7850" y="5222"/>
                  </a:lnTo>
                  <a:lnTo>
                    <a:pt x="7913" y="5361"/>
                  </a:lnTo>
                  <a:lnTo>
                    <a:pt x="7969" y="5503"/>
                  </a:lnTo>
                  <a:lnTo>
                    <a:pt x="8018" y="5650"/>
                  </a:lnTo>
                  <a:lnTo>
                    <a:pt x="8062" y="5799"/>
                  </a:lnTo>
                  <a:lnTo>
                    <a:pt x="8097" y="5951"/>
                  </a:lnTo>
                  <a:lnTo>
                    <a:pt x="8124" y="6105"/>
                  </a:lnTo>
                  <a:lnTo>
                    <a:pt x="8145" y="6263"/>
                  </a:lnTo>
                  <a:lnTo>
                    <a:pt x="8157" y="6422"/>
                  </a:lnTo>
                  <a:lnTo>
                    <a:pt x="8161" y="6583"/>
                  </a:lnTo>
                  <a:lnTo>
                    <a:pt x="8157" y="6744"/>
                  </a:lnTo>
                  <a:lnTo>
                    <a:pt x="8145" y="6904"/>
                  </a:lnTo>
                  <a:lnTo>
                    <a:pt x="8124" y="7061"/>
                  </a:lnTo>
                  <a:lnTo>
                    <a:pt x="8097" y="7215"/>
                  </a:lnTo>
                  <a:lnTo>
                    <a:pt x="8062" y="7367"/>
                  </a:lnTo>
                  <a:lnTo>
                    <a:pt x="8018" y="7516"/>
                  </a:lnTo>
                  <a:lnTo>
                    <a:pt x="7969" y="7662"/>
                  </a:lnTo>
                  <a:lnTo>
                    <a:pt x="7913" y="7805"/>
                  </a:lnTo>
                  <a:lnTo>
                    <a:pt x="7850" y="7944"/>
                  </a:lnTo>
                  <a:lnTo>
                    <a:pt x="7780" y="8080"/>
                  </a:lnTo>
                  <a:lnTo>
                    <a:pt x="7704" y="8211"/>
                  </a:lnTo>
                  <a:lnTo>
                    <a:pt x="7622" y="8338"/>
                  </a:lnTo>
                  <a:lnTo>
                    <a:pt x="7534" y="8462"/>
                  </a:lnTo>
                  <a:lnTo>
                    <a:pt x="7440" y="8580"/>
                  </a:lnTo>
                  <a:lnTo>
                    <a:pt x="7342" y="8695"/>
                  </a:lnTo>
                  <a:lnTo>
                    <a:pt x="7237" y="8804"/>
                  </a:lnTo>
                  <a:lnTo>
                    <a:pt x="7128" y="8909"/>
                  </a:lnTo>
                  <a:lnTo>
                    <a:pt x="7013" y="9007"/>
                  </a:lnTo>
                  <a:lnTo>
                    <a:pt x="6895" y="9101"/>
                  </a:lnTo>
                  <a:lnTo>
                    <a:pt x="6771" y="9189"/>
                  </a:lnTo>
                  <a:lnTo>
                    <a:pt x="6644" y="9271"/>
                  </a:lnTo>
                  <a:lnTo>
                    <a:pt x="6512" y="9347"/>
                  </a:lnTo>
                  <a:lnTo>
                    <a:pt x="6377" y="9417"/>
                  </a:lnTo>
                  <a:lnTo>
                    <a:pt x="6237" y="9479"/>
                  </a:lnTo>
                  <a:lnTo>
                    <a:pt x="6094" y="9536"/>
                  </a:lnTo>
                  <a:lnTo>
                    <a:pt x="5949" y="9585"/>
                  </a:lnTo>
                  <a:lnTo>
                    <a:pt x="5799" y="9628"/>
                  </a:lnTo>
                  <a:lnTo>
                    <a:pt x="5647" y="9663"/>
                  </a:lnTo>
                  <a:lnTo>
                    <a:pt x="5493" y="9691"/>
                  </a:lnTo>
                  <a:lnTo>
                    <a:pt x="5336" y="9711"/>
                  </a:lnTo>
                  <a:lnTo>
                    <a:pt x="5176" y="9722"/>
                  </a:lnTo>
                  <a:lnTo>
                    <a:pt x="5014" y="9726"/>
                  </a:lnTo>
                  <a:lnTo>
                    <a:pt x="4853" y="9722"/>
                  </a:lnTo>
                  <a:lnTo>
                    <a:pt x="4693" y="9711"/>
                  </a:lnTo>
                  <a:lnTo>
                    <a:pt x="4536" y="9691"/>
                  </a:lnTo>
                  <a:lnTo>
                    <a:pt x="4382" y="9663"/>
                  </a:lnTo>
                  <a:lnTo>
                    <a:pt x="4230" y="9628"/>
                  </a:lnTo>
                  <a:lnTo>
                    <a:pt x="4080" y="9585"/>
                  </a:lnTo>
                  <a:lnTo>
                    <a:pt x="3934" y="9536"/>
                  </a:lnTo>
                  <a:lnTo>
                    <a:pt x="3792" y="9479"/>
                  </a:lnTo>
                  <a:lnTo>
                    <a:pt x="3652" y="9417"/>
                  </a:lnTo>
                  <a:lnTo>
                    <a:pt x="3516" y="9347"/>
                  </a:lnTo>
                  <a:lnTo>
                    <a:pt x="3385" y="9271"/>
                  </a:lnTo>
                  <a:lnTo>
                    <a:pt x="3258" y="9189"/>
                  </a:lnTo>
                  <a:lnTo>
                    <a:pt x="3133" y="9101"/>
                  </a:lnTo>
                  <a:lnTo>
                    <a:pt x="3015" y="9007"/>
                  </a:lnTo>
                  <a:lnTo>
                    <a:pt x="2900" y="8909"/>
                  </a:lnTo>
                  <a:lnTo>
                    <a:pt x="2792" y="8804"/>
                  </a:lnTo>
                  <a:lnTo>
                    <a:pt x="2687" y="8695"/>
                  </a:lnTo>
                  <a:lnTo>
                    <a:pt x="2588" y="8580"/>
                  </a:lnTo>
                  <a:lnTo>
                    <a:pt x="2495" y="8462"/>
                  </a:lnTo>
                  <a:lnTo>
                    <a:pt x="2407" y="8338"/>
                  </a:lnTo>
                  <a:lnTo>
                    <a:pt x="2324" y="8211"/>
                  </a:lnTo>
                  <a:lnTo>
                    <a:pt x="2248" y="8080"/>
                  </a:lnTo>
                  <a:lnTo>
                    <a:pt x="2179" y="7944"/>
                  </a:lnTo>
                  <a:lnTo>
                    <a:pt x="2116" y="7805"/>
                  </a:lnTo>
                  <a:lnTo>
                    <a:pt x="2060" y="7662"/>
                  </a:lnTo>
                  <a:lnTo>
                    <a:pt x="2010" y="7516"/>
                  </a:lnTo>
                  <a:lnTo>
                    <a:pt x="1967" y="7367"/>
                  </a:lnTo>
                  <a:lnTo>
                    <a:pt x="1932" y="7215"/>
                  </a:lnTo>
                  <a:lnTo>
                    <a:pt x="1905" y="7061"/>
                  </a:lnTo>
                  <a:lnTo>
                    <a:pt x="1884" y="6904"/>
                  </a:lnTo>
                  <a:lnTo>
                    <a:pt x="1873" y="6744"/>
                  </a:lnTo>
                  <a:lnTo>
                    <a:pt x="1869" y="6583"/>
                  </a:lnTo>
                  <a:lnTo>
                    <a:pt x="1873" y="6422"/>
                  </a:lnTo>
                  <a:lnTo>
                    <a:pt x="1884" y="6263"/>
                  </a:lnTo>
                  <a:lnTo>
                    <a:pt x="1905" y="6105"/>
                  </a:lnTo>
                  <a:lnTo>
                    <a:pt x="1932" y="5951"/>
                  </a:lnTo>
                  <a:lnTo>
                    <a:pt x="1967" y="5799"/>
                  </a:lnTo>
                  <a:lnTo>
                    <a:pt x="2010" y="5650"/>
                  </a:lnTo>
                  <a:lnTo>
                    <a:pt x="2060" y="5503"/>
                  </a:lnTo>
                  <a:lnTo>
                    <a:pt x="2116" y="5361"/>
                  </a:lnTo>
                  <a:lnTo>
                    <a:pt x="2179" y="5222"/>
                  </a:lnTo>
                  <a:lnTo>
                    <a:pt x="2248" y="5086"/>
                  </a:lnTo>
                  <a:lnTo>
                    <a:pt x="2324" y="4955"/>
                  </a:lnTo>
                  <a:lnTo>
                    <a:pt x="2407" y="4827"/>
                  </a:lnTo>
                  <a:lnTo>
                    <a:pt x="2495" y="4704"/>
                  </a:lnTo>
                  <a:lnTo>
                    <a:pt x="2588" y="4585"/>
                  </a:lnTo>
                  <a:lnTo>
                    <a:pt x="2687" y="4470"/>
                  </a:lnTo>
                  <a:lnTo>
                    <a:pt x="2792" y="4362"/>
                  </a:lnTo>
                  <a:lnTo>
                    <a:pt x="2900" y="4257"/>
                  </a:lnTo>
                  <a:lnTo>
                    <a:pt x="3015" y="4158"/>
                  </a:lnTo>
                  <a:lnTo>
                    <a:pt x="3133" y="4065"/>
                  </a:lnTo>
                  <a:lnTo>
                    <a:pt x="3258" y="3977"/>
                  </a:lnTo>
                  <a:lnTo>
                    <a:pt x="3385" y="3895"/>
                  </a:lnTo>
                  <a:lnTo>
                    <a:pt x="3516" y="3819"/>
                  </a:lnTo>
                  <a:lnTo>
                    <a:pt x="3652" y="3750"/>
                  </a:lnTo>
                  <a:lnTo>
                    <a:pt x="3792" y="3686"/>
                  </a:lnTo>
                  <a:lnTo>
                    <a:pt x="3934" y="3630"/>
                  </a:lnTo>
                  <a:lnTo>
                    <a:pt x="4080" y="3581"/>
                  </a:lnTo>
                  <a:lnTo>
                    <a:pt x="4230" y="3538"/>
                  </a:lnTo>
                  <a:lnTo>
                    <a:pt x="4382" y="3503"/>
                  </a:lnTo>
                  <a:lnTo>
                    <a:pt x="4536" y="3475"/>
                  </a:lnTo>
                  <a:lnTo>
                    <a:pt x="4693" y="3456"/>
                  </a:lnTo>
                  <a:lnTo>
                    <a:pt x="4853" y="3443"/>
                  </a:lnTo>
                  <a:lnTo>
                    <a:pt x="5014" y="3439"/>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endParaRPr lang="zh-CN" altLang="en-US" sz="1799">
                <a:solidFill>
                  <a:schemeClr val="bg1"/>
                </a:solidFill>
              </a:endParaRPr>
            </a:p>
          </p:txBody>
        </p:sp>
        <p:sp>
          <p:nvSpPr>
            <p:cNvPr id="313" name="Freeform 18"/>
            <p:cNvSpPr>
              <a:spLocks noEditPoints="1"/>
            </p:cNvSpPr>
            <p:nvPr/>
          </p:nvSpPr>
          <p:spPr bwMode="auto">
            <a:xfrm>
              <a:off x="-6246813" y="4160838"/>
              <a:ext cx="987425" cy="468313"/>
            </a:xfrm>
            <a:custGeom>
              <a:avLst/>
              <a:gdLst/>
              <a:ahLst/>
              <a:cxnLst>
                <a:cxn ang="0">
                  <a:pos x="4376" y="1769"/>
                </a:cxn>
                <a:cxn ang="0">
                  <a:pos x="638" y="2271"/>
                </a:cxn>
                <a:cxn ang="0">
                  <a:pos x="6901" y="2275"/>
                </a:cxn>
                <a:cxn ang="0">
                  <a:pos x="6994" y="2291"/>
                </a:cxn>
                <a:cxn ang="0">
                  <a:pos x="7084" y="2321"/>
                </a:cxn>
                <a:cxn ang="0">
                  <a:pos x="7166" y="2364"/>
                </a:cxn>
                <a:cxn ang="0">
                  <a:pos x="7241" y="2417"/>
                </a:cxn>
                <a:cxn ang="0">
                  <a:pos x="7307" y="2480"/>
                </a:cxn>
                <a:cxn ang="0">
                  <a:pos x="7364" y="2553"/>
                </a:cxn>
                <a:cxn ang="0">
                  <a:pos x="7410" y="2633"/>
                </a:cxn>
                <a:cxn ang="0">
                  <a:pos x="7445" y="2719"/>
                </a:cxn>
                <a:cxn ang="0">
                  <a:pos x="7465" y="2811"/>
                </a:cxn>
                <a:cxn ang="0">
                  <a:pos x="7474" y="2908"/>
                </a:cxn>
                <a:cxn ang="0">
                  <a:pos x="7465" y="3004"/>
                </a:cxn>
                <a:cxn ang="0">
                  <a:pos x="7445" y="3097"/>
                </a:cxn>
                <a:cxn ang="0">
                  <a:pos x="7410" y="3184"/>
                </a:cxn>
                <a:cxn ang="0">
                  <a:pos x="7364" y="3264"/>
                </a:cxn>
                <a:cxn ang="0">
                  <a:pos x="7307" y="3336"/>
                </a:cxn>
                <a:cxn ang="0">
                  <a:pos x="7241" y="3399"/>
                </a:cxn>
                <a:cxn ang="0">
                  <a:pos x="7166" y="3453"/>
                </a:cxn>
                <a:cxn ang="0">
                  <a:pos x="7084" y="3495"/>
                </a:cxn>
                <a:cxn ang="0">
                  <a:pos x="6994" y="3524"/>
                </a:cxn>
                <a:cxn ang="0">
                  <a:pos x="6901" y="3542"/>
                </a:cxn>
                <a:cxn ang="0">
                  <a:pos x="638" y="3545"/>
                </a:cxn>
                <a:cxn ang="0">
                  <a:pos x="541" y="3538"/>
                </a:cxn>
                <a:cxn ang="0">
                  <a:pos x="449" y="3516"/>
                </a:cxn>
                <a:cxn ang="0">
                  <a:pos x="363" y="3482"/>
                </a:cxn>
                <a:cxn ang="0">
                  <a:pos x="283" y="3436"/>
                </a:cxn>
                <a:cxn ang="0">
                  <a:pos x="210" y="3379"/>
                </a:cxn>
                <a:cxn ang="0">
                  <a:pos x="147" y="3313"/>
                </a:cxn>
                <a:cxn ang="0">
                  <a:pos x="94" y="3238"/>
                </a:cxn>
                <a:cxn ang="0">
                  <a:pos x="51" y="3155"/>
                </a:cxn>
                <a:cxn ang="0">
                  <a:pos x="21" y="3067"/>
                </a:cxn>
                <a:cxn ang="0">
                  <a:pos x="4" y="2972"/>
                </a:cxn>
                <a:cxn ang="0">
                  <a:pos x="1" y="2875"/>
                </a:cxn>
                <a:cxn ang="0">
                  <a:pos x="14" y="2780"/>
                </a:cxn>
                <a:cxn ang="0">
                  <a:pos x="39" y="2689"/>
                </a:cxn>
                <a:cxn ang="0">
                  <a:pos x="78" y="2605"/>
                </a:cxn>
                <a:cxn ang="0">
                  <a:pos x="128" y="2527"/>
                </a:cxn>
                <a:cxn ang="0">
                  <a:pos x="188" y="2458"/>
                </a:cxn>
                <a:cxn ang="0">
                  <a:pos x="257" y="2398"/>
                </a:cxn>
                <a:cxn ang="0">
                  <a:pos x="335" y="2349"/>
                </a:cxn>
                <a:cxn ang="0">
                  <a:pos x="419" y="2310"/>
                </a:cxn>
                <a:cxn ang="0">
                  <a:pos x="511" y="2284"/>
                </a:cxn>
                <a:cxn ang="0">
                  <a:pos x="605" y="2272"/>
                </a:cxn>
              </a:cxnLst>
              <a:rect l="0" t="0" r="r" b="b"/>
              <a:pathLst>
                <a:path w="7474" h="3545">
                  <a:moveTo>
                    <a:pt x="3098" y="0"/>
                  </a:moveTo>
                  <a:lnTo>
                    <a:pt x="4376" y="0"/>
                  </a:lnTo>
                  <a:lnTo>
                    <a:pt x="4376" y="1769"/>
                  </a:lnTo>
                  <a:lnTo>
                    <a:pt x="3098" y="1769"/>
                  </a:lnTo>
                  <a:lnTo>
                    <a:pt x="3098" y="0"/>
                  </a:lnTo>
                  <a:close/>
                  <a:moveTo>
                    <a:pt x="638" y="2271"/>
                  </a:moveTo>
                  <a:lnTo>
                    <a:pt x="6836" y="2271"/>
                  </a:lnTo>
                  <a:lnTo>
                    <a:pt x="6869" y="2272"/>
                  </a:lnTo>
                  <a:lnTo>
                    <a:pt x="6901" y="2275"/>
                  </a:lnTo>
                  <a:lnTo>
                    <a:pt x="6933" y="2279"/>
                  </a:lnTo>
                  <a:lnTo>
                    <a:pt x="6963" y="2284"/>
                  </a:lnTo>
                  <a:lnTo>
                    <a:pt x="6994" y="2291"/>
                  </a:lnTo>
                  <a:lnTo>
                    <a:pt x="7025" y="2299"/>
                  </a:lnTo>
                  <a:lnTo>
                    <a:pt x="7055" y="2310"/>
                  </a:lnTo>
                  <a:lnTo>
                    <a:pt x="7084" y="2321"/>
                  </a:lnTo>
                  <a:lnTo>
                    <a:pt x="7111" y="2334"/>
                  </a:lnTo>
                  <a:lnTo>
                    <a:pt x="7139" y="2349"/>
                  </a:lnTo>
                  <a:lnTo>
                    <a:pt x="7166" y="2364"/>
                  </a:lnTo>
                  <a:lnTo>
                    <a:pt x="7191" y="2380"/>
                  </a:lnTo>
                  <a:lnTo>
                    <a:pt x="7217" y="2398"/>
                  </a:lnTo>
                  <a:lnTo>
                    <a:pt x="7241" y="2417"/>
                  </a:lnTo>
                  <a:lnTo>
                    <a:pt x="7264" y="2437"/>
                  </a:lnTo>
                  <a:lnTo>
                    <a:pt x="7286" y="2458"/>
                  </a:lnTo>
                  <a:lnTo>
                    <a:pt x="7307" y="2480"/>
                  </a:lnTo>
                  <a:lnTo>
                    <a:pt x="7327" y="2504"/>
                  </a:lnTo>
                  <a:lnTo>
                    <a:pt x="7346" y="2527"/>
                  </a:lnTo>
                  <a:lnTo>
                    <a:pt x="7364" y="2553"/>
                  </a:lnTo>
                  <a:lnTo>
                    <a:pt x="7380" y="2579"/>
                  </a:lnTo>
                  <a:lnTo>
                    <a:pt x="7396" y="2605"/>
                  </a:lnTo>
                  <a:lnTo>
                    <a:pt x="7410" y="2633"/>
                  </a:lnTo>
                  <a:lnTo>
                    <a:pt x="7423" y="2661"/>
                  </a:lnTo>
                  <a:lnTo>
                    <a:pt x="7435" y="2689"/>
                  </a:lnTo>
                  <a:lnTo>
                    <a:pt x="7445" y="2719"/>
                  </a:lnTo>
                  <a:lnTo>
                    <a:pt x="7453" y="2750"/>
                  </a:lnTo>
                  <a:lnTo>
                    <a:pt x="7460" y="2780"/>
                  </a:lnTo>
                  <a:lnTo>
                    <a:pt x="7465" y="2811"/>
                  </a:lnTo>
                  <a:lnTo>
                    <a:pt x="7470" y="2843"/>
                  </a:lnTo>
                  <a:lnTo>
                    <a:pt x="7473" y="2875"/>
                  </a:lnTo>
                  <a:lnTo>
                    <a:pt x="7474" y="2908"/>
                  </a:lnTo>
                  <a:lnTo>
                    <a:pt x="7473" y="2941"/>
                  </a:lnTo>
                  <a:lnTo>
                    <a:pt x="7470" y="2972"/>
                  </a:lnTo>
                  <a:lnTo>
                    <a:pt x="7465" y="3004"/>
                  </a:lnTo>
                  <a:lnTo>
                    <a:pt x="7460" y="3036"/>
                  </a:lnTo>
                  <a:lnTo>
                    <a:pt x="7453" y="3067"/>
                  </a:lnTo>
                  <a:lnTo>
                    <a:pt x="7445" y="3097"/>
                  </a:lnTo>
                  <a:lnTo>
                    <a:pt x="7435" y="3126"/>
                  </a:lnTo>
                  <a:lnTo>
                    <a:pt x="7423" y="3155"/>
                  </a:lnTo>
                  <a:lnTo>
                    <a:pt x="7410" y="3184"/>
                  </a:lnTo>
                  <a:lnTo>
                    <a:pt x="7396" y="3212"/>
                  </a:lnTo>
                  <a:lnTo>
                    <a:pt x="7380" y="3238"/>
                  </a:lnTo>
                  <a:lnTo>
                    <a:pt x="7364" y="3264"/>
                  </a:lnTo>
                  <a:lnTo>
                    <a:pt x="7346" y="3289"/>
                  </a:lnTo>
                  <a:lnTo>
                    <a:pt x="7327" y="3313"/>
                  </a:lnTo>
                  <a:lnTo>
                    <a:pt x="7307" y="3336"/>
                  </a:lnTo>
                  <a:lnTo>
                    <a:pt x="7286" y="3358"/>
                  </a:lnTo>
                  <a:lnTo>
                    <a:pt x="7264" y="3379"/>
                  </a:lnTo>
                  <a:lnTo>
                    <a:pt x="7241" y="3399"/>
                  </a:lnTo>
                  <a:lnTo>
                    <a:pt x="7217" y="3418"/>
                  </a:lnTo>
                  <a:lnTo>
                    <a:pt x="7191" y="3436"/>
                  </a:lnTo>
                  <a:lnTo>
                    <a:pt x="7166" y="3453"/>
                  </a:lnTo>
                  <a:lnTo>
                    <a:pt x="7139" y="3468"/>
                  </a:lnTo>
                  <a:lnTo>
                    <a:pt x="7111" y="3482"/>
                  </a:lnTo>
                  <a:lnTo>
                    <a:pt x="7084" y="3495"/>
                  </a:lnTo>
                  <a:lnTo>
                    <a:pt x="7055" y="3506"/>
                  </a:lnTo>
                  <a:lnTo>
                    <a:pt x="7025" y="3516"/>
                  </a:lnTo>
                  <a:lnTo>
                    <a:pt x="6994" y="3524"/>
                  </a:lnTo>
                  <a:lnTo>
                    <a:pt x="6963" y="3532"/>
                  </a:lnTo>
                  <a:lnTo>
                    <a:pt x="6933" y="3538"/>
                  </a:lnTo>
                  <a:lnTo>
                    <a:pt x="6901" y="3542"/>
                  </a:lnTo>
                  <a:lnTo>
                    <a:pt x="6869" y="3544"/>
                  </a:lnTo>
                  <a:lnTo>
                    <a:pt x="6836" y="3545"/>
                  </a:lnTo>
                  <a:lnTo>
                    <a:pt x="638" y="3545"/>
                  </a:lnTo>
                  <a:lnTo>
                    <a:pt x="605" y="3544"/>
                  </a:lnTo>
                  <a:lnTo>
                    <a:pt x="573" y="3542"/>
                  </a:lnTo>
                  <a:lnTo>
                    <a:pt x="541" y="3538"/>
                  </a:lnTo>
                  <a:lnTo>
                    <a:pt x="511" y="3532"/>
                  </a:lnTo>
                  <a:lnTo>
                    <a:pt x="480" y="3524"/>
                  </a:lnTo>
                  <a:lnTo>
                    <a:pt x="449" y="3516"/>
                  </a:lnTo>
                  <a:lnTo>
                    <a:pt x="419" y="3506"/>
                  </a:lnTo>
                  <a:lnTo>
                    <a:pt x="390" y="3495"/>
                  </a:lnTo>
                  <a:lnTo>
                    <a:pt x="363" y="3482"/>
                  </a:lnTo>
                  <a:lnTo>
                    <a:pt x="335" y="3468"/>
                  </a:lnTo>
                  <a:lnTo>
                    <a:pt x="308" y="3453"/>
                  </a:lnTo>
                  <a:lnTo>
                    <a:pt x="283" y="3436"/>
                  </a:lnTo>
                  <a:lnTo>
                    <a:pt x="257" y="3418"/>
                  </a:lnTo>
                  <a:lnTo>
                    <a:pt x="233" y="3399"/>
                  </a:lnTo>
                  <a:lnTo>
                    <a:pt x="210" y="3379"/>
                  </a:lnTo>
                  <a:lnTo>
                    <a:pt x="188" y="3358"/>
                  </a:lnTo>
                  <a:lnTo>
                    <a:pt x="167" y="3336"/>
                  </a:lnTo>
                  <a:lnTo>
                    <a:pt x="147" y="3313"/>
                  </a:lnTo>
                  <a:lnTo>
                    <a:pt x="128" y="3289"/>
                  </a:lnTo>
                  <a:lnTo>
                    <a:pt x="110" y="3264"/>
                  </a:lnTo>
                  <a:lnTo>
                    <a:pt x="94" y="3238"/>
                  </a:lnTo>
                  <a:lnTo>
                    <a:pt x="78" y="3212"/>
                  </a:lnTo>
                  <a:lnTo>
                    <a:pt x="64" y="3184"/>
                  </a:lnTo>
                  <a:lnTo>
                    <a:pt x="51" y="3155"/>
                  </a:lnTo>
                  <a:lnTo>
                    <a:pt x="39" y="3126"/>
                  </a:lnTo>
                  <a:lnTo>
                    <a:pt x="29" y="3097"/>
                  </a:lnTo>
                  <a:lnTo>
                    <a:pt x="21" y="3067"/>
                  </a:lnTo>
                  <a:lnTo>
                    <a:pt x="14" y="3036"/>
                  </a:lnTo>
                  <a:lnTo>
                    <a:pt x="9" y="3004"/>
                  </a:lnTo>
                  <a:lnTo>
                    <a:pt x="4" y="2972"/>
                  </a:lnTo>
                  <a:lnTo>
                    <a:pt x="1" y="2941"/>
                  </a:lnTo>
                  <a:lnTo>
                    <a:pt x="0" y="2908"/>
                  </a:lnTo>
                  <a:lnTo>
                    <a:pt x="1" y="2875"/>
                  </a:lnTo>
                  <a:lnTo>
                    <a:pt x="4" y="2843"/>
                  </a:lnTo>
                  <a:lnTo>
                    <a:pt x="9" y="2811"/>
                  </a:lnTo>
                  <a:lnTo>
                    <a:pt x="14" y="2780"/>
                  </a:lnTo>
                  <a:lnTo>
                    <a:pt x="21" y="2750"/>
                  </a:lnTo>
                  <a:lnTo>
                    <a:pt x="29" y="2719"/>
                  </a:lnTo>
                  <a:lnTo>
                    <a:pt x="39" y="2689"/>
                  </a:lnTo>
                  <a:lnTo>
                    <a:pt x="51" y="2661"/>
                  </a:lnTo>
                  <a:lnTo>
                    <a:pt x="64" y="2633"/>
                  </a:lnTo>
                  <a:lnTo>
                    <a:pt x="78" y="2605"/>
                  </a:lnTo>
                  <a:lnTo>
                    <a:pt x="94" y="2579"/>
                  </a:lnTo>
                  <a:lnTo>
                    <a:pt x="110" y="2553"/>
                  </a:lnTo>
                  <a:lnTo>
                    <a:pt x="128" y="2527"/>
                  </a:lnTo>
                  <a:lnTo>
                    <a:pt x="147" y="2504"/>
                  </a:lnTo>
                  <a:lnTo>
                    <a:pt x="167" y="2480"/>
                  </a:lnTo>
                  <a:lnTo>
                    <a:pt x="188" y="2458"/>
                  </a:lnTo>
                  <a:lnTo>
                    <a:pt x="210" y="2437"/>
                  </a:lnTo>
                  <a:lnTo>
                    <a:pt x="233" y="2417"/>
                  </a:lnTo>
                  <a:lnTo>
                    <a:pt x="257" y="2398"/>
                  </a:lnTo>
                  <a:lnTo>
                    <a:pt x="283" y="2380"/>
                  </a:lnTo>
                  <a:lnTo>
                    <a:pt x="308" y="2364"/>
                  </a:lnTo>
                  <a:lnTo>
                    <a:pt x="335" y="2349"/>
                  </a:lnTo>
                  <a:lnTo>
                    <a:pt x="363" y="2334"/>
                  </a:lnTo>
                  <a:lnTo>
                    <a:pt x="390" y="2321"/>
                  </a:lnTo>
                  <a:lnTo>
                    <a:pt x="419" y="2310"/>
                  </a:lnTo>
                  <a:lnTo>
                    <a:pt x="449" y="2299"/>
                  </a:lnTo>
                  <a:lnTo>
                    <a:pt x="480" y="2291"/>
                  </a:lnTo>
                  <a:lnTo>
                    <a:pt x="511" y="2284"/>
                  </a:lnTo>
                  <a:lnTo>
                    <a:pt x="541" y="2279"/>
                  </a:lnTo>
                  <a:lnTo>
                    <a:pt x="573" y="2275"/>
                  </a:lnTo>
                  <a:lnTo>
                    <a:pt x="605" y="2272"/>
                  </a:lnTo>
                  <a:lnTo>
                    <a:pt x="638" y="2271"/>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endParaRPr lang="zh-CN" altLang="en-US" sz="1799">
                <a:solidFill>
                  <a:schemeClr val="bg1"/>
                </a:solidFill>
              </a:endParaRPr>
            </a:p>
          </p:txBody>
        </p:sp>
      </p:grpSp>
      <p:grpSp>
        <p:nvGrpSpPr>
          <p:cNvPr id="314" name="组合 333"/>
          <p:cNvGrpSpPr>
            <a:grpSpLocks noChangeAspect="1"/>
          </p:cNvGrpSpPr>
          <p:nvPr/>
        </p:nvGrpSpPr>
        <p:grpSpPr>
          <a:xfrm rot="10800000">
            <a:off x="3589925" y="4923707"/>
            <a:ext cx="193815" cy="260956"/>
            <a:chOff x="-6559550" y="2457450"/>
            <a:chExt cx="1612900" cy="2171701"/>
          </a:xfrm>
          <a:solidFill>
            <a:schemeClr val="tx1"/>
          </a:solidFill>
        </p:grpSpPr>
        <p:sp>
          <p:nvSpPr>
            <p:cNvPr id="315" name="Freeform 17"/>
            <p:cNvSpPr>
              <a:spLocks noEditPoints="1"/>
            </p:cNvSpPr>
            <p:nvPr/>
          </p:nvSpPr>
          <p:spPr bwMode="auto">
            <a:xfrm>
              <a:off x="-6559550" y="2457450"/>
              <a:ext cx="1612900" cy="1611313"/>
            </a:xfrm>
            <a:custGeom>
              <a:avLst/>
              <a:gdLst/>
              <a:ahLst/>
              <a:cxnLst>
                <a:cxn ang="0">
                  <a:pos x="5423" y="5270"/>
                </a:cxn>
                <a:cxn ang="0">
                  <a:pos x="5837" y="5481"/>
                </a:cxn>
                <a:cxn ang="0">
                  <a:pos x="6155" y="5814"/>
                </a:cxn>
                <a:cxn ang="0">
                  <a:pos x="6347" y="6240"/>
                </a:cxn>
                <a:cxn ang="0">
                  <a:pos x="6384" y="6723"/>
                </a:cxn>
                <a:cxn ang="0">
                  <a:pos x="6255" y="7178"/>
                </a:cxn>
                <a:cxn ang="0">
                  <a:pos x="5987" y="7554"/>
                </a:cxn>
                <a:cxn ang="0">
                  <a:pos x="5610" y="7822"/>
                </a:cxn>
                <a:cxn ang="0">
                  <a:pos x="5155" y="7952"/>
                </a:cxn>
                <a:cxn ang="0">
                  <a:pos x="4671" y="7915"/>
                </a:cxn>
                <a:cxn ang="0">
                  <a:pos x="4245" y="7723"/>
                </a:cxn>
                <a:cxn ang="0">
                  <a:pos x="3912" y="7405"/>
                </a:cxn>
                <a:cxn ang="0">
                  <a:pos x="3700" y="6991"/>
                </a:cxn>
                <a:cxn ang="0">
                  <a:pos x="3640" y="6512"/>
                </a:cxn>
                <a:cxn ang="0">
                  <a:pos x="3746" y="6048"/>
                </a:cxn>
                <a:cxn ang="0">
                  <a:pos x="3996" y="5658"/>
                </a:cxn>
                <a:cxn ang="0">
                  <a:pos x="4359" y="5374"/>
                </a:cxn>
                <a:cxn ang="0">
                  <a:pos x="4805" y="5223"/>
                </a:cxn>
                <a:cxn ang="0">
                  <a:pos x="7023" y="71"/>
                </a:cxn>
                <a:cxn ang="0">
                  <a:pos x="8998" y="737"/>
                </a:cxn>
                <a:cxn ang="0">
                  <a:pos x="10605" y="2000"/>
                </a:cxn>
                <a:cxn ang="0">
                  <a:pos x="11712" y="3724"/>
                </a:cxn>
                <a:cxn ang="0">
                  <a:pos x="12184" y="5779"/>
                </a:cxn>
                <a:cxn ang="0">
                  <a:pos x="11917" y="7900"/>
                </a:cxn>
                <a:cxn ang="0">
                  <a:pos x="10978" y="9733"/>
                </a:cxn>
                <a:cxn ang="0">
                  <a:pos x="9500" y="11140"/>
                </a:cxn>
                <a:cxn ang="0">
                  <a:pos x="7616" y="11991"/>
                </a:cxn>
                <a:cxn ang="0">
                  <a:pos x="5474" y="12152"/>
                </a:cxn>
                <a:cxn ang="0">
                  <a:pos x="3457" y="11581"/>
                </a:cxn>
                <a:cxn ang="0">
                  <a:pos x="1789" y="10395"/>
                </a:cxn>
                <a:cxn ang="0">
                  <a:pos x="603" y="8728"/>
                </a:cxn>
                <a:cxn ang="0">
                  <a:pos x="32" y="6713"/>
                </a:cxn>
                <a:cxn ang="0">
                  <a:pos x="192" y="4572"/>
                </a:cxn>
                <a:cxn ang="0">
                  <a:pos x="1043" y="2690"/>
                </a:cxn>
                <a:cxn ang="0">
                  <a:pos x="2453" y="1213"/>
                </a:cxn>
                <a:cxn ang="0">
                  <a:pos x="4286" y="275"/>
                </a:cxn>
                <a:cxn ang="0">
                  <a:pos x="5014" y="3439"/>
                </a:cxn>
                <a:cxn ang="0">
                  <a:pos x="6094" y="3630"/>
                </a:cxn>
                <a:cxn ang="0">
                  <a:pos x="7013" y="4158"/>
                </a:cxn>
                <a:cxn ang="0">
                  <a:pos x="7704" y="4955"/>
                </a:cxn>
                <a:cxn ang="0">
                  <a:pos x="8097" y="5951"/>
                </a:cxn>
                <a:cxn ang="0">
                  <a:pos x="8124" y="7061"/>
                </a:cxn>
                <a:cxn ang="0">
                  <a:pos x="7780" y="8080"/>
                </a:cxn>
                <a:cxn ang="0">
                  <a:pos x="7128" y="8909"/>
                </a:cxn>
                <a:cxn ang="0">
                  <a:pos x="6237" y="9479"/>
                </a:cxn>
                <a:cxn ang="0">
                  <a:pos x="5176" y="9722"/>
                </a:cxn>
                <a:cxn ang="0">
                  <a:pos x="4080" y="9585"/>
                </a:cxn>
                <a:cxn ang="0">
                  <a:pos x="3133" y="9101"/>
                </a:cxn>
                <a:cxn ang="0">
                  <a:pos x="2407" y="8338"/>
                </a:cxn>
                <a:cxn ang="0">
                  <a:pos x="1967" y="7367"/>
                </a:cxn>
                <a:cxn ang="0">
                  <a:pos x="1884" y="6263"/>
                </a:cxn>
                <a:cxn ang="0">
                  <a:pos x="2179" y="5222"/>
                </a:cxn>
                <a:cxn ang="0">
                  <a:pos x="2792" y="4362"/>
                </a:cxn>
                <a:cxn ang="0">
                  <a:pos x="3652" y="3750"/>
                </a:cxn>
                <a:cxn ang="0">
                  <a:pos x="4693" y="3456"/>
                </a:cxn>
              </a:cxnLst>
              <a:rect l="0" t="0" r="r" b="b"/>
              <a:pathLst>
                <a:path w="12192" h="12184">
                  <a:moveTo>
                    <a:pt x="5014" y="5207"/>
                  </a:moveTo>
                  <a:lnTo>
                    <a:pt x="5085" y="5209"/>
                  </a:lnTo>
                  <a:lnTo>
                    <a:pt x="5155" y="5214"/>
                  </a:lnTo>
                  <a:lnTo>
                    <a:pt x="5224" y="5223"/>
                  </a:lnTo>
                  <a:lnTo>
                    <a:pt x="5292" y="5236"/>
                  </a:lnTo>
                  <a:lnTo>
                    <a:pt x="5357" y="5251"/>
                  </a:lnTo>
                  <a:lnTo>
                    <a:pt x="5423" y="5270"/>
                  </a:lnTo>
                  <a:lnTo>
                    <a:pt x="5487" y="5291"/>
                  </a:lnTo>
                  <a:lnTo>
                    <a:pt x="5549" y="5316"/>
                  </a:lnTo>
                  <a:lnTo>
                    <a:pt x="5610" y="5343"/>
                  </a:lnTo>
                  <a:lnTo>
                    <a:pt x="5669" y="5374"/>
                  </a:lnTo>
                  <a:lnTo>
                    <a:pt x="5727" y="5407"/>
                  </a:lnTo>
                  <a:lnTo>
                    <a:pt x="5783" y="5443"/>
                  </a:lnTo>
                  <a:lnTo>
                    <a:pt x="5837" y="5481"/>
                  </a:lnTo>
                  <a:lnTo>
                    <a:pt x="5889" y="5522"/>
                  </a:lnTo>
                  <a:lnTo>
                    <a:pt x="5939" y="5565"/>
                  </a:lnTo>
                  <a:lnTo>
                    <a:pt x="5987" y="5611"/>
                  </a:lnTo>
                  <a:lnTo>
                    <a:pt x="6033" y="5658"/>
                  </a:lnTo>
                  <a:lnTo>
                    <a:pt x="6076" y="5709"/>
                  </a:lnTo>
                  <a:lnTo>
                    <a:pt x="6117" y="5761"/>
                  </a:lnTo>
                  <a:lnTo>
                    <a:pt x="6155" y="5814"/>
                  </a:lnTo>
                  <a:lnTo>
                    <a:pt x="6191" y="5871"/>
                  </a:lnTo>
                  <a:lnTo>
                    <a:pt x="6225" y="5928"/>
                  </a:lnTo>
                  <a:lnTo>
                    <a:pt x="6255" y="5988"/>
                  </a:lnTo>
                  <a:lnTo>
                    <a:pt x="6282" y="6048"/>
                  </a:lnTo>
                  <a:lnTo>
                    <a:pt x="6307" y="6111"/>
                  </a:lnTo>
                  <a:lnTo>
                    <a:pt x="6329" y="6174"/>
                  </a:lnTo>
                  <a:lnTo>
                    <a:pt x="6347" y="6240"/>
                  </a:lnTo>
                  <a:lnTo>
                    <a:pt x="6362" y="6306"/>
                  </a:lnTo>
                  <a:lnTo>
                    <a:pt x="6375" y="6374"/>
                  </a:lnTo>
                  <a:lnTo>
                    <a:pt x="6384" y="6442"/>
                  </a:lnTo>
                  <a:lnTo>
                    <a:pt x="6389" y="6512"/>
                  </a:lnTo>
                  <a:lnTo>
                    <a:pt x="6391" y="6583"/>
                  </a:lnTo>
                  <a:lnTo>
                    <a:pt x="6389" y="6654"/>
                  </a:lnTo>
                  <a:lnTo>
                    <a:pt x="6384" y="6723"/>
                  </a:lnTo>
                  <a:lnTo>
                    <a:pt x="6375" y="6792"/>
                  </a:lnTo>
                  <a:lnTo>
                    <a:pt x="6362" y="6860"/>
                  </a:lnTo>
                  <a:lnTo>
                    <a:pt x="6347" y="6926"/>
                  </a:lnTo>
                  <a:lnTo>
                    <a:pt x="6329" y="6991"/>
                  </a:lnTo>
                  <a:lnTo>
                    <a:pt x="6307" y="7055"/>
                  </a:lnTo>
                  <a:lnTo>
                    <a:pt x="6282" y="7117"/>
                  </a:lnTo>
                  <a:lnTo>
                    <a:pt x="6255" y="7178"/>
                  </a:lnTo>
                  <a:lnTo>
                    <a:pt x="6225" y="7237"/>
                  </a:lnTo>
                  <a:lnTo>
                    <a:pt x="6191" y="7295"/>
                  </a:lnTo>
                  <a:lnTo>
                    <a:pt x="6155" y="7351"/>
                  </a:lnTo>
                  <a:lnTo>
                    <a:pt x="6117" y="7405"/>
                  </a:lnTo>
                  <a:lnTo>
                    <a:pt x="6076" y="7457"/>
                  </a:lnTo>
                  <a:lnTo>
                    <a:pt x="6033" y="7507"/>
                  </a:lnTo>
                  <a:lnTo>
                    <a:pt x="5987" y="7554"/>
                  </a:lnTo>
                  <a:lnTo>
                    <a:pt x="5939" y="7601"/>
                  </a:lnTo>
                  <a:lnTo>
                    <a:pt x="5889" y="7644"/>
                  </a:lnTo>
                  <a:lnTo>
                    <a:pt x="5837" y="7685"/>
                  </a:lnTo>
                  <a:lnTo>
                    <a:pt x="5783" y="7723"/>
                  </a:lnTo>
                  <a:lnTo>
                    <a:pt x="5727" y="7759"/>
                  </a:lnTo>
                  <a:lnTo>
                    <a:pt x="5669" y="7792"/>
                  </a:lnTo>
                  <a:lnTo>
                    <a:pt x="5610" y="7822"/>
                  </a:lnTo>
                  <a:lnTo>
                    <a:pt x="5549" y="7850"/>
                  </a:lnTo>
                  <a:lnTo>
                    <a:pt x="5487" y="7875"/>
                  </a:lnTo>
                  <a:lnTo>
                    <a:pt x="5423" y="7896"/>
                  </a:lnTo>
                  <a:lnTo>
                    <a:pt x="5357" y="7915"/>
                  </a:lnTo>
                  <a:lnTo>
                    <a:pt x="5292" y="7930"/>
                  </a:lnTo>
                  <a:lnTo>
                    <a:pt x="5224" y="7942"/>
                  </a:lnTo>
                  <a:lnTo>
                    <a:pt x="5155" y="7952"/>
                  </a:lnTo>
                  <a:lnTo>
                    <a:pt x="5085" y="7957"/>
                  </a:lnTo>
                  <a:lnTo>
                    <a:pt x="5014" y="7959"/>
                  </a:lnTo>
                  <a:lnTo>
                    <a:pt x="4944" y="7957"/>
                  </a:lnTo>
                  <a:lnTo>
                    <a:pt x="4874" y="7952"/>
                  </a:lnTo>
                  <a:lnTo>
                    <a:pt x="4805" y="7942"/>
                  </a:lnTo>
                  <a:lnTo>
                    <a:pt x="4737" y="7930"/>
                  </a:lnTo>
                  <a:lnTo>
                    <a:pt x="4671" y="7915"/>
                  </a:lnTo>
                  <a:lnTo>
                    <a:pt x="4606" y="7896"/>
                  </a:lnTo>
                  <a:lnTo>
                    <a:pt x="4542" y="7875"/>
                  </a:lnTo>
                  <a:lnTo>
                    <a:pt x="4479" y="7850"/>
                  </a:lnTo>
                  <a:lnTo>
                    <a:pt x="4419" y="7822"/>
                  </a:lnTo>
                  <a:lnTo>
                    <a:pt x="4359" y="7792"/>
                  </a:lnTo>
                  <a:lnTo>
                    <a:pt x="4302" y="7759"/>
                  </a:lnTo>
                  <a:lnTo>
                    <a:pt x="4245" y="7723"/>
                  </a:lnTo>
                  <a:lnTo>
                    <a:pt x="4192" y="7685"/>
                  </a:lnTo>
                  <a:lnTo>
                    <a:pt x="4140" y="7644"/>
                  </a:lnTo>
                  <a:lnTo>
                    <a:pt x="4089" y="7601"/>
                  </a:lnTo>
                  <a:lnTo>
                    <a:pt x="4042" y="7554"/>
                  </a:lnTo>
                  <a:lnTo>
                    <a:pt x="3996" y="7507"/>
                  </a:lnTo>
                  <a:lnTo>
                    <a:pt x="3953" y="7457"/>
                  </a:lnTo>
                  <a:lnTo>
                    <a:pt x="3912" y="7405"/>
                  </a:lnTo>
                  <a:lnTo>
                    <a:pt x="3874" y="7351"/>
                  </a:lnTo>
                  <a:lnTo>
                    <a:pt x="3838" y="7295"/>
                  </a:lnTo>
                  <a:lnTo>
                    <a:pt x="3805" y="7237"/>
                  </a:lnTo>
                  <a:lnTo>
                    <a:pt x="3774" y="7178"/>
                  </a:lnTo>
                  <a:lnTo>
                    <a:pt x="3746" y="7117"/>
                  </a:lnTo>
                  <a:lnTo>
                    <a:pt x="3722" y="7055"/>
                  </a:lnTo>
                  <a:lnTo>
                    <a:pt x="3700" y="6991"/>
                  </a:lnTo>
                  <a:lnTo>
                    <a:pt x="3682" y="6926"/>
                  </a:lnTo>
                  <a:lnTo>
                    <a:pt x="3666" y="6860"/>
                  </a:lnTo>
                  <a:lnTo>
                    <a:pt x="3654" y="6792"/>
                  </a:lnTo>
                  <a:lnTo>
                    <a:pt x="3645" y="6723"/>
                  </a:lnTo>
                  <a:lnTo>
                    <a:pt x="3640" y="6654"/>
                  </a:lnTo>
                  <a:lnTo>
                    <a:pt x="3638" y="6583"/>
                  </a:lnTo>
                  <a:lnTo>
                    <a:pt x="3640" y="6512"/>
                  </a:lnTo>
                  <a:lnTo>
                    <a:pt x="3645" y="6442"/>
                  </a:lnTo>
                  <a:lnTo>
                    <a:pt x="3654" y="6374"/>
                  </a:lnTo>
                  <a:lnTo>
                    <a:pt x="3666" y="6306"/>
                  </a:lnTo>
                  <a:lnTo>
                    <a:pt x="3682" y="6240"/>
                  </a:lnTo>
                  <a:lnTo>
                    <a:pt x="3700" y="6174"/>
                  </a:lnTo>
                  <a:lnTo>
                    <a:pt x="3722" y="6111"/>
                  </a:lnTo>
                  <a:lnTo>
                    <a:pt x="3746" y="6048"/>
                  </a:lnTo>
                  <a:lnTo>
                    <a:pt x="3774" y="5988"/>
                  </a:lnTo>
                  <a:lnTo>
                    <a:pt x="3805" y="5928"/>
                  </a:lnTo>
                  <a:lnTo>
                    <a:pt x="3838" y="5871"/>
                  </a:lnTo>
                  <a:lnTo>
                    <a:pt x="3874" y="5814"/>
                  </a:lnTo>
                  <a:lnTo>
                    <a:pt x="3912" y="5761"/>
                  </a:lnTo>
                  <a:lnTo>
                    <a:pt x="3953" y="5709"/>
                  </a:lnTo>
                  <a:lnTo>
                    <a:pt x="3996" y="5658"/>
                  </a:lnTo>
                  <a:lnTo>
                    <a:pt x="4042" y="5611"/>
                  </a:lnTo>
                  <a:lnTo>
                    <a:pt x="4089" y="5565"/>
                  </a:lnTo>
                  <a:lnTo>
                    <a:pt x="4140" y="5522"/>
                  </a:lnTo>
                  <a:lnTo>
                    <a:pt x="4192" y="5481"/>
                  </a:lnTo>
                  <a:lnTo>
                    <a:pt x="4245" y="5443"/>
                  </a:lnTo>
                  <a:lnTo>
                    <a:pt x="4302" y="5407"/>
                  </a:lnTo>
                  <a:lnTo>
                    <a:pt x="4359" y="5374"/>
                  </a:lnTo>
                  <a:lnTo>
                    <a:pt x="4419" y="5343"/>
                  </a:lnTo>
                  <a:lnTo>
                    <a:pt x="4479" y="5316"/>
                  </a:lnTo>
                  <a:lnTo>
                    <a:pt x="4542" y="5291"/>
                  </a:lnTo>
                  <a:lnTo>
                    <a:pt x="4606" y="5270"/>
                  </a:lnTo>
                  <a:lnTo>
                    <a:pt x="4671" y="5251"/>
                  </a:lnTo>
                  <a:lnTo>
                    <a:pt x="4737" y="5236"/>
                  </a:lnTo>
                  <a:lnTo>
                    <a:pt x="4805" y="5223"/>
                  </a:lnTo>
                  <a:lnTo>
                    <a:pt x="4874" y="5214"/>
                  </a:lnTo>
                  <a:lnTo>
                    <a:pt x="4944" y="5209"/>
                  </a:lnTo>
                  <a:lnTo>
                    <a:pt x="5014" y="5207"/>
                  </a:lnTo>
                  <a:close/>
                  <a:moveTo>
                    <a:pt x="6097" y="0"/>
                  </a:moveTo>
                  <a:lnTo>
                    <a:pt x="6409" y="8"/>
                  </a:lnTo>
                  <a:lnTo>
                    <a:pt x="6718" y="32"/>
                  </a:lnTo>
                  <a:lnTo>
                    <a:pt x="7023" y="71"/>
                  </a:lnTo>
                  <a:lnTo>
                    <a:pt x="7322" y="124"/>
                  </a:lnTo>
                  <a:lnTo>
                    <a:pt x="7616" y="193"/>
                  </a:lnTo>
                  <a:lnTo>
                    <a:pt x="7906" y="275"/>
                  </a:lnTo>
                  <a:lnTo>
                    <a:pt x="8188" y="370"/>
                  </a:lnTo>
                  <a:lnTo>
                    <a:pt x="8465" y="480"/>
                  </a:lnTo>
                  <a:lnTo>
                    <a:pt x="8735" y="602"/>
                  </a:lnTo>
                  <a:lnTo>
                    <a:pt x="8998" y="737"/>
                  </a:lnTo>
                  <a:lnTo>
                    <a:pt x="9253" y="884"/>
                  </a:lnTo>
                  <a:lnTo>
                    <a:pt x="9500" y="1042"/>
                  </a:lnTo>
                  <a:lnTo>
                    <a:pt x="9739" y="1213"/>
                  </a:lnTo>
                  <a:lnTo>
                    <a:pt x="9970" y="1394"/>
                  </a:lnTo>
                  <a:lnTo>
                    <a:pt x="10191" y="1586"/>
                  </a:lnTo>
                  <a:lnTo>
                    <a:pt x="10403" y="1787"/>
                  </a:lnTo>
                  <a:lnTo>
                    <a:pt x="10605" y="2000"/>
                  </a:lnTo>
                  <a:lnTo>
                    <a:pt x="10797" y="2220"/>
                  </a:lnTo>
                  <a:lnTo>
                    <a:pt x="10978" y="2451"/>
                  </a:lnTo>
                  <a:lnTo>
                    <a:pt x="11149" y="2690"/>
                  </a:lnTo>
                  <a:lnTo>
                    <a:pt x="11307" y="2937"/>
                  </a:lnTo>
                  <a:lnTo>
                    <a:pt x="11455" y="3192"/>
                  </a:lnTo>
                  <a:lnTo>
                    <a:pt x="11589" y="3455"/>
                  </a:lnTo>
                  <a:lnTo>
                    <a:pt x="11712" y="3724"/>
                  </a:lnTo>
                  <a:lnTo>
                    <a:pt x="11821" y="4000"/>
                  </a:lnTo>
                  <a:lnTo>
                    <a:pt x="11917" y="4284"/>
                  </a:lnTo>
                  <a:lnTo>
                    <a:pt x="11999" y="4572"/>
                  </a:lnTo>
                  <a:lnTo>
                    <a:pt x="12068" y="4866"/>
                  </a:lnTo>
                  <a:lnTo>
                    <a:pt x="12121" y="5166"/>
                  </a:lnTo>
                  <a:lnTo>
                    <a:pt x="12160" y="5471"/>
                  </a:lnTo>
                  <a:lnTo>
                    <a:pt x="12184" y="5779"/>
                  </a:lnTo>
                  <a:lnTo>
                    <a:pt x="12192" y="6091"/>
                  </a:lnTo>
                  <a:lnTo>
                    <a:pt x="12184" y="6404"/>
                  </a:lnTo>
                  <a:lnTo>
                    <a:pt x="12160" y="6713"/>
                  </a:lnTo>
                  <a:lnTo>
                    <a:pt x="12121" y="7017"/>
                  </a:lnTo>
                  <a:lnTo>
                    <a:pt x="12068" y="7316"/>
                  </a:lnTo>
                  <a:lnTo>
                    <a:pt x="11999" y="7611"/>
                  </a:lnTo>
                  <a:lnTo>
                    <a:pt x="11917" y="7900"/>
                  </a:lnTo>
                  <a:lnTo>
                    <a:pt x="11821" y="8182"/>
                  </a:lnTo>
                  <a:lnTo>
                    <a:pt x="11712" y="8459"/>
                  </a:lnTo>
                  <a:lnTo>
                    <a:pt x="11589" y="8728"/>
                  </a:lnTo>
                  <a:lnTo>
                    <a:pt x="11455" y="8991"/>
                  </a:lnTo>
                  <a:lnTo>
                    <a:pt x="11307" y="9246"/>
                  </a:lnTo>
                  <a:lnTo>
                    <a:pt x="11149" y="9494"/>
                  </a:lnTo>
                  <a:lnTo>
                    <a:pt x="10978" y="9733"/>
                  </a:lnTo>
                  <a:lnTo>
                    <a:pt x="10797" y="9962"/>
                  </a:lnTo>
                  <a:lnTo>
                    <a:pt x="10605" y="10184"/>
                  </a:lnTo>
                  <a:lnTo>
                    <a:pt x="10403" y="10395"/>
                  </a:lnTo>
                  <a:lnTo>
                    <a:pt x="10191" y="10598"/>
                  </a:lnTo>
                  <a:lnTo>
                    <a:pt x="9970" y="10789"/>
                  </a:lnTo>
                  <a:lnTo>
                    <a:pt x="9739" y="10970"/>
                  </a:lnTo>
                  <a:lnTo>
                    <a:pt x="9500" y="11140"/>
                  </a:lnTo>
                  <a:lnTo>
                    <a:pt x="9253" y="11299"/>
                  </a:lnTo>
                  <a:lnTo>
                    <a:pt x="8998" y="11446"/>
                  </a:lnTo>
                  <a:lnTo>
                    <a:pt x="8735" y="11581"/>
                  </a:lnTo>
                  <a:lnTo>
                    <a:pt x="8465" y="11704"/>
                  </a:lnTo>
                  <a:lnTo>
                    <a:pt x="8188" y="11812"/>
                  </a:lnTo>
                  <a:lnTo>
                    <a:pt x="7906" y="11909"/>
                  </a:lnTo>
                  <a:lnTo>
                    <a:pt x="7616" y="11991"/>
                  </a:lnTo>
                  <a:lnTo>
                    <a:pt x="7322" y="12060"/>
                  </a:lnTo>
                  <a:lnTo>
                    <a:pt x="7023" y="12113"/>
                  </a:lnTo>
                  <a:lnTo>
                    <a:pt x="6718" y="12152"/>
                  </a:lnTo>
                  <a:lnTo>
                    <a:pt x="6409" y="12176"/>
                  </a:lnTo>
                  <a:lnTo>
                    <a:pt x="6097" y="12184"/>
                  </a:lnTo>
                  <a:lnTo>
                    <a:pt x="5783" y="12176"/>
                  </a:lnTo>
                  <a:lnTo>
                    <a:pt x="5474" y="12152"/>
                  </a:lnTo>
                  <a:lnTo>
                    <a:pt x="5169" y="12113"/>
                  </a:lnTo>
                  <a:lnTo>
                    <a:pt x="4870" y="12060"/>
                  </a:lnTo>
                  <a:lnTo>
                    <a:pt x="4576" y="11991"/>
                  </a:lnTo>
                  <a:lnTo>
                    <a:pt x="4286" y="11909"/>
                  </a:lnTo>
                  <a:lnTo>
                    <a:pt x="4004" y="11812"/>
                  </a:lnTo>
                  <a:lnTo>
                    <a:pt x="3727" y="11704"/>
                  </a:lnTo>
                  <a:lnTo>
                    <a:pt x="3457" y="11581"/>
                  </a:lnTo>
                  <a:lnTo>
                    <a:pt x="3194" y="11446"/>
                  </a:lnTo>
                  <a:lnTo>
                    <a:pt x="2939" y="11299"/>
                  </a:lnTo>
                  <a:lnTo>
                    <a:pt x="2692" y="11140"/>
                  </a:lnTo>
                  <a:lnTo>
                    <a:pt x="2453" y="10970"/>
                  </a:lnTo>
                  <a:lnTo>
                    <a:pt x="2222" y="10789"/>
                  </a:lnTo>
                  <a:lnTo>
                    <a:pt x="2001" y="10598"/>
                  </a:lnTo>
                  <a:lnTo>
                    <a:pt x="1789" y="10395"/>
                  </a:lnTo>
                  <a:lnTo>
                    <a:pt x="1587" y="10184"/>
                  </a:lnTo>
                  <a:lnTo>
                    <a:pt x="1395" y="9962"/>
                  </a:lnTo>
                  <a:lnTo>
                    <a:pt x="1214" y="9733"/>
                  </a:lnTo>
                  <a:lnTo>
                    <a:pt x="1043" y="9494"/>
                  </a:lnTo>
                  <a:lnTo>
                    <a:pt x="885" y="9246"/>
                  </a:lnTo>
                  <a:lnTo>
                    <a:pt x="737" y="8991"/>
                  </a:lnTo>
                  <a:lnTo>
                    <a:pt x="603" y="8728"/>
                  </a:lnTo>
                  <a:lnTo>
                    <a:pt x="480" y="8459"/>
                  </a:lnTo>
                  <a:lnTo>
                    <a:pt x="371" y="8182"/>
                  </a:lnTo>
                  <a:lnTo>
                    <a:pt x="275" y="7900"/>
                  </a:lnTo>
                  <a:lnTo>
                    <a:pt x="192" y="7611"/>
                  </a:lnTo>
                  <a:lnTo>
                    <a:pt x="124" y="7316"/>
                  </a:lnTo>
                  <a:lnTo>
                    <a:pt x="71" y="7017"/>
                  </a:lnTo>
                  <a:lnTo>
                    <a:pt x="32" y="6713"/>
                  </a:lnTo>
                  <a:lnTo>
                    <a:pt x="8" y="6404"/>
                  </a:lnTo>
                  <a:lnTo>
                    <a:pt x="0" y="6091"/>
                  </a:lnTo>
                  <a:lnTo>
                    <a:pt x="8" y="5779"/>
                  </a:lnTo>
                  <a:lnTo>
                    <a:pt x="32" y="5471"/>
                  </a:lnTo>
                  <a:lnTo>
                    <a:pt x="71" y="5166"/>
                  </a:lnTo>
                  <a:lnTo>
                    <a:pt x="124" y="4866"/>
                  </a:lnTo>
                  <a:lnTo>
                    <a:pt x="192" y="4572"/>
                  </a:lnTo>
                  <a:lnTo>
                    <a:pt x="275" y="4284"/>
                  </a:lnTo>
                  <a:lnTo>
                    <a:pt x="371" y="4000"/>
                  </a:lnTo>
                  <a:lnTo>
                    <a:pt x="480" y="3724"/>
                  </a:lnTo>
                  <a:lnTo>
                    <a:pt x="603" y="3455"/>
                  </a:lnTo>
                  <a:lnTo>
                    <a:pt x="737" y="3192"/>
                  </a:lnTo>
                  <a:lnTo>
                    <a:pt x="885" y="2937"/>
                  </a:lnTo>
                  <a:lnTo>
                    <a:pt x="1043" y="2690"/>
                  </a:lnTo>
                  <a:lnTo>
                    <a:pt x="1214" y="2451"/>
                  </a:lnTo>
                  <a:lnTo>
                    <a:pt x="1395" y="2220"/>
                  </a:lnTo>
                  <a:lnTo>
                    <a:pt x="1587" y="2000"/>
                  </a:lnTo>
                  <a:lnTo>
                    <a:pt x="1789" y="1787"/>
                  </a:lnTo>
                  <a:lnTo>
                    <a:pt x="2001" y="1586"/>
                  </a:lnTo>
                  <a:lnTo>
                    <a:pt x="2222" y="1394"/>
                  </a:lnTo>
                  <a:lnTo>
                    <a:pt x="2453" y="1213"/>
                  </a:lnTo>
                  <a:lnTo>
                    <a:pt x="2692" y="1042"/>
                  </a:lnTo>
                  <a:lnTo>
                    <a:pt x="2939" y="884"/>
                  </a:lnTo>
                  <a:lnTo>
                    <a:pt x="3194" y="737"/>
                  </a:lnTo>
                  <a:lnTo>
                    <a:pt x="3457" y="602"/>
                  </a:lnTo>
                  <a:lnTo>
                    <a:pt x="3727" y="480"/>
                  </a:lnTo>
                  <a:lnTo>
                    <a:pt x="4004" y="370"/>
                  </a:lnTo>
                  <a:lnTo>
                    <a:pt x="4286" y="275"/>
                  </a:lnTo>
                  <a:lnTo>
                    <a:pt x="4576" y="193"/>
                  </a:lnTo>
                  <a:lnTo>
                    <a:pt x="4870" y="124"/>
                  </a:lnTo>
                  <a:lnTo>
                    <a:pt x="5169" y="71"/>
                  </a:lnTo>
                  <a:lnTo>
                    <a:pt x="5474" y="32"/>
                  </a:lnTo>
                  <a:lnTo>
                    <a:pt x="5783" y="8"/>
                  </a:lnTo>
                  <a:lnTo>
                    <a:pt x="6097" y="0"/>
                  </a:lnTo>
                  <a:close/>
                  <a:moveTo>
                    <a:pt x="5014" y="3439"/>
                  </a:moveTo>
                  <a:lnTo>
                    <a:pt x="5176" y="3443"/>
                  </a:lnTo>
                  <a:lnTo>
                    <a:pt x="5336" y="3456"/>
                  </a:lnTo>
                  <a:lnTo>
                    <a:pt x="5493" y="3475"/>
                  </a:lnTo>
                  <a:lnTo>
                    <a:pt x="5647" y="3503"/>
                  </a:lnTo>
                  <a:lnTo>
                    <a:pt x="5799" y="3538"/>
                  </a:lnTo>
                  <a:lnTo>
                    <a:pt x="5949" y="3581"/>
                  </a:lnTo>
                  <a:lnTo>
                    <a:pt x="6094" y="3630"/>
                  </a:lnTo>
                  <a:lnTo>
                    <a:pt x="6237" y="3686"/>
                  </a:lnTo>
                  <a:lnTo>
                    <a:pt x="6377" y="3750"/>
                  </a:lnTo>
                  <a:lnTo>
                    <a:pt x="6512" y="3819"/>
                  </a:lnTo>
                  <a:lnTo>
                    <a:pt x="6644" y="3895"/>
                  </a:lnTo>
                  <a:lnTo>
                    <a:pt x="6771" y="3977"/>
                  </a:lnTo>
                  <a:lnTo>
                    <a:pt x="6895" y="4065"/>
                  </a:lnTo>
                  <a:lnTo>
                    <a:pt x="7013" y="4158"/>
                  </a:lnTo>
                  <a:lnTo>
                    <a:pt x="7128" y="4257"/>
                  </a:lnTo>
                  <a:lnTo>
                    <a:pt x="7237" y="4362"/>
                  </a:lnTo>
                  <a:lnTo>
                    <a:pt x="7342" y="4470"/>
                  </a:lnTo>
                  <a:lnTo>
                    <a:pt x="7440" y="4585"/>
                  </a:lnTo>
                  <a:lnTo>
                    <a:pt x="7534" y="4704"/>
                  </a:lnTo>
                  <a:lnTo>
                    <a:pt x="7622" y="4827"/>
                  </a:lnTo>
                  <a:lnTo>
                    <a:pt x="7704" y="4955"/>
                  </a:lnTo>
                  <a:lnTo>
                    <a:pt x="7780" y="5086"/>
                  </a:lnTo>
                  <a:lnTo>
                    <a:pt x="7850" y="5222"/>
                  </a:lnTo>
                  <a:lnTo>
                    <a:pt x="7913" y="5361"/>
                  </a:lnTo>
                  <a:lnTo>
                    <a:pt x="7969" y="5503"/>
                  </a:lnTo>
                  <a:lnTo>
                    <a:pt x="8018" y="5650"/>
                  </a:lnTo>
                  <a:lnTo>
                    <a:pt x="8062" y="5799"/>
                  </a:lnTo>
                  <a:lnTo>
                    <a:pt x="8097" y="5951"/>
                  </a:lnTo>
                  <a:lnTo>
                    <a:pt x="8124" y="6105"/>
                  </a:lnTo>
                  <a:lnTo>
                    <a:pt x="8145" y="6263"/>
                  </a:lnTo>
                  <a:lnTo>
                    <a:pt x="8157" y="6422"/>
                  </a:lnTo>
                  <a:lnTo>
                    <a:pt x="8161" y="6583"/>
                  </a:lnTo>
                  <a:lnTo>
                    <a:pt x="8157" y="6744"/>
                  </a:lnTo>
                  <a:lnTo>
                    <a:pt x="8145" y="6904"/>
                  </a:lnTo>
                  <a:lnTo>
                    <a:pt x="8124" y="7061"/>
                  </a:lnTo>
                  <a:lnTo>
                    <a:pt x="8097" y="7215"/>
                  </a:lnTo>
                  <a:lnTo>
                    <a:pt x="8062" y="7367"/>
                  </a:lnTo>
                  <a:lnTo>
                    <a:pt x="8018" y="7516"/>
                  </a:lnTo>
                  <a:lnTo>
                    <a:pt x="7969" y="7662"/>
                  </a:lnTo>
                  <a:lnTo>
                    <a:pt x="7913" y="7805"/>
                  </a:lnTo>
                  <a:lnTo>
                    <a:pt x="7850" y="7944"/>
                  </a:lnTo>
                  <a:lnTo>
                    <a:pt x="7780" y="8080"/>
                  </a:lnTo>
                  <a:lnTo>
                    <a:pt x="7704" y="8211"/>
                  </a:lnTo>
                  <a:lnTo>
                    <a:pt x="7622" y="8338"/>
                  </a:lnTo>
                  <a:lnTo>
                    <a:pt x="7534" y="8462"/>
                  </a:lnTo>
                  <a:lnTo>
                    <a:pt x="7440" y="8580"/>
                  </a:lnTo>
                  <a:lnTo>
                    <a:pt x="7342" y="8695"/>
                  </a:lnTo>
                  <a:lnTo>
                    <a:pt x="7237" y="8804"/>
                  </a:lnTo>
                  <a:lnTo>
                    <a:pt x="7128" y="8909"/>
                  </a:lnTo>
                  <a:lnTo>
                    <a:pt x="7013" y="9007"/>
                  </a:lnTo>
                  <a:lnTo>
                    <a:pt x="6895" y="9101"/>
                  </a:lnTo>
                  <a:lnTo>
                    <a:pt x="6771" y="9189"/>
                  </a:lnTo>
                  <a:lnTo>
                    <a:pt x="6644" y="9271"/>
                  </a:lnTo>
                  <a:lnTo>
                    <a:pt x="6512" y="9347"/>
                  </a:lnTo>
                  <a:lnTo>
                    <a:pt x="6377" y="9417"/>
                  </a:lnTo>
                  <a:lnTo>
                    <a:pt x="6237" y="9479"/>
                  </a:lnTo>
                  <a:lnTo>
                    <a:pt x="6094" y="9536"/>
                  </a:lnTo>
                  <a:lnTo>
                    <a:pt x="5949" y="9585"/>
                  </a:lnTo>
                  <a:lnTo>
                    <a:pt x="5799" y="9628"/>
                  </a:lnTo>
                  <a:lnTo>
                    <a:pt x="5647" y="9663"/>
                  </a:lnTo>
                  <a:lnTo>
                    <a:pt x="5493" y="9691"/>
                  </a:lnTo>
                  <a:lnTo>
                    <a:pt x="5336" y="9711"/>
                  </a:lnTo>
                  <a:lnTo>
                    <a:pt x="5176" y="9722"/>
                  </a:lnTo>
                  <a:lnTo>
                    <a:pt x="5014" y="9726"/>
                  </a:lnTo>
                  <a:lnTo>
                    <a:pt x="4853" y="9722"/>
                  </a:lnTo>
                  <a:lnTo>
                    <a:pt x="4693" y="9711"/>
                  </a:lnTo>
                  <a:lnTo>
                    <a:pt x="4536" y="9691"/>
                  </a:lnTo>
                  <a:lnTo>
                    <a:pt x="4382" y="9663"/>
                  </a:lnTo>
                  <a:lnTo>
                    <a:pt x="4230" y="9628"/>
                  </a:lnTo>
                  <a:lnTo>
                    <a:pt x="4080" y="9585"/>
                  </a:lnTo>
                  <a:lnTo>
                    <a:pt x="3934" y="9536"/>
                  </a:lnTo>
                  <a:lnTo>
                    <a:pt x="3792" y="9479"/>
                  </a:lnTo>
                  <a:lnTo>
                    <a:pt x="3652" y="9417"/>
                  </a:lnTo>
                  <a:lnTo>
                    <a:pt x="3516" y="9347"/>
                  </a:lnTo>
                  <a:lnTo>
                    <a:pt x="3385" y="9271"/>
                  </a:lnTo>
                  <a:lnTo>
                    <a:pt x="3258" y="9189"/>
                  </a:lnTo>
                  <a:lnTo>
                    <a:pt x="3133" y="9101"/>
                  </a:lnTo>
                  <a:lnTo>
                    <a:pt x="3015" y="9007"/>
                  </a:lnTo>
                  <a:lnTo>
                    <a:pt x="2900" y="8909"/>
                  </a:lnTo>
                  <a:lnTo>
                    <a:pt x="2792" y="8804"/>
                  </a:lnTo>
                  <a:lnTo>
                    <a:pt x="2687" y="8695"/>
                  </a:lnTo>
                  <a:lnTo>
                    <a:pt x="2588" y="8580"/>
                  </a:lnTo>
                  <a:lnTo>
                    <a:pt x="2495" y="8462"/>
                  </a:lnTo>
                  <a:lnTo>
                    <a:pt x="2407" y="8338"/>
                  </a:lnTo>
                  <a:lnTo>
                    <a:pt x="2324" y="8211"/>
                  </a:lnTo>
                  <a:lnTo>
                    <a:pt x="2248" y="8080"/>
                  </a:lnTo>
                  <a:lnTo>
                    <a:pt x="2179" y="7944"/>
                  </a:lnTo>
                  <a:lnTo>
                    <a:pt x="2116" y="7805"/>
                  </a:lnTo>
                  <a:lnTo>
                    <a:pt x="2060" y="7662"/>
                  </a:lnTo>
                  <a:lnTo>
                    <a:pt x="2010" y="7516"/>
                  </a:lnTo>
                  <a:lnTo>
                    <a:pt x="1967" y="7367"/>
                  </a:lnTo>
                  <a:lnTo>
                    <a:pt x="1932" y="7215"/>
                  </a:lnTo>
                  <a:lnTo>
                    <a:pt x="1905" y="7061"/>
                  </a:lnTo>
                  <a:lnTo>
                    <a:pt x="1884" y="6904"/>
                  </a:lnTo>
                  <a:lnTo>
                    <a:pt x="1873" y="6744"/>
                  </a:lnTo>
                  <a:lnTo>
                    <a:pt x="1869" y="6583"/>
                  </a:lnTo>
                  <a:lnTo>
                    <a:pt x="1873" y="6422"/>
                  </a:lnTo>
                  <a:lnTo>
                    <a:pt x="1884" y="6263"/>
                  </a:lnTo>
                  <a:lnTo>
                    <a:pt x="1905" y="6105"/>
                  </a:lnTo>
                  <a:lnTo>
                    <a:pt x="1932" y="5951"/>
                  </a:lnTo>
                  <a:lnTo>
                    <a:pt x="1967" y="5799"/>
                  </a:lnTo>
                  <a:lnTo>
                    <a:pt x="2010" y="5650"/>
                  </a:lnTo>
                  <a:lnTo>
                    <a:pt x="2060" y="5503"/>
                  </a:lnTo>
                  <a:lnTo>
                    <a:pt x="2116" y="5361"/>
                  </a:lnTo>
                  <a:lnTo>
                    <a:pt x="2179" y="5222"/>
                  </a:lnTo>
                  <a:lnTo>
                    <a:pt x="2248" y="5086"/>
                  </a:lnTo>
                  <a:lnTo>
                    <a:pt x="2324" y="4955"/>
                  </a:lnTo>
                  <a:lnTo>
                    <a:pt x="2407" y="4827"/>
                  </a:lnTo>
                  <a:lnTo>
                    <a:pt x="2495" y="4704"/>
                  </a:lnTo>
                  <a:lnTo>
                    <a:pt x="2588" y="4585"/>
                  </a:lnTo>
                  <a:lnTo>
                    <a:pt x="2687" y="4470"/>
                  </a:lnTo>
                  <a:lnTo>
                    <a:pt x="2792" y="4362"/>
                  </a:lnTo>
                  <a:lnTo>
                    <a:pt x="2900" y="4257"/>
                  </a:lnTo>
                  <a:lnTo>
                    <a:pt x="3015" y="4158"/>
                  </a:lnTo>
                  <a:lnTo>
                    <a:pt x="3133" y="4065"/>
                  </a:lnTo>
                  <a:lnTo>
                    <a:pt x="3258" y="3977"/>
                  </a:lnTo>
                  <a:lnTo>
                    <a:pt x="3385" y="3895"/>
                  </a:lnTo>
                  <a:lnTo>
                    <a:pt x="3516" y="3819"/>
                  </a:lnTo>
                  <a:lnTo>
                    <a:pt x="3652" y="3750"/>
                  </a:lnTo>
                  <a:lnTo>
                    <a:pt x="3792" y="3686"/>
                  </a:lnTo>
                  <a:lnTo>
                    <a:pt x="3934" y="3630"/>
                  </a:lnTo>
                  <a:lnTo>
                    <a:pt x="4080" y="3581"/>
                  </a:lnTo>
                  <a:lnTo>
                    <a:pt x="4230" y="3538"/>
                  </a:lnTo>
                  <a:lnTo>
                    <a:pt x="4382" y="3503"/>
                  </a:lnTo>
                  <a:lnTo>
                    <a:pt x="4536" y="3475"/>
                  </a:lnTo>
                  <a:lnTo>
                    <a:pt x="4693" y="3456"/>
                  </a:lnTo>
                  <a:lnTo>
                    <a:pt x="4853" y="3443"/>
                  </a:lnTo>
                  <a:lnTo>
                    <a:pt x="5014" y="3439"/>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endParaRPr lang="zh-CN" altLang="en-US" sz="1799">
                <a:solidFill>
                  <a:schemeClr val="bg1"/>
                </a:solidFill>
              </a:endParaRPr>
            </a:p>
          </p:txBody>
        </p:sp>
        <p:sp>
          <p:nvSpPr>
            <p:cNvPr id="316" name="Freeform 18"/>
            <p:cNvSpPr>
              <a:spLocks noEditPoints="1"/>
            </p:cNvSpPr>
            <p:nvPr/>
          </p:nvSpPr>
          <p:spPr bwMode="auto">
            <a:xfrm>
              <a:off x="-6246813" y="4160838"/>
              <a:ext cx="987425" cy="468313"/>
            </a:xfrm>
            <a:custGeom>
              <a:avLst/>
              <a:gdLst/>
              <a:ahLst/>
              <a:cxnLst>
                <a:cxn ang="0">
                  <a:pos x="4376" y="1769"/>
                </a:cxn>
                <a:cxn ang="0">
                  <a:pos x="638" y="2271"/>
                </a:cxn>
                <a:cxn ang="0">
                  <a:pos x="6901" y="2275"/>
                </a:cxn>
                <a:cxn ang="0">
                  <a:pos x="6994" y="2291"/>
                </a:cxn>
                <a:cxn ang="0">
                  <a:pos x="7084" y="2321"/>
                </a:cxn>
                <a:cxn ang="0">
                  <a:pos x="7166" y="2364"/>
                </a:cxn>
                <a:cxn ang="0">
                  <a:pos x="7241" y="2417"/>
                </a:cxn>
                <a:cxn ang="0">
                  <a:pos x="7307" y="2480"/>
                </a:cxn>
                <a:cxn ang="0">
                  <a:pos x="7364" y="2553"/>
                </a:cxn>
                <a:cxn ang="0">
                  <a:pos x="7410" y="2633"/>
                </a:cxn>
                <a:cxn ang="0">
                  <a:pos x="7445" y="2719"/>
                </a:cxn>
                <a:cxn ang="0">
                  <a:pos x="7465" y="2811"/>
                </a:cxn>
                <a:cxn ang="0">
                  <a:pos x="7474" y="2908"/>
                </a:cxn>
                <a:cxn ang="0">
                  <a:pos x="7465" y="3004"/>
                </a:cxn>
                <a:cxn ang="0">
                  <a:pos x="7445" y="3097"/>
                </a:cxn>
                <a:cxn ang="0">
                  <a:pos x="7410" y="3184"/>
                </a:cxn>
                <a:cxn ang="0">
                  <a:pos x="7364" y="3264"/>
                </a:cxn>
                <a:cxn ang="0">
                  <a:pos x="7307" y="3336"/>
                </a:cxn>
                <a:cxn ang="0">
                  <a:pos x="7241" y="3399"/>
                </a:cxn>
                <a:cxn ang="0">
                  <a:pos x="7166" y="3453"/>
                </a:cxn>
                <a:cxn ang="0">
                  <a:pos x="7084" y="3495"/>
                </a:cxn>
                <a:cxn ang="0">
                  <a:pos x="6994" y="3524"/>
                </a:cxn>
                <a:cxn ang="0">
                  <a:pos x="6901" y="3542"/>
                </a:cxn>
                <a:cxn ang="0">
                  <a:pos x="638" y="3545"/>
                </a:cxn>
                <a:cxn ang="0">
                  <a:pos x="541" y="3538"/>
                </a:cxn>
                <a:cxn ang="0">
                  <a:pos x="449" y="3516"/>
                </a:cxn>
                <a:cxn ang="0">
                  <a:pos x="363" y="3482"/>
                </a:cxn>
                <a:cxn ang="0">
                  <a:pos x="283" y="3436"/>
                </a:cxn>
                <a:cxn ang="0">
                  <a:pos x="210" y="3379"/>
                </a:cxn>
                <a:cxn ang="0">
                  <a:pos x="147" y="3313"/>
                </a:cxn>
                <a:cxn ang="0">
                  <a:pos x="94" y="3238"/>
                </a:cxn>
                <a:cxn ang="0">
                  <a:pos x="51" y="3155"/>
                </a:cxn>
                <a:cxn ang="0">
                  <a:pos x="21" y="3067"/>
                </a:cxn>
                <a:cxn ang="0">
                  <a:pos x="4" y="2972"/>
                </a:cxn>
                <a:cxn ang="0">
                  <a:pos x="1" y="2875"/>
                </a:cxn>
                <a:cxn ang="0">
                  <a:pos x="14" y="2780"/>
                </a:cxn>
                <a:cxn ang="0">
                  <a:pos x="39" y="2689"/>
                </a:cxn>
                <a:cxn ang="0">
                  <a:pos x="78" y="2605"/>
                </a:cxn>
                <a:cxn ang="0">
                  <a:pos x="128" y="2527"/>
                </a:cxn>
                <a:cxn ang="0">
                  <a:pos x="188" y="2458"/>
                </a:cxn>
                <a:cxn ang="0">
                  <a:pos x="257" y="2398"/>
                </a:cxn>
                <a:cxn ang="0">
                  <a:pos x="335" y="2349"/>
                </a:cxn>
                <a:cxn ang="0">
                  <a:pos x="419" y="2310"/>
                </a:cxn>
                <a:cxn ang="0">
                  <a:pos x="511" y="2284"/>
                </a:cxn>
                <a:cxn ang="0">
                  <a:pos x="605" y="2272"/>
                </a:cxn>
              </a:cxnLst>
              <a:rect l="0" t="0" r="r" b="b"/>
              <a:pathLst>
                <a:path w="7474" h="3545">
                  <a:moveTo>
                    <a:pt x="3098" y="0"/>
                  </a:moveTo>
                  <a:lnTo>
                    <a:pt x="4376" y="0"/>
                  </a:lnTo>
                  <a:lnTo>
                    <a:pt x="4376" y="1769"/>
                  </a:lnTo>
                  <a:lnTo>
                    <a:pt x="3098" y="1769"/>
                  </a:lnTo>
                  <a:lnTo>
                    <a:pt x="3098" y="0"/>
                  </a:lnTo>
                  <a:close/>
                  <a:moveTo>
                    <a:pt x="638" y="2271"/>
                  </a:moveTo>
                  <a:lnTo>
                    <a:pt x="6836" y="2271"/>
                  </a:lnTo>
                  <a:lnTo>
                    <a:pt x="6869" y="2272"/>
                  </a:lnTo>
                  <a:lnTo>
                    <a:pt x="6901" y="2275"/>
                  </a:lnTo>
                  <a:lnTo>
                    <a:pt x="6933" y="2279"/>
                  </a:lnTo>
                  <a:lnTo>
                    <a:pt x="6963" y="2284"/>
                  </a:lnTo>
                  <a:lnTo>
                    <a:pt x="6994" y="2291"/>
                  </a:lnTo>
                  <a:lnTo>
                    <a:pt x="7025" y="2299"/>
                  </a:lnTo>
                  <a:lnTo>
                    <a:pt x="7055" y="2310"/>
                  </a:lnTo>
                  <a:lnTo>
                    <a:pt x="7084" y="2321"/>
                  </a:lnTo>
                  <a:lnTo>
                    <a:pt x="7111" y="2334"/>
                  </a:lnTo>
                  <a:lnTo>
                    <a:pt x="7139" y="2349"/>
                  </a:lnTo>
                  <a:lnTo>
                    <a:pt x="7166" y="2364"/>
                  </a:lnTo>
                  <a:lnTo>
                    <a:pt x="7191" y="2380"/>
                  </a:lnTo>
                  <a:lnTo>
                    <a:pt x="7217" y="2398"/>
                  </a:lnTo>
                  <a:lnTo>
                    <a:pt x="7241" y="2417"/>
                  </a:lnTo>
                  <a:lnTo>
                    <a:pt x="7264" y="2437"/>
                  </a:lnTo>
                  <a:lnTo>
                    <a:pt x="7286" y="2458"/>
                  </a:lnTo>
                  <a:lnTo>
                    <a:pt x="7307" y="2480"/>
                  </a:lnTo>
                  <a:lnTo>
                    <a:pt x="7327" y="2504"/>
                  </a:lnTo>
                  <a:lnTo>
                    <a:pt x="7346" y="2527"/>
                  </a:lnTo>
                  <a:lnTo>
                    <a:pt x="7364" y="2553"/>
                  </a:lnTo>
                  <a:lnTo>
                    <a:pt x="7380" y="2579"/>
                  </a:lnTo>
                  <a:lnTo>
                    <a:pt x="7396" y="2605"/>
                  </a:lnTo>
                  <a:lnTo>
                    <a:pt x="7410" y="2633"/>
                  </a:lnTo>
                  <a:lnTo>
                    <a:pt x="7423" y="2661"/>
                  </a:lnTo>
                  <a:lnTo>
                    <a:pt x="7435" y="2689"/>
                  </a:lnTo>
                  <a:lnTo>
                    <a:pt x="7445" y="2719"/>
                  </a:lnTo>
                  <a:lnTo>
                    <a:pt x="7453" y="2750"/>
                  </a:lnTo>
                  <a:lnTo>
                    <a:pt x="7460" y="2780"/>
                  </a:lnTo>
                  <a:lnTo>
                    <a:pt x="7465" y="2811"/>
                  </a:lnTo>
                  <a:lnTo>
                    <a:pt x="7470" y="2843"/>
                  </a:lnTo>
                  <a:lnTo>
                    <a:pt x="7473" y="2875"/>
                  </a:lnTo>
                  <a:lnTo>
                    <a:pt x="7474" y="2908"/>
                  </a:lnTo>
                  <a:lnTo>
                    <a:pt x="7473" y="2941"/>
                  </a:lnTo>
                  <a:lnTo>
                    <a:pt x="7470" y="2972"/>
                  </a:lnTo>
                  <a:lnTo>
                    <a:pt x="7465" y="3004"/>
                  </a:lnTo>
                  <a:lnTo>
                    <a:pt x="7460" y="3036"/>
                  </a:lnTo>
                  <a:lnTo>
                    <a:pt x="7453" y="3067"/>
                  </a:lnTo>
                  <a:lnTo>
                    <a:pt x="7445" y="3097"/>
                  </a:lnTo>
                  <a:lnTo>
                    <a:pt x="7435" y="3126"/>
                  </a:lnTo>
                  <a:lnTo>
                    <a:pt x="7423" y="3155"/>
                  </a:lnTo>
                  <a:lnTo>
                    <a:pt x="7410" y="3184"/>
                  </a:lnTo>
                  <a:lnTo>
                    <a:pt x="7396" y="3212"/>
                  </a:lnTo>
                  <a:lnTo>
                    <a:pt x="7380" y="3238"/>
                  </a:lnTo>
                  <a:lnTo>
                    <a:pt x="7364" y="3264"/>
                  </a:lnTo>
                  <a:lnTo>
                    <a:pt x="7346" y="3289"/>
                  </a:lnTo>
                  <a:lnTo>
                    <a:pt x="7327" y="3313"/>
                  </a:lnTo>
                  <a:lnTo>
                    <a:pt x="7307" y="3336"/>
                  </a:lnTo>
                  <a:lnTo>
                    <a:pt x="7286" y="3358"/>
                  </a:lnTo>
                  <a:lnTo>
                    <a:pt x="7264" y="3379"/>
                  </a:lnTo>
                  <a:lnTo>
                    <a:pt x="7241" y="3399"/>
                  </a:lnTo>
                  <a:lnTo>
                    <a:pt x="7217" y="3418"/>
                  </a:lnTo>
                  <a:lnTo>
                    <a:pt x="7191" y="3436"/>
                  </a:lnTo>
                  <a:lnTo>
                    <a:pt x="7166" y="3453"/>
                  </a:lnTo>
                  <a:lnTo>
                    <a:pt x="7139" y="3468"/>
                  </a:lnTo>
                  <a:lnTo>
                    <a:pt x="7111" y="3482"/>
                  </a:lnTo>
                  <a:lnTo>
                    <a:pt x="7084" y="3495"/>
                  </a:lnTo>
                  <a:lnTo>
                    <a:pt x="7055" y="3506"/>
                  </a:lnTo>
                  <a:lnTo>
                    <a:pt x="7025" y="3516"/>
                  </a:lnTo>
                  <a:lnTo>
                    <a:pt x="6994" y="3524"/>
                  </a:lnTo>
                  <a:lnTo>
                    <a:pt x="6963" y="3532"/>
                  </a:lnTo>
                  <a:lnTo>
                    <a:pt x="6933" y="3538"/>
                  </a:lnTo>
                  <a:lnTo>
                    <a:pt x="6901" y="3542"/>
                  </a:lnTo>
                  <a:lnTo>
                    <a:pt x="6869" y="3544"/>
                  </a:lnTo>
                  <a:lnTo>
                    <a:pt x="6836" y="3545"/>
                  </a:lnTo>
                  <a:lnTo>
                    <a:pt x="638" y="3545"/>
                  </a:lnTo>
                  <a:lnTo>
                    <a:pt x="605" y="3544"/>
                  </a:lnTo>
                  <a:lnTo>
                    <a:pt x="573" y="3542"/>
                  </a:lnTo>
                  <a:lnTo>
                    <a:pt x="541" y="3538"/>
                  </a:lnTo>
                  <a:lnTo>
                    <a:pt x="511" y="3532"/>
                  </a:lnTo>
                  <a:lnTo>
                    <a:pt x="480" y="3524"/>
                  </a:lnTo>
                  <a:lnTo>
                    <a:pt x="449" y="3516"/>
                  </a:lnTo>
                  <a:lnTo>
                    <a:pt x="419" y="3506"/>
                  </a:lnTo>
                  <a:lnTo>
                    <a:pt x="390" y="3495"/>
                  </a:lnTo>
                  <a:lnTo>
                    <a:pt x="363" y="3482"/>
                  </a:lnTo>
                  <a:lnTo>
                    <a:pt x="335" y="3468"/>
                  </a:lnTo>
                  <a:lnTo>
                    <a:pt x="308" y="3453"/>
                  </a:lnTo>
                  <a:lnTo>
                    <a:pt x="283" y="3436"/>
                  </a:lnTo>
                  <a:lnTo>
                    <a:pt x="257" y="3418"/>
                  </a:lnTo>
                  <a:lnTo>
                    <a:pt x="233" y="3399"/>
                  </a:lnTo>
                  <a:lnTo>
                    <a:pt x="210" y="3379"/>
                  </a:lnTo>
                  <a:lnTo>
                    <a:pt x="188" y="3358"/>
                  </a:lnTo>
                  <a:lnTo>
                    <a:pt x="167" y="3336"/>
                  </a:lnTo>
                  <a:lnTo>
                    <a:pt x="147" y="3313"/>
                  </a:lnTo>
                  <a:lnTo>
                    <a:pt x="128" y="3289"/>
                  </a:lnTo>
                  <a:lnTo>
                    <a:pt x="110" y="3264"/>
                  </a:lnTo>
                  <a:lnTo>
                    <a:pt x="94" y="3238"/>
                  </a:lnTo>
                  <a:lnTo>
                    <a:pt x="78" y="3212"/>
                  </a:lnTo>
                  <a:lnTo>
                    <a:pt x="64" y="3184"/>
                  </a:lnTo>
                  <a:lnTo>
                    <a:pt x="51" y="3155"/>
                  </a:lnTo>
                  <a:lnTo>
                    <a:pt x="39" y="3126"/>
                  </a:lnTo>
                  <a:lnTo>
                    <a:pt x="29" y="3097"/>
                  </a:lnTo>
                  <a:lnTo>
                    <a:pt x="21" y="3067"/>
                  </a:lnTo>
                  <a:lnTo>
                    <a:pt x="14" y="3036"/>
                  </a:lnTo>
                  <a:lnTo>
                    <a:pt x="9" y="3004"/>
                  </a:lnTo>
                  <a:lnTo>
                    <a:pt x="4" y="2972"/>
                  </a:lnTo>
                  <a:lnTo>
                    <a:pt x="1" y="2941"/>
                  </a:lnTo>
                  <a:lnTo>
                    <a:pt x="0" y="2908"/>
                  </a:lnTo>
                  <a:lnTo>
                    <a:pt x="1" y="2875"/>
                  </a:lnTo>
                  <a:lnTo>
                    <a:pt x="4" y="2843"/>
                  </a:lnTo>
                  <a:lnTo>
                    <a:pt x="9" y="2811"/>
                  </a:lnTo>
                  <a:lnTo>
                    <a:pt x="14" y="2780"/>
                  </a:lnTo>
                  <a:lnTo>
                    <a:pt x="21" y="2750"/>
                  </a:lnTo>
                  <a:lnTo>
                    <a:pt x="29" y="2719"/>
                  </a:lnTo>
                  <a:lnTo>
                    <a:pt x="39" y="2689"/>
                  </a:lnTo>
                  <a:lnTo>
                    <a:pt x="51" y="2661"/>
                  </a:lnTo>
                  <a:lnTo>
                    <a:pt x="64" y="2633"/>
                  </a:lnTo>
                  <a:lnTo>
                    <a:pt x="78" y="2605"/>
                  </a:lnTo>
                  <a:lnTo>
                    <a:pt x="94" y="2579"/>
                  </a:lnTo>
                  <a:lnTo>
                    <a:pt x="110" y="2553"/>
                  </a:lnTo>
                  <a:lnTo>
                    <a:pt x="128" y="2527"/>
                  </a:lnTo>
                  <a:lnTo>
                    <a:pt x="147" y="2504"/>
                  </a:lnTo>
                  <a:lnTo>
                    <a:pt x="167" y="2480"/>
                  </a:lnTo>
                  <a:lnTo>
                    <a:pt x="188" y="2458"/>
                  </a:lnTo>
                  <a:lnTo>
                    <a:pt x="210" y="2437"/>
                  </a:lnTo>
                  <a:lnTo>
                    <a:pt x="233" y="2417"/>
                  </a:lnTo>
                  <a:lnTo>
                    <a:pt x="257" y="2398"/>
                  </a:lnTo>
                  <a:lnTo>
                    <a:pt x="283" y="2380"/>
                  </a:lnTo>
                  <a:lnTo>
                    <a:pt x="308" y="2364"/>
                  </a:lnTo>
                  <a:lnTo>
                    <a:pt x="335" y="2349"/>
                  </a:lnTo>
                  <a:lnTo>
                    <a:pt x="363" y="2334"/>
                  </a:lnTo>
                  <a:lnTo>
                    <a:pt x="390" y="2321"/>
                  </a:lnTo>
                  <a:lnTo>
                    <a:pt x="419" y="2310"/>
                  </a:lnTo>
                  <a:lnTo>
                    <a:pt x="449" y="2299"/>
                  </a:lnTo>
                  <a:lnTo>
                    <a:pt x="480" y="2291"/>
                  </a:lnTo>
                  <a:lnTo>
                    <a:pt x="511" y="2284"/>
                  </a:lnTo>
                  <a:lnTo>
                    <a:pt x="541" y="2279"/>
                  </a:lnTo>
                  <a:lnTo>
                    <a:pt x="573" y="2275"/>
                  </a:lnTo>
                  <a:lnTo>
                    <a:pt x="605" y="2272"/>
                  </a:lnTo>
                  <a:lnTo>
                    <a:pt x="638" y="2271"/>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endParaRPr lang="zh-CN" altLang="en-US" sz="1799">
                <a:solidFill>
                  <a:schemeClr val="bg1"/>
                </a:solidFill>
              </a:endParaRPr>
            </a:p>
          </p:txBody>
        </p:sp>
      </p:grpSp>
      <p:grpSp>
        <p:nvGrpSpPr>
          <p:cNvPr id="317" name="组合 333"/>
          <p:cNvGrpSpPr>
            <a:grpSpLocks noChangeAspect="1"/>
          </p:cNvGrpSpPr>
          <p:nvPr/>
        </p:nvGrpSpPr>
        <p:grpSpPr>
          <a:xfrm rot="10800000">
            <a:off x="4587802" y="4923707"/>
            <a:ext cx="193815" cy="260956"/>
            <a:chOff x="-6559550" y="2457450"/>
            <a:chExt cx="1612900" cy="2171701"/>
          </a:xfrm>
          <a:solidFill>
            <a:schemeClr val="tx1"/>
          </a:solidFill>
        </p:grpSpPr>
        <p:sp>
          <p:nvSpPr>
            <p:cNvPr id="318" name="Freeform 17"/>
            <p:cNvSpPr>
              <a:spLocks noEditPoints="1"/>
            </p:cNvSpPr>
            <p:nvPr/>
          </p:nvSpPr>
          <p:spPr bwMode="auto">
            <a:xfrm>
              <a:off x="-6559550" y="2457450"/>
              <a:ext cx="1612900" cy="1611313"/>
            </a:xfrm>
            <a:custGeom>
              <a:avLst/>
              <a:gdLst/>
              <a:ahLst/>
              <a:cxnLst>
                <a:cxn ang="0">
                  <a:pos x="5423" y="5270"/>
                </a:cxn>
                <a:cxn ang="0">
                  <a:pos x="5837" y="5481"/>
                </a:cxn>
                <a:cxn ang="0">
                  <a:pos x="6155" y="5814"/>
                </a:cxn>
                <a:cxn ang="0">
                  <a:pos x="6347" y="6240"/>
                </a:cxn>
                <a:cxn ang="0">
                  <a:pos x="6384" y="6723"/>
                </a:cxn>
                <a:cxn ang="0">
                  <a:pos x="6255" y="7178"/>
                </a:cxn>
                <a:cxn ang="0">
                  <a:pos x="5987" y="7554"/>
                </a:cxn>
                <a:cxn ang="0">
                  <a:pos x="5610" y="7822"/>
                </a:cxn>
                <a:cxn ang="0">
                  <a:pos x="5155" y="7952"/>
                </a:cxn>
                <a:cxn ang="0">
                  <a:pos x="4671" y="7915"/>
                </a:cxn>
                <a:cxn ang="0">
                  <a:pos x="4245" y="7723"/>
                </a:cxn>
                <a:cxn ang="0">
                  <a:pos x="3912" y="7405"/>
                </a:cxn>
                <a:cxn ang="0">
                  <a:pos x="3700" y="6991"/>
                </a:cxn>
                <a:cxn ang="0">
                  <a:pos x="3640" y="6512"/>
                </a:cxn>
                <a:cxn ang="0">
                  <a:pos x="3746" y="6048"/>
                </a:cxn>
                <a:cxn ang="0">
                  <a:pos x="3996" y="5658"/>
                </a:cxn>
                <a:cxn ang="0">
                  <a:pos x="4359" y="5374"/>
                </a:cxn>
                <a:cxn ang="0">
                  <a:pos x="4805" y="5223"/>
                </a:cxn>
                <a:cxn ang="0">
                  <a:pos x="7023" y="71"/>
                </a:cxn>
                <a:cxn ang="0">
                  <a:pos x="8998" y="737"/>
                </a:cxn>
                <a:cxn ang="0">
                  <a:pos x="10605" y="2000"/>
                </a:cxn>
                <a:cxn ang="0">
                  <a:pos x="11712" y="3724"/>
                </a:cxn>
                <a:cxn ang="0">
                  <a:pos x="12184" y="5779"/>
                </a:cxn>
                <a:cxn ang="0">
                  <a:pos x="11917" y="7900"/>
                </a:cxn>
                <a:cxn ang="0">
                  <a:pos x="10978" y="9733"/>
                </a:cxn>
                <a:cxn ang="0">
                  <a:pos x="9500" y="11140"/>
                </a:cxn>
                <a:cxn ang="0">
                  <a:pos x="7616" y="11991"/>
                </a:cxn>
                <a:cxn ang="0">
                  <a:pos x="5474" y="12152"/>
                </a:cxn>
                <a:cxn ang="0">
                  <a:pos x="3457" y="11581"/>
                </a:cxn>
                <a:cxn ang="0">
                  <a:pos x="1789" y="10395"/>
                </a:cxn>
                <a:cxn ang="0">
                  <a:pos x="603" y="8728"/>
                </a:cxn>
                <a:cxn ang="0">
                  <a:pos x="32" y="6713"/>
                </a:cxn>
                <a:cxn ang="0">
                  <a:pos x="192" y="4572"/>
                </a:cxn>
                <a:cxn ang="0">
                  <a:pos x="1043" y="2690"/>
                </a:cxn>
                <a:cxn ang="0">
                  <a:pos x="2453" y="1213"/>
                </a:cxn>
                <a:cxn ang="0">
                  <a:pos x="4286" y="275"/>
                </a:cxn>
                <a:cxn ang="0">
                  <a:pos x="5014" y="3439"/>
                </a:cxn>
                <a:cxn ang="0">
                  <a:pos x="6094" y="3630"/>
                </a:cxn>
                <a:cxn ang="0">
                  <a:pos x="7013" y="4158"/>
                </a:cxn>
                <a:cxn ang="0">
                  <a:pos x="7704" y="4955"/>
                </a:cxn>
                <a:cxn ang="0">
                  <a:pos x="8097" y="5951"/>
                </a:cxn>
                <a:cxn ang="0">
                  <a:pos x="8124" y="7061"/>
                </a:cxn>
                <a:cxn ang="0">
                  <a:pos x="7780" y="8080"/>
                </a:cxn>
                <a:cxn ang="0">
                  <a:pos x="7128" y="8909"/>
                </a:cxn>
                <a:cxn ang="0">
                  <a:pos x="6237" y="9479"/>
                </a:cxn>
                <a:cxn ang="0">
                  <a:pos x="5176" y="9722"/>
                </a:cxn>
                <a:cxn ang="0">
                  <a:pos x="4080" y="9585"/>
                </a:cxn>
                <a:cxn ang="0">
                  <a:pos x="3133" y="9101"/>
                </a:cxn>
                <a:cxn ang="0">
                  <a:pos x="2407" y="8338"/>
                </a:cxn>
                <a:cxn ang="0">
                  <a:pos x="1967" y="7367"/>
                </a:cxn>
                <a:cxn ang="0">
                  <a:pos x="1884" y="6263"/>
                </a:cxn>
                <a:cxn ang="0">
                  <a:pos x="2179" y="5222"/>
                </a:cxn>
                <a:cxn ang="0">
                  <a:pos x="2792" y="4362"/>
                </a:cxn>
                <a:cxn ang="0">
                  <a:pos x="3652" y="3750"/>
                </a:cxn>
                <a:cxn ang="0">
                  <a:pos x="4693" y="3456"/>
                </a:cxn>
              </a:cxnLst>
              <a:rect l="0" t="0" r="r" b="b"/>
              <a:pathLst>
                <a:path w="12192" h="12184">
                  <a:moveTo>
                    <a:pt x="5014" y="5207"/>
                  </a:moveTo>
                  <a:lnTo>
                    <a:pt x="5085" y="5209"/>
                  </a:lnTo>
                  <a:lnTo>
                    <a:pt x="5155" y="5214"/>
                  </a:lnTo>
                  <a:lnTo>
                    <a:pt x="5224" y="5223"/>
                  </a:lnTo>
                  <a:lnTo>
                    <a:pt x="5292" y="5236"/>
                  </a:lnTo>
                  <a:lnTo>
                    <a:pt x="5357" y="5251"/>
                  </a:lnTo>
                  <a:lnTo>
                    <a:pt x="5423" y="5270"/>
                  </a:lnTo>
                  <a:lnTo>
                    <a:pt x="5487" y="5291"/>
                  </a:lnTo>
                  <a:lnTo>
                    <a:pt x="5549" y="5316"/>
                  </a:lnTo>
                  <a:lnTo>
                    <a:pt x="5610" y="5343"/>
                  </a:lnTo>
                  <a:lnTo>
                    <a:pt x="5669" y="5374"/>
                  </a:lnTo>
                  <a:lnTo>
                    <a:pt x="5727" y="5407"/>
                  </a:lnTo>
                  <a:lnTo>
                    <a:pt x="5783" y="5443"/>
                  </a:lnTo>
                  <a:lnTo>
                    <a:pt x="5837" y="5481"/>
                  </a:lnTo>
                  <a:lnTo>
                    <a:pt x="5889" y="5522"/>
                  </a:lnTo>
                  <a:lnTo>
                    <a:pt x="5939" y="5565"/>
                  </a:lnTo>
                  <a:lnTo>
                    <a:pt x="5987" y="5611"/>
                  </a:lnTo>
                  <a:lnTo>
                    <a:pt x="6033" y="5658"/>
                  </a:lnTo>
                  <a:lnTo>
                    <a:pt x="6076" y="5709"/>
                  </a:lnTo>
                  <a:lnTo>
                    <a:pt x="6117" y="5761"/>
                  </a:lnTo>
                  <a:lnTo>
                    <a:pt x="6155" y="5814"/>
                  </a:lnTo>
                  <a:lnTo>
                    <a:pt x="6191" y="5871"/>
                  </a:lnTo>
                  <a:lnTo>
                    <a:pt x="6225" y="5928"/>
                  </a:lnTo>
                  <a:lnTo>
                    <a:pt x="6255" y="5988"/>
                  </a:lnTo>
                  <a:lnTo>
                    <a:pt x="6282" y="6048"/>
                  </a:lnTo>
                  <a:lnTo>
                    <a:pt x="6307" y="6111"/>
                  </a:lnTo>
                  <a:lnTo>
                    <a:pt x="6329" y="6174"/>
                  </a:lnTo>
                  <a:lnTo>
                    <a:pt x="6347" y="6240"/>
                  </a:lnTo>
                  <a:lnTo>
                    <a:pt x="6362" y="6306"/>
                  </a:lnTo>
                  <a:lnTo>
                    <a:pt x="6375" y="6374"/>
                  </a:lnTo>
                  <a:lnTo>
                    <a:pt x="6384" y="6442"/>
                  </a:lnTo>
                  <a:lnTo>
                    <a:pt x="6389" y="6512"/>
                  </a:lnTo>
                  <a:lnTo>
                    <a:pt x="6391" y="6583"/>
                  </a:lnTo>
                  <a:lnTo>
                    <a:pt x="6389" y="6654"/>
                  </a:lnTo>
                  <a:lnTo>
                    <a:pt x="6384" y="6723"/>
                  </a:lnTo>
                  <a:lnTo>
                    <a:pt x="6375" y="6792"/>
                  </a:lnTo>
                  <a:lnTo>
                    <a:pt x="6362" y="6860"/>
                  </a:lnTo>
                  <a:lnTo>
                    <a:pt x="6347" y="6926"/>
                  </a:lnTo>
                  <a:lnTo>
                    <a:pt x="6329" y="6991"/>
                  </a:lnTo>
                  <a:lnTo>
                    <a:pt x="6307" y="7055"/>
                  </a:lnTo>
                  <a:lnTo>
                    <a:pt x="6282" y="7117"/>
                  </a:lnTo>
                  <a:lnTo>
                    <a:pt x="6255" y="7178"/>
                  </a:lnTo>
                  <a:lnTo>
                    <a:pt x="6225" y="7237"/>
                  </a:lnTo>
                  <a:lnTo>
                    <a:pt x="6191" y="7295"/>
                  </a:lnTo>
                  <a:lnTo>
                    <a:pt x="6155" y="7351"/>
                  </a:lnTo>
                  <a:lnTo>
                    <a:pt x="6117" y="7405"/>
                  </a:lnTo>
                  <a:lnTo>
                    <a:pt x="6076" y="7457"/>
                  </a:lnTo>
                  <a:lnTo>
                    <a:pt x="6033" y="7507"/>
                  </a:lnTo>
                  <a:lnTo>
                    <a:pt x="5987" y="7554"/>
                  </a:lnTo>
                  <a:lnTo>
                    <a:pt x="5939" y="7601"/>
                  </a:lnTo>
                  <a:lnTo>
                    <a:pt x="5889" y="7644"/>
                  </a:lnTo>
                  <a:lnTo>
                    <a:pt x="5837" y="7685"/>
                  </a:lnTo>
                  <a:lnTo>
                    <a:pt x="5783" y="7723"/>
                  </a:lnTo>
                  <a:lnTo>
                    <a:pt x="5727" y="7759"/>
                  </a:lnTo>
                  <a:lnTo>
                    <a:pt x="5669" y="7792"/>
                  </a:lnTo>
                  <a:lnTo>
                    <a:pt x="5610" y="7822"/>
                  </a:lnTo>
                  <a:lnTo>
                    <a:pt x="5549" y="7850"/>
                  </a:lnTo>
                  <a:lnTo>
                    <a:pt x="5487" y="7875"/>
                  </a:lnTo>
                  <a:lnTo>
                    <a:pt x="5423" y="7896"/>
                  </a:lnTo>
                  <a:lnTo>
                    <a:pt x="5357" y="7915"/>
                  </a:lnTo>
                  <a:lnTo>
                    <a:pt x="5292" y="7930"/>
                  </a:lnTo>
                  <a:lnTo>
                    <a:pt x="5224" y="7942"/>
                  </a:lnTo>
                  <a:lnTo>
                    <a:pt x="5155" y="7952"/>
                  </a:lnTo>
                  <a:lnTo>
                    <a:pt x="5085" y="7957"/>
                  </a:lnTo>
                  <a:lnTo>
                    <a:pt x="5014" y="7959"/>
                  </a:lnTo>
                  <a:lnTo>
                    <a:pt x="4944" y="7957"/>
                  </a:lnTo>
                  <a:lnTo>
                    <a:pt x="4874" y="7952"/>
                  </a:lnTo>
                  <a:lnTo>
                    <a:pt x="4805" y="7942"/>
                  </a:lnTo>
                  <a:lnTo>
                    <a:pt x="4737" y="7930"/>
                  </a:lnTo>
                  <a:lnTo>
                    <a:pt x="4671" y="7915"/>
                  </a:lnTo>
                  <a:lnTo>
                    <a:pt x="4606" y="7896"/>
                  </a:lnTo>
                  <a:lnTo>
                    <a:pt x="4542" y="7875"/>
                  </a:lnTo>
                  <a:lnTo>
                    <a:pt x="4479" y="7850"/>
                  </a:lnTo>
                  <a:lnTo>
                    <a:pt x="4419" y="7822"/>
                  </a:lnTo>
                  <a:lnTo>
                    <a:pt x="4359" y="7792"/>
                  </a:lnTo>
                  <a:lnTo>
                    <a:pt x="4302" y="7759"/>
                  </a:lnTo>
                  <a:lnTo>
                    <a:pt x="4245" y="7723"/>
                  </a:lnTo>
                  <a:lnTo>
                    <a:pt x="4192" y="7685"/>
                  </a:lnTo>
                  <a:lnTo>
                    <a:pt x="4140" y="7644"/>
                  </a:lnTo>
                  <a:lnTo>
                    <a:pt x="4089" y="7601"/>
                  </a:lnTo>
                  <a:lnTo>
                    <a:pt x="4042" y="7554"/>
                  </a:lnTo>
                  <a:lnTo>
                    <a:pt x="3996" y="7507"/>
                  </a:lnTo>
                  <a:lnTo>
                    <a:pt x="3953" y="7457"/>
                  </a:lnTo>
                  <a:lnTo>
                    <a:pt x="3912" y="7405"/>
                  </a:lnTo>
                  <a:lnTo>
                    <a:pt x="3874" y="7351"/>
                  </a:lnTo>
                  <a:lnTo>
                    <a:pt x="3838" y="7295"/>
                  </a:lnTo>
                  <a:lnTo>
                    <a:pt x="3805" y="7237"/>
                  </a:lnTo>
                  <a:lnTo>
                    <a:pt x="3774" y="7178"/>
                  </a:lnTo>
                  <a:lnTo>
                    <a:pt x="3746" y="7117"/>
                  </a:lnTo>
                  <a:lnTo>
                    <a:pt x="3722" y="7055"/>
                  </a:lnTo>
                  <a:lnTo>
                    <a:pt x="3700" y="6991"/>
                  </a:lnTo>
                  <a:lnTo>
                    <a:pt x="3682" y="6926"/>
                  </a:lnTo>
                  <a:lnTo>
                    <a:pt x="3666" y="6860"/>
                  </a:lnTo>
                  <a:lnTo>
                    <a:pt x="3654" y="6792"/>
                  </a:lnTo>
                  <a:lnTo>
                    <a:pt x="3645" y="6723"/>
                  </a:lnTo>
                  <a:lnTo>
                    <a:pt x="3640" y="6654"/>
                  </a:lnTo>
                  <a:lnTo>
                    <a:pt x="3638" y="6583"/>
                  </a:lnTo>
                  <a:lnTo>
                    <a:pt x="3640" y="6512"/>
                  </a:lnTo>
                  <a:lnTo>
                    <a:pt x="3645" y="6442"/>
                  </a:lnTo>
                  <a:lnTo>
                    <a:pt x="3654" y="6374"/>
                  </a:lnTo>
                  <a:lnTo>
                    <a:pt x="3666" y="6306"/>
                  </a:lnTo>
                  <a:lnTo>
                    <a:pt x="3682" y="6240"/>
                  </a:lnTo>
                  <a:lnTo>
                    <a:pt x="3700" y="6174"/>
                  </a:lnTo>
                  <a:lnTo>
                    <a:pt x="3722" y="6111"/>
                  </a:lnTo>
                  <a:lnTo>
                    <a:pt x="3746" y="6048"/>
                  </a:lnTo>
                  <a:lnTo>
                    <a:pt x="3774" y="5988"/>
                  </a:lnTo>
                  <a:lnTo>
                    <a:pt x="3805" y="5928"/>
                  </a:lnTo>
                  <a:lnTo>
                    <a:pt x="3838" y="5871"/>
                  </a:lnTo>
                  <a:lnTo>
                    <a:pt x="3874" y="5814"/>
                  </a:lnTo>
                  <a:lnTo>
                    <a:pt x="3912" y="5761"/>
                  </a:lnTo>
                  <a:lnTo>
                    <a:pt x="3953" y="5709"/>
                  </a:lnTo>
                  <a:lnTo>
                    <a:pt x="3996" y="5658"/>
                  </a:lnTo>
                  <a:lnTo>
                    <a:pt x="4042" y="5611"/>
                  </a:lnTo>
                  <a:lnTo>
                    <a:pt x="4089" y="5565"/>
                  </a:lnTo>
                  <a:lnTo>
                    <a:pt x="4140" y="5522"/>
                  </a:lnTo>
                  <a:lnTo>
                    <a:pt x="4192" y="5481"/>
                  </a:lnTo>
                  <a:lnTo>
                    <a:pt x="4245" y="5443"/>
                  </a:lnTo>
                  <a:lnTo>
                    <a:pt x="4302" y="5407"/>
                  </a:lnTo>
                  <a:lnTo>
                    <a:pt x="4359" y="5374"/>
                  </a:lnTo>
                  <a:lnTo>
                    <a:pt x="4419" y="5343"/>
                  </a:lnTo>
                  <a:lnTo>
                    <a:pt x="4479" y="5316"/>
                  </a:lnTo>
                  <a:lnTo>
                    <a:pt x="4542" y="5291"/>
                  </a:lnTo>
                  <a:lnTo>
                    <a:pt x="4606" y="5270"/>
                  </a:lnTo>
                  <a:lnTo>
                    <a:pt x="4671" y="5251"/>
                  </a:lnTo>
                  <a:lnTo>
                    <a:pt x="4737" y="5236"/>
                  </a:lnTo>
                  <a:lnTo>
                    <a:pt x="4805" y="5223"/>
                  </a:lnTo>
                  <a:lnTo>
                    <a:pt x="4874" y="5214"/>
                  </a:lnTo>
                  <a:lnTo>
                    <a:pt x="4944" y="5209"/>
                  </a:lnTo>
                  <a:lnTo>
                    <a:pt x="5014" y="5207"/>
                  </a:lnTo>
                  <a:close/>
                  <a:moveTo>
                    <a:pt x="6097" y="0"/>
                  </a:moveTo>
                  <a:lnTo>
                    <a:pt x="6409" y="8"/>
                  </a:lnTo>
                  <a:lnTo>
                    <a:pt x="6718" y="32"/>
                  </a:lnTo>
                  <a:lnTo>
                    <a:pt x="7023" y="71"/>
                  </a:lnTo>
                  <a:lnTo>
                    <a:pt x="7322" y="124"/>
                  </a:lnTo>
                  <a:lnTo>
                    <a:pt x="7616" y="193"/>
                  </a:lnTo>
                  <a:lnTo>
                    <a:pt x="7906" y="275"/>
                  </a:lnTo>
                  <a:lnTo>
                    <a:pt x="8188" y="370"/>
                  </a:lnTo>
                  <a:lnTo>
                    <a:pt x="8465" y="480"/>
                  </a:lnTo>
                  <a:lnTo>
                    <a:pt x="8735" y="602"/>
                  </a:lnTo>
                  <a:lnTo>
                    <a:pt x="8998" y="737"/>
                  </a:lnTo>
                  <a:lnTo>
                    <a:pt x="9253" y="884"/>
                  </a:lnTo>
                  <a:lnTo>
                    <a:pt x="9500" y="1042"/>
                  </a:lnTo>
                  <a:lnTo>
                    <a:pt x="9739" y="1213"/>
                  </a:lnTo>
                  <a:lnTo>
                    <a:pt x="9970" y="1394"/>
                  </a:lnTo>
                  <a:lnTo>
                    <a:pt x="10191" y="1586"/>
                  </a:lnTo>
                  <a:lnTo>
                    <a:pt x="10403" y="1787"/>
                  </a:lnTo>
                  <a:lnTo>
                    <a:pt x="10605" y="2000"/>
                  </a:lnTo>
                  <a:lnTo>
                    <a:pt x="10797" y="2220"/>
                  </a:lnTo>
                  <a:lnTo>
                    <a:pt x="10978" y="2451"/>
                  </a:lnTo>
                  <a:lnTo>
                    <a:pt x="11149" y="2690"/>
                  </a:lnTo>
                  <a:lnTo>
                    <a:pt x="11307" y="2937"/>
                  </a:lnTo>
                  <a:lnTo>
                    <a:pt x="11455" y="3192"/>
                  </a:lnTo>
                  <a:lnTo>
                    <a:pt x="11589" y="3455"/>
                  </a:lnTo>
                  <a:lnTo>
                    <a:pt x="11712" y="3724"/>
                  </a:lnTo>
                  <a:lnTo>
                    <a:pt x="11821" y="4000"/>
                  </a:lnTo>
                  <a:lnTo>
                    <a:pt x="11917" y="4284"/>
                  </a:lnTo>
                  <a:lnTo>
                    <a:pt x="11999" y="4572"/>
                  </a:lnTo>
                  <a:lnTo>
                    <a:pt x="12068" y="4866"/>
                  </a:lnTo>
                  <a:lnTo>
                    <a:pt x="12121" y="5166"/>
                  </a:lnTo>
                  <a:lnTo>
                    <a:pt x="12160" y="5471"/>
                  </a:lnTo>
                  <a:lnTo>
                    <a:pt x="12184" y="5779"/>
                  </a:lnTo>
                  <a:lnTo>
                    <a:pt x="12192" y="6091"/>
                  </a:lnTo>
                  <a:lnTo>
                    <a:pt x="12184" y="6404"/>
                  </a:lnTo>
                  <a:lnTo>
                    <a:pt x="12160" y="6713"/>
                  </a:lnTo>
                  <a:lnTo>
                    <a:pt x="12121" y="7017"/>
                  </a:lnTo>
                  <a:lnTo>
                    <a:pt x="12068" y="7316"/>
                  </a:lnTo>
                  <a:lnTo>
                    <a:pt x="11999" y="7611"/>
                  </a:lnTo>
                  <a:lnTo>
                    <a:pt x="11917" y="7900"/>
                  </a:lnTo>
                  <a:lnTo>
                    <a:pt x="11821" y="8182"/>
                  </a:lnTo>
                  <a:lnTo>
                    <a:pt x="11712" y="8459"/>
                  </a:lnTo>
                  <a:lnTo>
                    <a:pt x="11589" y="8728"/>
                  </a:lnTo>
                  <a:lnTo>
                    <a:pt x="11455" y="8991"/>
                  </a:lnTo>
                  <a:lnTo>
                    <a:pt x="11307" y="9246"/>
                  </a:lnTo>
                  <a:lnTo>
                    <a:pt x="11149" y="9494"/>
                  </a:lnTo>
                  <a:lnTo>
                    <a:pt x="10978" y="9733"/>
                  </a:lnTo>
                  <a:lnTo>
                    <a:pt x="10797" y="9962"/>
                  </a:lnTo>
                  <a:lnTo>
                    <a:pt x="10605" y="10184"/>
                  </a:lnTo>
                  <a:lnTo>
                    <a:pt x="10403" y="10395"/>
                  </a:lnTo>
                  <a:lnTo>
                    <a:pt x="10191" y="10598"/>
                  </a:lnTo>
                  <a:lnTo>
                    <a:pt x="9970" y="10789"/>
                  </a:lnTo>
                  <a:lnTo>
                    <a:pt x="9739" y="10970"/>
                  </a:lnTo>
                  <a:lnTo>
                    <a:pt x="9500" y="11140"/>
                  </a:lnTo>
                  <a:lnTo>
                    <a:pt x="9253" y="11299"/>
                  </a:lnTo>
                  <a:lnTo>
                    <a:pt x="8998" y="11446"/>
                  </a:lnTo>
                  <a:lnTo>
                    <a:pt x="8735" y="11581"/>
                  </a:lnTo>
                  <a:lnTo>
                    <a:pt x="8465" y="11704"/>
                  </a:lnTo>
                  <a:lnTo>
                    <a:pt x="8188" y="11812"/>
                  </a:lnTo>
                  <a:lnTo>
                    <a:pt x="7906" y="11909"/>
                  </a:lnTo>
                  <a:lnTo>
                    <a:pt x="7616" y="11991"/>
                  </a:lnTo>
                  <a:lnTo>
                    <a:pt x="7322" y="12060"/>
                  </a:lnTo>
                  <a:lnTo>
                    <a:pt x="7023" y="12113"/>
                  </a:lnTo>
                  <a:lnTo>
                    <a:pt x="6718" y="12152"/>
                  </a:lnTo>
                  <a:lnTo>
                    <a:pt x="6409" y="12176"/>
                  </a:lnTo>
                  <a:lnTo>
                    <a:pt x="6097" y="12184"/>
                  </a:lnTo>
                  <a:lnTo>
                    <a:pt x="5783" y="12176"/>
                  </a:lnTo>
                  <a:lnTo>
                    <a:pt x="5474" y="12152"/>
                  </a:lnTo>
                  <a:lnTo>
                    <a:pt x="5169" y="12113"/>
                  </a:lnTo>
                  <a:lnTo>
                    <a:pt x="4870" y="12060"/>
                  </a:lnTo>
                  <a:lnTo>
                    <a:pt x="4576" y="11991"/>
                  </a:lnTo>
                  <a:lnTo>
                    <a:pt x="4286" y="11909"/>
                  </a:lnTo>
                  <a:lnTo>
                    <a:pt x="4004" y="11812"/>
                  </a:lnTo>
                  <a:lnTo>
                    <a:pt x="3727" y="11704"/>
                  </a:lnTo>
                  <a:lnTo>
                    <a:pt x="3457" y="11581"/>
                  </a:lnTo>
                  <a:lnTo>
                    <a:pt x="3194" y="11446"/>
                  </a:lnTo>
                  <a:lnTo>
                    <a:pt x="2939" y="11299"/>
                  </a:lnTo>
                  <a:lnTo>
                    <a:pt x="2692" y="11140"/>
                  </a:lnTo>
                  <a:lnTo>
                    <a:pt x="2453" y="10970"/>
                  </a:lnTo>
                  <a:lnTo>
                    <a:pt x="2222" y="10789"/>
                  </a:lnTo>
                  <a:lnTo>
                    <a:pt x="2001" y="10598"/>
                  </a:lnTo>
                  <a:lnTo>
                    <a:pt x="1789" y="10395"/>
                  </a:lnTo>
                  <a:lnTo>
                    <a:pt x="1587" y="10184"/>
                  </a:lnTo>
                  <a:lnTo>
                    <a:pt x="1395" y="9962"/>
                  </a:lnTo>
                  <a:lnTo>
                    <a:pt x="1214" y="9733"/>
                  </a:lnTo>
                  <a:lnTo>
                    <a:pt x="1043" y="9494"/>
                  </a:lnTo>
                  <a:lnTo>
                    <a:pt x="885" y="9246"/>
                  </a:lnTo>
                  <a:lnTo>
                    <a:pt x="737" y="8991"/>
                  </a:lnTo>
                  <a:lnTo>
                    <a:pt x="603" y="8728"/>
                  </a:lnTo>
                  <a:lnTo>
                    <a:pt x="480" y="8459"/>
                  </a:lnTo>
                  <a:lnTo>
                    <a:pt x="371" y="8182"/>
                  </a:lnTo>
                  <a:lnTo>
                    <a:pt x="275" y="7900"/>
                  </a:lnTo>
                  <a:lnTo>
                    <a:pt x="192" y="7611"/>
                  </a:lnTo>
                  <a:lnTo>
                    <a:pt x="124" y="7316"/>
                  </a:lnTo>
                  <a:lnTo>
                    <a:pt x="71" y="7017"/>
                  </a:lnTo>
                  <a:lnTo>
                    <a:pt x="32" y="6713"/>
                  </a:lnTo>
                  <a:lnTo>
                    <a:pt x="8" y="6404"/>
                  </a:lnTo>
                  <a:lnTo>
                    <a:pt x="0" y="6091"/>
                  </a:lnTo>
                  <a:lnTo>
                    <a:pt x="8" y="5779"/>
                  </a:lnTo>
                  <a:lnTo>
                    <a:pt x="32" y="5471"/>
                  </a:lnTo>
                  <a:lnTo>
                    <a:pt x="71" y="5166"/>
                  </a:lnTo>
                  <a:lnTo>
                    <a:pt x="124" y="4866"/>
                  </a:lnTo>
                  <a:lnTo>
                    <a:pt x="192" y="4572"/>
                  </a:lnTo>
                  <a:lnTo>
                    <a:pt x="275" y="4284"/>
                  </a:lnTo>
                  <a:lnTo>
                    <a:pt x="371" y="4000"/>
                  </a:lnTo>
                  <a:lnTo>
                    <a:pt x="480" y="3724"/>
                  </a:lnTo>
                  <a:lnTo>
                    <a:pt x="603" y="3455"/>
                  </a:lnTo>
                  <a:lnTo>
                    <a:pt x="737" y="3192"/>
                  </a:lnTo>
                  <a:lnTo>
                    <a:pt x="885" y="2937"/>
                  </a:lnTo>
                  <a:lnTo>
                    <a:pt x="1043" y="2690"/>
                  </a:lnTo>
                  <a:lnTo>
                    <a:pt x="1214" y="2451"/>
                  </a:lnTo>
                  <a:lnTo>
                    <a:pt x="1395" y="2220"/>
                  </a:lnTo>
                  <a:lnTo>
                    <a:pt x="1587" y="2000"/>
                  </a:lnTo>
                  <a:lnTo>
                    <a:pt x="1789" y="1787"/>
                  </a:lnTo>
                  <a:lnTo>
                    <a:pt x="2001" y="1586"/>
                  </a:lnTo>
                  <a:lnTo>
                    <a:pt x="2222" y="1394"/>
                  </a:lnTo>
                  <a:lnTo>
                    <a:pt x="2453" y="1213"/>
                  </a:lnTo>
                  <a:lnTo>
                    <a:pt x="2692" y="1042"/>
                  </a:lnTo>
                  <a:lnTo>
                    <a:pt x="2939" y="884"/>
                  </a:lnTo>
                  <a:lnTo>
                    <a:pt x="3194" y="737"/>
                  </a:lnTo>
                  <a:lnTo>
                    <a:pt x="3457" y="602"/>
                  </a:lnTo>
                  <a:lnTo>
                    <a:pt x="3727" y="480"/>
                  </a:lnTo>
                  <a:lnTo>
                    <a:pt x="4004" y="370"/>
                  </a:lnTo>
                  <a:lnTo>
                    <a:pt x="4286" y="275"/>
                  </a:lnTo>
                  <a:lnTo>
                    <a:pt x="4576" y="193"/>
                  </a:lnTo>
                  <a:lnTo>
                    <a:pt x="4870" y="124"/>
                  </a:lnTo>
                  <a:lnTo>
                    <a:pt x="5169" y="71"/>
                  </a:lnTo>
                  <a:lnTo>
                    <a:pt x="5474" y="32"/>
                  </a:lnTo>
                  <a:lnTo>
                    <a:pt x="5783" y="8"/>
                  </a:lnTo>
                  <a:lnTo>
                    <a:pt x="6097" y="0"/>
                  </a:lnTo>
                  <a:close/>
                  <a:moveTo>
                    <a:pt x="5014" y="3439"/>
                  </a:moveTo>
                  <a:lnTo>
                    <a:pt x="5176" y="3443"/>
                  </a:lnTo>
                  <a:lnTo>
                    <a:pt x="5336" y="3456"/>
                  </a:lnTo>
                  <a:lnTo>
                    <a:pt x="5493" y="3475"/>
                  </a:lnTo>
                  <a:lnTo>
                    <a:pt x="5647" y="3503"/>
                  </a:lnTo>
                  <a:lnTo>
                    <a:pt x="5799" y="3538"/>
                  </a:lnTo>
                  <a:lnTo>
                    <a:pt x="5949" y="3581"/>
                  </a:lnTo>
                  <a:lnTo>
                    <a:pt x="6094" y="3630"/>
                  </a:lnTo>
                  <a:lnTo>
                    <a:pt x="6237" y="3686"/>
                  </a:lnTo>
                  <a:lnTo>
                    <a:pt x="6377" y="3750"/>
                  </a:lnTo>
                  <a:lnTo>
                    <a:pt x="6512" y="3819"/>
                  </a:lnTo>
                  <a:lnTo>
                    <a:pt x="6644" y="3895"/>
                  </a:lnTo>
                  <a:lnTo>
                    <a:pt x="6771" y="3977"/>
                  </a:lnTo>
                  <a:lnTo>
                    <a:pt x="6895" y="4065"/>
                  </a:lnTo>
                  <a:lnTo>
                    <a:pt x="7013" y="4158"/>
                  </a:lnTo>
                  <a:lnTo>
                    <a:pt x="7128" y="4257"/>
                  </a:lnTo>
                  <a:lnTo>
                    <a:pt x="7237" y="4362"/>
                  </a:lnTo>
                  <a:lnTo>
                    <a:pt x="7342" y="4470"/>
                  </a:lnTo>
                  <a:lnTo>
                    <a:pt x="7440" y="4585"/>
                  </a:lnTo>
                  <a:lnTo>
                    <a:pt x="7534" y="4704"/>
                  </a:lnTo>
                  <a:lnTo>
                    <a:pt x="7622" y="4827"/>
                  </a:lnTo>
                  <a:lnTo>
                    <a:pt x="7704" y="4955"/>
                  </a:lnTo>
                  <a:lnTo>
                    <a:pt x="7780" y="5086"/>
                  </a:lnTo>
                  <a:lnTo>
                    <a:pt x="7850" y="5222"/>
                  </a:lnTo>
                  <a:lnTo>
                    <a:pt x="7913" y="5361"/>
                  </a:lnTo>
                  <a:lnTo>
                    <a:pt x="7969" y="5503"/>
                  </a:lnTo>
                  <a:lnTo>
                    <a:pt x="8018" y="5650"/>
                  </a:lnTo>
                  <a:lnTo>
                    <a:pt x="8062" y="5799"/>
                  </a:lnTo>
                  <a:lnTo>
                    <a:pt x="8097" y="5951"/>
                  </a:lnTo>
                  <a:lnTo>
                    <a:pt x="8124" y="6105"/>
                  </a:lnTo>
                  <a:lnTo>
                    <a:pt x="8145" y="6263"/>
                  </a:lnTo>
                  <a:lnTo>
                    <a:pt x="8157" y="6422"/>
                  </a:lnTo>
                  <a:lnTo>
                    <a:pt x="8161" y="6583"/>
                  </a:lnTo>
                  <a:lnTo>
                    <a:pt x="8157" y="6744"/>
                  </a:lnTo>
                  <a:lnTo>
                    <a:pt x="8145" y="6904"/>
                  </a:lnTo>
                  <a:lnTo>
                    <a:pt x="8124" y="7061"/>
                  </a:lnTo>
                  <a:lnTo>
                    <a:pt x="8097" y="7215"/>
                  </a:lnTo>
                  <a:lnTo>
                    <a:pt x="8062" y="7367"/>
                  </a:lnTo>
                  <a:lnTo>
                    <a:pt x="8018" y="7516"/>
                  </a:lnTo>
                  <a:lnTo>
                    <a:pt x="7969" y="7662"/>
                  </a:lnTo>
                  <a:lnTo>
                    <a:pt x="7913" y="7805"/>
                  </a:lnTo>
                  <a:lnTo>
                    <a:pt x="7850" y="7944"/>
                  </a:lnTo>
                  <a:lnTo>
                    <a:pt x="7780" y="8080"/>
                  </a:lnTo>
                  <a:lnTo>
                    <a:pt x="7704" y="8211"/>
                  </a:lnTo>
                  <a:lnTo>
                    <a:pt x="7622" y="8338"/>
                  </a:lnTo>
                  <a:lnTo>
                    <a:pt x="7534" y="8462"/>
                  </a:lnTo>
                  <a:lnTo>
                    <a:pt x="7440" y="8580"/>
                  </a:lnTo>
                  <a:lnTo>
                    <a:pt x="7342" y="8695"/>
                  </a:lnTo>
                  <a:lnTo>
                    <a:pt x="7237" y="8804"/>
                  </a:lnTo>
                  <a:lnTo>
                    <a:pt x="7128" y="8909"/>
                  </a:lnTo>
                  <a:lnTo>
                    <a:pt x="7013" y="9007"/>
                  </a:lnTo>
                  <a:lnTo>
                    <a:pt x="6895" y="9101"/>
                  </a:lnTo>
                  <a:lnTo>
                    <a:pt x="6771" y="9189"/>
                  </a:lnTo>
                  <a:lnTo>
                    <a:pt x="6644" y="9271"/>
                  </a:lnTo>
                  <a:lnTo>
                    <a:pt x="6512" y="9347"/>
                  </a:lnTo>
                  <a:lnTo>
                    <a:pt x="6377" y="9417"/>
                  </a:lnTo>
                  <a:lnTo>
                    <a:pt x="6237" y="9479"/>
                  </a:lnTo>
                  <a:lnTo>
                    <a:pt x="6094" y="9536"/>
                  </a:lnTo>
                  <a:lnTo>
                    <a:pt x="5949" y="9585"/>
                  </a:lnTo>
                  <a:lnTo>
                    <a:pt x="5799" y="9628"/>
                  </a:lnTo>
                  <a:lnTo>
                    <a:pt x="5647" y="9663"/>
                  </a:lnTo>
                  <a:lnTo>
                    <a:pt x="5493" y="9691"/>
                  </a:lnTo>
                  <a:lnTo>
                    <a:pt x="5336" y="9711"/>
                  </a:lnTo>
                  <a:lnTo>
                    <a:pt x="5176" y="9722"/>
                  </a:lnTo>
                  <a:lnTo>
                    <a:pt x="5014" y="9726"/>
                  </a:lnTo>
                  <a:lnTo>
                    <a:pt x="4853" y="9722"/>
                  </a:lnTo>
                  <a:lnTo>
                    <a:pt x="4693" y="9711"/>
                  </a:lnTo>
                  <a:lnTo>
                    <a:pt x="4536" y="9691"/>
                  </a:lnTo>
                  <a:lnTo>
                    <a:pt x="4382" y="9663"/>
                  </a:lnTo>
                  <a:lnTo>
                    <a:pt x="4230" y="9628"/>
                  </a:lnTo>
                  <a:lnTo>
                    <a:pt x="4080" y="9585"/>
                  </a:lnTo>
                  <a:lnTo>
                    <a:pt x="3934" y="9536"/>
                  </a:lnTo>
                  <a:lnTo>
                    <a:pt x="3792" y="9479"/>
                  </a:lnTo>
                  <a:lnTo>
                    <a:pt x="3652" y="9417"/>
                  </a:lnTo>
                  <a:lnTo>
                    <a:pt x="3516" y="9347"/>
                  </a:lnTo>
                  <a:lnTo>
                    <a:pt x="3385" y="9271"/>
                  </a:lnTo>
                  <a:lnTo>
                    <a:pt x="3258" y="9189"/>
                  </a:lnTo>
                  <a:lnTo>
                    <a:pt x="3133" y="9101"/>
                  </a:lnTo>
                  <a:lnTo>
                    <a:pt x="3015" y="9007"/>
                  </a:lnTo>
                  <a:lnTo>
                    <a:pt x="2900" y="8909"/>
                  </a:lnTo>
                  <a:lnTo>
                    <a:pt x="2792" y="8804"/>
                  </a:lnTo>
                  <a:lnTo>
                    <a:pt x="2687" y="8695"/>
                  </a:lnTo>
                  <a:lnTo>
                    <a:pt x="2588" y="8580"/>
                  </a:lnTo>
                  <a:lnTo>
                    <a:pt x="2495" y="8462"/>
                  </a:lnTo>
                  <a:lnTo>
                    <a:pt x="2407" y="8338"/>
                  </a:lnTo>
                  <a:lnTo>
                    <a:pt x="2324" y="8211"/>
                  </a:lnTo>
                  <a:lnTo>
                    <a:pt x="2248" y="8080"/>
                  </a:lnTo>
                  <a:lnTo>
                    <a:pt x="2179" y="7944"/>
                  </a:lnTo>
                  <a:lnTo>
                    <a:pt x="2116" y="7805"/>
                  </a:lnTo>
                  <a:lnTo>
                    <a:pt x="2060" y="7662"/>
                  </a:lnTo>
                  <a:lnTo>
                    <a:pt x="2010" y="7516"/>
                  </a:lnTo>
                  <a:lnTo>
                    <a:pt x="1967" y="7367"/>
                  </a:lnTo>
                  <a:lnTo>
                    <a:pt x="1932" y="7215"/>
                  </a:lnTo>
                  <a:lnTo>
                    <a:pt x="1905" y="7061"/>
                  </a:lnTo>
                  <a:lnTo>
                    <a:pt x="1884" y="6904"/>
                  </a:lnTo>
                  <a:lnTo>
                    <a:pt x="1873" y="6744"/>
                  </a:lnTo>
                  <a:lnTo>
                    <a:pt x="1869" y="6583"/>
                  </a:lnTo>
                  <a:lnTo>
                    <a:pt x="1873" y="6422"/>
                  </a:lnTo>
                  <a:lnTo>
                    <a:pt x="1884" y="6263"/>
                  </a:lnTo>
                  <a:lnTo>
                    <a:pt x="1905" y="6105"/>
                  </a:lnTo>
                  <a:lnTo>
                    <a:pt x="1932" y="5951"/>
                  </a:lnTo>
                  <a:lnTo>
                    <a:pt x="1967" y="5799"/>
                  </a:lnTo>
                  <a:lnTo>
                    <a:pt x="2010" y="5650"/>
                  </a:lnTo>
                  <a:lnTo>
                    <a:pt x="2060" y="5503"/>
                  </a:lnTo>
                  <a:lnTo>
                    <a:pt x="2116" y="5361"/>
                  </a:lnTo>
                  <a:lnTo>
                    <a:pt x="2179" y="5222"/>
                  </a:lnTo>
                  <a:lnTo>
                    <a:pt x="2248" y="5086"/>
                  </a:lnTo>
                  <a:lnTo>
                    <a:pt x="2324" y="4955"/>
                  </a:lnTo>
                  <a:lnTo>
                    <a:pt x="2407" y="4827"/>
                  </a:lnTo>
                  <a:lnTo>
                    <a:pt x="2495" y="4704"/>
                  </a:lnTo>
                  <a:lnTo>
                    <a:pt x="2588" y="4585"/>
                  </a:lnTo>
                  <a:lnTo>
                    <a:pt x="2687" y="4470"/>
                  </a:lnTo>
                  <a:lnTo>
                    <a:pt x="2792" y="4362"/>
                  </a:lnTo>
                  <a:lnTo>
                    <a:pt x="2900" y="4257"/>
                  </a:lnTo>
                  <a:lnTo>
                    <a:pt x="3015" y="4158"/>
                  </a:lnTo>
                  <a:lnTo>
                    <a:pt x="3133" y="4065"/>
                  </a:lnTo>
                  <a:lnTo>
                    <a:pt x="3258" y="3977"/>
                  </a:lnTo>
                  <a:lnTo>
                    <a:pt x="3385" y="3895"/>
                  </a:lnTo>
                  <a:lnTo>
                    <a:pt x="3516" y="3819"/>
                  </a:lnTo>
                  <a:lnTo>
                    <a:pt x="3652" y="3750"/>
                  </a:lnTo>
                  <a:lnTo>
                    <a:pt x="3792" y="3686"/>
                  </a:lnTo>
                  <a:lnTo>
                    <a:pt x="3934" y="3630"/>
                  </a:lnTo>
                  <a:lnTo>
                    <a:pt x="4080" y="3581"/>
                  </a:lnTo>
                  <a:lnTo>
                    <a:pt x="4230" y="3538"/>
                  </a:lnTo>
                  <a:lnTo>
                    <a:pt x="4382" y="3503"/>
                  </a:lnTo>
                  <a:lnTo>
                    <a:pt x="4536" y="3475"/>
                  </a:lnTo>
                  <a:lnTo>
                    <a:pt x="4693" y="3456"/>
                  </a:lnTo>
                  <a:lnTo>
                    <a:pt x="4853" y="3443"/>
                  </a:lnTo>
                  <a:lnTo>
                    <a:pt x="5014" y="3439"/>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endParaRPr lang="zh-CN" altLang="en-US" sz="1799">
                <a:solidFill>
                  <a:schemeClr val="bg1"/>
                </a:solidFill>
              </a:endParaRPr>
            </a:p>
          </p:txBody>
        </p:sp>
        <p:sp>
          <p:nvSpPr>
            <p:cNvPr id="319" name="Freeform 18"/>
            <p:cNvSpPr>
              <a:spLocks noEditPoints="1"/>
            </p:cNvSpPr>
            <p:nvPr/>
          </p:nvSpPr>
          <p:spPr bwMode="auto">
            <a:xfrm>
              <a:off x="-6246813" y="4160838"/>
              <a:ext cx="987425" cy="468313"/>
            </a:xfrm>
            <a:custGeom>
              <a:avLst/>
              <a:gdLst/>
              <a:ahLst/>
              <a:cxnLst>
                <a:cxn ang="0">
                  <a:pos x="4376" y="1769"/>
                </a:cxn>
                <a:cxn ang="0">
                  <a:pos x="638" y="2271"/>
                </a:cxn>
                <a:cxn ang="0">
                  <a:pos x="6901" y="2275"/>
                </a:cxn>
                <a:cxn ang="0">
                  <a:pos x="6994" y="2291"/>
                </a:cxn>
                <a:cxn ang="0">
                  <a:pos x="7084" y="2321"/>
                </a:cxn>
                <a:cxn ang="0">
                  <a:pos x="7166" y="2364"/>
                </a:cxn>
                <a:cxn ang="0">
                  <a:pos x="7241" y="2417"/>
                </a:cxn>
                <a:cxn ang="0">
                  <a:pos x="7307" y="2480"/>
                </a:cxn>
                <a:cxn ang="0">
                  <a:pos x="7364" y="2553"/>
                </a:cxn>
                <a:cxn ang="0">
                  <a:pos x="7410" y="2633"/>
                </a:cxn>
                <a:cxn ang="0">
                  <a:pos x="7445" y="2719"/>
                </a:cxn>
                <a:cxn ang="0">
                  <a:pos x="7465" y="2811"/>
                </a:cxn>
                <a:cxn ang="0">
                  <a:pos x="7474" y="2908"/>
                </a:cxn>
                <a:cxn ang="0">
                  <a:pos x="7465" y="3004"/>
                </a:cxn>
                <a:cxn ang="0">
                  <a:pos x="7445" y="3097"/>
                </a:cxn>
                <a:cxn ang="0">
                  <a:pos x="7410" y="3184"/>
                </a:cxn>
                <a:cxn ang="0">
                  <a:pos x="7364" y="3264"/>
                </a:cxn>
                <a:cxn ang="0">
                  <a:pos x="7307" y="3336"/>
                </a:cxn>
                <a:cxn ang="0">
                  <a:pos x="7241" y="3399"/>
                </a:cxn>
                <a:cxn ang="0">
                  <a:pos x="7166" y="3453"/>
                </a:cxn>
                <a:cxn ang="0">
                  <a:pos x="7084" y="3495"/>
                </a:cxn>
                <a:cxn ang="0">
                  <a:pos x="6994" y="3524"/>
                </a:cxn>
                <a:cxn ang="0">
                  <a:pos x="6901" y="3542"/>
                </a:cxn>
                <a:cxn ang="0">
                  <a:pos x="638" y="3545"/>
                </a:cxn>
                <a:cxn ang="0">
                  <a:pos x="541" y="3538"/>
                </a:cxn>
                <a:cxn ang="0">
                  <a:pos x="449" y="3516"/>
                </a:cxn>
                <a:cxn ang="0">
                  <a:pos x="363" y="3482"/>
                </a:cxn>
                <a:cxn ang="0">
                  <a:pos x="283" y="3436"/>
                </a:cxn>
                <a:cxn ang="0">
                  <a:pos x="210" y="3379"/>
                </a:cxn>
                <a:cxn ang="0">
                  <a:pos x="147" y="3313"/>
                </a:cxn>
                <a:cxn ang="0">
                  <a:pos x="94" y="3238"/>
                </a:cxn>
                <a:cxn ang="0">
                  <a:pos x="51" y="3155"/>
                </a:cxn>
                <a:cxn ang="0">
                  <a:pos x="21" y="3067"/>
                </a:cxn>
                <a:cxn ang="0">
                  <a:pos x="4" y="2972"/>
                </a:cxn>
                <a:cxn ang="0">
                  <a:pos x="1" y="2875"/>
                </a:cxn>
                <a:cxn ang="0">
                  <a:pos x="14" y="2780"/>
                </a:cxn>
                <a:cxn ang="0">
                  <a:pos x="39" y="2689"/>
                </a:cxn>
                <a:cxn ang="0">
                  <a:pos x="78" y="2605"/>
                </a:cxn>
                <a:cxn ang="0">
                  <a:pos x="128" y="2527"/>
                </a:cxn>
                <a:cxn ang="0">
                  <a:pos x="188" y="2458"/>
                </a:cxn>
                <a:cxn ang="0">
                  <a:pos x="257" y="2398"/>
                </a:cxn>
                <a:cxn ang="0">
                  <a:pos x="335" y="2349"/>
                </a:cxn>
                <a:cxn ang="0">
                  <a:pos x="419" y="2310"/>
                </a:cxn>
                <a:cxn ang="0">
                  <a:pos x="511" y="2284"/>
                </a:cxn>
                <a:cxn ang="0">
                  <a:pos x="605" y="2272"/>
                </a:cxn>
              </a:cxnLst>
              <a:rect l="0" t="0" r="r" b="b"/>
              <a:pathLst>
                <a:path w="7474" h="3545">
                  <a:moveTo>
                    <a:pt x="3098" y="0"/>
                  </a:moveTo>
                  <a:lnTo>
                    <a:pt x="4376" y="0"/>
                  </a:lnTo>
                  <a:lnTo>
                    <a:pt x="4376" y="1769"/>
                  </a:lnTo>
                  <a:lnTo>
                    <a:pt x="3098" y="1769"/>
                  </a:lnTo>
                  <a:lnTo>
                    <a:pt x="3098" y="0"/>
                  </a:lnTo>
                  <a:close/>
                  <a:moveTo>
                    <a:pt x="638" y="2271"/>
                  </a:moveTo>
                  <a:lnTo>
                    <a:pt x="6836" y="2271"/>
                  </a:lnTo>
                  <a:lnTo>
                    <a:pt x="6869" y="2272"/>
                  </a:lnTo>
                  <a:lnTo>
                    <a:pt x="6901" y="2275"/>
                  </a:lnTo>
                  <a:lnTo>
                    <a:pt x="6933" y="2279"/>
                  </a:lnTo>
                  <a:lnTo>
                    <a:pt x="6963" y="2284"/>
                  </a:lnTo>
                  <a:lnTo>
                    <a:pt x="6994" y="2291"/>
                  </a:lnTo>
                  <a:lnTo>
                    <a:pt x="7025" y="2299"/>
                  </a:lnTo>
                  <a:lnTo>
                    <a:pt x="7055" y="2310"/>
                  </a:lnTo>
                  <a:lnTo>
                    <a:pt x="7084" y="2321"/>
                  </a:lnTo>
                  <a:lnTo>
                    <a:pt x="7111" y="2334"/>
                  </a:lnTo>
                  <a:lnTo>
                    <a:pt x="7139" y="2349"/>
                  </a:lnTo>
                  <a:lnTo>
                    <a:pt x="7166" y="2364"/>
                  </a:lnTo>
                  <a:lnTo>
                    <a:pt x="7191" y="2380"/>
                  </a:lnTo>
                  <a:lnTo>
                    <a:pt x="7217" y="2398"/>
                  </a:lnTo>
                  <a:lnTo>
                    <a:pt x="7241" y="2417"/>
                  </a:lnTo>
                  <a:lnTo>
                    <a:pt x="7264" y="2437"/>
                  </a:lnTo>
                  <a:lnTo>
                    <a:pt x="7286" y="2458"/>
                  </a:lnTo>
                  <a:lnTo>
                    <a:pt x="7307" y="2480"/>
                  </a:lnTo>
                  <a:lnTo>
                    <a:pt x="7327" y="2504"/>
                  </a:lnTo>
                  <a:lnTo>
                    <a:pt x="7346" y="2527"/>
                  </a:lnTo>
                  <a:lnTo>
                    <a:pt x="7364" y="2553"/>
                  </a:lnTo>
                  <a:lnTo>
                    <a:pt x="7380" y="2579"/>
                  </a:lnTo>
                  <a:lnTo>
                    <a:pt x="7396" y="2605"/>
                  </a:lnTo>
                  <a:lnTo>
                    <a:pt x="7410" y="2633"/>
                  </a:lnTo>
                  <a:lnTo>
                    <a:pt x="7423" y="2661"/>
                  </a:lnTo>
                  <a:lnTo>
                    <a:pt x="7435" y="2689"/>
                  </a:lnTo>
                  <a:lnTo>
                    <a:pt x="7445" y="2719"/>
                  </a:lnTo>
                  <a:lnTo>
                    <a:pt x="7453" y="2750"/>
                  </a:lnTo>
                  <a:lnTo>
                    <a:pt x="7460" y="2780"/>
                  </a:lnTo>
                  <a:lnTo>
                    <a:pt x="7465" y="2811"/>
                  </a:lnTo>
                  <a:lnTo>
                    <a:pt x="7470" y="2843"/>
                  </a:lnTo>
                  <a:lnTo>
                    <a:pt x="7473" y="2875"/>
                  </a:lnTo>
                  <a:lnTo>
                    <a:pt x="7474" y="2908"/>
                  </a:lnTo>
                  <a:lnTo>
                    <a:pt x="7473" y="2941"/>
                  </a:lnTo>
                  <a:lnTo>
                    <a:pt x="7470" y="2972"/>
                  </a:lnTo>
                  <a:lnTo>
                    <a:pt x="7465" y="3004"/>
                  </a:lnTo>
                  <a:lnTo>
                    <a:pt x="7460" y="3036"/>
                  </a:lnTo>
                  <a:lnTo>
                    <a:pt x="7453" y="3067"/>
                  </a:lnTo>
                  <a:lnTo>
                    <a:pt x="7445" y="3097"/>
                  </a:lnTo>
                  <a:lnTo>
                    <a:pt x="7435" y="3126"/>
                  </a:lnTo>
                  <a:lnTo>
                    <a:pt x="7423" y="3155"/>
                  </a:lnTo>
                  <a:lnTo>
                    <a:pt x="7410" y="3184"/>
                  </a:lnTo>
                  <a:lnTo>
                    <a:pt x="7396" y="3212"/>
                  </a:lnTo>
                  <a:lnTo>
                    <a:pt x="7380" y="3238"/>
                  </a:lnTo>
                  <a:lnTo>
                    <a:pt x="7364" y="3264"/>
                  </a:lnTo>
                  <a:lnTo>
                    <a:pt x="7346" y="3289"/>
                  </a:lnTo>
                  <a:lnTo>
                    <a:pt x="7327" y="3313"/>
                  </a:lnTo>
                  <a:lnTo>
                    <a:pt x="7307" y="3336"/>
                  </a:lnTo>
                  <a:lnTo>
                    <a:pt x="7286" y="3358"/>
                  </a:lnTo>
                  <a:lnTo>
                    <a:pt x="7264" y="3379"/>
                  </a:lnTo>
                  <a:lnTo>
                    <a:pt x="7241" y="3399"/>
                  </a:lnTo>
                  <a:lnTo>
                    <a:pt x="7217" y="3418"/>
                  </a:lnTo>
                  <a:lnTo>
                    <a:pt x="7191" y="3436"/>
                  </a:lnTo>
                  <a:lnTo>
                    <a:pt x="7166" y="3453"/>
                  </a:lnTo>
                  <a:lnTo>
                    <a:pt x="7139" y="3468"/>
                  </a:lnTo>
                  <a:lnTo>
                    <a:pt x="7111" y="3482"/>
                  </a:lnTo>
                  <a:lnTo>
                    <a:pt x="7084" y="3495"/>
                  </a:lnTo>
                  <a:lnTo>
                    <a:pt x="7055" y="3506"/>
                  </a:lnTo>
                  <a:lnTo>
                    <a:pt x="7025" y="3516"/>
                  </a:lnTo>
                  <a:lnTo>
                    <a:pt x="6994" y="3524"/>
                  </a:lnTo>
                  <a:lnTo>
                    <a:pt x="6963" y="3532"/>
                  </a:lnTo>
                  <a:lnTo>
                    <a:pt x="6933" y="3538"/>
                  </a:lnTo>
                  <a:lnTo>
                    <a:pt x="6901" y="3542"/>
                  </a:lnTo>
                  <a:lnTo>
                    <a:pt x="6869" y="3544"/>
                  </a:lnTo>
                  <a:lnTo>
                    <a:pt x="6836" y="3545"/>
                  </a:lnTo>
                  <a:lnTo>
                    <a:pt x="638" y="3545"/>
                  </a:lnTo>
                  <a:lnTo>
                    <a:pt x="605" y="3544"/>
                  </a:lnTo>
                  <a:lnTo>
                    <a:pt x="573" y="3542"/>
                  </a:lnTo>
                  <a:lnTo>
                    <a:pt x="541" y="3538"/>
                  </a:lnTo>
                  <a:lnTo>
                    <a:pt x="511" y="3532"/>
                  </a:lnTo>
                  <a:lnTo>
                    <a:pt x="480" y="3524"/>
                  </a:lnTo>
                  <a:lnTo>
                    <a:pt x="449" y="3516"/>
                  </a:lnTo>
                  <a:lnTo>
                    <a:pt x="419" y="3506"/>
                  </a:lnTo>
                  <a:lnTo>
                    <a:pt x="390" y="3495"/>
                  </a:lnTo>
                  <a:lnTo>
                    <a:pt x="363" y="3482"/>
                  </a:lnTo>
                  <a:lnTo>
                    <a:pt x="335" y="3468"/>
                  </a:lnTo>
                  <a:lnTo>
                    <a:pt x="308" y="3453"/>
                  </a:lnTo>
                  <a:lnTo>
                    <a:pt x="283" y="3436"/>
                  </a:lnTo>
                  <a:lnTo>
                    <a:pt x="257" y="3418"/>
                  </a:lnTo>
                  <a:lnTo>
                    <a:pt x="233" y="3399"/>
                  </a:lnTo>
                  <a:lnTo>
                    <a:pt x="210" y="3379"/>
                  </a:lnTo>
                  <a:lnTo>
                    <a:pt x="188" y="3358"/>
                  </a:lnTo>
                  <a:lnTo>
                    <a:pt x="167" y="3336"/>
                  </a:lnTo>
                  <a:lnTo>
                    <a:pt x="147" y="3313"/>
                  </a:lnTo>
                  <a:lnTo>
                    <a:pt x="128" y="3289"/>
                  </a:lnTo>
                  <a:lnTo>
                    <a:pt x="110" y="3264"/>
                  </a:lnTo>
                  <a:lnTo>
                    <a:pt x="94" y="3238"/>
                  </a:lnTo>
                  <a:lnTo>
                    <a:pt x="78" y="3212"/>
                  </a:lnTo>
                  <a:lnTo>
                    <a:pt x="64" y="3184"/>
                  </a:lnTo>
                  <a:lnTo>
                    <a:pt x="51" y="3155"/>
                  </a:lnTo>
                  <a:lnTo>
                    <a:pt x="39" y="3126"/>
                  </a:lnTo>
                  <a:lnTo>
                    <a:pt x="29" y="3097"/>
                  </a:lnTo>
                  <a:lnTo>
                    <a:pt x="21" y="3067"/>
                  </a:lnTo>
                  <a:lnTo>
                    <a:pt x="14" y="3036"/>
                  </a:lnTo>
                  <a:lnTo>
                    <a:pt x="9" y="3004"/>
                  </a:lnTo>
                  <a:lnTo>
                    <a:pt x="4" y="2972"/>
                  </a:lnTo>
                  <a:lnTo>
                    <a:pt x="1" y="2941"/>
                  </a:lnTo>
                  <a:lnTo>
                    <a:pt x="0" y="2908"/>
                  </a:lnTo>
                  <a:lnTo>
                    <a:pt x="1" y="2875"/>
                  </a:lnTo>
                  <a:lnTo>
                    <a:pt x="4" y="2843"/>
                  </a:lnTo>
                  <a:lnTo>
                    <a:pt x="9" y="2811"/>
                  </a:lnTo>
                  <a:lnTo>
                    <a:pt x="14" y="2780"/>
                  </a:lnTo>
                  <a:lnTo>
                    <a:pt x="21" y="2750"/>
                  </a:lnTo>
                  <a:lnTo>
                    <a:pt x="29" y="2719"/>
                  </a:lnTo>
                  <a:lnTo>
                    <a:pt x="39" y="2689"/>
                  </a:lnTo>
                  <a:lnTo>
                    <a:pt x="51" y="2661"/>
                  </a:lnTo>
                  <a:lnTo>
                    <a:pt x="64" y="2633"/>
                  </a:lnTo>
                  <a:lnTo>
                    <a:pt x="78" y="2605"/>
                  </a:lnTo>
                  <a:lnTo>
                    <a:pt x="94" y="2579"/>
                  </a:lnTo>
                  <a:lnTo>
                    <a:pt x="110" y="2553"/>
                  </a:lnTo>
                  <a:lnTo>
                    <a:pt x="128" y="2527"/>
                  </a:lnTo>
                  <a:lnTo>
                    <a:pt x="147" y="2504"/>
                  </a:lnTo>
                  <a:lnTo>
                    <a:pt x="167" y="2480"/>
                  </a:lnTo>
                  <a:lnTo>
                    <a:pt x="188" y="2458"/>
                  </a:lnTo>
                  <a:lnTo>
                    <a:pt x="210" y="2437"/>
                  </a:lnTo>
                  <a:lnTo>
                    <a:pt x="233" y="2417"/>
                  </a:lnTo>
                  <a:lnTo>
                    <a:pt x="257" y="2398"/>
                  </a:lnTo>
                  <a:lnTo>
                    <a:pt x="283" y="2380"/>
                  </a:lnTo>
                  <a:lnTo>
                    <a:pt x="308" y="2364"/>
                  </a:lnTo>
                  <a:lnTo>
                    <a:pt x="335" y="2349"/>
                  </a:lnTo>
                  <a:lnTo>
                    <a:pt x="363" y="2334"/>
                  </a:lnTo>
                  <a:lnTo>
                    <a:pt x="390" y="2321"/>
                  </a:lnTo>
                  <a:lnTo>
                    <a:pt x="419" y="2310"/>
                  </a:lnTo>
                  <a:lnTo>
                    <a:pt x="449" y="2299"/>
                  </a:lnTo>
                  <a:lnTo>
                    <a:pt x="480" y="2291"/>
                  </a:lnTo>
                  <a:lnTo>
                    <a:pt x="511" y="2284"/>
                  </a:lnTo>
                  <a:lnTo>
                    <a:pt x="541" y="2279"/>
                  </a:lnTo>
                  <a:lnTo>
                    <a:pt x="573" y="2275"/>
                  </a:lnTo>
                  <a:lnTo>
                    <a:pt x="605" y="2272"/>
                  </a:lnTo>
                  <a:lnTo>
                    <a:pt x="638" y="2271"/>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endParaRPr lang="zh-CN" altLang="en-US" sz="1799">
                <a:solidFill>
                  <a:schemeClr val="bg1"/>
                </a:solidFill>
              </a:endParaRPr>
            </a:p>
          </p:txBody>
        </p:sp>
      </p:grpSp>
      <p:grpSp>
        <p:nvGrpSpPr>
          <p:cNvPr id="320" name="组合 333"/>
          <p:cNvGrpSpPr>
            <a:grpSpLocks noChangeAspect="1"/>
          </p:cNvGrpSpPr>
          <p:nvPr/>
        </p:nvGrpSpPr>
        <p:grpSpPr>
          <a:xfrm rot="10800000">
            <a:off x="5545048" y="4923707"/>
            <a:ext cx="193815" cy="260956"/>
            <a:chOff x="-6559550" y="2457450"/>
            <a:chExt cx="1612900" cy="2171701"/>
          </a:xfrm>
          <a:solidFill>
            <a:schemeClr val="tx1"/>
          </a:solidFill>
        </p:grpSpPr>
        <p:sp>
          <p:nvSpPr>
            <p:cNvPr id="321" name="Freeform 17"/>
            <p:cNvSpPr>
              <a:spLocks noEditPoints="1"/>
            </p:cNvSpPr>
            <p:nvPr/>
          </p:nvSpPr>
          <p:spPr bwMode="auto">
            <a:xfrm>
              <a:off x="-6559550" y="2457450"/>
              <a:ext cx="1612900" cy="1611313"/>
            </a:xfrm>
            <a:custGeom>
              <a:avLst/>
              <a:gdLst/>
              <a:ahLst/>
              <a:cxnLst>
                <a:cxn ang="0">
                  <a:pos x="5423" y="5270"/>
                </a:cxn>
                <a:cxn ang="0">
                  <a:pos x="5837" y="5481"/>
                </a:cxn>
                <a:cxn ang="0">
                  <a:pos x="6155" y="5814"/>
                </a:cxn>
                <a:cxn ang="0">
                  <a:pos x="6347" y="6240"/>
                </a:cxn>
                <a:cxn ang="0">
                  <a:pos x="6384" y="6723"/>
                </a:cxn>
                <a:cxn ang="0">
                  <a:pos x="6255" y="7178"/>
                </a:cxn>
                <a:cxn ang="0">
                  <a:pos x="5987" y="7554"/>
                </a:cxn>
                <a:cxn ang="0">
                  <a:pos x="5610" y="7822"/>
                </a:cxn>
                <a:cxn ang="0">
                  <a:pos x="5155" y="7952"/>
                </a:cxn>
                <a:cxn ang="0">
                  <a:pos x="4671" y="7915"/>
                </a:cxn>
                <a:cxn ang="0">
                  <a:pos x="4245" y="7723"/>
                </a:cxn>
                <a:cxn ang="0">
                  <a:pos x="3912" y="7405"/>
                </a:cxn>
                <a:cxn ang="0">
                  <a:pos x="3700" y="6991"/>
                </a:cxn>
                <a:cxn ang="0">
                  <a:pos x="3640" y="6512"/>
                </a:cxn>
                <a:cxn ang="0">
                  <a:pos x="3746" y="6048"/>
                </a:cxn>
                <a:cxn ang="0">
                  <a:pos x="3996" y="5658"/>
                </a:cxn>
                <a:cxn ang="0">
                  <a:pos x="4359" y="5374"/>
                </a:cxn>
                <a:cxn ang="0">
                  <a:pos x="4805" y="5223"/>
                </a:cxn>
                <a:cxn ang="0">
                  <a:pos x="7023" y="71"/>
                </a:cxn>
                <a:cxn ang="0">
                  <a:pos x="8998" y="737"/>
                </a:cxn>
                <a:cxn ang="0">
                  <a:pos x="10605" y="2000"/>
                </a:cxn>
                <a:cxn ang="0">
                  <a:pos x="11712" y="3724"/>
                </a:cxn>
                <a:cxn ang="0">
                  <a:pos x="12184" y="5779"/>
                </a:cxn>
                <a:cxn ang="0">
                  <a:pos x="11917" y="7900"/>
                </a:cxn>
                <a:cxn ang="0">
                  <a:pos x="10978" y="9733"/>
                </a:cxn>
                <a:cxn ang="0">
                  <a:pos x="9500" y="11140"/>
                </a:cxn>
                <a:cxn ang="0">
                  <a:pos x="7616" y="11991"/>
                </a:cxn>
                <a:cxn ang="0">
                  <a:pos x="5474" y="12152"/>
                </a:cxn>
                <a:cxn ang="0">
                  <a:pos x="3457" y="11581"/>
                </a:cxn>
                <a:cxn ang="0">
                  <a:pos x="1789" y="10395"/>
                </a:cxn>
                <a:cxn ang="0">
                  <a:pos x="603" y="8728"/>
                </a:cxn>
                <a:cxn ang="0">
                  <a:pos x="32" y="6713"/>
                </a:cxn>
                <a:cxn ang="0">
                  <a:pos x="192" y="4572"/>
                </a:cxn>
                <a:cxn ang="0">
                  <a:pos x="1043" y="2690"/>
                </a:cxn>
                <a:cxn ang="0">
                  <a:pos x="2453" y="1213"/>
                </a:cxn>
                <a:cxn ang="0">
                  <a:pos x="4286" y="275"/>
                </a:cxn>
                <a:cxn ang="0">
                  <a:pos x="5014" y="3439"/>
                </a:cxn>
                <a:cxn ang="0">
                  <a:pos x="6094" y="3630"/>
                </a:cxn>
                <a:cxn ang="0">
                  <a:pos x="7013" y="4158"/>
                </a:cxn>
                <a:cxn ang="0">
                  <a:pos x="7704" y="4955"/>
                </a:cxn>
                <a:cxn ang="0">
                  <a:pos x="8097" y="5951"/>
                </a:cxn>
                <a:cxn ang="0">
                  <a:pos x="8124" y="7061"/>
                </a:cxn>
                <a:cxn ang="0">
                  <a:pos x="7780" y="8080"/>
                </a:cxn>
                <a:cxn ang="0">
                  <a:pos x="7128" y="8909"/>
                </a:cxn>
                <a:cxn ang="0">
                  <a:pos x="6237" y="9479"/>
                </a:cxn>
                <a:cxn ang="0">
                  <a:pos x="5176" y="9722"/>
                </a:cxn>
                <a:cxn ang="0">
                  <a:pos x="4080" y="9585"/>
                </a:cxn>
                <a:cxn ang="0">
                  <a:pos x="3133" y="9101"/>
                </a:cxn>
                <a:cxn ang="0">
                  <a:pos x="2407" y="8338"/>
                </a:cxn>
                <a:cxn ang="0">
                  <a:pos x="1967" y="7367"/>
                </a:cxn>
                <a:cxn ang="0">
                  <a:pos x="1884" y="6263"/>
                </a:cxn>
                <a:cxn ang="0">
                  <a:pos x="2179" y="5222"/>
                </a:cxn>
                <a:cxn ang="0">
                  <a:pos x="2792" y="4362"/>
                </a:cxn>
                <a:cxn ang="0">
                  <a:pos x="3652" y="3750"/>
                </a:cxn>
                <a:cxn ang="0">
                  <a:pos x="4693" y="3456"/>
                </a:cxn>
              </a:cxnLst>
              <a:rect l="0" t="0" r="r" b="b"/>
              <a:pathLst>
                <a:path w="12192" h="12184">
                  <a:moveTo>
                    <a:pt x="5014" y="5207"/>
                  </a:moveTo>
                  <a:lnTo>
                    <a:pt x="5085" y="5209"/>
                  </a:lnTo>
                  <a:lnTo>
                    <a:pt x="5155" y="5214"/>
                  </a:lnTo>
                  <a:lnTo>
                    <a:pt x="5224" y="5223"/>
                  </a:lnTo>
                  <a:lnTo>
                    <a:pt x="5292" y="5236"/>
                  </a:lnTo>
                  <a:lnTo>
                    <a:pt x="5357" y="5251"/>
                  </a:lnTo>
                  <a:lnTo>
                    <a:pt x="5423" y="5270"/>
                  </a:lnTo>
                  <a:lnTo>
                    <a:pt x="5487" y="5291"/>
                  </a:lnTo>
                  <a:lnTo>
                    <a:pt x="5549" y="5316"/>
                  </a:lnTo>
                  <a:lnTo>
                    <a:pt x="5610" y="5343"/>
                  </a:lnTo>
                  <a:lnTo>
                    <a:pt x="5669" y="5374"/>
                  </a:lnTo>
                  <a:lnTo>
                    <a:pt x="5727" y="5407"/>
                  </a:lnTo>
                  <a:lnTo>
                    <a:pt x="5783" y="5443"/>
                  </a:lnTo>
                  <a:lnTo>
                    <a:pt x="5837" y="5481"/>
                  </a:lnTo>
                  <a:lnTo>
                    <a:pt x="5889" y="5522"/>
                  </a:lnTo>
                  <a:lnTo>
                    <a:pt x="5939" y="5565"/>
                  </a:lnTo>
                  <a:lnTo>
                    <a:pt x="5987" y="5611"/>
                  </a:lnTo>
                  <a:lnTo>
                    <a:pt x="6033" y="5658"/>
                  </a:lnTo>
                  <a:lnTo>
                    <a:pt x="6076" y="5709"/>
                  </a:lnTo>
                  <a:lnTo>
                    <a:pt x="6117" y="5761"/>
                  </a:lnTo>
                  <a:lnTo>
                    <a:pt x="6155" y="5814"/>
                  </a:lnTo>
                  <a:lnTo>
                    <a:pt x="6191" y="5871"/>
                  </a:lnTo>
                  <a:lnTo>
                    <a:pt x="6225" y="5928"/>
                  </a:lnTo>
                  <a:lnTo>
                    <a:pt x="6255" y="5988"/>
                  </a:lnTo>
                  <a:lnTo>
                    <a:pt x="6282" y="6048"/>
                  </a:lnTo>
                  <a:lnTo>
                    <a:pt x="6307" y="6111"/>
                  </a:lnTo>
                  <a:lnTo>
                    <a:pt x="6329" y="6174"/>
                  </a:lnTo>
                  <a:lnTo>
                    <a:pt x="6347" y="6240"/>
                  </a:lnTo>
                  <a:lnTo>
                    <a:pt x="6362" y="6306"/>
                  </a:lnTo>
                  <a:lnTo>
                    <a:pt x="6375" y="6374"/>
                  </a:lnTo>
                  <a:lnTo>
                    <a:pt x="6384" y="6442"/>
                  </a:lnTo>
                  <a:lnTo>
                    <a:pt x="6389" y="6512"/>
                  </a:lnTo>
                  <a:lnTo>
                    <a:pt x="6391" y="6583"/>
                  </a:lnTo>
                  <a:lnTo>
                    <a:pt x="6389" y="6654"/>
                  </a:lnTo>
                  <a:lnTo>
                    <a:pt x="6384" y="6723"/>
                  </a:lnTo>
                  <a:lnTo>
                    <a:pt x="6375" y="6792"/>
                  </a:lnTo>
                  <a:lnTo>
                    <a:pt x="6362" y="6860"/>
                  </a:lnTo>
                  <a:lnTo>
                    <a:pt x="6347" y="6926"/>
                  </a:lnTo>
                  <a:lnTo>
                    <a:pt x="6329" y="6991"/>
                  </a:lnTo>
                  <a:lnTo>
                    <a:pt x="6307" y="7055"/>
                  </a:lnTo>
                  <a:lnTo>
                    <a:pt x="6282" y="7117"/>
                  </a:lnTo>
                  <a:lnTo>
                    <a:pt x="6255" y="7178"/>
                  </a:lnTo>
                  <a:lnTo>
                    <a:pt x="6225" y="7237"/>
                  </a:lnTo>
                  <a:lnTo>
                    <a:pt x="6191" y="7295"/>
                  </a:lnTo>
                  <a:lnTo>
                    <a:pt x="6155" y="7351"/>
                  </a:lnTo>
                  <a:lnTo>
                    <a:pt x="6117" y="7405"/>
                  </a:lnTo>
                  <a:lnTo>
                    <a:pt x="6076" y="7457"/>
                  </a:lnTo>
                  <a:lnTo>
                    <a:pt x="6033" y="7507"/>
                  </a:lnTo>
                  <a:lnTo>
                    <a:pt x="5987" y="7554"/>
                  </a:lnTo>
                  <a:lnTo>
                    <a:pt x="5939" y="7601"/>
                  </a:lnTo>
                  <a:lnTo>
                    <a:pt x="5889" y="7644"/>
                  </a:lnTo>
                  <a:lnTo>
                    <a:pt x="5837" y="7685"/>
                  </a:lnTo>
                  <a:lnTo>
                    <a:pt x="5783" y="7723"/>
                  </a:lnTo>
                  <a:lnTo>
                    <a:pt x="5727" y="7759"/>
                  </a:lnTo>
                  <a:lnTo>
                    <a:pt x="5669" y="7792"/>
                  </a:lnTo>
                  <a:lnTo>
                    <a:pt x="5610" y="7822"/>
                  </a:lnTo>
                  <a:lnTo>
                    <a:pt x="5549" y="7850"/>
                  </a:lnTo>
                  <a:lnTo>
                    <a:pt x="5487" y="7875"/>
                  </a:lnTo>
                  <a:lnTo>
                    <a:pt x="5423" y="7896"/>
                  </a:lnTo>
                  <a:lnTo>
                    <a:pt x="5357" y="7915"/>
                  </a:lnTo>
                  <a:lnTo>
                    <a:pt x="5292" y="7930"/>
                  </a:lnTo>
                  <a:lnTo>
                    <a:pt x="5224" y="7942"/>
                  </a:lnTo>
                  <a:lnTo>
                    <a:pt x="5155" y="7952"/>
                  </a:lnTo>
                  <a:lnTo>
                    <a:pt x="5085" y="7957"/>
                  </a:lnTo>
                  <a:lnTo>
                    <a:pt x="5014" y="7959"/>
                  </a:lnTo>
                  <a:lnTo>
                    <a:pt x="4944" y="7957"/>
                  </a:lnTo>
                  <a:lnTo>
                    <a:pt x="4874" y="7952"/>
                  </a:lnTo>
                  <a:lnTo>
                    <a:pt x="4805" y="7942"/>
                  </a:lnTo>
                  <a:lnTo>
                    <a:pt x="4737" y="7930"/>
                  </a:lnTo>
                  <a:lnTo>
                    <a:pt x="4671" y="7915"/>
                  </a:lnTo>
                  <a:lnTo>
                    <a:pt x="4606" y="7896"/>
                  </a:lnTo>
                  <a:lnTo>
                    <a:pt x="4542" y="7875"/>
                  </a:lnTo>
                  <a:lnTo>
                    <a:pt x="4479" y="7850"/>
                  </a:lnTo>
                  <a:lnTo>
                    <a:pt x="4419" y="7822"/>
                  </a:lnTo>
                  <a:lnTo>
                    <a:pt x="4359" y="7792"/>
                  </a:lnTo>
                  <a:lnTo>
                    <a:pt x="4302" y="7759"/>
                  </a:lnTo>
                  <a:lnTo>
                    <a:pt x="4245" y="7723"/>
                  </a:lnTo>
                  <a:lnTo>
                    <a:pt x="4192" y="7685"/>
                  </a:lnTo>
                  <a:lnTo>
                    <a:pt x="4140" y="7644"/>
                  </a:lnTo>
                  <a:lnTo>
                    <a:pt x="4089" y="7601"/>
                  </a:lnTo>
                  <a:lnTo>
                    <a:pt x="4042" y="7554"/>
                  </a:lnTo>
                  <a:lnTo>
                    <a:pt x="3996" y="7507"/>
                  </a:lnTo>
                  <a:lnTo>
                    <a:pt x="3953" y="7457"/>
                  </a:lnTo>
                  <a:lnTo>
                    <a:pt x="3912" y="7405"/>
                  </a:lnTo>
                  <a:lnTo>
                    <a:pt x="3874" y="7351"/>
                  </a:lnTo>
                  <a:lnTo>
                    <a:pt x="3838" y="7295"/>
                  </a:lnTo>
                  <a:lnTo>
                    <a:pt x="3805" y="7237"/>
                  </a:lnTo>
                  <a:lnTo>
                    <a:pt x="3774" y="7178"/>
                  </a:lnTo>
                  <a:lnTo>
                    <a:pt x="3746" y="7117"/>
                  </a:lnTo>
                  <a:lnTo>
                    <a:pt x="3722" y="7055"/>
                  </a:lnTo>
                  <a:lnTo>
                    <a:pt x="3700" y="6991"/>
                  </a:lnTo>
                  <a:lnTo>
                    <a:pt x="3682" y="6926"/>
                  </a:lnTo>
                  <a:lnTo>
                    <a:pt x="3666" y="6860"/>
                  </a:lnTo>
                  <a:lnTo>
                    <a:pt x="3654" y="6792"/>
                  </a:lnTo>
                  <a:lnTo>
                    <a:pt x="3645" y="6723"/>
                  </a:lnTo>
                  <a:lnTo>
                    <a:pt x="3640" y="6654"/>
                  </a:lnTo>
                  <a:lnTo>
                    <a:pt x="3638" y="6583"/>
                  </a:lnTo>
                  <a:lnTo>
                    <a:pt x="3640" y="6512"/>
                  </a:lnTo>
                  <a:lnTo>
                    <a:pt x="3645" y="6442"/>
                  </a:lnTo>
                  <a:lnTo>
                    <a:pt x="3654" y="6374"/>
                  </a:lnTo>
                  <a:lnTo>
                    <a:pt x="3666" y="6306"/>
                  </a:lnTo>
                  <a:lnTo>
                    <a:pt x="3682" y="6240"/>
                  </a:lnTo>
                  <a:lnTo>
                    <a:pt x="3700" y="6174"/>
                  </a:lnTo>
                  <a:lnTo>
                    <a:pt x="3722" y="6111"/>
                  </a:lnTo>
                  <a:lnTo>
                    <a:pt x="3746" y="6048"/>
                  </a:lnTo>
                  <a:lnTo>
                    <a:pt x="3774" y="5988"/>
                  </a:lnTo>
                  <a:lnTo>
                    <a:pt x="3805" y="5928"/>
                  </a:lnTo>
                  <a:lnTo>
                    <a:pt x="3838" y="5871"/>
                  </a:lnTo>
                  <a:lnTo>
                    <a:pt x="3874" y="5814"/>
                  </a:lnTo>
                  <a:lnTo>
                    <a:pt x="3912" y="5761"/>
                  </a:lnTo>
                  <a:lnTo>
                    <a:pt x="3953" y="5709"/>
                  </a:lnTo>
                  <a:lnTo>
                    <a:pt x="3996" y="5658"/>
                  </a:lnTo>
                  <a:lnTo>
                    <a:pt x="4042" y="5611"/>
                  </a:lnTo>
                  <a:lnTo>
                    <a:pt x="4089" y="5565"/>
                  </a:lnTo>
                  <a:lnTo>
                    <a:pt x="4140" y="5522"/>
                  </a:lnTo>
                  <a:lnTo>
                    <a:pt x="4192" y="5481"/>
                  </a:lnTo>
                  <a:lnTo>
                    <a:pt x="4245" y="5443"/>
                  </a:lnTo>
                  <a:lnTo>
                    <a:pt x="4302" y="5407"/>
                  </a:lnTo>
                  <a:lnTo>
                    <a:pt x="4359" y="5374"/>
                  </a:lnTo>
                  <a:lnTo>
                    <a:pt x="4419" y="5343"/>
                  </a:lnTo>
                  <a:lnTo>
                    <a:pt x="4479" y="5316"/>
                  </a:lnTo>
                  <a:lnTo>
                    <a:pt x="4542" y="5291"/>
                  </a:lnTo>
                  <a:lnTo>
                    <a:pt x="4606" y="5270"/>
                  </a:lnTo>
                  <a:lnTo>
                    <a:pt x="4671" y="5251"/>
                  </a:lnTo>
                  <a:lnTo>
                    <a:pt x="4737" y="5236"/>
                  </a:lnTo>
                  <a:lnTo>
                    <a:pt x="4805" y="5223"/>
                  </a:lnTo>
                  <a:lnTo>
                    <a:pt x="4874" y="5214"/>
                  </a:lnTo>
                  <a:lnTo>
                    <a:pt x="4944" y="5209"/>
                  </a:lnTo>
                  <a:lnTo>
                    <a:pt x="5014" y="5207"/>
                  </a:lnTo>
                  <a:close/>
                  <a:moveTo>
                    <a:pt x="6097" y="0"/>
                  </a:moveTo>
                  <a:lnTo>
                    <a:pt x="6409" y="8"/>
                  </a:lnTo>
                  <a:lnTo>
                    <a:pt x="6718" y="32"/>
                  </a:lnTo>
                  <a:lnTo>
                    <a:pt x="7023" y="71"/>
                  </a:lnTo>
                  <a:lnTo>
                    <a:pt x="7322" y="124"/>
                  </a:lnTo>
                  <a:lnTo>
                    <a:pt x="7616" y="193"/>
                  </a:lnTo>
                  <a:lnTo>
                    <a:pt x="7906" y="275"/>
                  </a:lnTo>
                  <a:lnTo>
                    <a:pt x="8188" y="370"/>
                  </a:lnTo>
                  <a:lnTo>
                    <a:pt x="8465" y="480"/>
                  </a:lnTo>
                  <a:lnTo>
                    <a:pt x="8735" y="602"/>
                  </a:lnTo>
                  <a:lnTo>
                    <a:pt x="8998" y="737"/>
                  </a:lnTo>
                  <a:lnTo>
                    <a:pt x="9253" y="884"/>
                  </a:lnTo>
                  <a:lnTo>
                    <a:pt x="9500" y="1042"/>
                  </a:lnTo>
                  <a:lnTo>
                    <a:pt x="9739" y="1213"/>
                  </a:lnTo>
                  <a:lnTo>
                    <a:pt x="9970" y="1394"/>
                  </a:lnTo>
                  <a:lnTo>
                    <a:pt x="10191" y="1586"/>
                  </a:lnTo>
                  <a:lnTo>
                    <a:pt x="10403" y="1787"/>
                  </a:lnTo>
                  <a:lnTo>
                    <a:pt x="10605" y="2000"/>
                  </a:lnTo>
                  <a:lnTo>
                    <a:pt x="10797" y="2220"/>
                  </a:lnTo>
                  <a:lnTo>
                    <a:pt x="10978" y="2451"/>
                  </a:lnTo>
                  <a:lnTo>
                    <a:pt x="11149" y="2690"/>
                  </a:lnTo>
                  <a:lnTo>
                    <a:pt x="11307" y="2937"/>
                  </a:lnTo>
                  <a:lnTo>
                    <a:pt x="11455" y="3192"/>
                  </a:lnTo>
                  <a:lnTo>
                    <a:pt x="11589" y="3455"/>
                  </a:lnTo>
                  <a:lnTo>
                    <a:pt x="11712" y="3724"/>
                  </a:lnTo>
                  <a:lnTo>
                    <a:pt x="11821" y="4000"/>
                  </a:lnTo>
                  <a:lnTo>
                    <a:pt x="11917" y="4284"/>
                  </a:lnTo>
                  <a:lnTo>
                    <a:pt x="11999" y="4572"/>
                  </a:lnTo>
                  <a:lnTo>
                    <a:pt x="12068" y="4866"/>
                  </a:lnTo>
                  <a:lnTo>
                    <a:pt x="12121" y="5166"/>
                  </a:lnTo>
                  <a:lnTo>
                    <a:pt x="12160" y="5471"/>
                  </a:lnTo>
                  <a:lnTo>
                    <a:pt x="12184" y="5779"/>
                  </a:lnTo>
                  <a:lnTo>
                    <a:pt x="12192" y="6091"/>
                  </a:lnTo>
                  <a:lnTo>
                    <a:pt x="12184" y="6404"/>
                  </a:lnTo>
                  <a:lnTo>
                    <a:pt x="12160" y="6713"/>
                  </a:lnTo>
                  <a:lnTo>
                    <a:pt x="12121" y="7017"/>
                  </a:lnTo>
                  <a:lnTo>
                    <a:pt x="12068" y="7316"/>
                  </a:lnTo>
                  <a:lnTo>
                    <a:pt x="11999" y="7611"/>
                  </a:lnTo>
                  <a:lnTo>
                    <a:pt x="11917" y="7900"/>
                  </a:lnTo>
                  <a:lnTo>
                    <a:pt x="11821" y="8182"/>
                  </a:lnTo>
                  <a:lnTo>
                    <a:pt x="11712" y="8459"/>
                  </a:lnTo>
                  <a:lnTo>
                    <a:pt x="11589" y="8728"/>
                  </a:lnTo>
                  <a:lnTo>
                    <a:pt x="11455" y="8991"/>
                  </a:lnTo>
                  <a:lnTo>
                    <a:pt x="11307" y="9246"/>
                  </a:lnTo>
                  <a:lnTo>
                    <a:pt x="11149" y="9494"/>
                  </a:lnTo>
                  <a:lnTo>
                    <a:pt x="10978" y="9733"/>
                  </a:lnTo>
                  <a:lnTo>
                    <a:pt x="10797" y="9962"/>
                  </a:lnTo>
                  <a:lnTo>
                    <a:pt x="10605" y="10184"/>
                  </a:lnTo>
                  <a:lnTo>
                    <a:pt x="10403" y="10395"/>
                  </a:lnTo>
                  <a:lnTo>
                    <a:pt x="10191" y="10598"/>
                  </a:lnTo>
                  <a:lnTo>
                    <a:pt x="9970" y="10789"/>
                  </a:lnTo>
                  <a:lnTo>
                    <a:pt x="9739" y="10970"/>
                  </a:lnTo>
                  <a:lnTo>
                    <a:pt x="9500" y="11140"/>
                  </a:lnTo>
                  <a:lnTo>
                    <a:pt x="9253" y="11299"/>
                  </a:lnTo>
                  <a:lnTo>
                    <a:pt x="8998" y="11446"/>
                  </a:lnTo>
                  <a:lnTo>
                    <a:pt x="8735" y="11581"/>
                  </a:lnTo>
                  <a:lnTo>
                    <a:pt x="8465" y="11704"/>
                  </a:lnTo>
                  <a:lnTo>
                    <a:pt x="8188" y="11812"/>
                  </a:lnTo>
                  <a:lnTo>
                    <a:pt x="7906" y="11909"/>
                  </a:lnTo>
                  <a:lnTo>
                    <a:pt x="7616" y="11991"/>
                  </a:lnTo>
                  <a:lnTo>
                    <a:pt x="7322" y="12060"/>
                  </a:lnTo>
                  <a:lnTo>
                    <a:pt x="7023" y="12113"/>
                  </a:lnTo>
                  <a:lnTo>
                    <a:pt x="6718" y="12152"/>
                  </a:lnTo>
                  <a:lnTo>
                    <a:pt x="6409" y="12176"/>
                  </a:lnTo>
                  <a:lnTo>
                    <a:pt x="6097" y="12184"/>
                  </a:lnTo>
                  <a:lnTo>
                    <a:pt x="5783" y="12176"/>
                  </a:lnTo>
                  <a:lnTo>
                    <a:pt x="5474" y="12152"/>
                  </a:lnTo>
                  <a:lnTo>
                    <a:pt x="5169" y="12113"/>
                  </a:lnTo>
                  <a:lnTo>
                    <a:pt x="4870" y="12060"/>
                  </a:lnTo>
                  <a:lnTo>
                    <a:pt x="4576" y="11991"/>
                  </a:lnTo>
                  <a:lnTo>
                    <a:pt x="4286" y="11909"/>
                  </a:lnTo>
                  <a:lnTo>
                    <a:pt x="4004" y="11812"/>
                  </a:lnTo>
                  <a:lnTo>
                    <a:pt x="3727" y="11704"/>
                  </a:lnTo>
                  <a:lnTo>
                    <a:pt x="3457" y="11581"/>
                  </a:lnTo>
                  <a:lnTo>
                    <a:pt x="3194" y="11446"/>
                  </a:lnTo>
                  <a:lnTo>
                    <a:pt x="2939" y="11299"/>
                  </a:lnTo>
                  <a:lnTo>
                    <a:pt x="2692" y="11140"/>
                  </a:lnTo>
                  <a:lnTo>
                    <a:pt x="2453" y="10970"/>
                  </a:lnTo>
                  <a:lnTo>
                    <a:pt x="2222" y="10789"/>
                  </a:lnTo>
                  <a:lnTo>
                    <a:pt x="2001" y="10598"/>
                  </a:lnTo>
                  <a:lnTo>
                    <a:pt x="1789" y="10395"/>
                  </a:lnTo>
                  <a:lnTo>
                    <a:pt x="1587" y="10184"/>
                  </a:lnTo>
                  <a:lnTo>
                    <a:pt x="1395" y="9962"/>
                  </a:lnTo>
                  <a:lnTo>
                    <a:pt x="1214" y="9733"/>
                  </a:lnTo>
                  <a:lnTo>
                    <a:pt x="1043" y="9494"/>
                  </a:lnTo>
                  <a:lnTo>
                    <a:pt x="885" y="9246"/>
                  </a:lnTo>
                  <a:lnTo>
                    <a:pt x="737" y="8991"/>
                  </a:lnTo>
                  <a:lnTo>
                    <a:pt x="603" y="8728"/>
                  </a:lnTo>
                  <a:lnTo>
                    <a:pt x="480" y="8459"/>
                  </a:lnTo>
                  <a:lnTo>
                    <a:pt x="371" y="8182"/>
                  </a:lnTo>
                  <a:lnTo>
                    <a:pt x="275" y="7900"/>
                  </a:lnTo>
                  <a:lnTo>
                    <a:pt x="192" y="7611"/>
                  </a:lnTo>
                  <a:lnTo>
                    <a:pt x="124" y="7316"/>
                  </a:lnTo>
                  <a:lnTo>
                    <a:pt x="71" y="7017"/>
                  </a:lnTo>
                  <a:lnTo>
                    <a:pt x="32" y="6713"/>
                  </a:lnTo>
                  <a:lnTo>
                    <a:pt x="8" y="6404"/>
                  </a:lnTo>
                  <a:lnTo>
                    <a:pt x="0" y="6091"/>
                  </a:lnTo>
                  <a:lnTo>
                    <a:pt x="8" y="5779"/>
                  </a:lnTo>
                  <a:lnTo>
                    <a:pt x="32" y="5471"/>
                  </a:lnTo>
                  <a:lnTo>
                    <a:pt x="71" y="5166"/>
                  </a:lnTo>
                  <a:lnTo>
                    <a:pt x="124" y="4866"/>
                  </a:lnTo>
                  <a:lnTo>
                    <a:pt x="192" y="4572"/>
                  </a:lnTo>
                  <a:lnTo>
                    <a:pt x="275" y="4284"/>
                  </a:lnTo>
                  <a:lnTo>
                    <a:pt x="371" y="4000"/>
                  </a:lnTo>
                  <a:lnTo>
                    <a:pt x="480" y="3724"/>
                  </a:lnTo>
                  <a:lnTo>
                    <a:pt x="603" y="3455"/>
                  </a:lnTo>
                  <a:lnTo>
                    <a:pt x="737" y="3192"/>
                  </a:lnTo>
                  <a:lnTo>
                    <a:pt x="885" y="2937"/>
                  </a:lnTo>
                  <a:lnTo>
                    <a:pt x="1043" y="2690"/>
                  </a:lnTo>
                  <a:lnTo>
                    <a:pt x="1214" y="2451"/>
                  </a:lnTo>
                  <a:lnTo>
                    <a:pt x="1395" y="2220"/>
                  </a:lnTo>
                  <a:lnTo>
                    <a:pt x="1587" y="2000"/>
                  </a:lnTo>
                  <a:lnTo>
                    <a:pt x="1789" y="1787"/>
                  </a:lnTo>
                  <a:lnTo>
                    <a:pt x="2001" y="1586"/>
                  </a:lnTo>
                  <a:lnTo>
                    <a:pt x="2222" y="1394"/>
                  </a:lnTo>
                  <a:lnTo>
                    <a:pt x="2453" y="1213"/>
                  </a:lnTo>
                  <a:lnTo>
                    <a:pt x="2692" y="1042"/>
                  </a:lnTo>
                  <a:lnTo>
                    <a:pt x="2939" y="884"/>
                  </a:lnTo>
                  <a:lnTo>
                    <a:pt x="3194" y="737"/>
                  </a:lnTo>
                  <a:lnTo>
                    <a:pt x="3457" y="602"/>
                  </a:lnTo>
                  <a:lnTo>
                    <a:pt x="3727" y="480"/>
                  </a:lnTo>
                  <a:lnTo>
                    <a:pt x="4004" y="370"/>
                  </a:lnTo>
                  <a:lnTo>
                    <a:pt x="4286" y="275"/>
                  </a:lnTo>
                  <a:lnTo>
                    <a:pt x="4576" y="193"/>
                  </a:lnTo>
                  <a:lnTo>
                    <a:pt x="4870" y="124"/>
                  </a:lnTo>
                  <a:lnTo>
                    <a:pt x="5169" y="71"/>
                  </a:lnTo>
                  <a:lnTo>
                    <a:pt x="5474" y="32"/>
                  </a:lnTo>
                  <a:lnTo>
                    <a:pt x="5783" y="8"/>
                  </a:lnTo>
                  <a:lnTo>
                    <a:pt x="6097" y="0"/>
                  </a:lnTo>
                  <a:close/>
                  <a:moveTo>
                    <a:pt x="5014" y="3439"/>
                  </a:moveTo>
                  <a:lnTo>
                    <a:pt x="5176" y="3443"/>
                  </a:lnTo>
                  <a:lnTo>
                    <a:pt x="5336" y="3456"/>
                  </a:lnTo>
                  <a:lnTo>
                    <a:pt x="5493" y="3475"/>
                  </a:lnTo>
                  <a:lnTo>
                    <a:pt x="5647" y="3503"/>
                  </a:lnTo>
                  <a:lnTo>
                    <a:pt x="5799" y="3538"/>
                  </a:lnTo>
                  <a:lnTo>
                    <a:pt x="5949" y="3581"/>
                  </a:lnTo>
                  <a:lnTo>
                    <a:pt x="6094" y="3630"/>
                  </a:lnTo>
                  <a:lnTo>
                    <a:pt x="6237" y="3686"/>
                  </a:lnTo>
                  <a:lnTo>
                    <a:pt x="6377" y="3750"/>
                  </a:lnTo>
                  <a:lnTo>
                    <a:pt x="6512" y="3819"/>
                  </a:lnTo>
                  <a:lnTo>
                    <a:pt x="6644" y="3895"/>
                  </a:lnTo>
                  <a:lnTo>
                    <a:pt x="6771" y="3977"/>
                  </a:lnTo>
                  <a:lnTo>
                    <a:pt x="6895" y="4065"/>
                  </a:lnTo>
                  <a:lnTo>
                    <a:pt x="7013" y="4158"/>
                  </a:lnTo>
                  <a:lnTo>
                    <a:pt x="7128" y="4257"/>
                  </a:lnTo>
                  <a:lnTo>
                    <a:pt x="7237" y="4362"/>
                  </a:lnTo>
                  <a:lnTo>
                    <a:pt x="7342" y="4470"/>
                  </a:lnTo>
                  <a:lnTo>
                    <a:pt x="7440" y="4585"/>
                  </a:lnTo>
                  <a:lnTo>
                    <a:pt x="7534" y="4704"/>
                  </a:lnTo>
                  <a:lnTo>
                    <a:pt x="7622" y="4827"/>
                  </a:lnTo>
                  <a:lnTo>
                    <a:pt x="7704" y="4955"/>
                  </a:lnTo>
                  <a:lnTo>
                    <a:pt x="7780" y="5086"/>
                  </a:lnTo>
                  <a:lnTo>
                    <a:pt x="7850" y="5222"/>
                  </a:lnTo>
                  <a:lnTo>
                    <a:pt x="7913" y="5361"/>
                  </a:lnTo>
                  <a:lnTo>
                    <a:pt x="7969" y="5503"/>
                  </a:lnTo>
                  <a:lnTo>
                    <a:pt x="8018" y="5650"/>
                  </a:lnTo>
                  <a:lnTo>
                    <a:pt x="8062" y="5799"/>
                  </a:lnTo>
                  <a:lnTo>
                    <a:pt x="8097" y="5951"/>
                  </a:lnTo>
                  <a:lnTo>
                    <a:pt x="8124" y="6105"/>
                  </a:lnTo>
                  <a:lnTo>
                    <a:pt x="8145" y="6263"/>
                  </a:lnTo>
                  <a:lnTo>
                    <a:pt x="8157" y="6422"/>
                  </a:lnTo>
                  <a:lnTo>
                    <a:pt x="8161" y="6583"/>
                  </a:lnTo>
                  <a:lnTo>
                    <a:pt x="8157" y="6744"/>
                  </a:lnTo>
                  <a:lnTo>
                    <a:pt x="8145" y="6904"/>
                  </a:lnTo>
                  <a:lnTo>
                    <a:pt x="8124" y="7061"/>
                  </a:lnTo>
                  <a:lnTo>
                    <a:pt x="8097" y="7215"/>
                  </a:lnTo>
                  <a:lnTo>
                    <a:pt x="8062" y="7367"/>
                  </a:lnTo>
                  <a:lnTo>
                    <a:pt x="8018" y="7516"/>
                  </a:lnTo>
                  <a:lnTo>
                    <a:pt x="7969" y="7662"/>
                  </a:lnTo>
                  <a:lnTo>
                    <a:pt x="7913" y="7805"/>
                  </a:lnTo>
                  <a:lnTo>
                    <a:pt x="7850" y="7944"/>
                  </a:lnTo>
                  <a:lnTo>
                    <a:pt x="7780" y="8080"/>
                  </a:lnTo>
                  <a:lnTo>
                    <a:pt x="7704" y="8211"/>
                  </a:lnTo>
                  <a:lnTo>
                    <a:pt x="7622" y="8338"/>
                  </a:lnTo>
                  <a:lnTo>
                    <a:pt x="7534" y="8462"/>
                  </a:lnTo>
                  <a:lnTo>
                    <a:pt x="7440" y="8580"/>
                  </a:lnTo>
                  <a:lnTo>
                    <a:pt x="7342" y="8695"/>
                  </a:lnTo>
                  <a:lnTo>
                    <a:pt x="7237" y="8804"/>
                  </a:lnTo>
                  <a:lnTo>
                    <a:pt x="7128" y="8909"/>
                  </a:lnTo>
                  <a:lnTo>
                    <a:pt x="7013" y="9007"/>
                  </a:lnTo>
                  <a:lnTo>
                    <a:pt x="6895" y="9101"/>
                  </a:lnTo>
                  <a:lnTo>
                    <a:pt x="6771" y="9189"/>
                  </a:lnTo>
                  <a:lnTo>
                    <a:pt x="6644" y="9271"/>
                  </a:lnTo>
                  <a:lnTo>
                    <a:pt x="6512" y="9347"/>
                  </a:lnTo>
                  <a:lnTo>
                    <a:pt x="6377" y="9417"/>
                  </a:lnTo>
                  <a:lnTo>
                    <a:pt x="6237" y="9479"/>
                  </a:lnTo>
                  <a:lnTo>
                    <a:pt x="6094" y="9536"/>
                  </a:lnTo>
                  <a:lnTo>
                    <a:pt x="5949" y="9585"/>
                  </a:lnTo>
                  <a:lnTo>
                    <a:pt x="5799" y="9628"/>
                  </a:lnTo>
                  <a:lnTo>
                    <a:pt x="5647" y="9663"/>
                  </a:lnTo>
                  <a:lnTo>
                    <a:pt x="5493" y="9691"/>
                  </a:lnTo>
                  <a:lnTo>
                    <a:pt x="5336" y="9711"/>
                  </a:lnTo>
                  <a:lnTo>
                    <a:pt x="5176" y="9722"/>
                  </a:lnTo>
                  <a:lnTo>
                    <a:pt x="5014" y="9726"/>
                  </a:lnTo>
                  <a:lnTo>
                    <a:pt x="4853" y="9722"/>
                  </a:lnTo>
                  <a:lnTo>
                    <a:pt x="4693" y="9711"/>
                  </a:lnTo>
                  <a:lnTo>
                    <a:pt x="4536" y="9691"/>
                  </a:lnTo>
                  <a:lnTo>
                    <a:pt x="4382" y="9663"/>
                  </a:lnTo>
                  <a:lnTo>
                    <a:pt x="4230" y="9628"/>
                  </a:lnTo>
                  <a:lnTo>
                    <a:pt x="4080" y="9585"/>
                  </a:lnTo>
                  <a:lnTo>
                    <a:pt x="3934" y="9536"/>
                  </a:lnTo>
                  <a:lnTo>
                    <a:pt x="3792" y="9479"/>
                  </a:lnTo>
                  <a:lnTo>
                    <a:pt x="3652" y="9417"/>
                  </a:lnTo>
                  <a:lnTo>
                    <a:pt x="3516" y="9347"/>
                  </a:lnTo>
                  <a:lnTo>
                    <a:pt x="3385" y="9271"/>
                  </a:lnTo>
                  <a:lnTo>
                    <a:pt x="3258" y="9189"/>
                  </a:lnTo>
                  <a:lnTo>
                    <a:pt x="3133" y="9101"/>
                  </a:lnTo>
                  <a:lnTo>
                    <a:pt x="3015" y="9007"/>
                  </a:lnTo>
                  <a:lnTo>
                    <a:pt x="2900" y="8909"/>
                  </a:lnTo>
                  <a:lnTo>
                    <a:pt x="2792" y="8804"/>
                  </a:lnTo>
                  <a:lnTo>
                    <a:pt x="2687" y="8695"/>
                  </a:lnTo>
                  <a:lnTo>
                    <a:pt x="2588" y="8580"/>
                  </a:lnTo>
                  <a:lnTo>
                    <a:pt x="2495" y="8462"/>
                  </a:lnTo>
                  <a:lnTo>
                    <a:pt x="2407" y="8338"/>
                  </a:lnTo>
                  <a:lnTo>
                    <a:pt x="2324" y="8211"/>
                  </a:lnTo>
                  <a:lnTo>
                    <a:pt x="2248" y="8080"/>
                  </a:lnTo>
                  <a:lnTo>
                    <a:pt x="2179" y="7944"/>
                  </a:lnTo>
                  <a:lnTo>
                    <a:pt x="2116" y="7805"/>
                  </a:lnTo>
                  <a:lnTo>
                    <a:pt x="2060" y="7662"/>
                  </a:lnTo>
                  <a:lnTo>
                    <a:pt x="2010" y="7516"/>
                  </a:lnTo>
                  <a:lnTo>
                    <a:pt x="1967" y="7367"/>
                  </a:lnTo>
                  <a:lnTo>
                    <a:pt x="1932" y="7215"/>
                  </a:lnTo>
                  <a:lnTo>
                    <a:pt x="1905" y="7061"/>
                  </a:lnTo>
                  <a:lnTo>
                    <a:pt x="1884" y="6904"/>
                  </a:lnTo>
                  <a:lnTo>
                    <a:pt x="1873" y="6744"/>
                  </a:lnTo>
                  <a:lnTo>
                    <a:pt x="1869" y="6583"/>
                  </a:lnTo>
                  <a:lnTo>
                    <a:pt x="1873" y="6422"/>
                  </a:lnTo>
                  <a:lnTo>
                    <a:pt x="1884" y="6263"/>
                  </a:lnTo>
                  <a:lnTo>
                    <a:pt x="1905" y="6105"/>
                  </a:lnTo>
                  <a:lnTo>
                    <a:pt x="1932" y="5951"/>
                  </a:lnTo>
                  <a:lnTo>
                    <a:pt x="1967" y="5799"/>
                  </a:lnTo>
                  <a:lnTo>
                    <a:pt x="2010" y="5650"/>
                  </a:lnTo>
                  <a:lnTo>
                    <a:pt x="2060" y="5503"/>
                  </a:lnTo>
                  <a:lnTo>
                    <a:pt x="2116" y="5361"/>
                  </a:lnTo>
                  <a:lnTo>
                    <a:pt x="2179" y="5222"/>
                  </a:lnTo>
                  <a:lnTo>
                    <a:pt x="2248" y="5086"/>
                  </a:lnTo>
                  <a:lnTo>
                    <a:pt x="2324" y="4955"/>
                  </a:lnTo>
                  <a:lnTo>
                    <a:pt x="2407" y="4827"/>
                  </a:lnTo>
                  <a:lnTo>
                    <a:pt x="2495" y="4704"/>
                  </a:lnTo>
                  <a:lnTo>
                    <a:pt x="2588" y="4585"/>
                  </a:lnTo>
                  <a:lnTo>
                    <a:pt x="2687" y="4470"/>
                  </a:lnTo>
                  <a:lnTo>
                    <a:pt x="2792" y="4362"/>
                  </a:lnTo>
                  <a:lnTo>
                    <a:pt x="2900" y="4257"/>
                  </a:lnTo>
                  <a:lnTo>
                    <a:pt x="3015" y="4158"/>
                  </a:lnTo>
                  <a:lnTo>
                    <a:pt x="3133" y="4065"/>
                  </a:lnTo>
                  <a:lnTo>
                    <a:pt x="3258" y="3977"/>
                  </a:lnTo>
                  <a:lnTo>
                    <a:pt x="3385" y="3895"/>
                  </a:lnTo>
                  <a:lnTo>
                    <a:pt x="3516" y="3819"/>
                  </a:lnTo>
                  <a:lnTo>
                    <a:pt x="3652" y="3750"/>
                  </a:lnTo>
                  <a:lnTo>
                    <a:pt x="3792" y="3686"/>
                  </a:lnTo>
                  <a:lnTo>
                    <a:pt x="3934" y="3630"/>
                  </a:lnTo>
                  <a:lnTo>
                    <a:pt x="4080" y="3581"/>
                  </a:lnTo>
                  <a:lnTo>
                    <a:pt x="4230" y="3538"/>
                  </a:lnTo>
                  <a:lnTo>
                    <a:pt x="4382" y="3503"/>
                  </a:lnTo>
                  <a:lnTo>
                    <a:pt x="4536" y="3475"/>
                  </a:lnTo>
                  <a:lnTo>
                    <a:pt x="4693" y="3456"/>
                  </a:lnTo>
                  <a:lnTo>
                    <a:pt x="4853" y="3443"/>
                  </a:lnTo>
                  <a:lnTo>
                    <a:pt x="5014" y="3439"/>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endParaRPr lang="zh-CN" altLang="en-US" sz="1799">
                <a:solidFill>
                  <a:schemeClr val="bg1"/>
                </a:solidFill>
              </a:endParaRPr>
            </a:p>
          </p:txBody>
        </p:sp>
        <p:sp>
          <p:nvSpPr>
            <p:cNvPr id="322" name="Freeform 18"/>
            <p:cNvSpPr>
              <a:spLocks noEditPoints="1"/>
            </p:cNvSpPr>
            <p:nvPr/>
          </p:nvSpPr>
          <p:spPr bwMode="auto">
            <a:xfrm>
              <a:off x="-6246813" y="4160838"/>
              <a:ext cx="987425" cy="468313"/>
            </a:xfrm>
            <a:custGeom>
              <a:avLst/>
              <a:gdLst/>
              <a:ahLst/>
              <a:cxnLst>
                <a:cxn ang="0">
                  <a:pos x="4376" y="1769"/>
                </a:cxn>
                <a:cxn ang="0">
                  <a:pos x="638" y="2271"/>
                </a:cxn>
                <a:cxn ang="0">
                  <a:pos x="6901" y="2275"/>
                </a:cxn>
                <a:cxn ang="0">
                  <a:pos x="6994" y="2291"/>
                </a:cxn>
                <a:cxn ang="0">
                  <a:pos x="7084" y="2321"/>
                </a:cxn>
                <a:cxn ang="0">
                  <a:pos x="7166" y="2364"/>
                </a:cxn>
                <a:cxn ang="0">
                  <a:pos x="7241" y="2417"/>
                </a:cxn>
                <a:cxn ang="0">
                  <a:pos x="7307" y="2480"/>
                </a:cxn>
                <a:cxn ang="0">
                  <a:pos x="7364" y="2553"/>
                </a:cxn>
                <a:cxn ang="0">
                  <a:pos x="7410" y="2633"/>
                </a:cxn>
                <a:cxn ang="0">
                  <a:pos x="7445" y="2719"/>
                </a:cxn>
                <a:cxn ang="0">
                  <a:pos x="7465" y="2811"/>
                </a:cxn>
                <a:cxn ang="0">
                  <a:pos x="7474" y="2908"/>
                </a:cxn>
                <a:cxn ang="0">
                  <a:pos x="7465" y="3004"/>
                </a:cxn>
                <a:cxn ang="0">
                  <a:pos x="7445" y="3097"/>
                </a:cxn>
                <a:cxn ang="0">
                  <a:pos x="7410" y="3184"/>
                </a:cxn>
                <a:cxn ang="0">
                  <a:pos x="7364" y="3264"/>
                </a:cxn>
                <a:cxn ang="0">
                  <a:pos x="7307" y="3336"/>
                </a:cxn>
                <a:cxn ang="0">
                  <a:pos x="7241" y="3399"/>
                </a:cxn>
                <a:cxn ang="0">
                  <a:pos x="7166" y="3453"/>
                </a:cxn>
                <a:cxn ang="0">
                  <a:pos x="7084" y="3495"/>
                </a:cxn>
                <a:cxn ang="0">
                  <a:pos x="6994" y="3524"/>
                </a:cxn>
                <a:cxn ang="0">
                  <a:pos x="6901" y="3542"/>
                </a:cxn>
                <a:cxn ang="0">
                  <a:pos x="638" y="3545"/>
                </a:cxn>
                <a:cxn ang="0">
                  <a:pos x="541" y="3538"/>
                </a:cxn>
                <a:cxn ang="0">
                  <a:pos x="449" y="3516"/>
                </a:cxn>
                <a:cxn ang="0">
                  <a:pos x="363" y="3482"/>
                </a:cxn>
                <a:cxn ang="0">
                  <a:pos x="283" y="3436"/>
                </a:cxn>
                <a:cxn ang="0">
                  <a:pos x="210" y="3379"/>
                </a:cxn>
                <a:cxn ang="0">
                  <a:pos x="147" y="3313"/>
                </a:cxn>
                <a:cxn ang="0">
                  <a:pos x="94" y="3238"/>
                </a:cxn>
                <a:cxn ang="0">
                  <a:pos x="51" y="3155"/>
                </a:cxn>
                <a:cxn ang="0">
                  <a:pos x="21" y="3067"/>
                </a:cxn>
                <a:cxn ang="0">
                  <a:pos x="4" y="2972"/>
                </a:cxn>
                <a:cxn ang="0">
                  <a:pos x="1" y="2875"/>
                </a:cxn>
                <a:cxn ang="0">
                  <a:pos x="14" y="2780"/>
                </a:cxn>
                <a:cxn ang="0">
                  <a:pos x="39" y="2689"/>
                </a:cxn>
                <a:cxn ang="0">
                  <a:pos x="78" y="2605"/>
                </a:cxn>
                <a:cxn ang="0">
                  <a:pos x="128" y="2527"/>
                </a:cxn>
                <a:cxn ang="0">
                  <a:pos x="188" y="2458"/>
                </a:cxn>
                <a:cxn ang="0">
                  <a:pos x="257" y="2398"/>
                </a:cxn>
                <a:cxn ang="0">
                  <a:pos x="335" y="2349"/>
                </a:cxn>
                <a:cxn ang="0">
                  <a:pos x="419" y="2310"/>
                </a:cxn>
                <a:cxn ang="0">
                  <a:pos x="511" y="2284"/>
                </a:cxn>
                <a:cxn ang="0">
                  <a:pos x="605" y="2272"/>
                </a:cxn>
              </a:cxnLst>
              <a:rect l="0" t="0" r="r" b="b"/>
              <a:pathLst>
                <a:path w="7474" h="3545">
                  <a:moveTo>
                    <a:pt x="3098" y="0"/>
                  </a:moveTo>
                  <a:lnTo>
                    <a:pt x="4376" y="0"/>
                  </a:lnTo>
                  <a:lnTo>
                    <a:pt x="4376" y="1769"/>
                  </a:lnTo>
                  <a:lnTo>
                    <a:pt x="3098" y="1769"/>
                  </a:lnTo>
                  <a:lnTo>
                    <a:pt x="3098" y="0"/>
                  </a:lnTo>
                  <a:close/>
                  <a:moveTo>
                    <a:pt x="638" y="2271"/>
                  </a:moveTo>
                  <a:lnTo>
                    <a:pt x="6836" y="2271"/>
                  </a:lnTo>
                  <a:lnTo>
                    <a:pt x="6869" y="2272"/>
                  </a:lnTo>
                  <a:lnTo>
                    <a:pt x="6901" y="2275"/>
                  </a:lnTo>
                  <a:lnTo>
                    <a:pt x="6933" y="2279"/>
                  </a:lnTo>
                  <a:lnTo>
                    <a:pt x="6963" y="2284"/>
                  </a:lnTo>
                  <a:lnTo>
                    <a:pt x="6994" y="2291"/>
                  </a:lnTo>
                  <a:lnTo>
                    <a:pt x="7025" y="2299"/>
                  </a:lnTo>
                  <a:lnTo>
                    <a:pt x="7055" y="2310"/>
                  </a:lnTo>
                  <a:lnTo>
                    <a:pt x="7084" y="2321"/>
                  </a:lnTo>
                  <a:lnTo>
                    <a:pt x="7111" y="2334"/>
                  </a:lnTo>
                  <a:lnTo>
                    <a:pt x="7139" y="2349"/>
                  </a:lnTo>
                  <a:lnTo>
                    <a:pt x="7166" y="2364"/>
                  </a:lnTo>
                  <a:lnTo>
                    <a:pt x="7191" y="2380"/>
                  </a:lnTo>
                  <a:lnTo>
                    <a:pt x="7217" y="2398"/>
                  </a:lnTo>
                  <a:lnTo>
                    <a:pt x="7241" y="2417"/>
                  </a:lnTo>
                  <a:lnTo>
                    <a:pt x="7264" y="2437"/>
                  </a:lnTo>
                  <a:lnTo>
                    <a:pt x="7286" y="2458"/>
                  </a:lnTo>
                  <a:lnTo>
                    <a:pt x="7307" y="2480"/>
                  </a:lnTo>
                  <a:lnTo>
                    <a:pt x="7327" y="2504"/>
                  </a:lnTo>
                  <a:lnTo>
                    <a:pt x="7346" y="2527"/>
                  </a:lnTo>
                  <a:lnTo>
                    <a:pt x="7364" y="2553"/>
                  </a:lnTo>
                  <a:lnTo>
                    <a:pt x="7380" y="2579"/>
                  </a:lnTo>
                  <a:lnTo>
                    <a:pt x="7396" y="2605"/>
                  </a:lnTo>
                  <a:lnTo>
                    <a:pt x="7410" y="2633"/>
                  </a:lnTo>
                  <a:lnTo>
                    <a:pt x="7423" y="2661"/>
                  </a:lnTo>
                  <a:lnTo>
                    <a:pt x="7435" y="2689"/>
                  </a:lnTo>
                  <a:lnTo>
                    <a:pt x="7445" y="2719"/>
                  </a:lnTo>
                  <a:lnTo>
                    <a:pt x="7453" y="2750"/>
                  </a:lnTo>
                  <a:lnTo>
                    <a:pt x="7460" y="2780"/>
                  </a:lnTo>
                  <a:lnTo>
                    <a:pt x="7465" y="2811"/>
                  </a:lnTo>
                  <a:lnTo>
                    <a:pt x="7470" y="2843"/>
                  </a:lnTo>
                  <a:lnTo>
                    <a:pt x="7473" y="2875"/>
                  </a:lnTo>
                  <a:lnTo>
                    <a:pt x="7474" y="2908"/>
                  </a:lnTo>
                  <a:lnTo>
                    <a:pt x="7473" y="2941"/>
                  </a:lnTo>
                  <a:lnTo>
                    <a:pt x="7470" y="2972"/>
                  </a:lnTo>
                  <a:lnTo>
                    <a:pt x="7465" y="3004"/>
                  </a:lnTo>
                  <a:lnTo>
                    <a:pt x="7460" y="3036"/>
                  </a:lnTo>
                  <a:lnTo>
                    <a:pt x="7453" y="3067"/>
                  </a:lnTo>
                  <a:lnTo>
                    <a:pt x="7445" y="3097"/>
                  </a:lnTo>
                  <a:lnTo>
                    <a:pt x="7435" y="3126"/>
                  </a:lnTo>
                  <a:lnTo>
                    <a:pt x="7423" y="3155"/>
                  </a:lnTo>
                  <a:lnTo>
                    <a:pt x="7410" y="3184"/>
                  </a:lnTo>
                  <a:lnTo>
                    <a:pt x="7396" y="3212"/>
                  </a:lnTo>
                  <a:lnTo>
                    <a:pt x="7380" y="3238"/>
                  </a:lnTo>
                  <a:lnTo>
                    <a:pt x="7364" y="3264"/>
                  </a:lnTo>
                  <a:lnTo>
                    <a:pt x="7346" y="3289"/>
                  </a:lnTo>
                  <a:lnTo>
                    <a:pt x="7327" y="3313"/>
                  </a:lnTo>
                  <a:lnTo>
                    <a:pt x="7307" y="3336"/>
                  </a:lnTo>
                  <a:lnTo>
                    <a:pt x="7286" y="3358"/>
                  </a:lnTo>
                  <a:lnTo>
                    <a:pt x="7264" y="3379"/>
                  </a:lnTo>
                  <a:lnTo>
                    <a:pt x="7241" y="3399"/>
                  </a:lnTo>
                  <a:lnTo>
                    <a:pt x="7217" y="3418"/>
                  </a:lnTo>
                  <a:lnTo>
                    <a:pt x="7191" y="3436"/>
                  </a:lnTo>
                  <a:lnTo>
                    <a:pt x="7166" y="3453"/>
                  </a:lnTo>
                  <a:lnTo>
                    <a:pt x="7139" y="3468"/>
                  </a:lnTo>
                  <a:lnTo>
                    <a:pt x="7111" y="3482"/>
                  </a:lnTo>
                  <a:lnTo>
                    <a:pt x="7084" y="3495"/>
                  </a:lnTo>
                  <a:lnTo>
                    <a:pt x="7055" y="3506"/>
                  </a:lnTo>
                  <a:lnTo>
                    <a:pt x="7025" y="3516"/>
                  </a:lnTo>
                  <a:lnTo>
                    <a:pt x="6994" y="3524"/>
                  </a:lnTo>
                  <a:lnTo>
                    <a:pt x="6963" y="3532"/>
                  </a:lnTo>
                  <a:lnTo>
                    <a:pt x="6933" y="3538"/>
                  </a:lnTo>
                  <a:lnTo>
                    <a:pt x="6901" y="3542"/>
                  </a:lnTo>
                  <a:lnTo>
                    <a:pt x="6869" y="3544"/>
                  </a:lnTo>
                  <a:lnTo>
                    <a:pt x="6836" y="3545"/>
                  </a:lnTo>
                  <a:lnTo>
                    <a:pt x="638" y="3545"/>
                  </a:lnTo>
                  <a:lnTo>
                    <a:pt x="605" y="3544"/>
                  </a:lnTo>
                  <a:lnTo>
                    <a:pt x="573" y="3542"/>
                  </a:lnTo>
                  <a:lnTo>
                    <a:pt x="541" y="3538"/>
                  </a:lnTo>
                  <a:lnTo>
                    <a:pt x="511" y="3532"/>
                  </a:lnTo>
                  <a:lnTo>
                    <a:pt x="480" y="3524"/>
                  </a:lnTo>
                  <a:lnTo>
                    <a:pt x="449" y="3516"/>
                  </a:lnTo>
                  <a:lnTo>
                    <a:pt x="419" y="3506"/>
                  </a:lnTo>
                  <a:lnTo>
                    <a:pt x="390" y="3495"/>
                  </a:lnTo>
                  <a:lnTo>
                    <a:pt x="363" y="3482"/>
                  </a:lnTo>
                  <a:lnTo>
                    <a:pt x="335" y="3468"/>
                  </a:lnTo>
                  <a:lnTo>
                    <a:pt x="308" y="3453"/>
                  </a:lnTo>
                  <a:lnTo>
                    <a:pt x="283" y="3436"/>
                  </a:lnTo>
                  <a:lnTo>
                    <a:pt x="257" y="3418"/>
                  </a:lnTo>
                  <a:lnTo>
                    <a:pt x="233" y="3399"/>
                  </a:lnTo>
                  <a:lnTo>
                    <a:pt x="210" y="3379"/>
                  </a:lnTo>
                  <a:lnTo>
                    <a:pt x="188" y="3358"/>
                  </a:lnTo>
                  <a:lnTo>
                    <a:pt x="167" y="3336"/>
                  </a:lnTo>
                  <a:lnTo>
                    <a:pt x="147" y="3313"/>
                  </a:lnTo>
                  <a:lnTo>
                    <a:pt x="128" y="3289"/>
                  </a:lnTo>
                  <a:lnTo>
                    <a:pt x="110" y="3264"/>
                  </a:lnTo>
                  <a:lnTo>
                    <a:pt x="94" y="3238"/>
                  </a:lnTo>
                  <a:lnTo>
                    <a:pt x="78" y="3212"/>
                  </a:lnTo>
                  <a:lnTo>
                    <a:pt x="64" y="3184"/>
                  </a:lnTo>
                  <a:lnTo>
                    <a:pt x="51" y="3155"/>
                  </a:lnTo>
                  <a:lnTo>
                    <a:pt x="39" y="3126"/>
                  </a:lnTo>
                  <a:lnTo>
                    <a:pt x="29" y="3097"/>
                  </a:lnTo>
                  <a:lnTo>
                    <a:pt x="21" y="3067"/>
                  </a:lnTo>
                  <a:lnTo>
                    <a:pt x="14" y="3036"/>
                  </a:lnTo>
                  <a:lnTo>
                    <a:pt x="9" y="3004"/>
                  </a:lnTo>
                  <a:lnTo>
                    <a:pt x="4" y="2972"/>
                  </a:lnTo>
                  <a:lnTo>
                    <a:pt x="1" y="2941"/>
                  </a:lnTo>
                  <a:lnTo>
                    <a:pt x="0" y="2908"/>
                  </a:lnTo>
                  <a:lnTo>
                    <a:pt x="1" y="2875"/>
                  </a:lnTo>
                  <a:lnTo>
                    <a:pt x="4" y="2843"/>
                  </a:lnTo>
                  <a:lnTo>
                    <a:pt x="9" y="2811"/>
                  </a:lnTo>
                  <a:lnTo>
                    <a:pt x="14" y="2780"/>
                  </a:lnTo>
                  <a:lnTo>
                    <a:pt x="21" y="2750"/>
                  </a:lnTo>
                  <a:lnTo>
                    <a:pt x="29" y="2719"/>
                  </a:lnTo>
                  <a:lnTo>
                    <a:pt x="39" y="2689"/>
                  </a:lnTo>
                  <a:lnTo>
                    <a:pt x="51" y="2661"/>
                  </a:lnTo>
                  <a:lnTo>
                    <a:pt x="64" y="2633"/>
                  </a:lnTo>
                  <a:lnTo>
                    <a:pt x="78" y="2605"/>
                  </a:lnTo>
                  <a:lnTo>
                    <a:pt x="94" y="2579"/>
                  </a:lnTo>
                  <a:lnTo>
                    <a:pt x="110" y="2553"/>
                  </a:lnTo>
                  <a:lnTo>
                    <a:pt x="128" y="2527"/>
                  </a:lnTo>
                  <a:lnTo>
                    <a:pt x="147" y="2504"/>
                  </a:lnTo>
                  <a:lnTo>
                    <a:pt x="167" y="2480"/>
                  </a:lnTo>
                  <a:lnTo>
                    <a:pt x="188" y="2458"/>
                  </a:lnTo>
                  <a:lnTo>
                    <a:pt x="210" y="2437"/>
                  </a:lnTo>
                  <a:lnTo>
                    <a:pt x="233" y="2417"/>
                  </a:lnTo>
                  <a:lnTo>
                    <a:pt x="257" y="2398"/>
                  </a:lnTo>
                  <a:lnTo>
                    <a:pt x="283" y="2380"/>
                  </a:lnTo>
                  <a:lnTo>
                    <a:pt x="308" y="2364"/>
                  </a:lnTo>
                  <a:lnTo>
                    <a:pt x="335" y="2349"/>
                  </a:lnTo>
                  <a:lnTo>
                    <a:pt x="363" y="2334"/>
                  </a:lnTo>
                  <a:lnTo>
                    <a:pt x="390" y="2321"/>
                  </a:lnTo>
                  <a:lnTo>
                    <a:pt x="419" y="2310"/>
                  </a:lnTo>
                  <a:lnTo>
                    <a:pt x="449" y="2299"/>
                  </a:lnTo>
                  <a:lnTo>
                    <a:pt x="480" y="2291"/>
                  </a:lnTo>
                  <a:lnTo>
                    <a:pt x="511" y="2284"/>
                  </a:lnTo>
                  <a:lnTo>
                    <a:pt x="541" y="2279"/>
                  </a:lnTo>
                  <a:lnTo>
                    <a:pt x="573" y="2275"/>
                  </a:lnTo>
                  <a:lnTo>
                    <a:pt x="605" y="2272"/>
                  </a:lnTo>
                  <a:lnTo>
                    <a:pt x="638" y="2271"/>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endParaRPr lang="zh-CN" altLang="en-US" sz="1799">
                <a:solidFill>
                  <a:schemeClr val="bg1"/>
                </a:solidFill>
              </a:endParaRPr>
            </a:p>
          </p:txBody>
        </p:sp>
      </p:grpSp>
      <p:grpSp>
        <p:nvGrpSpPr>
          <p:cNvPr id="7" name="组合 6"/>
          <p:cNvGrpSpPr/>
          <p:nvPr/>
        </p:nvGrpSpPr>
        <p:grpSpPr>
          <a:xfrm>
            <a:off x="4328674" y="2252831"/>
            <a:ext cx="2557904" cy="1681111"/>
            <a:chOff x="3075217" y="1210621"/>
            <a:chExt cx="2669931" cy="1681549"/>
          </a:xfrm>
          <a:noFill/>
        </p:grpSpPr>
        <p:sp>
          <p:nvSpPr>
            <p:cNvPr id="109" name="矩形 108"/>
            <p:cNvSpPr/>
            <p:nvPr/>
          </p:nvSpPr>
          <p:spPr bwMode="auto">
            <a:xfrm>
              <a:off x="3075217" y="1210621"/>
              <a:ext cx="2519519" cy="1681549"/>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tIns="35991" rtlCol="0" anchor="t" anchorCtr="0">
              <a:noAutofit/>
            </a:bodyPr>
            <a:lstStyle/>
            <a:p>
              <a:pPr lvl="1"/>
              <a:endParaRPr lang="zh-CN" altLang="en-US" sz="1799" noProof="1">
                <a:sym typeface="Arial"/>
              </a:endParaRPr>
            </a:p>
          </p:txBody>
        </p:sp>
        <p:sp>
          <p:nvSpPr>
            <p:cNvPr id="207" name="Line 9"/>
            <p:cNvSpPr>
              <a:spLocks noChangeShapeType="1"/>
            </p:cNvSpPr>
            <p:nvPr/>
          </p:nvSpPr>
          <p:spPr bwMode="auto">
            <a:xfrm rot="5400000" flipH="1">
              <a:off x="4070016" y="2320605"/>
              <a:ext cx="261024" cy="10"/>
            </a:xfrm>
            <a:prstGeom prst="line">
              <a:avLst/>
            </a:prstGeom>
            <a:grpFill/>
            <a:ln w="19050">
              <a:solidFill>
                <a:srgbClr val="00B0F0"/>
              </a:solidFill>
              <a:round/>
              <a:headEnd/>
              <a:tailEnd/>
            </a:ln>
            <a:effectLst/>
          </p:spPr>
          <p:txBody>
            <a:bodyPr wrap="square" lIns="79169" tIns="39586" rIns="79169" bIns="39586">
              <a:spAutoFit/>
            </a:bodyPr>
            <a:lstStyle/>
            <a:p>
              <a:pPr defTabSz="1219180"/>
              <a:endParaRPr lang="zh-CN" altLang="en-US" sz="2399" kern="0" dirty="0">
                <a:solidFill>
                  <a:schemeClr val="bg1"/>
                </a:solidFill>
                <a:ea typeface="华文细黑"/>
                <a:cs typeface="Arial" pitchFamily="34" charset="0"/>
              </a:endParaRPr>
            </a:p>
          </p:txBody>
        </p:sp>
        <p:sp>
          <p:nvSpPr>
            <p:cNvPr id="213" name="矩形 212"/>
            <p:cNvSpPr/>
            <p:nvPr/>
          </p:nvSpPr>
          <p:spPr>
            <a:xfrm>
              <a:off x="4253417" y="2519895"/>
              <a:ext cx="1491731" cy="344792"/>
            </a:xfrm>
            <a:prstGeom prst="rect">
              <a:avLst/>
            </a:prstGeom>
            <a:grpFill/>
          </p:spPr>
          <p:txBody>
            <a:bodyPr wrap="square" lIns="121912" tIns="60956" rIns="121912" bIns="60956">
              <a:spAutoFit/>
            </a:bodyPr>
            <a:lstStyle/>
            <a:p>
              <a:pPr algn="ctr" defTabSz="1219180">
                <a:lnSpc>
                  <a:spcPct val="120000"/>
                </a:lnSpc>
                <a:spcBef>
                  <a:spcPct val="50000"/>
                </a:spcBef>
                <a:defRPr/>
              </a:pPr>
              <a:r>
                <a:rPr lang="en-US" altLang="zh-CN" sz="1200" kern="0" dirty="0" err="1">
                  <a:solidFill>
                    <a:schemeClr val="bg1"/>
                  </a:solidFill>
                  <a:ea typeface="微软雅黑" pitchFamily="34" charset="-122"/>
                </a:rPr>
                <a:t>Agregación</a:t>
              </a:r>
              <a:endParaRPr lang="zh-CN" altLang="en-US" sz="1200" kern="0" dirty="0">
                <a:solidFill>
                  <a:schemeClr val="bg1"/>
                </a:solidFill>
                <a:ea typeface="微软雅黑" pitchFamily="34" charset="-122"/>
              </a:endParaRPr>
            </a:p>
          </p:txBody>
        </p:sp>
        <p:sp>
          <p:nvSpPr>
            <p:cNvPr id="214" name="矩形 213"/>
            <p:cNvSpPr/>
            <p:nvPr/>
          </p:nvSpPr>
          <p:spPr>
            <a:xfrm>
              <a:off x="4783391" y="1978417"/>
              <a:ext cx="680951" cy="307848"/>
            </a:xfrm>
            <a:prstGeom prst="rect">
              <a:avLst/>
            </a:prstGeom>
            <a:grpFill/>
            <a:ln w="9525">
              <a:noFill/>
            </a:ln>
          </p:spPr>
          <p:txBody>
            <a:bodyPr wrap="square" lIns="121912" tIns="60956" rIns="121912" bIns="60956">
              <a:spAutoFit/>
            </a:bodyPr>
            <a:lstStyle/>
            <a:p>
              <a:pPr defTabSz="1219180">
                <a:defRPr/>
              </a:pPr>
              <a:r>
                <a:rPr lang="en-US" altLang="zh-CN" sz="1200" kern="0" dirty="0">
                  <a:solidFill>
                    <a:schemeClr val="bg1"/>
                  </a:solidFill>
                  <a:ea typeface="微软雅黑" pitchFamily="34" charset="-122"/>
                  <a:sym typeface="Arial"/>
                </a:rPr>
                <a:t>Core</a:t>
              </a:r>
            </a:p>
          </p:txBody>
        </p:sp>
        <p:grpSp>
          <p:nvGrpSpPr>
            <p:cNvPr id="274" name="Group 196"/>
            <p:cNvGrpSpPr>
              <a:grpSpLocks/>
            </p:cNvGrpSpPr>
            <p:nvPr/>
          </p:nvGrpSpPr>
          <p:grpSpPr bwMode="auto">
            <a:xfrm>
              <a:off x="4104306" y="1759435"/>
              <a:ext cx="182880" cy="365760"/>
              <a:chOff x="-1" y="-1"/>
              <a:chExt cx="149138" cy="213412"/>
            </a:xfrm>
            <a:grpFill/>
          </p:grpSpPr>
          <p:sp>
            <p:nvSpPr>
              <p:cNvPr id="275" name="AutoShape 197"/>
              <p:cNvSpPr>
                <a:spLocks/>
              </p:cNvSpPr>
              <p:nvPr/>
            </p:nvSpPr>
            <p:spPr bwMode="auto">
              <a:xfrm rot="5400000">
                <a:off x="-28052" y="66547"/>
                <a:ext cx="213411" cy="8031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tx1"/>
              </a:solidFill>
              <a:ln w="3175" cap="flat" cmpd="sng">
                <a:solidFill>
                  <a:srgbClr val="00B0F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defTabSz="684213">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1pPr>
                <a:lvl2pPr defTabSz="684213">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2pPr>
                <a:lvl3pPr defTabSz="684213">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3pPr>
                <a:lvl4pPr defTabSz="684213">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4pPr>
                <a:lvl5pPr defTabSz="684213">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5pPr>
                <a:lvl6pPr marL="457200" indent="1828800" defTabSz="684213"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6pPr>
                <a:lvl7pPr marL="914400" indent="1828800" defTabSz="684213"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7pPr>
                <a:lvl8pPr marL="1371600" indent="1828800" defTabSz="684213"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8pPr>
                <a:lvl9pPr marL="1828800" indent="1828800" defTabSz="684213"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9pPr>
              </a:lstStyle>
              <a:p>
                <a:pPr defTabSz="684019">
                  <a:defRPr/>
                </a:pPr>
                <a:endParaRPr lang="zh-CN" altLang="zh-CN" sz="400" b="1" kern="0" dirty="0">
                  <a:solidFill>
                    <a:schemeClr val="bg1"/>
                  </a:solidFill>
                  <a:cs typeface="Arial" panose="020B0604020202020204" pitchFamily="34" charset="0"/>
                  <a:sym typeface="Arial" panose="020B0604020202020204" pitchFamily="34" charset="0"/>
                </a:endParaRPr>
              </a:p>
            </p:txBody>
          </p:sp>
          <p:sp>
            <p:nvSpPr>
              <p:cNvPr id="276" name="Line 198"/>
              <p:cNvSpPr>
                <a:spLocks noChangeShapeType="1"/>
              </p:cNvSpPr>
              <p:nvPr/>
            </p:nvSpPr>
            <p:spPr bwMode="auto">
              <a:xfrm flipH="1" flipV="1">
                <a:off x="-1" y="79775"/>
                <a:ext cx="148023" cy="2"/>
              </a:xfrm>
              <a:prstGeom prst="line">
                <a:avLst/>
              </a:prstGeom>
              <a:grpFill/>
              <a:ln w="3175" cap="flat" cmpd="sng">
                <a:solidFill>
                  <a:srgbClr val="00B0F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lvl1pPr defTabSz="45720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1pPr>
                <a:lvl2pPr defTabSz="45720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2pPr>
                <a:lvl3pPr defTabSz="45720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3pPr>
                <a:lvl4pPr defTabSz="45720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4pPr>
                <a:lvl5pPr defTabSz="45720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5pPr>
                <a:lvl6pPr marL="457200" indent="1828800" defTabSz="45720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6pPr>
                <a:lvl7pPr marL="914400" indent="1828800" defTabSz="45720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7pPr>
                <a:lvl8pPr marL="1371600" indent="1828800" defTabSz="45720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8pPr>
                <a:lvl9pPr marL="1828800" indent="1828800" defTabSz="45720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9pPr>
              </a:lstStyle>
              <a:p>
                <a:pPr defTabSz="457071">
                  <a:defRPr/>
                </a:pPr>
                <a:endParaRPr lang="zh-CN" altLang="zh-CN" sz="1200" kern="0" dirty="0">
                  <a:solidFill>
                    <a:schemeClr val="bg1"/>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endParaRPr>
              </a:p>
            </p:txBody>
          </p:sp>
          <p:sp>
            <p:nvSpPr>
              <p:cNvPr id="277" name="Line 199"/>
              <p:cNvSpPr>
                <a:spLocks noChangeShapeType="1"/>
              </p:cNvSpPr>
              <p:nvPr/>
            </p:nvSpPr>
            <p:spPr bwMode="auto">
              <a:xfrm flipH="1" flipV="1">
                <a:off x="1114" y="135751"/>
                <a:ext cx="148023" cy="2"/>
              </a:xfrm>
              <a:prstGeom prst="line">
                <a:avLst/>
              </a:prstGeom>
              <a:grpFill/>
              <a:ln w="3175" cap="flat" cmpd="sng">
                <a:solidFill>
                  <a:srgbClr val="00B0F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lvl1pPr defTabSz="45720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1pPr>
                <a:lvl2pPr defTabSz="45720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2pPr>
                <a:lvl3pPr defTabSz="45720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3pPr>
                <a:lvl4pPr defTabSz="45720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4pPr>
                <a:lvl5pPr defTabSz="457200">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5pPr>
                <a:lvl6pPr marL="457200" indent="1828800" defTabSz="45720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6pPr>
                <a:lvl7pPr marL="914400" indent="1828800" defTabSz="45720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7pPr>
                <a:lvl8pPr marL="1371600" indent="1828800" defTabSz="45720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8pPr>
                <a:lvl9pPr marL="1828800" indent="1828800" defTabSz="457200" fontAlgn="base" hangingPunct="0">
                  <a:spcBef>
                    <a:spcPct val="0"/>
                  </a:spcBef>
                  <a:spcAft>
                    <a:spcPct val="0"/>
                  </a:spcAft>
                  <a:defRPr>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defRPr>
                </a:lvl9pPr>
              </a:lstStyle>
              <a:p>
                <a:pPr defTabSz="457071">
                  <a:defRPr/>
                </a:pPr>
                <a:endParaRPr lang="zh-CN" altLang="zh-CN" sz="1200" kern="0" dirty="0">
                  <a:solidFill>
                    <a:schemeClr val="bg1"/>
                  </a:solidFill>
                  <a:latin typeface="Helvetica" panose="020B0604020202020204" pitchFamily="34" charset="0"/>
                  <a:ea typeface="Helvetica" panose="020B0604020202020204" pitchFamily="34" charset="0"/>
                  <a:cs typeface="Helvetica" panose="020B0604020202020204" pitchFamily="34" charset="0"/>
                  <a:sym typeface="Helvetica" panose="020B0604020202020204" pitchFamily="34" charset="0"/>
                </a:endParaRPr>
              </a:p>
            </p:txBody>
          </p:sp>
        </p:grpSp>
        <p:sp>
          <p:nvSpPr>
            <p:cNvPr id="278" name="Rectangle 201"/>
            <p:cNvSpPr>
              <a:spLocks/>
            </p:cNvSpPr>
            <p:nvPr/>
          </p:nvSpPr>
          <p:spPr bwMode="auto">
            <a:xfrm>
              <a:off x="3265608" y="1566536"/>
              <a:ext cx="2051546" cy="705725"/>
            </a:xfrm>
            <a:prstGeom prst="rect">
              <a:avLst/>
            </a:prstGeom>
            <a:grpFill/>
            <a:ln w="6350" cap="flat" cmpd="sng">
              <a:solidFill>
                <a:srgbClr val="00B0F0"/>
              </a:solidFill>
              <a:prstDash val="dash"/>
              <a:round/>
              <a:headEnd type="none" w="med" len="med"/>
              <a:tailEnd type="none" w="med" len="med"/>
            </a:ln>
            <a:effectLst/>
          </p:spPr>
          <p:txBody>
            <a:bodyPr lIns="0" tIns="0" rIns="0" bIns="0" anchor="ctr"/>
            <a:lstStyle/>
            <a:p>
              <a:pPr algn="ctr" defTabSz="914141">
                <a:defRPr/>
              </a:pPr>
              <a:endParaRPr lang="zh-CN" altLang="zh-CN" sz="1799" kern="0" dirty="0">
                <a:solidFill>
                  <a:schemeClr val="bg1"/>
                </a:solidFill>
                <a:latin typeface="Calibri" panose="020F0502020204030204" pitchFamily="34" charset="0"/>
                <a:cs typeface="Arial" panose="020B0604020202020204" pitchFamily="34" charset="0"/>
                <a:sym typeface="Arial" panose="020B0604020202020204" pitchFamily="34" charset="0"/>
              </a:endParaRPr>
            </a:p>
          </p:txBody>
        </p:sp>
        <p:grpSp>
          <p:nvGrpSpPr>
            <p:cNvPr id="333" name="Group 175"/>
            <p:cNvGrpSpPr>
              <a:grpSpLocks/>
            </p:cNvGrpSpPr>
            <p:nvPr/>
          </p:nvGrpSpPr>
          <p:grpSpPr bwMode="auto">
            <a:xfrm>
              <a:off x="3862088" y="2492752"/>
              <a:ext cx="640080" cy="283961"/>
              <a:chOff x="0" y="0"/>
              <a:chExt cx="395981" cy="149613"/>
            </a:xfrm>
            <a:grpFill/>
          </p:grpSpPr>
          <p:sp>
            <p:nvSpPr>
              <p:cNvPr id="334" name="AutoShape 180"/>
              <p:cNvSpPr>
                <a:spLocks/>
              </p:cNvSpPr>
              <p:nvPr/>
            </p:nvSpPr>
            <p:spPr bwMode="auto">
              <a:xfrm>
                <a:off x="0" y="87549"/>
                <a:ext cx="395981" cy="6206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808" y="0"/>
                    </a:moveTo>
                    <a:lnTo>
                      <a:pt x="20792" y="0"/>
                    </a:lnTo>
                    <a:lnTo>
                      <a:pt x="20835" y="5"/>
                    </a:lnTo>
                    <a:lnTo>
                      <a:pt x="20875" y="16"/>
                    </a:lnTo>
                    <a:lnTo>
                      <a:pt x="20915" y="38"/>
                    </a:lnTo>
                    <a:lnTo>
                      <a:pt x="20954" y="71"/>
                    </a:lnTo>
                    <a:lnTo>
                      <a:pt x="20994" y="109"/>
                    </a:lnTo>
                    <a:lnTo>
                      <a:pt x="21032" y="152"/>
                    </a:lnTo>
                    <a:lnTo>
                      <a:pt x="21069" y="212"/>
                    </a:lnTo>
                    <a:lnTo>
                      <a:pt x="21106" y="267"/>
                    </a:lnTo>
                    <a:lnTo>
                      <a:pt x="21142" y="338"/>
                    </a:lnTo>
                    <a:lnTo>
                      <a:pt x="21175" y="414"/>
                    </a:lnTo>
                    <a:lnTo>
                      <a:pt x="21210" y="495"/>
                    </a:lnTo>
                    <a:lnTo>
                      <a:pt x="21244" y="588"/>
                    </a:lnTo>
                    <a:lnTo>
                      <a:pt x="21275" y="675"/>
                    </a:lnTo>
                    <a:lnTo>
                      <a:pt x="21306" y="778"/>
                    </a:lnTo>
                    <a:lnTo>
                      <a:pt x="21336" y="887"/>
                    </a:lnTo>
                    <a:lnTo>
                      <a:pt x="21362" y="1002"/>
                    </a:lnTo>
                    <a:lnTo>
                      <a:pt x="21389" y="1116"/>
                    </a:lnTo>
                    <a:lnTo>
                      <a:pt x="21415" y="1241"/>
                    </a:lnTo>
                    <a:lnTo>
                      <a:pt x="21440" y="1372"/>
                    </a:lnTo>
                    <a:lnTo>
                      <a:pt x="21462" y="1502"/>
                    </a:lnTo>
                    <a:lnTo>
                      <a:pt x="21482" y="1644"/>
                    </a:lnTo>
                    <a:lnTo>
                      <a:pt x="21502" y="1785"/>
                    </a:lnTo>
                    <a:lnTo>
                      <a:pt x="21520" y="1927"/>
                    </a:lnTo>
                    <a:lnTo>
                      <a:pt x="21537" y="2079"/>
                    </a:lnTo>
                    <a:lnTo>
                      <a:pt x="21550" y="2237"/>
                    </a:lnTo>
                    <a:lnTo>
                      <a:pt x="21564" y="2395"/>
                    </a:lnTo>
                    <a:lnTo>
                      <a:pt x="21574" y="2553"/>
                    </a:lnTo>
                    <a:lnTo>
                      <a:pt x="21583" y="2716"/>
                    </a:lnTo>
                    <a:lnTo>
                      <a:pt x="21591" y="2885"/>
                    </a:lnTo>
                    <a:lnTo>
                      <a:pt x="21596" y="3054"/>
                    </a:lnTo>
                    <a:lnTo>
                      <a:pt x="21599" y="3223"/>
                    </a:lnTo>
                    <a:lnTo>
                      <a:pt x="21600" y="3402"/>
                    </a:lnTo>
                    <a:lnTo>
                      <a:pt x="21600" y="18198"/>
                    </a:lnTo>
                    <a:lnTo>
                      <a:pt x="21599" y="18377"/>
                    </a:lnTo>
                    <a:lnTo>
                      <a:pt x="21596" y="18546"/>
                    </a:lnTo>
                    <a:lnTo>
                      <a:pt x="21591" y="18715"/>
                    </a:lnTo>
                    <a:lnTo>
                      <a:pt x="21583" y="18884"/>
                    </a:lnTo>
                    <a:lnTo>
                      <a:pt x="21574" y="19047"/>
                    </a:lnTo>
                    <a:lnTo>
                      <a:pt x="21564" y="19210"/>
                    </a:lnTo>
                    <a:lnTo>
                      <a:pt x="21550" y="19363"/>
                    </a:lnTo>
                    <a:lnTo>
                      <a:pt x="21537" y="19521"/>
                    </a:lnTo>
                    <a:lnTo>
                      <a:pt x="21520" y="19673"/>
                    </a:lnTo>
                    <a:lnTo>
                      <a:pt x="21502" y="19820"/>
                    </a:lnTo>
                    <a:lnTo>
                      <a:pt x="21482" y="19961"/>
                    </a:lnTo>
                    <a:lnTo>
                      <a:pt x="21462" y="20098"/>
                    </a:lnTo>
                    <a:lnTo>
                      <a:pt x="21440" y="20228"/>
                    </a:lnTo>
                    <a:lnTo>
                      <a:pt x="21415" y="20359"/>
                    </a:lnTo>
                    <a:lnTo>
                      <a:pt x="21389" y="20484"/>
                    </a:lnTo>
                    <a:lnTo>
                      <a:pt x="21362" y="20598"/>
                    </a:lnTo>
                    <a:lnTo>
                      <a:pt x="21336" y="20713"/>
                    </a:lnTo>
                    <a:lnTo>
                      <a:pt x="21306" y="20822"/>
                    </a:lnTo>
                    <a:lnTo>
                      <a:pt x="21275" y="20925"/>
                    </a:lnTo>
                    <a:lnTo>
                      <a:pt x="21244" y="21018"/>
                    </a:lnTo>
                    <a:lnTo>
                      <a:pt x="21210" y="21105"/>
                    </a:lnTo>
                    <a:lnTo>
                      <a:pt x="21175" y="21192"/>
                    </a:lnTo>
                    <a:lnTo>
                      <a:pt x="21142" y="21262"/>
                    </a:lnTo>
                    <a:lnTo>
                      <a:pt x="21106" y="21333"/>
                    </a:lnTo>
                    <a:lnTo>
                      <a:pt x="21069" y="21393"/>
                    </a:lnTo>
                    <a:lnTo>
                      <a:pt x="21032" y="21448"/>
                    </a:lnTo>
                    <a:lnTo>
                      <a:pt x="20994" y="21491"/>
                    </a:lnTo>
                    <a:lnTo>
                      <a:pt x="20954" y="21529"/>
                    </a:lnTo>
                    <a:lnTo>
                      <a:pt x="20915" y="21562"/>
                    </a:lnTo>
                    <a:lnTo>
                      <a:pt x="20875" y="21584"/>
                    </a:lnTo>
                    <a:lnTo>
                      <a:pt x="20835" y="21595"/>
                    </a:lnTo>
                    <a:lnTo>
                      <a:pt x="20792" y="21600"/>
                    </a:lnTo>
                    <a:lnTo>
                      <a:pt x="808" y="21600"/>
                    </a:lnTo>
                    <a:lnTo>
                      <a:pt x="765" y="21595"/>
                    </a:lnTo>
                    <a:lnTo>
                      <a:pt x="725" y="21584"/>
                    </a:lnTo>
                    <a:lnTo>
                      <a:pt x="685" y="21562"/>
                    </a:lnTo>
                    <a:lnTo>
                      <a:pt x="646" y="21529"/>
                    </a:lnTo>
                    <a:lnTo>
                      <a:pt x="606" y="21491"/>
                    </a:lnTo>
                    <a:lnTo>
                      <a:pt x="567" y="21448"/>
                    </a:lnTo>
                    <a:lnTo>
                      <a:pt x="531" y="21393"/>
                    </a:lnTo>
                    <a:lnTo>
                      <a:pt x="494" y="21333"/>
                    </a:lnTo>
                    <a:lnTo>
                      <a:pt x="422" y="21192"/>
                    </a:lnTo>
                    <a:lnTo>
                      <a:pt x="388" y="21105"/>
                    </a:lnTo>
                    <a:lnTo>
                      <a:pt x="356" y="21018"/>
                    </a:lnTo>
                    <a:lnTo>
                      <a:pt x="325" y="20925"/>
                    </a:lnTo>
                    <a:lnTo>
                      <a:pt x="294" y="20822"/>
                    </a:lnTo>
                    <a:lnTo>
                      <a:pt x="264" y="20713"/>
                    </a:lnTo>
                    <a:lnTo>
                      <a:pt x="238" y="20598"/>
                    </a:lnTo>
                    <a:lnTo>
                      <a:pt x="211" y="20484"/>
                    </a:lnTo>
                    <a:lnTo>
                      <a:pt x="185" y="20359"/>
                    </a:lnTo>
                    <a:lnTo>
                      <a:pt x="160" y="20228"/>
                    </a:lnTo>
                    <a:lnTo>
                      <a:pt x="137" y="20098"/>
                    </a:lnTo>
                    <a:lnTo>
                      <a:pt x="118" y="19961"/>
                    </a:lnTo>
                    <a:lnTo>
                      <a:pt x="97" y="19820"/>
                    </a:lnTo>
                    <a:lnTo>
                      <a:pt x="80" y="19673"/>
                    </a:lnTo>
                    <a:lnTo>
                      <a:pt x="63" y="19521"/>
                    </a:lnTo>
                    <a:lnTo>
                      <a:pt x="49" y="19363"/>
                    </a:lnTo>
                    <a:lnTo>
                      <a:pt x="36" y="19210"/>
                    </a:lnTo>
                    <a:lnTo>
                      <a:pt x="26" y="19047"/>
                    </a:lnTo>
                    <a:lnTo>
                      <a:pt x="17" y="18884"/>
                    </a:lnTo>
                    <a:lnTo>
                      <a:pt x="9" y="18715"/>
                    </a:lnTo>
                    <a:lnTo>
                      <a:pt x="4" y="18546"/>
                    </a:lnTo>
                    <a:lnTo>
                      <a:pt x="1" y="18377"/>
                    </a:lnTo>
                    <a:lnTo>
                      <a:pt x="0" y="18198"/>
                    </a:lnTo>
                    <a:lnTo>
                      <a:pt x="0" y="3402"/>
                    </a:lnTo>
                    <a:lnTo>
                      <a:pt x="1" y="3223"/>
                    </a:lnTo>
                    <a:lnTo>
                      <a:pt x="4" y="3054"/>
                    </a:lnTo>
                    <a:lnTo>
                      <a:pt x="9" y="2885"/>
                    </a:lnTo>
                    <a:lnTo>
                      <a:pt x="17" y="2716"/>
                    </a:lnTo>
                    <a:lnTo>
                      <a:pt x="26" y="2553"/>
                    </a:lnTo>
                    <a:lnTo>
                      <a:pt x="36" y="2395"/>
                    </a:lnTo>
                    <a:lnTo>
                      <a:pt x="49" y="2237"/>
                    </a:lnTo>
                    <a:lnTo>
                      <a:pt x="63" y="2079"/>
                    </a:lnTo>
                    <a:lnTo>
                      <a:pt x="80" y="1927"/>
                    </a:lnTo>
                    <a:lnTo>
                      <a:pt x="97" y="1785"/>
                    </a:lnTo>
                    <a:lnTo>
                      <a:pt x="118" y="1644"/>
                    </a:lnTo>
                    <a:lnTo>
                      <a:pt x="137" y="1502"/>
                    </a:lnTo>
                    <a:lnTo>
                      <a:pt x="160" y="1372"/>
                    </a:lnTo>
                    <a:lnTo>
                      <a:pt x="185" y="1241"/>
                    </a:lnTo>
                    <a:lnTo>
                      <a:pt x="211" y="1116"/>
                    </a:lnTo>
                    <a:lnTo>
                      <a:pt x="238" y="1002"/>
                    </a:lnTo>
                    <a:lnTo>
                      <a:pt x="264" y="887"/>
                    </a:lnTo>
                    <a:lnTo>
                      <a:pt x="294" y="778"/>
                    </a:lnTo>
                    <a:lnTo>
                      <a:pt x="325" y="675"/>
                    </a:lnTo>
                    <a:lnTo>
                      <a:pt x="356" y="588"/>
                    </a:lnTo>
                    <a:lnTo>
                      <a:pt x="388" y="495"/>
                    </a:lnTo>
                    <a:lnTo>
                      <a:pt x="422" y="414"/>
                    </a:lnTo>
                    <a:lnTo>
                      <a:pt x="458" y="338"/>
                    </a:lnTo>
                    <a:lnTo>
                      <a:pt x="494" y="267"/>
                    </a:lnTo>
                    <a:lnTo>
                      <a:pt x="531" y="212"/>
                    </a:lnTo>
                    <a:lnTo>
                      <a:pt x="567" y="152"/>
                    </a:lnTo>
                    <a:lnTo>
                      <a:pt x="606" y="109"/>
                    </a:lnTo>
                    <a:lnTo>
                      <a:pt x="646" y="71"/>
                    </a:lnTo>
                    <a:lnTo>
                      <a:pt x="685" y="38"/>
                    </a:lnTo>
                    <a:lnTo>
                      <a:pt x="725" y="16"/>
                    </a:lnTo>
                    <a:lnTo>
                      <a:pt x="765" y="5"/>
                    </a:lnTo>
                    <a:lnTo>
                      <a:pt x="808" y="0"/>
                    </a:lnTo>
                    <a:close/>
                    <a:moveTo>
                      <a:pt x="17865" y="13222"/>
                    </a:moveTo>
                    <a:lnTo>
                      <a:pt x="17888" y="13228"/>
                    </a:lnTo>
                    <a:lnTo>
                      <a:pt x="17912" y="13244"/>
                    </a:lnTo>
                    <a:lnTo>
                      <a:pt x="17934" y="13266"/>
                    </a:lnTo>
                    <a:lnTo>
                      <a:pt x="17956" y="13304"/>
                    </a:lnTo>
                    <a:lnTo>
                      <a:pt x="17977" y="13342"/>
                    </a:lnTo>
                    <a:lnTo>
                      <a:pt x="17995" y="13391"/>
                    </a:lnTo>
                    <a:lnTo>
                      <a:pt x="18015" y="13451"/>
                    </a:lnTo>
                    <a:lnTo>
                      <a:pt x="18030" y="13511"/>
                    </a:lnTo>
                    <a:lnTo>
                      <a:pt x="18046" y="13587"/>
                    </a:lnTo>
                    <a:lnTo>
                      <a:pt x="18060" y="13663"/>
                    </a:lnTo>
                    <a:lnTo>
                      <a:pt x="18072" y="13745"/>
                    </a:lnTo>
                    <a:lnTo>
                      <a:pt x="18082" y="13832"/>
                    </a:lnTo>
                    <a:lnTo>
                      <a:pt x="18090" y="13925"/>
                    </a:lnTo>
                    <a:lnTo>
                      <a:pt x="18095" y="14017"/>
                    </a:lnTo>
                    <a:lnTo>
                      <a:pt x="18100" y="14115"/>
                    </a:lnTo>
                    <a:lnTo>
                      <a:pt x="18101" y="14219"/>
                    </a:lnTo>
                    <a:lnTo>
                      <a:pt x="18100" y="14322"/>
                    </a:lnTo>
                    <a:lnTo>
                      <a:pt x="18095" y="14415"/>
                    </a:lnTo>
                    <a:lnTo>
                      <a:pt x="18090" y="14513"/>
                    </a:lnTo>
                    <a:lnTo>
                      <a:pt x="18082" y="14605"/>
                    </a:lnTo>
                    <a:lnTo>
                      <a:pt x="18072" y="14692"/>
                    </a:lnTo>
                    <a:lnTo>
                      <a:pt x="18060" y="14774"/>
                    </a:lnTo>
                    <a:lnTo>
                      <a:pt x="18046" y="14850"/>
                    </a:lnTo>
                    <a:lnTo>
                      <a:pt x="18030" y="14921"/>
                    </a:lnTo>
                    <a:lnTo>
                      <a:pt x="18015" y="14986"/>
                    </a:lnTo>
                    <a:lnTo>
                      <a:pt x="17995" y="15041"/>
                    </a:lnTo>
                    <a:lnTo>
                      <a:pt x="17977" y="15095"/>
                    </a:lnTo>
                    <a:lnTo>
                      <a:pt x="17956" y="15133"/>
                    </a:lnTo>
                    <a:lnTo>
                      <a:pt x="17934" y="15166"/>
                    </a:lnTo>
                    <a:lnTo>
                      <a:pt x="17912" y="15193"/>
                    </a:lnTo>
                    <a:lnTo>
                      <a:pt x="17888" y="15209"/>
                    </a:lnTo>
                    <a:lnTo>
                      <a:pt x="17865" y="15215"/>
                    </a:lnTo>
                    <a:lnTo>
                      <a:pt x="17840" y="15209"/>
                    </a:lnTo>
                    <a:lnTo>
                      <a:pt x="17815" y="15193"/>
                    </a:lnTo>
                    <a:lnTo>
                      <a:pt x="17795" y="15166"/>
                    </a:lnTo>
                    <a:lnTo>
                      <a:pt x="17773" y="15133"/>
                    </a:lnTo>
                    <a:lnTo>
                      <a:pt x="17751" y="15095"/>
                    </a:lnTo>
                    <a:lnTo>
                      <a:pt x="17733" y="15041"/>
                    </a:lnTo>
                    <a:lnTo>
                      <a:pt x="17713" y="14986"/>
                    </a:lnTo>
                    <a:lnTo>
                      <a:pt x="17698" y="14921"/>
                    </a:lnTo>
                    <a:lnTo>
                      <a:pt x="17682" y="14850"/>
                    </a:lnTo>
                    <a:lnTo>
                      <a:pt x="17669" y="14774"/>
                    </a:lnTo>
                    <a:lnTo>
                      <a:pt x="17656" y="14692"/>
                    </a:lnTo>
                    <a:lnTo>
                      <a:pt x="17647" y="14605"/>
                    </a:lnTo>
                    <a:lnTo>
                      <a:pt x="17639" y="14513"/>
                    </a:lnTo>
                    <a:lnTo>
                      <a:pt x="17633" y="14415"/>
                    </a:lnTo>
                    <a:lnTo>
                      <a:pt x="17630" y="14322"/>
                    </a:lnTo>
                    <a:lnTo>
                      <a:pt x="17628" y="14219"/>
                    </a:lnTo>
                    <a:lnTo>
                      <a:pt x="17630" y="14115"/>
                    </a:lnTo>
                    <a:lnTo>
                      <a:pt x="17633" y="14017"/>
                    </a:lnTo>
                    <a:lnTo>
                      <a:pt x="17639" y="13925"/>
                    </a:lnTo>
                    <a:lnTo>
                      <a:pt x="17647" y="13832"/>
                    </a:lnTo>
                    <a:lnTo>
                      <a:pt x="17656" y="13745"/>
                    </a:lnTo>
                    <a:lnTo>
                      <a:pt x="17669" y="13663"/>
                    </a:lnTo>
                    <a:lnTo>
                      <a:pt x="17682" y="13587"/>
                    </a:lnTo>
                    <a:lnTo>
                      <a:pt x="17698" y="13511"/>
                    </a:lnTo>
                    <a:lnTo>
                      <a:pt x="17713" y="13451"/>
                    </a:lnTo>
                    <a:lnTo>
                      <a:pt x="17733" y="13391"/>
                    </a:lnTo>
                    <a:lnTo>
                      <a:pt x="17751" y="13342"/>
                    </a:lnTo>
                    <a:lnTo>
                      <a:pt x="17795" y="13266"/>
                    </a:lnTo>
                    <a:lnTo>
                      <a:pt x="17815" y="13244"/>
                    </a:lnTo>
                    <a:lnTo>
                      <a:pt x="17840" y="13228"/>
                    </a:lnTo>
                    <a:lnTo>
                      <a:pt x="17865" y="13222"/>
                    </a:lnTo>
                    <a:close/>
                    <a:moveTo>
                      <a:pt x="18561" y="13222"/>
                    </a:moveTo>
                    <a:lnTo>
                      <a:pt x="18585" y="13228"/>
                    </a:lnTo>
                    <a:lnTo>
                      <a:pt x="18609" y="13244"/>
                    </a:lnTo>
                    <a:lnTo>
                      <a:pt x="18631" y="13266"/>
                    </a:lnTo>
                    <a:lnTo>
                      <a:pt x="18653" y="13304"/>
                    </a:lnTo>
                    <a:lnTo>
                      <a:pt x="18673" y="13342"/>
                    </a:lnTo>
                    <a:lnTo>
                      <a:pt x="18693" y="13391"/>
                    </a:lnTo>
                    <a:lnTo>
                      <a:pt x="18729" y="13511"/>
                    </a:lnTo>
                    <a:lnTo>
                      <a:pt x="18743" y="13587"/>
                    </a:lnTo>
                    <a:lnTo>
                      <a:pt x="18756" y="13663"/>
                    </a:lnTo>
                    <a:lnTo>
                      <a:pt x="18769" y="13745"/>
                    </a:lnTo>
                    <a:lnTo>
                      <a:pt x="18778" y="13832"/>
                    </a:lnTo>
                    <a:lnTo>
                      <a:pt x="18786" y="13925"/>
                    </a:lnTo>
                    <a:lnTo>
                      <a:pt x="18793" y="14017"/>
                    </a:lnTo>
                    <a:lnTo>
                      <a:pt x="18796" y="14115"/>
                    </a:lnTo>
                    <a:lnTo>
                      <a:pt x="18798" y="14219"/>
                    </a:lnTo>
                    <a:lnTo>
                      <a:pt x="18796" y="14322"/>
                    </a:lnTo>
                    <a:lnTo>
                      <a:pt x="18793" y="14415"/>
                    </a:lnTo>
                    <a:lnTo>
                      <a:pt x="18786" y="14513"/>
                    </a:lnTo>
                    <a:lnTo>
                      <a:pt x="18778" y="14605"/>
                    </a:lnTo>
                    <a:lnTo>
                      <a:pt x="18769" y="14692"/>
                    </a:lnTo>
                    <a:lnTo>
                      <a:pt x="18756" y="14774"/>
                    </a:lnTo>
                    <a:lnTo>
                      <a:pt x="18743" y="14850"/>
                    </a:lnTo>
                    <a:lnTo>
                      <a:pt x="18729" y="14921"/>
                    </a:lnTo>
                    <a:lnTo>
                      <a:pt x="18711" y="14986"/>
                    </a:lnTo>
                    <a:lnTo>
                      <a:pt x="18693" y="15041"/>
                    </a:lnTo>
                    <a:lnTo>
                      <a:pt x="18673" y="15095"/>
                    </a:lnTo>
                    <a:lnTo>
                      <a:pt x="18653" y="15133"/>
                    </a:lnTo>
                    <a:lnTo>
                      <a:pt x="18631" y="15166"/>
                    </a:lnTo>
                    <a:lnTo>
                      <a:pt x="18609" y="15193"/>
                    </a:lnTo>
                    <a:lnTo>
                      <a:pt x="18585" y="15209"/>
                    </a:lnTo>
                    <a:lnTo>
                      <a:pt x="18561" y="15215"/>
                    </a:lnTo>
                    <a:lnTo>
                      <a:pt x="18536" y="15209"/>
                    </a:lnTo>
                    <a:lnTo>
                      <a:pt x="18514" y="15193"/>
                    </a:lnTo>
                    <a:lnTo>
                      <a:pt x="18491" y="15166"/>
                    </a:lnTo>
                    <a:lnTo>
                      <a:pt x="18469" y="15133"/>
                    </a:lnTo>
                    <a:lnTo>
                      <a:pt x="18450" y="15095"/>
                    </a:lnTo>
                    <a:lnTo>
                      <a:pt x="18429" y="15041"/>
                    </a:lnTo>
                    <a:lnTo>
                      <a:pt x="18411" y="14986"/>
                    </a:lnTo>
                    <a:lnTo>
                      <a:pt x="18378" y="14850"/>
                    </a:lnTo>
                    <a:lnTo>
                      <a:pt x="18365" y="14774"/>
                    </a:lnTo>
                    <a:lnTo>
                      <a:pt x="18354" y="14692"/>
                    </a:lnTo>
                    <a:lnTo>
                      <a:pt x="18343" y="14605"/>
                    </a:lnTo>
                    <a:lnTo>
                      <a:pt x="18336" y="14513"/>
                    </a:lnTo>
                    <a:lnTo>
                      <a:pt x="18330" y="14415"/>
                    </a:lnTo>
                    <a:lnTo>
                      <a:pt x="18327" y="14322"/>
                    </a:lnTo>
                    <a:lnTo>
                      <a:pt x="18325" y="14219"/>
                    </a:lnTo>
                    <a:lnTo>
                      <a:pt x="18327" y="14115"/>
                    </a:lnTo>
                    <a:lnTo>
                      <a:pt x="18330" y="14017"/>
                    </a:lnTo>
                    <a:lnTo>
                      <a:pt x="18336" y="13925"/>
                    </a:lnTo>
                    <a:lnTo>
                      <a:pt x="18343" y="13832"/>
                    </a:lnTo>
                    <a:lnTo>
                      <a:pt x="18354" y="13745"/>
                    </a:lnTo>
                    <a:lnTo>
                      <a:pt x="18365" y="13663"/>
                    </a:lnTo>
                    <a:lnTo>
                      <a:pt x="18378" y="13587"/>
                    </a:lnTo>
                    <a:lnTo>
                      <a:pt x="18395" y="13511"/>
                    </a:lnTo>
                    <a:lnTo>
                      <a:pt x="18411" y="13451"/>
                    </a:lnTo>
                    <a:lnTo>
                      <a:pt x="18429" y="13391"/>
                    </a:lnTo>
                    <a:lnTo>
                      <a:pt x="18450" y="13342"/>
                    </a:lnTo>
                    <a:lnTo>
                      <a:pt x="18469" y="13304"/>
                    </a:lnTo>
                    <a:lnTo>
                      <a:pt x="18491" y="13266"/>
                    </a:lnTo>
                    <a:lnTo>
                      <a:pt x="18514" y="13244"/>
                    </a:lnTo>
                    <a:lnTo>
                      <a:pt x="18536" y="13228"/>
                    </a:lnTo>
                    <a:lnTo>
                      <a:pt x="18561" y="13222"/>
                    </a:lnTo>
                    <a:close/>
                    <a:moveTo>
                      <a:pt x="19259" y="13222"/>
                    </a:moveTo>
                    <a:lnTo>
                      <a:pt x="19282" y="13228"/>
                    </a:lnTo>
                    <a:lnTo>
                      <a:pt x="19306" y="13244"/>
                    </a:lnTo>
                    <a:lnTo>
                      <a:pt x="19328" y="13266"/>
                    </a:lnTo>
                    <a:lnTo>
                      <a:pt x="19350" y="13304"/>
                    </a:lnTo>
                    <a:lnTo>
                      <a:pt x="19371" y="13342"/>
                    </a:lnTo>
                    <a:lnTo>
                      <a:pt x="19391" y="13391"/>
                    </a:lnTo>
                    <a:lnTo>
                      <a:pt x="19409" y="13451"/>
                    </a:lnTo>
                    <a:lnTo>
                      <a:pt x="19426" y="13511"/>
                    </a:lnTo>
                    <a:lnTo>
                      <a:pt x="19440" y="13587"/>
                    </a:lnTo>
                    <a:lnTo>
                      <a:pt x="19455" y="13663"/>
                    </a:lnTo>
                    <a:lnTo>
                      <a:pt x="19466" y="13745"/>
                    </a:lnTo>
                    <a:lnTo>
                      <a:pt x="19476" y="13832"/>
                    </a:lnTo>
                    <a:lnTo>
                      <a:pt x="19485" y="13925"/>
                    </a:lnTo>
                    <a:lnTo>
                      <a:pt x="19490" y="14017"/>
                    </a:lnTo>
                    <a:lnTo>
                      <a:pt x="19494" y="14115"/>
                    </a:lnTo>
                    <a:lnTo>
                      <a:pt x="19495" y="14219"/>
                    </a:lnTo>
                    <a:lnTo>
                      <a:pt x="19494" y="14322"/>
                    </a:lnTo>
                    <a:lnTo>
                      <a:pt x="19490" y="14415"/>
                    </a:lnTo>
                    <a:lnTo>
                      <a:pt x="19485" y="14513"/>
                    </a:lnTo>
                    <a:lnTo>
                      <a:pt x="19476" y="14605"/>
                    </a:lnTo>
                    <a:lnTo>
                      <a:pt x="19466" y="14692"/>
                    </a:lnTo>
                    <a:lnTo>
                      <a:pt x="19455" y="14774"/>
                    </a:lnTo>
                    <a:lnTo>
                      <a:pt x="19440" y="14850"/>
                    </a:lnTo>
                    <a:lnTo>
                      <a:pt x="19426" y="14921"/>
                    </a:lnTo>
                    <a:lnTo>
                      <a:pt x="19409" y="14986"/>
                    </a:lnTo>
                    <a:lnTo>
                      <a:pt x="19391" y="15041"/>
                    </a:lnTo>
                    <a:lnTo>
                      <a:pt x="19371" y="15095"/>
                    </a:lnTo>
                    <a:lnTo>
                      <a:pt x="19350" y="15133"/>
                    </a:lnTo>
                    <a:lnTo>
                      <a:pt x="19328" y="15166"/>
                    </a:lnTo>
                    <a:lnTo>
                      <a:pt x="19306" y="15193"/>
                    </a:lnTo>
                    <a:lnTo>
                      <a:pt x="19282" y="15209"/>
                    </a:lnTo>
                    <a:lnTo>
                      <a:pt x="19259" y="15215"/>
                    </a:lnTo>
                    <a:lnTo>
                      <a:pt x="19235" y="15209"/>
                    </a:lnTo>
                    <a:lnTo>
                      <a:pt x="19211" y="15193"/>
                    </a:lnTo>
                    <a:lnTo>
                      <a:pt x="19189" y="15166"/>
                    </a:lnTo>
                    <a:lnTo>
                      <a:pt x="19168" y="15133"/>
                    </a:lnTo>
                    <a:lnTo>
                      <a:pt x="19146" y="15095"/>
                    </a:lnTo>
                    <a:lnTo>
                      <a:pt x="19127" y="15041"/>
                    </a:lnTo>
                    <a:lnTo>
                      <a:pt x="19108" y="14986"/>
                    </a:lnTo>
                    <a:lnTo>
                      <a:pt x="19092" y="14921"/>
                    </a:lnTo>
                    <a:lnTo>
                      <a:pt x="19077" y="14850"/>
                    </a:lnTo>
                    <a:lnTo>
                      <a:pt x="19063" y="14774"/>
                    </a:lnTo>
                    <a:lnTo>
                      <a:pt x="19051" y="14692"/>
                    </a:lnTo>
                    <a:lnTo>
                      <a:pt x="19040" y="14605"/>
                    </a:lnTo>
                    <a:lnTo>
                      <a:pt x="19033" y="14513"/>
                    </a:lnTo>
                    <a:lnTo>
                      <a:pt x="19027" y="14415"/>
                    </a:lnTo>
                    <a:lnTo>
                      <a:pt x="19024" y="14322"/>
                    </a:lnTo>
                    <a:lnTo>
                      <a:pt x="19023" y="14219"/>
                    </a:lnTo>
                    <a:lnTo>
                      <a:pt x="19024" y="14115"/>
                    </a:lnTo>
                    <a:lnTo>
                      <a:pt x="19027" y="14017"/>
                    </a:lnTo>
                    <a:lnTo>
                      <a:pt x="19040" y="13832"/>
                    </a:lnTo>
                    <a:lnTo>
                      <a:pt x="19051" y="13745"/>
                    </a:lnTo>
                    <a:lnTo>
                      <a:pt x="19063" y="13663"/>
                    </a:lnTo>
                    <a:lnTo>
                      <a:pt x="19092" y="13511"/>
                    </a:lnTo>
                    <a:lnTo>
                      <a:pt x="19108" y="13451"/>
                    </a:lnTo>
                    <a:lnTo>
                      <a:pt x="19127" y="13391"/>
                    </a:lnTo>
                    <a:lnTo>
                      <a:pt x="19146" y="13342"/>
                    </a:lnTo>
                    <a:lnTo>
                      <a:pt x="19168" y="13304"/>
                    </a:lnTo>
                    <a:lnTo>
                      <a:pt x="19189" y="13266"/>
                    </a:lnTo>
                    <a:lnTo>
                      <a:pt x="19211" y="13244"/>
                    </a:lnTo>
                    <a:lnTo>
                      <a:pt x="19235" y="13228"/>
                    </a:lnTo>
                    <a:lnTo>
                      <a:pt x="19259" y="13222"/>
                    </a:lnTo>
                    <a:close/>
                    <a:moveTo>
                      <a:pt x="19956" y="13222"/>
                    </a:moveTo>
                    <a:lnTo>
                      <a:pt x="19979" y="13228"/>
                    </a:lnTo>
                    <a:lnTo>
                      <a:pt x="20003" y="13244"/>
                    </a:lnTo>
                    <a:lnTo>
                      <a:pt x="20026" y="13266"/>
                    </a:lnTo>
                    <a:lnTo>
                      <a:pt x="20048" y="13304"/>
                    </a:lnTo>
                    <a:lnTo>
                      <a:pt x="20067" y="13342"/>
                    </a:lnTo>
                    <a:lnTo>
                      <a:pt x="20088" y="13391"/>
                    </a:lnTo>
                    <a:lnTo>
                      <a:pt x="20105" y="13451"/>
                    </a:lnTo>
                    <a:lnTo>
                      <a:pt x="20123" y="13511"/>
                    </a:lnTo>
                    <a:lnTo>
                      <a:pt x="20152" y="13663"/>
                    </a:lnTo>
                    <a:lnTo>
                      <a:pt x="20163" y="13745"/>
                    </a:lnTo>
                    <a:lnTo>
                      <a:pt x="20174" y="13832"/>
                    </a:lnTo>
                    <a:lnTo>
                      <a:pt x="20181" y="13925"/>
                    </a:lnTo>
                    <a:lnTo>
                      <a:pt x="20187" y="14017"/>
                    </a:lnTo>
                    <a:lnTo>
                      <a:pt x="20190" y="14115"/>
                    </a:lnTo>
                    <a:lnTo>
                      <a:pt x="20192" y="14219"/>
                    </a:lnTo>
                    <a:lnTo>
                      <a:pt x="20190" y="14322"/>
                    </a:lnTo>
                    <a:lnTo>
                      <a:pt x="20187" y="14415"/>
                    </a:lnTo>
                    <a:lnTo>
                      <a:pt x="20181" y="14513"/>
                    </a:lnTo>
                    <a:lnTo>
                      <a:pt x="20174" y="14605"/>
                    </a:lnTo>
                    <a:lnTo>
                      <a:pt x="20163" y="14692"/>
                    </a:lnTo>
                    <a:lnTo>
                      <a:pt x="20152" y="14774"/>
                    </a:lnTo>
                    <a:lnTo>
                      <a:pt x="20137" y="14850"/>
                    </a:lnTo>
                    <a:lnTo>
                      <a:pt x="20123" y="14921"/>
                    </a:lnTo>
                    <a:lnTo>
                      <a:pt x="20105" y="14986"/>
                    </a:lnTo>
                    <a:lnTo>
                      <a:pt x="20088" y="15041"/>
                    </a:lnTo>
                    <a:lnTo>
                      <a:pt x="20067" y="15095"/>
                    </a:lnTo>
                    <a:lnTo>
                      <a:pt x="20048" y="15133"/>
                    </a:lnTo>
                    <a:lnTo>
                      <a:pt x="20026" y="15166"/>
                    </a:lnTo>
                    <a:lnTo>
                      <a:pt x="20003" y="15193"/>
                    </a:lnTo>
                    <a:lnTo>
                      <a:pt x="19979" y="15209"/>
                    </a:lnTo>
                    <a:lnTo>
                      <a:pt x="19956" y="15215"/>
                    </a:lnTo>
                    <a:lnTo>
                      <a:pt x="19932" y="15209"/>
                    </a:lnTo>
                    <a:lnTo>
                      <a:pt x="19908" y="15193"/>
                    </a:lnTo>
                    <a:lnTo>
                      <a:pt x="19885" y="15166"/>
                    </a:lnTo>
                    <a:lnTo>
                      <a:pt x="19864" y="15133"/>
                    </a:lnTo>
                    <a:lnTo>
                      <a:pt x="19844" y="15095"/>
                    </a:lnTo>
                    <a:lnTo>
                      <a:pt x="19823" y="15041"/>
                    </a:lnTo>
                    <a:lnTo>
                      <a:pt x="19806" y="14986"/>
                    </a:lnTo>
                    <a:lnTo>
                      <a:pt x="19789" y="14921"/>
                    </a:lnTo>
                    <a:lnTo>
                      <a:pt x="19774" y="14850"/>
                    </a:lnTo>
                    <a:lnTo>
                      <a:pt x="19759" y="14774"/>
                    </a:lnTo>
                    <a:lnTo>
                      <a:pt x="19748" y="14692"/>
                    </a:lnTo>
                    <a:lnTo>
                      <a:pt x="19739" y="14605"/>
                    </a:lnTo>
                    <a:lnTo>
                      <a:pt x="19730" y="14513"/>
                    </a:lnTo>
                    <a:lnTo>
                      <a:pt x="19724" y="14415"/>
                    </a:lnTo>
                    <a:lnTo>
                      <a:pt x="19721" y="14322"/>
                    </a:lnTo>
                    <a:lnTo>
                      <a:pt x="19719" y="14219"/>
                    </a:lnTo>
                    <a:lnTo>
                      <a:pt x="19721" y="14115"/>
                    </a:lnTo>
                    <a:lnTo>
                      <a:pt x="19724" y="14017"/>
                    </a:lnTo>
                    <a:lnTo>
                      <a:pt x="19730" y="13925"/>
                    </a:lnTo>
                    <a:lnTo>
                      <a:pt x="19739" y="13832"/>
                    </a:lnTo>
                    <a:lnTo>
                      <a:pt x="19748" y="13745"/>
                    </a:lnTo>
                    <a:lnTo>
                      <a:pt x="19759" y="13663"/>
                    </a:lnTo>
                    <a:lnTo>
                      <a:pt x="19789" y="13511"/>
                    </a:lnTo>
                    <a:lnTo>
                      <a:pt x="19823" y="13391"/>
                    </a:lnTo>
                    <a:lnTo>
                      <a:pt x="19844" y="13342"/>
                    </a:lnTo>
                    <a:lnTo>
                      <a:pt x="19885" y="13266"/>
                    </a:lnTo>
                    <a:lnTo>
                      <a:pt x="19908" y="13244"/>
                    </a:lnTo>
                    <a:lnTo>
                      <a:pt x="19932" y="13228"/>
                    </a:lnTo>
                    <a:lnTo>
                      <a:pt x="19956" y="13222"/>
                    </a:lnTo>
                    <a:close/>
                    <a:moveTo>
                      <a:pt x="17709" y="5133"/>
                    </a:moveTo>
                    <a:lnTo>
                      <a:pt x="20337" y="5133"/>
                    </a:lnTo>
                    <a:lnTo>
                      <a:pt x="20337" y="8416"/>
                    </a:lnTo>
                    <a:lnTo>
                      <a:pt x="17709" y="8416"/>
                    </a:lnTo>
                    <a:lnTo>
                      <a:pt x="17709" y="5133"/>
                    </a:lnTo>
                    <a:close/>
                    <a:moveTo>
                      <a:pt x="2000" y="6113"/>
                    </a:moveTo>
                    <a:lnTo>
                      <a:pt x="2000" y="5133"/>
                    </a:lnTo>
                    <a:lnTo>
                      <a:pt x="1410" y="5133"/>
                    </a:lnTo>
                    <a:lnTo>
                      <a:pt x="1410" y="6113"/>
                    </a:lnTo>
                    <a:lnTo>
                      <a:pt x="1050" y="6113"/>
                    </a:lnTo>
                    <a:lnTo>
                      <a:pt x="1050" y="9630"/>
                    </a:lnTo>
                    <a:lnTo>
                      <a:pt x="2358" y="9630"/>
                    </a:lnTo>
                    <a:lnTo>
                      <a:pt x="2358" y="6113"/>
                    </a:lnTo>
                    <a:lnTo>
                      <a:pt x="2000" y="6113"/>
                    </a:lnTo>
                    <a:close/>
                    <a:moveTo>
                      <a:pt x="3896" y="6113"/>
                    </a:moveTo>
                    <a:lnTo>
                      <a:pt x="3896" y="5133"/>
                    </a:lnTo>
                    <a:lnTo>
                      <a:pt x="3307" y="5133"/>
                    </a:lnTo>
                    <a:lnTo>
                      <a:pt x="3307" y="6113"/>
                    </a:lnTo>
                    <a:lnTo>
                      <a:pt x="2949" y="6113"/>
                    </a:lnTo>
                    <a:lnTo>
                      <a:pt x="2949" y="9630"/>
                    </a:lnTo>
                    <a:lnTo>
                      <a:pt x="4256" y="9630"/>
                    </a:lnTo>
                    <a:lnTo>
                      <a:pt x="4256" y="6113"/>
                    </a:lnTo>
                    <a:lnTo>
                      <a:pt x="3896" y="6113"/>
                    </a:lnTo>
                    <a:close/>
                    <a:moveTo>
                      <a:pt x="5795" y="6113"/>
                    </a:moveTo>
                    <a:lnTo>
                      <a:pt x="5795" y="5133"/>
                    </a:lnTo>
                    <a:lnTo>
                      <a:pt x="5205" y="5133"/>
                    </a:lnTo>
                    <a:lnTo>
                      <a:pt x="5205" y="6113"/>
                    </a:lnTo>
                    <a:lnTo>
                      <a:pt x="4845" y="6113"/>
                    </a:lnTo>
                    <a:lnTo>
                      <a:pt x="4845" y="9630"/>
                    </a:lnTo>
                    <a:lnTo>
                      <a:pt x="6153" y="9630"/>
                    </a:lnTo>
                    <a:lnTo>
                      <a:pt x="6153" y="6113"/>
                    </a:lnTo>
                    <a:lnTo>
                      <a:pt x="5795" y="6113"/>
                    </a:lnTo>
                    <a:close/>
                    <a:moveTo>
                      <a:pt x="7691" y="6113"/>
                    </a:moveTo>
                    <a:lnTo>
                      <a:pt x="7691" y="5133"/>
                    </a:lnTo>
                    <a:lnTo>
                      <a:pt x="7101" y="5133"/>
                    </a:lnTo>
                    <a:lnTo>
                      <a:pt x="7101" y="6113"/>
                    </a:lnTo>
                    <a:lnTo>
                      <a:pt x="6742" y="6113"/>
                    </a:lnTo>
                    <a:lnTo>
                      <a:pt x="6742" y="9630"/>
                    </a:lnTo>
                    <a:lnTo>
                      <a:pt x="8050" y="9630"/>
                    </a:lnTo>
                    <a:lnTo>
                      <a:pt x="8050" y="6113"/>
                    </a:lnTo>
                    <a:lnTo>
                      <a:pt x="7691" y="6113"/>
                    </a:lnTo>
                    <a:close/>
                    <a:moveTo>
                      <a:pt x="9587" y="6113"/>
                    </a:moveTo>
                    <a:lnTo>
                      <a:pt x="9587" y="5133"/>
                    </a:lnTo>
                    <a:lnTo>
                      <a:pt x="9000" y="5133"/>
                    </a:lnTo>
                    <a:lnTo>
                      <a:pt x="9000" y="6113"/>
                    </a:lnTo>
                    <a:lnTo>
                      <a:pt x="8640" y="6113"/>
                    </a:lnTo>
                    <a:lnTo>
                      <a:pt x="8640" y="9630"/>
                    </a:lnTo>
                    <a:lnTo>
                      <a:pt x="9947" y="9630"/>
                    </a:lnTo>
                    <a:lnTo>
                      <a:pt x="9947" y="6113"/>
                    </a:lnTo>
                    <a:lnTo>
                      <a:pt x="9587" y="6113"/>
                    </a:lnTo>
                    <a:close/>
                    <a:moveTo>
                      <a:pt x="11486" y="6113"/>
                    </a:moveTo>
                    <a:lnTo>
                      <a:pt x="11486" y="5133"/>
                    </a:lnTo>
                    <a:lnTo>
                      <a:pt x="10896" y="5133"/>
                    </a:lnTo>
                    <a:lnTo>
                      <a:pt x="10896" y="6113"/>
                    </a:lnTo>
                    <a:lnTo>
                      <a:pt x="10537" y="6113"/>
                    </a:lnTo>
                    <a:lnTo>
                      <a:pt x="10537" y="9630"/>
                    </a:lnTo>
                    <a:lnTo>
                      <a:pt x="11845" y="9630"/>
                    </a:lnTo>
                    <a:lnTo>
                      <a:pt x="11845" y="6113"/>
                    </a:lnTo>
                    <a:lnTo>
                      <a:pt x="11486" y="6113"/>
                    </a:lnTo>
                    <a:close/>
                    <a:moveTo>
                      <a:pt x="13382" y="6113"/>
                    </a:moveTo>
                    <a:lnTo>
                      <a:pt x="13382" y="5133"/>
                    </a:lnTo>
                    <a:lnTo>
                      <a:pt x="12792" y="5133"/>
                    </a:lnTo>
                    <a:lnTo>
                      <a:pt x="12792" y="6113"/>
                    </a:lnTo>
                    <a:lnTo>
                      <a:pt x="12433" y="6113"/>
                    </a:lnTo>
                    <a:lnTo>
                      <a:pt x="12433" y="9630"/>
                    </a:lnTo>
                    <a:lnTo>
                      <a:pt x="13742" y="9630"/>
                    </a:lnTo>
                    <a:lnTo>
                      <a:pt x="13742" y="6113"/>
                    </a:lnTo>
                    <a:lnTo>
                      <a:pt x="13382" y="6113"/>
                    </a:lnTo>
                    <a:close/>
                    <a:moveTo>
                      <a:pt x="2000" y="15487"/>
                    </a:moveTo>
                    <a:lnTo>
                      <a:pt x="2000" y="16467"/>
                    </a:lnTo>
                    <a:lnTo>
                      <a:pt x="1410" y="16467"/>
                    </a:lnTo>
                    <a:lnTo>
                      <a:pt x="1410" y="15487"/>
                    </a:lnTo>
                    <a:lnTo>
                      <a:pt x="1050" y="15487"/>
                    </a:lnTo>
                    <a:lnTo>
                      <a:pt x="1050" y="11970"/>
                    </a:lnTo>
                    <a:lnTo>
                      <a:pt x="2358" y="11970"/>
                    </a:lnTo>
                    <a:lnTo>
                      <a:pt x="2358" y="15487"/>
                    </a:lnTo>
                    <a:lnTo>
                      <a:pt x="2000" y="15487"/>
                    </a:lnTo>
                    <a:close/>
                    <a:moveTo>
                      <a:pt x="3896" y="15487"/>
                    </a:moveTo>
                    <a:lnTo>
                      <a:pt x="3896" y="16467"/>
                    </a:lnTo>
                    <a:lnTo>
                      <a:pt x="3307" y="16467"/>
                    </a:lnTo>
                    <a:lnTo>
                      <a:pt x="3307" y="15487"/>
                    </a:lnTo>
                    <a:lnTo>
                      <a:pt x="2949" y="15487"/>
                    </a:lnTo>
                    <a:lnTo>
                      <a:pt x="2949" y="11970"/>
                    </a:lnTo>
                    <a:lnTo>
                      <a:pt x="4256" y="11970"/>
                    </a:lnTo>
                    <a:lnTo>
                      <a:pt x="4256" y="15487"/>
                    </a:lnTo>
                    <a:lnTo>
                      <a:pt x="3896" y="15487"/>
                    </a:lnTo>
                    <a:close/>
                    <a:moveTo>
                      <a:pt x="5795" y="15487"/>
                    </a:moveTo>
                    <a:lnTo>
                      <a:pt x="5795" y="16467"/>
                    </a:lnTo>
                    <a:lnTo>
                      <a:pt x="5205" y="16467"/>
                    </a:lnTo>
                    <a:lnTo>
                      <a:pt x="5205" y="15487"/>
                    </a:lnTo>
                    <a:lnTo>
                      <a:pt x="4845" y="15487"/>
                    </a:lnTo>
                    <a:lnTo>
                      <a:pt x="4845" y="11970"/>
                    </a:lnTo>
                    <a:lnTo>
                      <a:pt x="6153" y="11970"/>
                    </a:lnTo>
                    <a:lnTo>
                      <a:pt x="6153" y="15487"/>
                    </a:lnTo>
                    <a:lnTo>
                      <a:pt x="5795" y="15487"/>
                    </a:lnTo>
                    <a:close/>
                    <a:moveTo>
                      <a:pt x="7691" y="15487"/>
                    </a:moveTo>
                    <a:lnTo>
                      <a:pt x="7691" y="16467"/>
                    </a:lnTo>
                    <a:lnTo>
                      <a:pt x="7101" y="16467"/>
                    </a:lnTo>
                    <a:lnTo>
                      <a:pt x="7101" y="15487"/>
                    </a:lnTo>
                    <a:lnTo>
                      <a:pt x="6742" y="15487"/>
                    </a:lnTo>
                    <a:lnTo>
                      <a:pt x="6742" y="11970"/>
                    </a:lnTo>
                    <a:lnTo>
                      <a:pt x="8050" y="11970"/>
                    </a:lnTo>
                    <a:lnTo>
                      <a:pt x="8050" y="15487"/>
                    </a:lnTo>
                    <a:lnTo>
                      <a:pt x="7691" y="15487"/>
                    </a:lnTo>
                    <a:close/>
                    <a:moveTo>
                      <a:pt x="9587" y="15487"/>
                    </a:moveTo>
                    <a:lnTo>
                      <a:pt x="9587" y="16467"/>
                    </a:lnTo>
                    <a:lnTo>
                      <a:pt x="9000" y="16467"/>
                    </a:lnTo>
                    <a:lnTo>
                      <a:pt x="9000" y="15487"/>
                    </a:lnTo>
                    <a:lnTo>
                      <a:pt x="8640" y="15487"/>
                    </a:lnTo>
                    <a:lnTo>
                      <a:pt x="8640" y="11970"/>
                    </a:lnTo>
                    <a:lnTo>
                      <a:pt x="9947" y="11970"/>
                    </a:lnTo>
                    <a:lnTo>
                      <a:pt x="9947" y="15487"/>
                    </a:lnTo>
                    <a:lnTo>
                      <a:pt x="9587" y="15487"/>
                    </a:lnTo>
                    <a:close/>
                    <a:moveTo>
                      <a:pt x="11486" y="15487"/>
                    </a:moveTo>
                    <a:lnTo>
                      <a:pt x="11486" y="16467"/>
                    </a:lnTo>
                    <a:lnTo>
                      <a:pt x="10896" y="16467"/>
                    </a:lnTo>
                    <a:lnTo>
                      <a:pt x="10896" y="15487"/>
                    </a:lnTo>
                    <a:lnTo>
                      <a:pt x="10537" y="15487"/>
                    </a:lnTo>
                    <a:lnTo>
                      <a:pt x="10537" y="11970"/>
                    </a:lnTo>
                    <a:lnTo>
                      <a:pt x="11845" y="11970"/>
                    </a:lnTo>
                    <a:lnTo>
                      <a:pt x="11845" y="15487"/>
                    </a:lnTo>
                    <a:lnTo>
                      <a:pt x="11486" y="15487"/>
                    </a:lnTo>
                    <a:close/>
                    <a:moveTo>
                      <a:pt x="13382" y="15487"/>
                    </a:moveTo>
                    <a:lnTo>
                      <a:pt x="13382" y="16467"/>
                    </a:lnTo>
                    <a:lnTo>
                      <a:pt x="12792" y="16467"/>
                    </a:lnTo>
                    <a:lnTo>
                      <a:pt x="12792" y="15487"/>
                    </a:lnTo>
                    <a:lnTo>
                      <a:pt x="12433" y="15487"/>
                    </a:lnTo>
                    <a:lnTo>
                      <a:pt x="12433" y="11970"/>
                    </a:lnTo>
                    <a:lnTo>
                      <a:pt x="13742" y="11970"/>
                    </a:lnTo>
                    <a:lnTo>
                      <a:pt x="13742" y="15487"/>
                    </a:lnTo>
                    <a:lnTo>
                      <a:pt x="13382" y="15487"/>
                    </a:lnTo>
                    <a:close/>
                    <a:moveTo>
                      <a:pt x="15339" y="6113"/>
                    </a:moveTo>
                    <a:lnTo>
                      <a:pt x="15339" y="5133"/>
                    </a:lnTo>
                    <a:lnTo>
                      <a:pt x="14749" y="5133"/>
                    </a:lnTo>
                    <a:lnTo>
                      <a:pt x="14749" y="6113"/>
                    </a:lnTo>
                    <a:lnTo>
                      <a:pt x="14389" y="6113"/>
                    </a:lnTo>
                    <a:lnTo>
                      <a:pt x="14389" y="9630"/>
                    </a:lnTo>
                    <a:lnTo>
                      <a:pt x="15698" y="9630"/>
                    </a:lnTo>
                    <a:lnTo>
                      <a:pt x="15698" y="6113"/>
                    </a:lnTo>
                    <a:lnTo>
                      <a:pt x="15339" y="6113"/>
                    </a:lnTo>
                    <a:close/>
                    <a:moveTo>
                      <a:pt x="15339" y="15487"/>
                    </a:moveTo>
                    <a:lnTo>
                      <a:pt x="15339" y="16467"/>
                    </a:lnTo>
                    <a:lnTo>
                      <a:pt x="14749" y="16467"/>
                    </a:lnTo>
                    <a:lnTo>
                      <a:pt x="14749" y="15487"/>
                    </a:lnTo>
                    <a:lnTo>
                      <a:pt x="14389" y="15487"/>
                    </a:lnTo>
                    <a:lnTo>
                      <a:pt x="14389" y="11970"/>
                    </a:lnTo>
                    <a:lnTo>
                      <a:pt x="15698" y="11970"/>
                    </a:lnTo>
                    <a:lnTo>
                      <a:pt x="15698" y="15487"/>
                    </a:lnTo>
                    <a:lnTo>
                      <a:pt x="15339" y="15487"/>
                    </a:lnTo>
                    <a:close/>
                  </a:path>
                </a:pathLst>
              </a:custGeom>
              <a:solidFill>
                <a:schemeClr val="tx1"/>
              </a:solidFill>
              <a:ln w="12700" cap="flat" cmpd="sng">
                <a:solidFill>
                  <a:srgbClr val="00B0F0"/>
                </a:solidFill>
                <a:prstDash val="solid"/>
                <a:miter lim="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pPr defTabSz="914141">
                  <a:defRPr/>
                </a:pPr>
                <a:endParaRPr lang="zh-CN" altLang="zh-CN" sz="1799" kern="0" dirty="0">
                  <a:solidFill>
                    <a:schemeClr val="bg1"/>
                  </a:solidFill>
                  <a:latin typeface="Calibri" panose="020F0502020204030204" pitchFamily="34" charset="0"/>
                </a:endParaRPr>
              </a:p>
            </p:txBody>
          </p:sp>
          <p:sp>
            <p:nvSpPr>
              <p:cNvPr id="336" name="AutoShape 183"/>
              <p:cNvSpPr>
                <a:spLocks/>
              </p:cNvSpPr>
              <p:nvPr/>
            </p:nvSpPr>
            <p:spPr bwMode="auto">
              <a:xfrm>
                <a:off x="0" y="0"/>
                <a:ext cx="395981" cy="6206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808" y="0"/>
                    </a:moveTo>
                    <a:lnTo>
                      <a:pt x="20792" y="0"/>
                    </a:lnTo>
                    <a:lnTo>
                      <a:pt x="20835" y="5"/>
                    </a:lnTo>
                    <a:lnTo>
                      <a:pt x="20875" y="16"/>
                    </a:lnTo>
                    <a:lnTo>
                      <a:pt x="20915" y="38"/>
                    </a:lnTo>
                    <a:lnTo>
                      <a:pt x="20954" y="71"/>
                    </a:lnTo>
                    <a:lnTo>
                      <a:pt x="20994" y="109"/>
                    </a:lnTo>
                    <a:lnTo>
                      <a:pt x="21032" y="152"/>
                    </a:lnTo>
                    <a:lnTo>
                      <a:pt x="21069" y="212"/>
                    </a:lnTo>
                    <a:lnTo>
                      <a:pt x="21106" y="267"/>
                    </a:lnTo>
                    <a:lnTo>
                      <a:pt x="21142" y="338"/>
                    </a:lnTo>
                    <a:lnTo>
                      <a:pt x="21175" y="414"/>
                    </a:lnTo>
                    <a:lnTo>
                      <a:pt x="21210" y="495"/>
                    </a:lnTo>
                    <a:lnTo>
                      <a:pt x="21244" y="588"/>
                    </a:lnTo>
                    <a:lnTo>
                      <a:pt x="21275" y="675"/>
                    </a:lnTo>
                    <a:lnTo>
                      <a:pt x="21306" y="778"/>
                    </a:lnTo>
                    <a:lnTo>
                      <a:pt x="21336" y="887"/>
                    </a:lnTo>
                    <a:lnTo>
                      <a:pt x="21362" y="1002"/>
                    </a:lnTo>
                    <a:lnTo>
                      <a:pt x="21389" y="1116"/>
                    </a:lnTo>
                    <a:lnTo>
                      <a:pt x="21415" y="1241"/>
                    </a:lnTo>
                    <a:lnTo>
                      <a:pt x="21440" y="1372"/>
                    </a:lnTo>
                    <a:lnTo>
                      <a:pt x="21462" y="1502"/>
                    </a:lnTo>
                    <a:lnTo>
                      <a:pt x="21482" y="1644"/>
                    </a:lnTo>
                    <a:lnTo>
                      <a:pt x="21502" y="1785"/>
                    </a:lnTo>
                    <a:lnTo>
                      <a:pt x="21520" y="1927"/>
                    </a:lnTo>
                    <a:lnTo>
                      <a:pt x="21537" y="2079"/>
                    </a:lnTo>
                    <a:lnTo>
                      <a:pt x="21550" y="2237"/>
                    </a:lnTo>
                    <a:lnTo>
                      <a:pt x="21564" y="2395"/>
                    </a:lnTo>
                    <a:lnTo>
                      <a:pt x="21574" y="2553"/>
                    </a:lnTo>
                    <a:lnTo>
                      <a:pt x="21583" y="2716"/>
                    </a:lnTo>
                    <a:lnTo>
                      <a:pt x="21591" y="2885"/>
                    </a:lnTo>
                    <a:lnTo>
                      <a:pt x="21596" y="3054"/>
                    </a:lnTo>
                    <a:lnTo>
                      <a:pt x="21599" y="3223"/>
                    </a:lnTo>
                    <a:lnTo>
                      <a:pt x="21600" y="3402"/>
                    </a:lnTo>
                    <a:lnTo>
                      <a:pt x="21600" y="18198"/>
                    </a:lnTo>
                    <a:lnTo>
                      <a:pt x="21599" y="18377"/>
                    </a:lnTo>
                    <a:lnTo>
                      <a:pt x="21596" y="18546"/>
                    </a:lnTo>
                    <a:lnTo>
                      <a:pt x="21591" y="18715"/>
                    </a:lnTo>
                    <a:lnTo>
                      <a:pt x="21583" y="18884"/>
                    </a:lnTo>
                    <a:lnTo>
                      <a:pt x="21574" y="19047"/>
                    </a:lnTo>
                    <a:lnTo>
                      <a:pt x="21564" y="19210"/>
                    </a:lnTo>
                    <a:lnTo>
                      <a:pt x="21550" y="19363"/>
                    </a:lnTo>
                    <a:lnTo>
                      <a:pt x="21537" y="19521"/>
                    </a:lnTo>
                    <a:lnTo>
                      <a:pt x="21520" y="19673"/>
                    </a:lnTo>
                    <a:lnTo>
                      <a:pt x="21502" y="19820"/>
                    </a:lnTo>
                    <a:lnTo>
                      <a:pt x="21482" y="19961"/>
                    </a:lnTo>
                    <a:lnTo>
                      <a:pt x="21462" y="20098"/>
                    </a:lnTo>
                    <a:lnTo>
                      <a:pt x="21440" y="20228"/>
                    </a:lnTo>
                    <a:lnTo>
                      <a:pt x="21415" y="20359"/>
                    </a:lnTo>
                    <a:lnTo>
                      <a:pt x="21389" y="20484"/>
                    </a:lnTo>
                    <a:lnTo>
                      <a:pt x="21362" y="20598"/>
                    </a:lnTo>
                    <a:lnTo>
                      <a:pt x="21336" y="20713"/>
                    </a:lnTo>
                    <a:lnTo>
                      <a:pt x="21306" y="20822"/>
                    </a:lnTo>
                    <a:lnTo>
                      <a:pt x="21275" y="20925"/>
                    </a:lnTo>
                    <a:lnTo>
                      <a:pt x="21244" y="21018"/>
                    </a:lnTo>
                    <a:lnTo>
                      <a:pt x="21210" y="21105"/>
                    </a:lnTo>
                    <a:lnTo>
                      <a:pt x="21175" y="21192"/>
                    </a:lnTo>
                    <a:lnTo>
                      <a:pt x="21142" y="21262"/>
                    </a:lnTo>
                    <a:lnTo>
                      <a:pt x="21106" y="21333"/>
                    </a:lnTo>
                    <a:lnTo>
                      <a:pt x="21069" y="21393"/>
                    </a:lnTo>
                    <a:lnTo>
                      <a:pt x="21032" y="21448"/>
                    </a:lnTo>
                    <a:lnTo>
                      <a:pt x="20994" y="21491"/>
                    </a:lnTo>
                    <a:lnTo>
                      <a:pt x="20954" y="21529"/>
                    </a:lnTo>
                    <a:lnTo>
                      <a:pt x="20915" y="21562"/>
                    </a:lnTo>
                    <a:lnTo>
                      <a:pt x="20875" y="21584"/>
                    </a:lnTo>
                    <a:lnTo>
                      <a:pt x="20835" y="21595"/>
                    </a:lnTo>
                    <a:lnTo>
                      <a:pt x="20792" y="21600"/>
                    </a:lnTo>
                    <a:lnTo>
                      <a:pt x="808" y="21600"/>
                    </a:lnTo>
                    <a:lnTo>
                      <a:pt x="765" y="21595"/>
                    </a:lnTo>
                    <a:lnTo>
                      <a:pt x="725" y="21584"/>
                    </a:lnTo>
                    <a:lnTo>
                      <a:pt x="685" y="21562"/>
                    </a:lnTo>
                    <a:lnTo>
                      <a:pt x="646" y="21529"/>
                    </a:lnTo>
                    <a:lnTo>
                      <a:pt x="606" y="21491"/>
                    </a:lnTo>
                    <a:lnTo>
                      <a:pt x="567" y="21448"/>
                    </a:lnTo>
                    <a:lnTo>
                      <a:pt x="531" y="21393"/>
                    </a:lnTo>
                    <a:lnTo>
                      <a:pt x="494" y="21333"/>
                    </a:lnTo>
                    <a:lnTo>
                      <a:pt x="422" y="21192"/>
                    </a:lnTo>
                    <a:lnTo>
                      <a:pt x="388" y="21105"/>
                    </a:lnTo>
                    <a:lnTo>
                      <a:pt x="356" y="21018"/>
                    </a:lnTo>
                    <a:lnTo>
                      <a:pt x="325" y="20925"/>
                    </a:lnTo>
                    <a:lnTo>
                      <a:pt x="294" y="20822"/>
                    </a:lnTo>
                    <a:lnTo>
                      <a:pt x="264" y="20713"/>
                    </a:lnTo>
                    <a:lnTo>
                      <a:pt x="238" y="20598"/>
                    </a:lnTo>
                    <a:lnTo>
                      <a:pt x="211" y="20484"/>
                    </a:lnTo>
                    <a:lnTo>
                      <a:pt x="185" y="20359"/>
                    </a:lnTo>
                    <a:lnTo>
                      <a:pt x="160" y="20228"/>
                    </a:lnTo>
                    <a:lnTo>
                      <a:pt x="137" y="20098"/>
                    </a:lnTo>
                    <a:lnTo>
                      <a:pt x="118" y="19961"/>
                    </a:lnTo>
                    <a:lnTo>
                      <a:pt x="97" y="19820"/>
                    </a:lnTo>
                    <a:lnTo>
                      <a:pt x="80" y="19673"/>
                    </a:lnTo>
                    <a:lnTo>
                      <a:pt x="63" y="19521"/>
                    </a:lnTo>
                    <a:lnTo>
                      <a:pt x="49" y="19363"/>
                    </a:lnTo>
                    <a:lnTo>
                      <a:pt x="36" y="19210"/>
                    </a:lnTo>
                    <a:lnTo>
                      <a:pt x="26" y="19047"/>
                    </a:lnTo>
                    <a:lnTo>
                      <a:pt x="17" y="18884"/>
                    </a:lnTo>
                    <a:lnTo>
                      <a:pt x="9" y="18715"/>
                    </a:lnTo>
                    <a:lnTo>
                      <a:pt x="4" y="18546"/>
                    </a:lnTo>
                    <a:lnTo>
                      <a:pt x="1" y="18377"/>
                    </a:lnTo>
                    <a:lnTo>
                      <a:pt x="0" y="18198"/>
                    </a:lnTo>
                    <a:lnTo>
                      <a:pt x="0" y="3402"/>
                    </a:lnTo>
                    <a:lnTo>
                      <a:pt x="1" y="3223"/>
                    </a:lnTo>
                    <a:lnTo>
                      <a:pt x="4" y="3054"/>
                    </a:lnTo>
                    <a:lnTo>
                      <a:pt x="9" y="2885"/>
                    </a:lnTo>
                    <a:lnTo>
                      <a:pt x="17" y="2716"/>
                    </a:lnTo>
                    <a:lnTo>
                      <a:pt x="26" y="2553"/>
                    </a:lnTo>
                    <a:lnTo>
                      <a:pt x="36" y="2395"/>
                    </a:lnTo>
                    <a:lnTo>
                      <a:pt x="49" y="2237"/>
                    </a:lnTo>
                    <a:lnTo>
                      <a:pt x="63" y="2079"/>
                    </a:lnTo>
                    <a:lnTo>
                      <a:pt x="80" y="1927"/>
                    </a:lnTo>
                    <a:lnTo>
                      <a:pt x="97" y="1785"/>
                    </a:lnTo>
                    <a:lnTo>
                      <a:pt x="118" y="1644"/>
                    </a:lnTo>
                    <a:lnTo>
                      <a:pt x="137" y="1502"/>
                    </a:lnTo>
                    <a:lnTo>
                      <a:pt x="160" y="1372"/>
                    </a:lnTo>
                    <a:lnTo>
                      <a:pt x="185" y="1241"/>
                    </a:lnTo>
                    <a:lnTo>
                      <a:pt x="211" y="1116"/>
                    </a:lnTo>
                    <a:lnTo>
                      <a:pt x="238" y="1002"/>
                    </a:lnTo>
                    <a:lnTo>
                      <a:pt x="264" y="887"/>
                    </a:lnTo>
                    <a:lnTo>
                      <a:pt x="294" y="778"/>
                    </a:lnTo>
                    <a:lnTo>
                      <a:pt x="325" y="675"/>
                    </a:lnTo>
                    <a:lnTo>
                      <a:pt x="356" y="588"/>
                    </a:lnTo>
                    <a:lnTo>
                      <a:pt x="388" y="495"/>
                    </a:lnTo>
                    <a:lnTo>
                      <a:pt x="422" y="414"/>
                    </a:lnTo>
                    <a:lnTo>
                      <a:pt x="458" y="338"/>
                    </a:lnTo>
                    <a:lnTo>
                      <a:pt x="494" y="267"/>
                    </a:lnTo>
                    <a:lnTo>
                      <a:pt x="531" y="212"/>
                    </a:lnTo>
                    <a:lnTo>
                      <a:pt x="567" y="152"/>
                    </a:lnTo>
                    <a:lnTo>
                      <a:pt x="606" y="109"/>
                    </a:lnTo>
                    <a:lnTo>
                      <a:pt x="646" y="71"/>
                    </a:lnTo>
                    <a:lnTo>
                      <a:pt x="685" y="38"/>
                    </a:lnTo>
                    <a:lnTo>
                      <a:pt x="725" y="16"/>
                    </a:lnTo>
                    <a:lnTo>
                      <a:pt x="765" y="5"/>
                    </a:lnTo>
                    <a:lnTo>
                      <a:pt x="808" y="0"/>
                    </a:lnTo>
                    <a:close/>
                    <a:moveTo>
                      <a:pt x="17865" y="13222"/>
                    </a:moveTo>
                    <a:lnTo>
                      <a:pt x="17888" y="13228"/>
                    </a:lnTo>
                    <a:lnTo>
                      <a:pt x="17912" y="13244"/>
                    </a:lnTo>
                    <a:lnTo>
                      <a:pt x="17934" y="13266"/>
                    </a:lnTo>
                    <a:lnTo>
                      <a:pt x="17956" y="13304"/>
                    </a:lnTo>
                    <a:lnTo>
                      <a:pt x="17977" y="13342"/>
                    </a:lnTo>
                    <a:lnTo>
                      <a:pt x="17995" y="13391"/>
                    </a:lnTo>
                    <a:lnTo>
                      <a:pt x="18015" y="13451"/>
                    </a:lnTo>
                    <a:lnTo>
                      <a:pt x="18030" y="13511"/>
                    </a:lnTo>
                    <a:lnTo>
                      <a:pt x="18046" y="13587"/>
                    </a:lnTo>
                    <a:lnTo>
                      <a:pt x="18060" y="13663"/>
                    </a:lnTo>
                    <a:lnTo>
                      <a:pt x="18072" y="13745"/>
                    </a:lnTo>
                    <a:lnTo>
                      <a:pt x="18082" y="13832"/>
                    </a:lnTo>
                    <a:lnTo>
                      <a:pt x="18090" y="13925"/>
                    </a:lnTo>
                    <a:lnTo>
                      <a:pt x="18095" y="14017"/>
                    </a:lnTo>
                    <a:lnTo>
                      <a:pt x="18100" y="14115"/>
                    </a:lnTo>
                    <a:lnTo>
                      <a:pt x="18101" y="14219"/>
                    </a:lnTo>
                    <a:lnTo>
                      <a:pt x="18100" y="14322"/>
                    </a:lnTo>
                    <a:lnTo>
                      <a:pt x="18095" y="14415"/>
                    </a:lnTo>
                    <a:lnTo>
                      <a:pt x="18090" y="14513"/>
                    </a:lnTo>
                    <a:lnTo>
                      <a:pt x="18082" y="14605"/>
                    </a:lnTo>
                    <a:lnTo>
                      <a:pt x="18072" y="14692"/>
                    </a:lnTo>
                    <a:lnTo>
                      <a:pt x="18060" y="14774"/>
                    </a:lnTo>
                    <a:lnTo>
                      <a:pt x="18046" y="14850"/>
                    </a:lnTo>
                    <a:lnTo>
                      <a:pt x="18030" y="14921"/>
                    </a:lnTo>
                    <a:lnTo>
                      <a:pt x="18015" y="14986"/>
                    </a:lnTo>
                    <a:lnTo>
                      <a:pt x="17995" y="15041"/>
                    </a:lnTo>
                    <a:lnTo>
                      <a:pt x="17977" y="15095"/>
                    </a:lnTo>
                    <a:lnTo>
                      <a:pt x="17956" y="15133"/>
                    </a:lnTo>
                    <a:lnTo>
                      <a:pt x="17934" y="15166"/>
                    </a:lnTo>
                    <a:lnTo>
                      <a:pt x="17912" y="15193"/>
                    </a:lnTo>
                    <a:lnTo>
                      <a:pt x="17888" y="15209"/>
                    </a:lnTo>
                    <a:lnTo>
                      <a:pt x="17865" y="15215"/>
                    </a:lnTo>
                    <a:lnTo>
                      <a:pt x="17840" y="15209"/>
                    </a:lnTo>
                    <a:lnTo>
                      <a:pt x="17815" y="15193"/>
                    </a:lnTo>
                    <a:lnTo>
                      <a:pt x="17795" y="15166"/>
                    </a:lnTo>
                    <a:lnTo>
                      <a:pt x="17773" y="15133"/>
                    </a:lnTo>
                    <a:lnTo>
                      <a:pt x="17751" y="15095"/>
                    </a:lnTo>
                    <a:lnTo>
                      <a:pt x="17733" y="15041"/>
                    </a:lnTo>
                    <a:lnTo>
                      <a:pt x="17713" y="14986"/>
                    </a:lnTo>
                    <a:lnTo>
                      <a:pt x="17698" y="14921"/>
                    </a:lnTo>
                    <a:lnTo>
                      <a:pt x="17682" y="14850"/>
                    </a:lnTo>
                    <a:lnTo>
                      <a:pt x="17669" y="14774"/>
                    </a:lnTo>
                    <a:lnTo>
                      <a:pt x="17656" y="14692"/>
                    </a:lnTo>
                    <a:lnTo>
                      <a:pt x="17647" y="14605"/>
                    </a:lnTo>
                    <a:lnTo>
                      <a:pt x="17639" y="14513"/>
                    </a:lnTo>
                    <a:lnTo>
                      <a:pt x="17633" y="14415"/>
                    </a:lnTo>
                    <a:lnTo>
                      <a:pt x="17630" y="14322"/>
                    </a:lnTo>
                    <a:lnTo>
                      <a:pt x="17628" y="14219"/>
                    </a:lnTo>
                    <a:lnTo>
                      <a:pt x="17630" y="14115"/>
                    </a:lnTo>
                    <a:lnTo>
                      <a:pt x="17633" y="14017"/>
                    </a:lnTo>
                    <a:lnTo>
                      <a:pt x="17639" y="13925"/>
                    </a:lnTo>
                    <a:lnTo>
                      <a:pt x="17647" y="13832"/>
                    </a:lnTo>
                    <a:lnTo>
                      <a:pt x="17656" y="13745"/>
                    </a:lnTo>
                    <a:lnTo>
                      <a:pt x="17669" y="13663"/>
                    </a:lnTo>
                    <a:lnTo>
                      <a:pt x="17682" y="13587"/>
                    </a:lnTo>
                    <a:lnTo>
                      <a:pt x="17698" y="13511"/>
                    </a:lnTo>
                    <a:lnTo>
                      <a:pt x="17713" y="13451"/>
                    </a:lnTo>
                    <a:lnTo>
                      <a:pt x="17733" y="13391"/>
                    </a:lnTo>
                    <a:lnTo>
                      <a:pt x="17751" y="13342"/>
                    </a:lnTo>
                    <a:lnTo>
                      <a:pt x="17795" y="13266"/>
                    </a:lnTo>
                    <a:lnTo>
                      <a:pt x="17815" y="13244"/>
                    </a:lnTo>
                    <a:lnTo>
                      <a:pt x="17840" y="13228"/>
                    </a:lnTo>
                    <a:lnTo>
                      <a:pt x="17865" y="13222"/>
                    </a:lnTo>
                    <a:close/>
                    <a:moveTo>
                      <a:pt x="18561" y="13222"/>
                    </a:moveTo>
                    <a:lnTo>
                      <a:pt x="18585" y="13228"/>
                    </a:lnTo>
                    <a:lnTo>
                      <a:pt x="18609" y="13244"/>
                    </a:lnTo>
                    <a:lnTo>
                      <a:pt x="18631" y="13266"/>
                    </a:lnTo>
                    <a:lnTo>
                      <a:pt x="18653" y="13304"/>
                    </a:lnTo>
                    <a:lnTo>
                      <a:pt x="18673" y="13342"/>
                    </a:lnTo>
                    <a:lnTo>
                      <a:pt x="18693" y="13391"/>
                    </a:lnTo>
                    <a:lnTo>
                      <a:pt x="18729" y="13511"/>
                    </a:lnTo>
                    <a:lnTo>
                      <a:pt x="18743" y="13587"/>
                    </a:lnTo>
                    <a:lnTo>
                      <a:pt x="18756" y="13663"/>
                    </a:lnTo>
                    <a:lnTo>
                      <a:pt x="18769" y="13745"/>
                    </a:lnTo>
                    <a:lnTo>
                      <a:pt x="18778" y="13832"/>
                    </a:lnTo>
                    <a:lnTo>
                      <a:pt x="18786" y="13925"/>
                    </a:lnTo>
                    <a:lnTo>
                      <a:pt x="18793" y="14017"/>
                    </a:lnTo>
                    <a:lnTo>
                      <a:pt x="18796" y="14115"/>
                    </a:lnTo>
                    <a:lnTo>
                      <a:pt x="18798" y="14219"/>
                    </a:lnTo>
                    <a:lnTo>
                      <a:pt x="18796" y="14322"/>
                    </a:lnTo>
                    <a:lnTo>
                      <a:pt x="18793" y="14415"/>
                    </a:lnTo>
                    <a:lnTo>
                      <a:pt x="18786" y="14513"/>
                    </a:lnTo>
                    <a:lnTo>
                      <a:pt x="18778" y="14605"/>
                    </a:lnTo>
                    <a:lnTo>
                      <a:pt x="18769" y="14692"/>
                    </a:lnTo>
                    <a:lnTo>
                      <a:pt x="18756" y="14774"/>
                    </a:lnTo>
                    <a:lnTo>
                      <a:pt x="18743" y="14850"/>
                    </a:lnTo>
                    <a:lnTo>
                      <a:pt x="18729" y="14921"/>
                    </a:lnTo>
                    <a:lnTo>
                      <a:pt x="18711" y="14986"/>
                    </a:lnTo>
                    <a:lnTo>
                      <a:pt x="18693" y="15041"/>
                    </a:lnTo>
                    <a:lnTo>
                      <a:pt x="18673" y="15095"/>
                    </a:lnTo>
                    <a:lnTo>
                      <a:pt x="18653" y="15133"/>
                    </a:lnTo>
                    <a:lnTo>
                      <a:pt x="18631" y="15166"/>
                    </a:lnTo>
                    <a:lnTo>
                      <a:pt x="18609" y="15193"/>
                    </a:lnTo>
                    <a:lnTo>
                      <a:pt x="18585" y="15209"/>
                    </a:lnTo>
                    <a:lnTo>
                      <a:pt x="18561" y="15215"/>
                    </a:lnTo>
                    <a:lnTo>
                      <a:pt x="18536" y="15209"/>
                    </a:lnTo>
                    <a:lnTo>
                      <a:pt x="18514" y="15193"/>
                    </a:lnTo>
                    <a:lnTo>
                      <a:pt x="18491" y="15166"/>
                    </a:lnTo>
                    <a:lnTo>
                      <a:pt x="18469" y="15133"/>
                    </a:lnTo>
                    <a:lnTo>
                      <a:pt x="18450" y="15095"/>
                    </a:lnTo>
                    <a:lnTo>
                      <a:pt x="18429" y="15041"/>
                    </a:lnTo>
                    <a:lnTo>
                      <a:pt x="18411" y="14986"/>
                    </a:lnTo>
                    <a:lnTo>
                      <a:pt x="18378" y="14850"/>
                    </a:lnTo>
                    <a:lnTo>
                      <a:pt x="18365" y="14774"/>
                    </a:lnTo>
                    <a:lnTo>
                      <a:pt x="18354" y="14692"/>
                    </a:lnTo>
                    <a:lnTo>
                      <a:pt x="18343" y="14605"/>
                    </a:lnTo>
                    <a:lnTo>
                      <a:pt x="18336" y="14513"/>
                    </a:lnTo>
                    <a:lnTo>
                      <a:pt x="18330" y="14415"/>
                    </a:lnTo>
                    <a:lnTo>
                      <a:pt x="18327" y="14322"/>
                    </a:lnTo>
                    <a:lnTo>
                      <a:pt x="18325" y="14219"/>
                    </a:lnTo>
                    <a:lnTo>
                      <a:pt x="18327" y="14115"/>
                    </a:lnTo>
                    <a:lnTo>
                      <a:pt x="18330" y="14017"/>
                    </a:lnTo>
                    <a:lnTo>
                      <a:pt x="18336" y="13925"/>
                    </a:lnTo>
                    <a:lnTo>
                      <a:pt x="18343" y="13832"/>
                    </a:lnTo>
                    <a:lnTo>
                      <a:pt x="18354" y="13745"/>
                    </a:lnTo>
                    <a:lnTo>
                      <a:pt x="18365" y="13663"/>
                    </a:lnTo>
                    <a:lnTo>
                      <a:pt x="18378" y="13587"/>
                    </a:lnTo>
                    <a:lnTo>
                      <a:pt x="18395" y="13511"/>
                    </a:lnTo>
                    <a:lnTo>
                      <a:pt x="18411" y="13451"/>
                    </a:lnTo>
                    <a:lnTo>
                      <a:pt x="18429" y="13391"/>
                    </a:lnTo>
                    <a:lnTo>
                      <a:pt x="18450" y="13342"/>
                    </a:lnTo>
                    <a:lnTo>
                      <a:pt x="18469" y="13304"/>
                    </a:lnTo>
                    <a:lnTo>
                      <a:pt x="18491" y="13266"/>
                    </a:lnTo>
                    <a:lnTo>
                      <a:pt x="18514" y="13244"/>
                    </a:lnTo>
                    <a:lnTo>
                      <a:pt x="18536" y="13228"/>
                    </a:lnTo>
                    <a:lnTo>
                      <a:pt x="18561" y="13222"/>
                    </a:lnTo>
                    <a:close/>
                    <a:moveTo>
                      <a:pt x="19259" y="13222"/>
                    </a:moveTo>
                    <a:lnTo>
                      <a:pt x="19282" y="13228"/>
                    </a:lnTo>
                    <a:lnTo>
                      <a:pt x="19306" y="13244"/>
                    </a:lnTo>
                    <a:lnTo>
                      <a:pt x="19328" y="13266"/>
                    </a:lnTo>
                    <a:lnTo>
                      <a:pt x="19350" y="13304"/>
                    </a:lnTo>
                    <a:lnTo>
                      <a:pt x="19371" y="13342"/>
                    </a:lnTo>
                    <a:lnTo>
                      <a:pt x="19391" y="13391"/>
                    </a:lnTo>
                    <a:lnTo>
                      <a:pt x="19409" y="13451"/>
                    </a:lnTo>
                    <a:lnTo>
                      <a:pt x="19426" y="13511"/>
                    </a:lnTo>
                    <a:lnTo>
                      <a:pt x="19440" y="13587"/>
                    </a:lnTo>
                    <a:lnTo>
                      <a:pt x="19455" y="13663"/>
                    </a:lnTo>
                    <a:lnTo>
                      <a:pt x="19466" y="13745"/>
                    </a:lnTo>
                    <a:lnTo>
                      <a:pt x="19476" y="13832"/>
                    </a:lnTo>
                    <a:lnTo>
                      <a:pt x="19485" y="13925"/>
                    </a:lnTo>
                    <a:lnTo>
                      <a:pt x="19490" y="14017"/>
                    </a:lnTo>
                    <a:lnTo>
                      <a:pt x="19494" y="14115"/>
                    </a:lnTo>
                    <a:lnTo>
                      <a:pt x="19495" y="14219"/>
                    </a:lnTo>
                    <a:lnTo>
                      <a:pt x="19494" y="14322"/>
                    </a:lnTo>
                    <a:lnTo>
                      <a:pt x="19490" y="14415"/>
                    </a:lnTo>
                    <a:lnTo>
                      <a:pt x="19485" y="14513"/>
                    </a:lnTo>
                    <a:lnTo>
                      <a:pt x="19476" y="14605"/>
                    </a:lnTo>
                    <a:lnTo>
                      <a:pt x="19466" y="14692"/>
                    </a:lnTo>
                    <a:lnTo>
                      <a:pt x="19455" y="14774"/>
                    </a:lnTo>
                    <a:lnTo>
                      <a:pt x="19440" y="14850"/>
                    </a:lnTo>
                    <a:lnTo>
                      <a:pt x="19426" y="14921"/>
                    </a:lnTo>
                    <a:lnTo>
                      <a:pt x="19409" y="14986"/>
                    </a:lnTo>
                    <a:lnTo>
                      <a:pt x="19391" y="15041"/>
                    </a:lnTo>
                    <a:lnTo>
                      <a:pt x="19371" y="15095"/>
                    </a:lnTo>
                    <a:lnTo>
                      <a:pt x="19350" y="15133"/>
                    </a:lnTo>
                    <a:lnTo>
                      <a:pt x="19328" y="15166"/>
                    </a:lnTo>
                    <a:lnTo>
                      <a:pt x="19306" y="15193"/>
                    </a:lnTo>
                    <a:lnTo>
                      <a:pt x="19282" y="15209"/>
                    </a:lnTo>
                    <a:lnTo>
                      <a:pt x="19259" y="15215"/>
                    </a:lnTo>
                    <a:lnTo>
                      <a:pt x="19235" y="15209"/>
                    </a:lnTo>
                    <a:lnTo>
                      <a:pt x="19211" y="15193"/>
                    </a:lnTo>
                    <a:lnTo>
                      <a:pt x="19189" y="15166"/>
                    </a:lnTo>
                    <a:lnTo>
                      <a:pt x="19168" y="15133"/>
                    </a:lnTo>
                    <a:lnTo>
                      <a:pt x="19146" y="15095"/>
                    </a:lnTo>
                    <a:lnTo>
                      <a:pt x="19127" y="15041"/>
                    </a:lnTo>
                    <a:lnTo>
                      <a:pt x="19108" y="14986"/>
                    </a:lnTo>
                    <a:lnTo>
                      <a:pt x="19092" y="14921"/>
                    </a:lnTo>
                    <a:lnTo>
                      <a:pt x="19077" y="14850"/>
                    </a:lnTo>
                    <a:lnTo>
                      <a:pt x="19063" y="14774"/>
                    </a:lnTo>
                    <a:lnTo>
                      <a:pt x="19051" y="14692"/>
                    </a:lnTo>
                    <a:lnTo>
                      <a:pt x="19040" y="14605"/>
                    </a:lnTo>
                    <a:lnTo>
                      <a:pt x="19033" y="14513"/>
                    </a:lnTo>
                    <a:lnTo>
                      <a:pt x="19027" y="14415"/>
                    </a:lnTo>
                    <a:lnTo>
                      <a:pt x="19024" y="14322"/>
                    </a:lnTo>
                    <a:lnTo>
                      <a:pt x="19023" y="14219"/>
                    </a:lnTo>
                    <a:lnTo>
                      <a:pt x="19024" y="14115"/>
                    </a:lnTo>
                    <a:lnTo>
                      <a:pt x="19027" y="14017"/>
                    </a:lnTo>
                    <a:lnTo>
                      <a:pt x="19040" y="13832"/>
                    </a:lnTo>
                    <a:lnTo>
                      <a:pt x="19051" y="13745"/>
                    </a:lnTo>
                    <a:lnTo>
                      <a:pt x="19063" y="13663"/>
                    </a:lnTo>
                    <a:lnTo>
                      <a:pt x="19092" y="13511"/>
                    </a:lnTo>
                    <a:lnTo>
                      <a:pt x="19108" y="13451"/>
                    </a:lnTo>
                    <a:lnTo>
                      <a:pt x="19127" y="13391"/>
                    </a:lnTo>
                    <a:lnTo>
                      <a:pt x="19146" y="13342"/>
                    </a:lnTo>
                    <a:lnTo>
                      <a:pt x="19168" y="13304"/>
                    </a:lnTo>
                    <a:lnTo>
                      <a:pt x="19189" y="13266"/>
                    </a:lnTo>
                    <a:lnTo>
                      <a:pt x="19211" y="13244"/>
                    </a:lnTo>
                    <a:lnTo>
                      <a:pt x="19235" y="13228"/>
                    </a:lnTo>
                    <a:lnTo>
                      <a:pt x="19259" y="13222"/>
                    </a:lnTo>
                    <a:close/>
                    <a:moveTo>
                      <a:pt x="19956" y="13222"/>
                    </a:moveTo>
                    <a:lnTo>
                      <a:pt x="19979" y="13228"/>
                    </a:lnTo>
                    <a:lnTo>
                      <a:pt x="20003" y="13244"/>
                    </a:lnTo>
                    <a:lnTo>
                      <a:pt x="20026" y="13266"/>
                    </a:lnTo>
                    <a:lnTo>
                      <a:pt x="20048" y="13304"/>
                    </a:lnTo>
                    <a:lnTo>
                      <a:pt x="20067" y="13342"/>
                    </a:lnTo>
                    <a:lnTo>
                      <a:pt x="20088" y="13391"/>
                    </a:lnTo>
                    <a:lnTo>
                      <a:pt x="20105" y="13451"/>
                    </a:lnTo>
                    <a:lnTo>
                      <a:pt x="20123" y="13511"/>
                    </a:lnTo>
                    <a:lnTo>
                      <a:pt x="20152" y="13663"/>
                    </a:lnTo>
                    <a:lnTo>
                      <a:pt x="20163" y="13745"/>
                    </a:lnTo>
                    <a:lnTo>
                      <a:pt x="20174" y="13832"/>
                    </a:lnTo>
                    <a:lnTo>
                      <a:pt x="20181" y="13925"/>
                    </a:lnTo>
                    <a:lnTo>
                      <a:pt x="20187" y="14017"/>
                    </a:lnTo>
                    <a:lnTo>
                      <a:pt x="20190" y="14115"/>
                    </a:lnTo>
                    <a:lnTo>
                      <a:pt x="20192" y="14219"/>
                    </a:lnTo>
                    <a:lnTo>
                      <a:pt x="20190" y="14322"/>
                    </a:lnTo>
                    <a:lnTo>
                      <a:pt x="20187" y="14415"/>
                    </a:lnTo>
                    <a:lnTo>
                      <a:pt x="20181" y="14513"/>
                    </a:lnTo>
                    <a:lnTo>
                      <a:pt x="20174" y="14605"/>
                    </a:lnTo>
                    <a:lnTo>
                      <a:pt x="20163" y="14692"/>
                    </a:lnTo>
                    <a:lnTo>
                      <a:pt x="20152" y="14774"/>
                    </a:lnTo>
                    <a:lnTo>
                      <a:pt x="20137" y="14850"/>
                    </a:lnTo>
                    <a:lnTo>
                      <a:pt x="20123" y="14921"/>
                    </a:lnTo>
                    <a:lnTo>
                      <a:pt x="20105" y="14986"/>
                    </a:lnTo>
                    <a:lnTo>
                      <a:pt x="20088" y="15041"/>
                    </a:lnTo>
                    <a:lnTo>
                      <a:pt x="20067" y="15095"/>
                    </a:lnTo>
                    <a:lnTo>
                      <a:pt x="20048" y="15133"/>
                    </a:lnTo>
                    <a:lnTo>
                      <a:pt x="20026" y="15166"/>
                    </a:lnTo>
                    <a:lnTo>
                      <a:pt x="20003" y="15193"/>
                    </a:lnTo>
                    <a:lnTo>
                      <a:pt x="19979" y="15209"/>
                    </a:lnTo>
                    <a:lnTo>
                      <a:pt x="19956" y="15215"/>
                    </a:lnTo>
                    <a:lnTo>
                      <a:pt x="19932" y="15209"/>
                    </a:lnTo>
                    <a:lnTo>
                      <a:pt x="19908" y="15193"/>
                    </a:lnTo>
                    <a:lnTo>
                      <a:pt x="19885" y="15166"/>
                    </a:lnTo>
                    <a:lnTo>
                      <a:pt x="19864" y="15133"/>
                    </a:lnTo>
                    <a:lnTo>
                      <a:pt x="19844" y="15095"/>
                    </a:lnTo>
                    <a:lnTo>
                      <a:pt x="19823" y="15041"/>
                    </a:lnTo>
                    <a:lnTo>
                      <a:pt x="19806" y="14986"/>
                    </a:lnTo>
                    <a:lnTo>
                      <a:pt x="19789" y="14921"/>
                    </a:lnTo>
                    <a:lnTo>
                      <a:pt x="19774" y="14850"/>
                    </a:lnTo>
                    <a:lnTo>
                      <a:pt x="19759" y="14774"/>
                    </a:lnTo>
                    <a:lnTo>
                      <a:pt x="19748" y="14692"/>
                    </a:lnTo>
                    <a:lnTo>
                      <a:pt x="19739" y="14605"/>
                    </a:lnTo>
                    <a:lnTo>
                      <a:pt x="19730" y="14513"/>
                    </a:lnTo>
                    <a:lnTo>
                      <a:pt x="19724" y="14415"/>
                    </a:lnTo>
                    <a:lnTo>
                      <a:pt x="19721" y="14322"/>
                    </a:lnTo>
                    <a:lnTo>
                      <a:pt x="19719" y="14219"/>
                    </a:lnTo>
                    <a:lnTo>
                      <a:pt x="19721" y="14115"/>
                    </a:lnTo>
                    <a:lnTo>
                      <a:pt x="19724" y="14017"/>
                    </a:lnTo>
                    <a:lnTo>
                      <a:pt x="19730" y="13925"/>
                    </a:lnTo>
                    <a:lnTo>
                      <a:pt x="19739" y="13832"/>
                    </a:lnTo>
                    <a:lnTo>
                      <a:pt x="19748" y="13745"/>
                    </a:lnTo>
                    <a:lnTo>
                      <a:pt x="19759" y="13663"/>
                    </a:lnTo>
                    <a:lnTo>
                      <a:pt x="19789" y="13511"/>
                    </a:lnTo>
                    <a:lnTo>
                      <a:pt x="19823" y="13391"/>
                    </a:lnTo>
                    <a:lnTo>
                      <a:pt x="19844" y="13342"/>
                    </a:lnTo>
                    <a:lnTo>
                      <a:pt x="19885" y="13266"/>
                    </a:lnTo>
                    <a:lnTo>
                      <a:pt x="19908" y="13244"/>
                    </a:lnTo>
                    <a:lnTo>
                      <a:pt x="19932" y="13228"/>
                    </a:lnTo>
                    <a:lnTo>
                      <a:pt x="19956" y="13222"/>
                    </a:lnTo>
                    <a:close/>
                    <a:moveTo>
                      <a:pt x="17709" y="5133"/>
                    </a:moveTo>
                    <a:lnTo>
                      <a:pt x="20337" y="5133"/>
                    </a:lnTo>
                    <a:lnTo>
                      <a:pt x="20337" y="8416"/>
                    </a:lnTo>
                    <a:lnTo>
                      <a:pt x="17709" y="8416"/>
                    </a:lnTo>
                    <a:lnTo>
                      <a:pt x="17709" y="5133"/>
                    </a:lnTo>
                    <a:close/>
                    <a:moveTo>
                      <a:pt x="2000" y="6113"/>
                    </a:moveTo>
                    <a:lnTo>
                      <a:pt x="2000" y="5133"/>
                    </a:lnTo>
                    <a:lnTo>
                      <a:pt x="1410" y="5133"/>
                    </a:lnTo>
                    <a:lnTo>
                      <a:pt x="1410" y="6113"/>
                    </a:lnTo>
                    <a:lnTo>
                      <a:pt x="1050" y="6113"/>
                    </a:lnTo>
                    <a:lnTo>
                      <a:pt x="1050" y="9630"/>
                    </a:lnTo>
                    <a:lnTo>
                      <a:pt x="2358" y="9630"/>
                    </a:lnTo>
                    <a:lnTo>
                      <a:pt x="2358" y="6113"/>
                    </a:lnTo>
                    <a:lnTo>
                      <a:pt x="2000" y="6113"/>
                    </a:lnTo>
                    <a:close/>
                    <a:moveTo>
                      <a:pt x="3896" y="6113"/>
                    </a:moveTo>
                    <a:lnTo>
                      <a:pt x="3896" y="5133"/>
                    </a:lnTo>
                    <a:lnTo>
                      <a:pt x="3307" y="5133"/>
                    </a:lnTo>
                    <a:lnTo>
                      <a:pt x="3307" y="6113"/>
                    </a:lnTo>
                    <a:lnTo>
                      <a:pt x="2949" y="6113"/>
                    </a:lnTo>
                    <a:lnTo>
                      <a:pt x="2949" y="9630"/>
                    </a:lnTo>
                    <a:lnTo>
                      <a:pt x="4256" y="9630"/>
                    </a:lnTo>
                    <a:lnTo>
                      <a:pt x="4256" y="6113"/>
                    </a:lnTo>
                    <a:lnTo>
                      <a:pt x="3896" y="6113"/>
                    </a:lnTo>
                    <a:close/>
                    <a:moveTo>
                      <a:pt x="5795" y="6113"/>
                    </a:moveTo>
                    <a:lnTo>
                      <a:pt x="5795" y="5133"/>
                    </a:lnTo>
                    <a:lnTo>
                      <a:pt x="5205" y="5133"/>
                    </a:lnTo>
                    <a:lnTo>
                      <a:pt x="5205" y="6113"/>
                    </a:lnTo>
                    <a:lnTo>
                      <a:pt x="4845" y="6113"/>
                    </a:lnTo>
                    <a:lnTo>
                      <a:pt x="4845" y="9630"/>
                    </a:lnTo>
                    <a:lnTo>
                      <a:pt x="6153" y="9630"/>
                    </a:lnTo>
                    <a:lnTo>
                      <a:pt x="6153" y="6113"/>
                    </a:lnTo>
                    <a:lnTo>
                      <a:pt x="5795" y="6113"/>
                    </a:lnTo>
                    <a:close/>
                    <a:moveTo>
                      <a:pt x="7691" y="6113"/>
                    </a:moveTo>
                    <a:lnTo>
                      <a:pt x="7691" y="5133"/>
                    </a:lnTo>
                    <a:lnTo>
                      <a:pt x="7101" y="5133"/>
                    </a:lnTo>
                    <a:lnTo>
                      <a:pt x="7101" y="6113"/>
                    </a:lnTo>
                    <a:lnTo>
                      <a:pt x="6742" y="6113"/>
                    </a:lnTo>
                    <a:lnTo>
                      <a:pt x="6742" y="9630"/>
                    </a:lnTo>
                    <a:lnTo>
                      <a:pt x="8050" y="9630"/>
                    </a:lnTo>
                    <a:lnTo>
                      <a:pt x="8050" y="6113"/>
                    </a:lnTo>
                    <a:lnTo>
                      <a:pt x="7691" y="6113"/>
                    </a:lnTo>
                    <a:close/>
                    <a:moveTo>
                      <a:pt x="9587" y="6113"/>
                    </a:moveTo>
                    <a:lnTo>
                      <a:pt x="9587" y="5133"/>
                    </a:lnTo>
                    <a:lnTo>
                      <a:pt x="9000" y="5133"/>
                    </a:lnTo>
                    <a:lnTo>
                      <a:pt x="9000" y="6113"/>
                    </a:lnTo>
                    <a:lnTo>
                      <a:pt x="8640" y="6113"/>
                    </a:lnTo>
                    <a:lnTo>
                      <a:pt x="8640" y="9630"/>
                    </a:lnTo>
                    <a:lnTo>
                      <a:pt x="9947" y="9630"/>
                    </a:lnTo>
                    <a:lnTo>
                      <a:pt x="9947" y="6113"/>
                    </a:lnTo>
                    <a:lnTo>
                      <a:pt x="9587" y="6113"/>
                    </a:lnTo>
                    <a:close/>
                    <a:moveTo>
                      <a:pt x="11486" y="6113"/>
                    </a:moveTo>
                    <a:lnTo>
                      <a:pt x="11486" y="5133"/>
                    </a:lnTo>
                    <a:lnTo>
                      <a:pt x="10896" y="5133"/>
                    </a:lnTo>
                    <a:lnTo>
                      <a:pt x="10896" y="6113"/>
                    </a:lnTo>
                    <a:lnTo>
                      <a:pt x="10537" y="6113"/>
                    </a:lnTo>
                    <a:lnTo>
                      <a:pt x="10537" y="9630"/>
                    </a:lnTo>
                    <a:lnTo>
                      <a:pt x="11845" y="9630"/>
                    </a:lnTo>
                    <a:lnTo>
                      <a:pt x="11845" y="6113"/>
                    </a:lnTo>
                    <a:lnTo>
                      <a:pt x="11486" y="6113"/>
                    </a:lnTo>
                    <a:close/>
                    <a:moveTo>
                      <a:pt x="13382" y="6113"/>
                    </a:moveTo>
                    <a:lnTo>
                      <a:pt x="13382" y="5133"/>
                    </a:lnTo>
                    <a:lnTo>
                      <a:pt x="12792" y="5133"/>
                    </a:lnTo>
                    <a:lnTo>
                      <a:pt x="12792" y="6113"/>
                    </a:lnTo>
                    <a:lnTo>
                      <a:pt x="12433" y="6113"/>
                    </a:lnTo>
                    <a:lnTo>
                      <a:pt x="12433" y="9630"/>
                    </a:lnTo>
                    <a:lnTo>
                      <a:pt x="13742" y="9630"/>
                    </a:lnTo>
                    <a:lnTo>
                      <a:pt x="13742" y="6113"/>
                    </a:lnTo>
                    <a:lnTo>
                      <a:pt x="13382" y="6113"/>
                    </a:lnTo>
                    <a:close/>
                    <a:moveTo>
                      <a:pt x="2000" y="15487"/>
                    </a:moveTo>
                    <a:lnTo>
                      <a:pt x="2000" y="16467"/>
                    </a:lnTo>
                    <a:lnTo>
                      <a:pt x="1410" y="16467"/>
                    </a:lnTo>
                    <a:lnTo>
                      <a:pt x="1410" y="15487"/>
                    </a:lnTo>
                    <a:lnTo>
                      <a:pt x="1050" y="15487"/>
                    </a:lnTo>
                    <a:lnTo>
                      <a:pt x="1050" y="11970"/>
                    </a:lnTo>
                    <a:lnTo>
                      <a:pt x="2358" y="11970"/>
                    </a:lnTo>
                    <a:lnTo>
                      <a:pt x="2358" y="15487"/>
                    </a:lnTo>
                    <a:lnTo>
                      <a:pt x="2000" y="15487"/>
                    </a:lnTo>
                    <a:close/>
                    <a:moveTo>
                      <a:pt x="3896" y="15487"/>
                    </a:moveTo>
                    <a:lnTo>
                      <a:pt x="3896" y="16467"/>
                    </a:lnTo>
                    <a:lnTo>
                      <a:pt x="3307" y="16467"/>
                    </a:lnTo>
                    <a:lnTo>
                      <a:pt x="3307" y="15487"/>
                    </a:lnTo>
                    <a:lnTo>
                      <a:pt x="2949" y="15487"/>
                    </a:lnTo>
                    <a:lnTo>
                      <a:pt x="2949" y="11970"/>
                    </a:lnTo>
                    <a:lnTo>
                      <a:pt x="4256" y="11970"/>
                    </a:lnTo>
                    <a:lnTo>
                      <a:pt x="4256" y="15487"/>
                    </a:lnTo>
                    <a:lnTo>
                      <a:pt x="3896" y="15487"/>
                    </a:lnTo>
                    <a:close/>
                    <a:moveTo>
                      <a:pt x="5795" y="15487"/>
                    </a:moveTo>
                    <a:lnTo>
                      <a:pt x="5795" y="16467"/>
                    </a:lnTo>
                    <a:lnTo>
                      <a:pt x="5205" y="16467"/>
                    </a:lnTo>
                    <a:lnTo>
                      <a:pt x="5205" y="15487"/>
                    </a:lnTo>
                    <a:lnTo>
                      <a:pt x="4845" y="15487"/>
                    </a:lnTo>
                    <a:lnTo>
                      <a:pt x="4845" y="11970"/>
                    </a:lnTo>
                    <a:lnTo>
                      <a:pt x="6153" y="11970"/>
                    </a:lnTo>
                    <a:lnTo>
                      <a:pt x="6153" y="15487"/>
                    </a:lnTo>
                    <a:lnTo>
                      <a:pt x="5795" y="15487"/>
                    </a:lnTo>
                    <a:close/>
                    <a:moveTo>
                      <a:pt x="7691" y="15487"/>
                    </a:moveTo>
                    <a:lnTo>
                      <a:pt x="7691" y="16467"/>
                    </a:lnTo>
                    <a:lnTo>
                      <a:pt x="7101" y="16467"/>
                    </a:lnTo>
                    <a:lnTo>
                      <a:pt x="7101" y="15487"/>
                    </a:lnTo>
                    <a:lnTo>
                      <a:pt x="6742" y="15487"/>
                    </a:lnTo>
                    <a:lnTo>
                      <a:pt x="6742" y="11970"/>
                    </a:lnTo>
                    <a:lnTo>
                      <a:pt x="8050" y="11970"/>
                    </a:lnTo>
                    <a:lnTo>
                      <a:pt x="8050" y="15487"/>
                    </a:lnTo>
                    <a:lnTo>
                      <a:pt x="7691" y="15487"/>
                    </a:lnTo>
                    <a:close/>
                    <a:moveTo>
                      <a:pt x="9587" y="15487"/>
                    </a:moveTo>
                    <a:lnTo>
                      <a:pt x="9587" y="16467"/>
                    </a:lnTo>
                    <a:lnTo>
                      <a:pt x="9000" y="16467"/>
                    </a:lnTo>
                    <a:lnTo>
                      <a:pt x="9000" y="15487"/>
                    </a:lnTo>
                    <a:lnTo>
                      <a:pt x="8640" y="15487"/>
                    </a:lnTo>
                    <a:lnTo>
                      <a:pt x="8640" y="11970"/>
                    </a:lnTo>
                    <a:lnTo>
                      <a:pt x="9947" y="11970"/>
                    </a:lnTo>
                    <a:lnTo>
                      <a:pt x="9947" y="15487"/>
                    </a:lnTo>
                    <a:lnTo>
                      <a:pt x="9587" y="15487"/>
                    </a:lnTo>
                    <a:close/>
                    <a:moveTo>
                      <a:pt x="11486" y="15487"/>
                    </a:moveTo>
                    <a:lnTo>
                      <a:pt x="11486" y="16467"/>
                    </a:lnTo>
                    <a:lnTo>
                      <a:pt x="10896" y="16467"/>
                    </a:lnTo>
                    <a:lnTo>
                      <a:pt x="10896" y="15487"/>
                    </a:lnTo>
                    <a:lnTo>
                      <a:pt x="10537" y="15487"/>
                    </a:lnTo>
                    <a:lnTo>
                      <a:pt x="10537" y="11970"/>
                    </a:lnTo>
                    <a:lnTo>
                      <a:pt x="11845" y="11970"/>
                    </a:lnTo>
                    <a:lnTo>
                      <a:pt x="11845" y="15487"/>
                    </a:lnTo>
                    <a:lnTo>
                      <a:pt x="11486" y="15487"/>
                    </a:lnTo>
                    <a:close/>
                    <a:moveTo>
                      <a:pt x="13382" y="15487"/>
                    </a:moveTo>
                    <a:lnTo>
                      <a:pt x="13382" y="16467"/>
                    </a:lnTo>
                    <a:lnTo>
                      <a:pt x="12792" y="16467"/>
                    </a:lnTo>
                    <a:lnTo>
                      <a:pt x="12792" y="15487"/>
                    </a:lnTo>
                    <a:lnTo>
                      <a:pt x="12433" y="15487"/>
                    </a:lnTo>
                    <a:lnTo>
                      <a:pt x="12433" y="11970"/>
                    </a:lnTo>
                    <a:lnTo>
                      <a:pt x="13742" y="11970"/>
                    </a:lnTo>
                    <a:lnTo>
                      <a:pt x="13742" y="15487"/>
                    </a:lnTo>
                    <a:lnTo>
                      <a:pt x="13382" y="15487"/>
                    </a:lnTo>
                    <a:close/>
                    <a:moveTo>
                      <a:pt x="15339" y="6113"/>
                    </a:moveTo>
                    <a:lnTo>
                      <a:pt x="15339" y="5133"/>
                    </a:lnTo>
                    <a:lnTo>
                      <a:pt x="14749" y="5133"/>
                    </a:lnTo>
                    <a:lnTo>
                      <a:pt x="14749" y="6113"/>
                    </a:lnTo>
                    <a:lnTo>
                      <a:pt x="14389" y="6113"/>
                    </a:lnTo>
                    <a:lnTo>
                      <a:pt x="14389" y="9630"/>
                    </a:lnTo>
                    <a:lnTo>
                      <a:pt x="15698" y="9630"/>
                    </a:lnTo>
                    <a:lnTo>
                      <a:pt x="15698" y="6113"/>
                    </a:lnTo>
                    <a:lnTo>
                      <a:pt x="15339" y="6113"/>
                    </a:lnTo>
                    <a:close/>
                    <a:moveTo>
                      <a:pt x="15339" y="15487"/>
                    </a:moveTo>
                    <a:lnTo>
                      <a:pt x="15339" y="16467"/>
                    </a:lnTo>
                    <a:lnTo>
                      <a:pt x="14749" y="16467"/>
                    </a:lnTo>
                    <a:lnTo>
                      <a:pt x="14749" y="15487"/>
                    </a:lnTo>
                    <a:lnTo>
                      <a:pt x="14389" y="15487"/>
                    </a:lnTo>
                    <a:lnTo>
                      <a:pt x="14389" y="11970"/>
                    </a:lnTo>
                    <a:lnTo>
                      <a:pt x="15698" y="11970"/>
                    </a:lnTo>
                    <a:lnTo>
                      <a:pt x="15698" y="15487"/>
                    </a:lnTo>
                    <a:lnTo>
                      <a:pt x="15339" y="15487"/>
                    </a:lnTo>
                    <a:close/>
                  </a:path>
                </a:pathLst>
              </a:custGeom>
              <a:solidFill>
                <a:schemeClr val="tx1"/>
              </a:solidFill>
              <a:ln w="12700" cap="flat" cmpd="sng">
                <a:solidFill>
                  <a:srgbClr val="00B0F0"/>
                </a:solidFill>
                <a:prstDash val="solid"/>
                <a:miter lim="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pPr defTabSz="914141">
                  <a:defRPr/>
                </a:pPr>
                <a:endParaRPr lang="zh-CN" altLang="zh-CN" sz="1799" kern="0" dirty="0">
                  <a:solidFill>
                    <a:srgbClr val="FF4208"/>
                  </a:solidFill>
                  <a:latin typeface="Calibri" panose="020F0502020204030204" pitchFamily="34" charset="0"/>
                </a:endParaRPr>
              </a:p>
            </p:txBody>
          </p:sp>
        </p:grpSp>
        <p:grpSp>
          <p:nvGrpSpPr>
            <p:cNvPr id="338" name="组合 223"/>
            <p:cNvGrpSpPr>
              <a:grpSpLocks/>
            </p:cNvGrpSpPr>
            <p:nvPr/>
          </p:nvGrpSpPr>
          <p:grpSpPr bwMode="auto">
            <a:xfrm>
              <a:off x="3497270" y="1679181"/>
              <a:ext cx="457200" cy="457200"/>
              <a:chOff x="7570788" y="2359025"/>
              <a:chExt cx="519113" cy="508001"/>
            </a:xfrm>
            <a:grpFill/>
          </p:grpSpPr>
          <p:sp>
            <p:nvSpPr>
              <p:cNvPr id="339" name="Freeform 85"/>
              <p:cNvSpPr>
                <a:spLocks noEditPoints="1"/>
              </p:cNvSpPr>
              <p:nvPr/>
            </p:nvSpPr>
            <p:spPr bwMode="auto">
              <a:xfrm>
                <a:off x="7570788" y="2359025"/>
                <a:ext cx="519113" cy="290513"/>
              </a:xfrm>
              <a:custGeom>
                <a:avLst/>
                <a:gdLst>
                  <a:gd name="T0" fmla="*/ 2147483647 w 1240"/>
                  <a:gd name="T1" fmla="*/ 2147483647 h 690"/>
                  <a:gd name="T2" fmla="*/ 2147483647 w 1240"/>
                  <a:gd name="T3" fmla="*/ 2147483647 h 690"/>
                  <a:gd name="T4" fmla="*/ 2147483647 w 1240"/>
                  <a:gd name="T5" fmla="*/ 2147483647 h 690"/>
                  <a:gd name="T6" fmla="*/ 2147483647 w 1240"/>
                  <a:gd name="T7" fmla="*/ 2147483647 h 690"/>
                  <a:gd name="T8" fmla="*/ 2147483647 w 1240"/>
                  <a:gd name="T9" fmla="*/ 2147483647 h 690"/>
                  <a:gd name="T10" fmla="*/ 2147483647 w 1240"/>
                  <a:gd name="T11" fmla="*/ 2147483647 h 690"/>
                  <a:gd name="T12" fmla="*/ 2147483647 w 1240"/>
                  <a:gd name="T13" fmla="*/ 2147483647 h 690"/>
                  <a:gd name="T14" fmla="*/ 2147483647 w 1240"/>
                  <a:gd name="T15" fmla="*/ 2147483647 h 690"/>
                  <a:gd name="T16" fmla="*/ 0 w 1240"/>
                  <a:gd name="T17" fmla="*/ 2147483647 h 690"/>
                  <a:gd name="T18" fmla="*/ 2147483647 w 1240"/>
                  <a:gd name="T19" fmla="*/ 0 h 690"/>
                  <a:gd name="T20" fmla="*/ 2147483647 w 1240"/>
                  <a:gd name="T21" fmla="*/ 2147483647 h 690"/>
                  <a:gd name="T22" fmla="*/ 2147483647 w 1240"/>
                  <a:gd name="T23" fmla="*/ 2147483647 h 69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40"/>
                  <a:gd name="T37" fmla="*/ 0 h 690"/>
                  <a:gd name="T38" fmla="*/ 1240 w 1240"/>
                  <a:gd name="T39" fmla="*/ 690 h 69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40" h="690">
                    <a:moveTo>
                      <a:pt x="620" y="67"/>
                    </a:moveTo>
                    <a:lnTo>
                      <a:pt x="620" y="67"/>
                    </a:lnTo>
                    <a:cubicBezTo>
                      <a:pt x="320" y="67"/>
                      <a:pt x="66" y="194"/>
                      <a:pt x="66" y="345"/>
                    </a:cubicBezTo>
                    <a:cubicBezTo>
                      <a:pt x="66" y="496"/>
                      <a:pt x="320" y="623"/>
                      <a:pt x="620" y="623"/>
                    </a:cubicBezTo>
                    <a:cubicBezTo>
                      <a:pt x="920" y="623"/>
                      <a:pt x="1174" y="496"/>
                      <a:pt x="1174" y="345"/>
                    </a:cubicBezTo>
                    <a:cubicBezTo>
                      <a:pt x="1174" y="194"/>
                      <a:pt x="920" y="67"/>
                      <a:pt x="620" y="67"/>
                    </a:cubicBezTo>
                    <a:close/>
                    <a:moveTo>
                      <a:pt x="620" y="690"/>
                    </a:moveTo>
                    <a:lnTo>
                      <a:pt x="620" y="690"/>
                    </a:lnTo>
                    <a:cubicBezTo>
                      <a:pt x="272" y="690"/>
                      <a:pt x="0" y="539"/>
                      <a:pt x="0" y="345"/>
                    </a:cubicBezTo>
                    <a:cubicBezTo>
                      <a:pt x="0" y="152"/>
                      <a:pt x="272" y="0"/>
                      <a:pt x="620" y="0"/>
                    </a:cubicBezTo>
                    <a:cubicBezTo>
                      <a:pt x="968" y="0"/>
                      <a:pt x="1240" y="152"/>
                      <a:pt x="1240" y="345"/>
                    </a:cubicBezTo>
                    <a:cubicBezTo>
                      <a:pt x="1240" y="539"/>
                      <a:pt x="968" y="690"/>
                      <a:pt x="620" y="690"/>
                    </a:cubicBezTo>
                    <a:close/>
                  </a:path>
                </a:pathLst>
              </a:custGeom>
              <a:grpFill/>
              <a:ln w="0">
                <a:noFill/>
                <a:round/>
                <a:headEnd/>
                <a:tailEnd/>
              </a:ln>
            </p:spPr>
            <p:txBody>
              <a:bodyPr/>
              <a:lstStyle/>
              <a:p>
                <a:endParaRPr lang="zh-CN" altLang="en-US" sz="1799"/>
              </a:p>
            </p:txBody>
          </p:sp>
          <p:sp>
            <p:nvSpPr>
              <p:cNvPr id="340" name="Freeform 86"/>
              <p:cNvSpPr>
                <a:spLocks/>
              </p:cNvSpPr>
              <p:nvPr/>
            </p:nvSpPr>
            <p:spPr bwMode="auto">
              <a:xfrm>
                <a:off x="7570788" y="2497138"/>
                <a:ext cx="519113" cy="352425"/>
              </a:xfrm>
              <a:custGeom>
                <a:avLst/>
                <a:gdLst>
                  <a:gd name="T0" fmla="*/ 2147483647 w 1240"/>
                  <a:gd name="T1" fmla="*/ 2147483647 h 836"/>
                  <a:gd name="T2" fmla="*/ 2147483647 w 1240"/>
                  <a:gd name="T3" fmla="*/ 2147483647 h 836"/>
                  <a:gd name="T4" fmla="*/ 2147483647 w 1240"/>
                  <a:gd name="T5" fmla="*/ 2147483647 h 836"/>
                  <a:gd name="T6" fmla="*/ 2147483647 w 1240"/>
                  <a:gd name="T7" fmla="*/ 2147483647 h 836"/>
                  <a:gd name="T8" fmla="*/ 2147483647 w 1240"/>
                  <a:gd name="T9" fmla="*/ 2147483647 h 836"/>
                  <a:gd name="T10" fmla="*/ 2147483647 w 1240"/>
                  <a:gd name="T11" fmla="*/ 2147483647 h 836"/>
                  <a:gd name="T12" fmla="*/ 2147483647 w 1240"/>
                  <a:gd name="T13" fmla="*/ 2147483647 h 836"/>
                  <a:gd name="T14" fmla="*/ 0 w 1240"/>
                  <a:gd name="T15" fmla="*/ 2147483647 h 836"/>
                  <a:gd name="T16" fmla="*/ 0 w 1240"/>
                  <a:gd name="T17" fmla="*/ 2147483647 h 836"/>
                  <a:gd name="T18" fmla="*/ 2147483647 w 1240"/>
                  <a:gd name="T19" fmla="*/ 0 h 836"/>
                  <a:gd name="T20" fmla="*/ 2147483647 w 1240"/>
                  <a:gd name="T21" fmla="*/ 2147483647 h 836"/>
                  <a:gd name="T22" fmla="*/ 2147483647 w 1240"/>
                  <a:gd name="T23" fmla="*/ 2147483647 h 836"/>
                  <a:gd name="T24" fmla="*/ 2147483647 w 1240"/>
                  <a:gd name="T25" fmla="*/ 2147483647 h 836"/>
                  <a:gd name="T26" fmla="*/ 2147483647 w 1240"/>
                  <a:gd name="T27" fmla="*/ 2147483647 h 836"/>
                  <a:gd name="T28" fmla="*/ 2147483647 w 1240"/>
                  <a:gd name="T29" fmla="*/ 2147483647 h 836"/>
                  <a:gd name="T30" fmla="*/ 2147483647 w 1240"/>
                  <a:gd name="T31" fmla="*/ 2147483647 h 836"/>
                  <a:gd name="T32" fmla="*/ 2147483647 w 1240"/>
                  <a:gd name="T33" fmla="*/ 2147483647 h 836"/>
                  <a:gd name="T34" fmla="*/ 2147483647 w 1240"/>
                  <a:gd name="T35" fmla="*/ 2147483647 h 836"/>
                  <a:gd name="T36" fmla="*/ 2147483647 w 1240"/>
                  <a:gd name="T37" fmla="*/ 2147483647 h 8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40"/>
                  <a:gd name="T58" fmla="*/ 0 h 836"/>
                  <a:gd name="T59" fmla="*/ 1240 w 1240"/>
                  <a:gd name="T60" fmla="*/ 836 h 8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40" h="836">
                    <a:moveTo>
                      <a:pt x="715" y="836"/>
                    </a:moveTo>
                    <a:lnTo>
                      <a:pt x="715" y="836"/>
                    </a:lnTo>
                    <a:cubicBezTo>
                      <a:pt x="698" y="836"/>
                      <a:pt x="684" y="823"/>
                      <a:pt x="682" y="806"/>
                    </a:cubicBezTo>
                    <a:cubicBezTo>
                      <a:pt x="681" y="788"/>
                      <a:pt x="694" y="771"/>
                      <a:pt x="713" y="770"/>
                    </a:cubicBezTo>
                    <a:cubicBezTo>
                      <a:pt x="975" y="747"/>
                      <a:pt x="1174" y="629"/>
                      <a:pt x="1174" y="496"/>
                    </a:cubicBezTo>
                    <a:lnTo>
                      <a:pt x="1174" y="421"/>
                    </a:lnTo>
                    <a:cubicBezTo>
                      <a:pt x="1072" y="533"/>
                      <a:pt x="865" y="608"/>
                      <a:pt x="620" y="608"/>
                    </a:cubicBezTo>
                    <a:cubicBezTo>
                      <a:pt x="272" y="608"/>
                      <a:pt x="0" y="457"/>
                      <a:pt x="0" y="263"/>
                    </a:cubicBezTo>
                    <a:lnTo>
                      <a:pt x="0" y="33"/>
                    </a:lnTo>
                    <a:cubicBezTo>
                      <a:pt x="0" y="14"/>
                      <a:pt x="15" y="0"/>
                      <a:pt x="33" y="0"/>
                    </a:cubicBezTo>
                    <a:cubicBezTo>
                      <a:pt x="51" y="0"/>
                      <a:pt x="66" y="14"/>
                      <a:pt x="66" y="33"/>
                    </a:cubicBezTo>
                    <a:lnTo>
                      <a:pt x="66" y="263"/>
                    </a:lnTo>
                    <a:cubicBezTo>
                      <a:pt x="66" y="414"/>
                      <a:pt x="320" y="541"/>
                      <a:pt x="620" y="541"/>
                    </a:cubicBezTo>
                    <a:cubicBezTo>
                      <a:pt x="920" y="541"/>
                      <a:pt x="1174" y="414"/>
                      <a:pt x="1174" y="263"/>
                    </a:cubicBezTo>
                    <a:lnTo>
                      <a:pt x="1174" y="33"/>
                    </a:lnTo>
                    <a:lnTo>
                      <a:pt x="1240" y="33"/>
                    </a:lnTo>
                    <a:lnTo>
                      <a:pt x="1240" y="496"/>
                    </a:lnTo>
                    <a:cubicBezTo>
                      <a:pt x="1240" y="667"/>
                      <a:pt x="1021" y="810"/>
                      <a:pt x="718" y="836"/>
                    </a:cubicBezTo>
                    <a:cubicBezTo>
                      <a:pt x="717" y="836"/>
                      <a:pt x="716" y="836"/>
                      <a:pt x="715" y="836"/>
                    </a:cubicBezTo>
                    <a:close/>
                  </a:path>
                </a:pathLst>
              </a:custGeom>
              <a:grpFill/>
              <a:ln w="0">
                <a:noFill/>
                <a:round/>
                <a:headEnd/>
                <a:tailEnd/>
              </a:ln>
            </p:spPr>
            <p:txBody>
              <a:bodyPr/>
              <a:lstStyle/>
              <a:p>
                <a:endParaRPr lang="zh-CN" altLang="en-US" sz="1799"/>
              </a:p>
            </p:txBody>
          </p:sp>
          <p:sp>
            <p:nvSpPr>
              <p:cNvPr id="341" name="Freeform 87"/>
              <p:cNvSpPr>
                <a:spLocks/>
              </p:cNvSpPr>
              <p:nvPr/>
            </p:nvSpPr>
            <p:spPr bwMode="auto">
              <a:xfrm>
                <a:off x="7570788" y="2595563"/>
                <a:ext cx="231775" cy="254000"/>
              </a:xfrm>
              <a:custGeom>
                <a:avLst/>
                <a:gdLst>
                  <a:gd name="T0" fmla="*/ 2147483647 w 555"/>
                  <a:gd name="T1" fmla="*/ 2147483647 h 604"/>
                  <a:gd name="T2" fmla="*/ 2147483647 w 555"/>
                  <a:gd name="T3" fmla="*/ 2147483647 h 604"/>
                  <a:gd name="T4" fmla="*/ 2147483647 w 555"/>
                  <a:gd name="T5" fmla="*/ 2147483647 h 604"/>
                  <a:gd name="T6" fmla="*/ 0 w 555"/>
                  <a:gd name="T7" fmla="*/ 2147483647 h 604"/>
                  <a:gd name="T8" fmla="*/ 0 w 555"/>
                  <a:gd name="T9" fmla="*/ 2147483647 h 604"/>
                  <a:gd name="T10" fmla="*/ 2147483647 w 555"/>
                  <a:gd name="T11" fmla="*/ 0 h 604"/>
                  <a:gd name="T12" fmla="*/ 2147483647 w 555"/>
                  <a:gd name="T13" fmla="*/ 2147483647 h 604"/>
                  <a:gd name="T14" fmla="*/ 2147483647 w 555"/>
                  <a:gd name="T15" fmla="*/ 2147483647 h 604"/>
                  <a:gd name="T16" fmla="*/ 2147483647 w 555"/>
                  <a:gd name="T17" fmla="*/ 2147483647 h 604"/>
                  <a:gd name="T18" fmla="*/ 2147483647 w 555"/>
                  <a:gd name="T19" fmla="*/ 2147483647 h 604"/>
                  <a:gd name="T20" fmla="*/ 2147483647 w 555"/>
                  <a:gd name="T21" fmla="*/ 2147483647 h 60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5"/>
                  <a:gd name="T34" fmla="*/ 0 h 604"/>
                  <a:gd name="T35" fmla="*/ 555 w 555"/>
                  <a:gd name="T36" fmla="*/ 604 h 60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5" h="604">
                    <a:moveTo>
                      <a:pt x="521" y="604"/>
                    </a:moveTo>
                    <a:lnTo>
                      <a:pt x="521" y="604"/>
                    </a:lnTo>
                    <a:cubicBezTo>
                      <a:pt x="520" y="604"/>
                      <a:pt x="519" y="604"/>
                      <a:pt x="518" y="604"/>
                    </a:cubicBezTo>
                    <a:cubicBezTo>
                      <a:pt x="218" y="577"/>
                      <a:pt x="0" y="434"/>
                      <a:pt x="0" y="264"/>
                    </a:cubicBezTo>
                    <a:lnTo>
                      <a:pt x="0" y="33"/>
                    </a:lnTo>
                    <a:cubicBezTo>
                      <a:pt x="0" y="15"/>
                      <a:pt x="15" y="0"/>
                      <a:pt x="33" y="0"/>
                    </a:cubicBezTo>
                    <a:cubicBezTo>
                      <a:pt x="52" y="0"/>
                      <a:pt x="66" y="15"/>
                      <a:pt x="66" y="33"/>
                    </a:cubicBezTo>
                    <a:lnTo>
                      <a:pt x="66" y="264"/>
                    </a:lnTo>
                    <a:cubicBezTo>
                      <a:pt x="66" y="396"/>
                      <a:pt x="263" y="514"/>
                      <a:pt x="524" y="538"/>
                    </a:cubicBezTo>
                    <a:cubicBezTo>
                      <a:pt x="542" y="539"/>
                      <a:pt x="555" y="555"/>
                      <a:pt x="554" y="574"/>
                    </a:cubicBezTo>
                    <a:cubicBezTo>
                      <a:pt x="552" y="591"/>
                      <a:pt x="538" y="604"/>
                      <a:pt x="521" y="604"/>
                    </a:cubicBezTo>
                    <a:close/>
                  </a:path>
                </a:pathLst>
              </a:custGeom>
              <a:grpFill/>
              <a:ln w="0">
                <a:noFill/>
                <a:round/>
                <a:headEnd/>
                <a:tailEnd/>
              </a:ln>
            </p:spPr>
            <p:txBody>
              <a:bodyPr/>
              <a:lstStyle/>
              <a:p>
                <a:endParaRPr lang="zh-CN" altLang="en-US" sz="1799"/>
              </a:p>
            </p:txBody>
          </p:sp>
          <p:sp>
            <p:nvSpPr>
              <p:cNvPr id="342" name="Freeform 88"/>
              <p:cNvSpPr>
                <a:spLocks/>
              </p:cNvSpPr>
              <p:nvPr/>
            </p:nvSpPr>
            <p:spPr bwMode="auto">
              <a:xfrm>
                <a:off x="7815263" y="2547938"/>
                <a:ext cx="87313" cy="57150"/>
              </a:xfrm>
              <a:custGeom>
                <a:avLst/>
                <a:gdLst>
                  <a:gd name="T0" fmla="*/ 2147483647 w 205"/>
                  <a:gd name="T1" fmla="*/ 2147483647 h 137"/>
                  <a:gd name="T2" fmla="*/ 2147483647 w 205"/>
                  <a:gd name="T3" fmla="*/ 2147483647 h 137"/>
                  <a:gd name="T4" fmla="*/ 2147483647 w 205"/>
                  <a:gd name="T5" fmla="*/ 2147483647 h 137"/>
                  <a:gd name="T6" fmla="*/ 2147483647 w 205"/>
                  <a:gd name="T7" fmla="*/ 2147483647 h 137"/>
                  <a:gd name="T8" fmla="*/ 2147483647 w 205"/>
                  <a:gd name="T9" fmla="*/ 2147483647 h 137"/>
                  <a:gd name="T10" fmla="*/ 2147483647 w 205"/>
                  <a:gd name="T11" fmla="*/ 2147483647 h 137"/>
                  <a:gd name="T12" fmla="*/ 2147483647 w 205"/>
                  <a:gd name="T13" fmla="*/ 2147483647 h 137"/>
                  <a:gd name="T14" fmla="*/ 2147483647 w 205"/>
                  <a:gd name="T15" fmla="*/ 2147483647 h 137"/>
                  <a:gd name="T16" fmla="*/ 2147483647 w 205"/>
                  <a:gd name="T17" fmla="*/ 2147483647 h 1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5"/>
                  <a:gd name="T28" fmla="*/ 0 h 137"/>
                  <a:gd name="T29" fmla="*/ 205 w 205"/>
                  <a:gd name="T30" fmla="*/ 137 h 1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5" h="137">
                    <a:moveTo>
                      <a:pt x="30" y="137"/>
                    </a:moveTo>
                    <a:lnTo>
                      <a:pt x="30" y="137"/>
                    </a:lnTo>
                    <a:cubicBezTo>
                      <a:pt x="21" y="137"/>
                      <a:pt x="12" y="132"/>
                      <a:pt x="7" y="123"/>
                    </a:cubicBezTo>
                    <a:cubicBezTo>
                      <a:pt x="0" y="110"/>
                      <a:pt x="4" y="94"/>
                      <a:pt x="17" y="87"/>
                    </a:cubicBezTo>
                    <a:lnTo>
                      <a:pt x="162" y="8"/>
                    </a:lnTo>
                    <a:cubicBezTo>
                      <a:pt x="175" y="0"/>
                      <a:pt x="191" y="5"/>
                      <a:pt x="198" y="18"/>
                    </a:cubicBezTo>
                    <a:cubicBezTo>
                      <a:pt x="205" y="31"/>
                      <a:pt x="201" y="47"/>
                      <a:pt x="188" y="54"/>
                    </a:cubicBezTo>
                    <a:lnTo>
                      <a:pt x="43" y="133"/>
                    </a:lnTo>
                    <a:cubicBezTo>
                      <a:pt x="39" y="136"/>
                      <a:pt x="34" y="137"/>
                      <a:pt x="30" y="137"/>
                    </a:cubicBezTo>
                    <a:close/>
                  </a:path>
                </a:pathLst>
              </a:custGeom>
              <a:grpFill/>
              <a:ln w="0">
                <a:noFill/>
                <a:round/>
                <a:headEnd/>
                <a:tailEnd/>
              </a:ln>
            </p:spPr>
            <p:txBody>
              <a:bodyPr/>
              <a:lstStyle/>
              <a:p>
                <a:endParaRPr lang="zh-CN" altLang="en-US" sz="1799"/>
              </a:p>
            </p:txBody>
          </p:sp>
          <p:sp>
            <p:nvSpPr>
              <p:cNvPr id="343" name="Freeform 89"/>
              <p:cNvSpPr>
                <a:spLocks/>
              </p:cNvSpPr>
              <p:nvPr/>
            </p:nvSpPr>
            <p:spPr bwMode="auto">
              <a:xfrm>
                <a:off x="7754938" y="2547938"/>
                <a:ext cx="87313" cy="57150"/>
              </a:xfrm>
              <a:custGeom>
                <a:avLst/>
                <a:gdLst>
                  <a:gd name="T0" fmla="*/ 2147483647 w 206"/>
                  <a:gd name="T1" fmla="*/ 2147483647 h 137"/>
                  <a:gd name="T2" fmla="*/ 2147483647 w 206"/>
                  <a:gd name="T3" fmla="*/ 2147483647 h 137"/>
                  <a:gd name="T4" fmla="*/ 2147483647 w 206"/>
                  <a:gd name="T5" fmla="*/ 2147483647 h 137"/>
                  <a:gd name="T6" fmla="*/ 2147483647 w 206"/>
                  <a:gd name="T7" fmla="*/ 2147483647 h 137"/>
                  <a:gd name="T8" fmla="*/ 2147483647 w 206"/>
                  <a:gd name="T9" fmla="*/ 2147483647 h 137"/>
                  <a:gd name="T10" fmla="*/ 2147483647 w 206"/>
                  <a:gd name="T11" fmla="*/ 2147483647 h 137"/>
                  <a:gd name="T12" fmla="*/ 2147483647 w 206"/>
                  <a:gd name="T13" fmla="*/ 2147483647 h 137"/>
                  <a:gd name="T14" fmla="*/ 2147483647 w 206"/>
                  <a:gd name="T15" fmla="*/ 2147483647 h 137"/>
                  <a:gd name="T16" fmla="*/ 2147483647 w 206"/>
                  <a:gd name="T17" fmla="*/ 2147483647 h 1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6"/>
                  <a:gd name="T28" fmla="*/ 0 h 137"/>
                  <a:gd name="T29" fmla="*/ 206 w 206"/>
                  <a:gd name="T30" fmla="*/ 137 h 1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6" h="137">
                    <a:moveTo>
                      <a:pt x="175" y="137"/>
                    </a:moveTo>
                    <a:lnTo>
                      <a:pt x="175" y="137"/>
                    </a:lnTo>
                    <a:cubicBezTo>
                      <a:pt x="171" y="137"/>
                      <a:pt x="166" y="136"/>
                      <a:pt x="162" y="133"/>
                    </a:cubicBezTo>
                    <a:lnTo>
                      <a:pt x="17" y="54"/>
                    </a:lnTo>
                    <a:cubicBezTo>
                      <a:pt x="5" y="47"/>
                      <a:pt x="0" y="31"/>
                      <a:pt x="7" y="18"/>
                    </a:cubicBezTo>
                    <a:cubicBezTo>
                      <a:pt x="14" y="5"/>
                      <a:pt x="30" y="0"/>
                      <a:pt x="43" y="8"/>
                    </a:cubicBezTo>
                    <a:lnTo>
                      <a:pt x="188" y="87"/>
                    </a:lnTo>
                    <a:cubicBezTo>
                      <a:pt x="201" y="94"/>
                      <a:pt x="206" y="110"/>
                      <a:pt x="199" y="123"/>
                    </a:cubicBezTo>
                    <a:cubicBezTo>
                      <a:pt x="194" y="132"/>
                      <a:pt x="185" y="137"/>
                      <a:pt x="175" y="137"/>
                    </a:cubicBezTo>
                    <a:close/>
                  </a:path>
                </a:pathLst>
              </a:custGeom>
              <a:grpFill/>
              <a:ln w="0">
                <a:noFill/>
                <a:round/>
                <a:headEnd/>
                <a:tailEnd/>
              </a:ln>
            </p:spPr>
            <p:txBody>
              <a:bodyPr/>
              <a:lstStyle/>
              <a:p>
                <a:endParaRPr lang="zh-CN" altLang="en-US" sz="1799"/>
              </a:p>
            </p:txBody>
          </p:sp>
          <p:sp>
            <p:nvSpPr>
              <p:cNvPr id="344" name="Freeform 90"/>
              <p:cNvSpPr>
                <a:spLocks/>
              </p:cNvSpPr>
              <p:nvPr/>
            </p:nvSpPr>
            <p:spPr bwMode="auto">
              <a:xfrm>
                <a:off x="7816850" y="2519363"/>
                <a:ext cx="23813" cy="85725"/>
              </a:xfrm>
              <a:custGeom>
                <a:avLst/>
                <a:gdLst>
                  <a:gd name="T0" fmla="*/ 2147483647 w 54"/>
                  <a:gd name="T1" fmla="*/ 2147483647 h 203"/>
                  <a:gd name="T2" fmla="*/ 2147483647 w 54"/>
                  <a:gd name="T3" fmla="*/ 2147483647 h 203"/>
                  <a:gd name="T4" fmla="*/ 0 w 54"/>
                  <a:gd name="T5" fmla="*/ 2147483647 h 203"/>
                  <a:gd name="T6" fmla="*/ 0 w 54"/>
                  <a:gd name="T7" fmla="*/ 2147483647 h 203"/>
                  <a:gd name="T8" fmla="*/ 2147483647 w 54"/>
                  <a:gd name="T9" fmla="*/ 0 h 203"/>
                  <a:gd name="T10" fmla="*/ 2147483647 w 54"/>
                  <a:gd name="T11" fmla="*/ 2147483647 h 203"/>
                  <a:gd name="T12" fmla="*/ 2147483647 w 54"/>
                  <a:gd name="T13" fmla="*/ 2147483647 h 203"/>
                  <a:gd name="T14" fmla="*/ 2147483647 w 54"/>
                  <a:gd name="T15" fmla="*/ 2147483647 h 203"/>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203"/>
                  <a:gd name="T26" fmla="*/ 54 w 54"/>
                  <a:gd name="T27" fmla="*/ 203 h 20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203">
                    <a:moveTo>
                      <a:pt x="27" y="203"/>
                    </a:moveTo>
                    <a:lnTo>
                      <a:pt x="27" y="203"/>
                    </a:lnTo>
                    <a:cubicBezTo>
                      <a:pt x="12" y="203"/>
                      <a:pt x="0" y="191"/>
                      <a:pt x="0" y="176"/>
                    </a:cubicBezTo>
                    <a:lnTo>
                      <a:pt x="0" y="27"/>
                    </a:lnTo>
                    <a:cubicBezTo>
                      <a:pt x="0" y="12"/>
                      <a:pt x="12" y="0"/>
                      <a:pt x="27" y="0"/>
                    </a:cubicBezTo>
                    <a:cubicBezTo>
                      <a:pt x="42" y="0"/>
                      <a:pt x="54" y="12"/>
                      <a:pt x="54" y="27"/>
                    </a:cubicBezTo>
                    <a:lnTo>
                      <a:pt x="54" y="176"/>
                    </a:lnTo>
                    <a:cubicBezTo>
                      <a:pt x="54" y="191"/>
                      <a:pt x="42" y="203"/>
                      <a:pt x="27" y="203"/>
                    </a:cubicBezTo>
                    <a:close/>
                  </a:path>
                </a:pathLst>
              </a:custGeom>
              <a:grpFill/>
              <a:ln w="0">
                <a:noFill/>
                <a:round/>
                <a:headEnd/>
                <a:tailEnd/>
              </a:ln>
            </p:spPr>
            <p:txBody>
              <a:bodyPr/>
              <a:lstStyle/>
              <a:p>
                <a:endParaRPr lang="zh-CN" altLang="en-US" sz="1799"/>
              </a:p>
            </p:txBody>
          </p:sp>
          <p:sp>
            <p:nvSpPr>
              <p:cNvPr id="345" name="Freeform 91"/>
              <p:cNvSpPr>
                <a:spLocks/>
              </p:cNvSpPr>
              <p:nvPr/>
            </p:nvSpPr>
            <p:spPr bwMode="auto">
              <a:xfrm>
                <a:off x="7754938" y="2400300"/>
                <a:ext cx="85725" cy="57150"/>
              </a:xfrm>
              <a:custGeom>
                <a:avLst/>
                <a:gdLst>
                  <a:gd name="T0" fmla="*/ 2147483647 w 206"/>
                  <a:gd name="T1" fmla="*/ 2147483647 h 136"/>
                  <a:gd name="T2" fmla="*/ 2147483647 w 206"/>
                  <a:gd name="T3" fmla="*/ 2147483647 h 136"/>
                  <a:gd name="T4" fmla="*/ 2147483647 w 206"/>
                  <a:gd name="T5" fmla="*/ 2147483647 h 136"/>
                  <a:gd name="T6" fmla="*/ 2147483647 w 206"/>
                  <a:gd name="T7" fmla="*/ 2147483647 h 136"/>
                  <a:gd name="T8" fmla="*/ 2147483647 w 206"/>
                  <a:gd name="T9" fmla="*/ 2147483647 h 136"/>
                  <a:gd name="T10" fmla="*/ 2147483647 w 206"/>
                  <a:gd name="T11" fmla="*/ 2147483647 h 136"/>
                  <a:gd name="T12" fmla="*/ 2147483647 w 206"/>
                  <a:gd name="T13" fmla="*/ 2147483647 h 136"/>
                  <a:gd name="T14" fmla="*/ 2147483647 w 206"/>
                  <a:gd name="T15" fmla="*/ 2147483647 h 136"/>
                  <a:gd name="T16" fmla="*/ 2147483647 w 206"/>
                  <a:gd name="T17" fmla="*/ 214748364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6"/>
                  <a:gd name="T28" fmla="*/ 0 h 136"/>
                  <a:gd name="T29" fmla="*/ 206 w 206"/>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6" h="136">
                    <a:moveTo>
                      <a:pt x="31" y="136"/>
                    </a:moveTo>
                    <a:lnTo>
                      <a:pt x="31" y="136"/>
                    </a:lnTo>
                    <a:cubicBezTo>
                      <a:pt x="21" y="136"/>
                      <a:pt x="12" y="131"/>
                      <a:pt x="7" y="123"/>
                    </a:cubicBezTo>
                    <a:cubicBezTo>
                      <a:pt x="0" y="110"/>
                      <a:pt x="5" y="93"/>
                      <a:pt x="18" y="86"/>
                    </a:cubicBezTo>
                    <a:lnTo>
                      <a:pt x="163" y="7"/>
                    </a:lnTo>
                    <a:cubicBezTo>
                      <a:pt x="176" y="0"/>
                      <a:pt x="192" y="5"/>
                      <a:pt x="199" y="18"/>
                    </a:cubicBezTo>
                    <a:cubicBezTo>
                      <a:pt x="206" y="31"/>
                      <a:pt x="201" y="47"/>
                      <a:pt x="188" y="54"/>
                    </a:cubicBezTo>
                    <a:lnTo>
                      <a:pt x="43" y="133"/>
                    </a:lnTo>
                    <a:cubicBezTo>
                      <a:pt x="39" y="135"/>
                      <a:pt x="35" y="136"/>
                      <a:pt x="31" y="136"/>
                    </a:cubicBezTo>
                    <a:close/>
                  </a:path>
                </a:pathLst>
              </a:custGeom>
              <a:grpFill/>
              <a:ln w="0">
                <a:noFill/>
                <a:round/>
                <a:headEnd/>
                <a:tailEnd/>
              </a:ln>
            </p:spPr>
            <p:txBody>
              <a:bodyPr/>
              <a:lstStyle/>
              <a:p>
                <a:endParaRPr lang="zh-CN" altLang="en-US" sz="1799"/>
              </a:p>
            </p:txBody>
          </p:sp>
          <p:sp>
            <p:nvSpPr>
              <p:cNvPr id="346" name="Freeform 92"/>
              <p:cNvSpPr>
                <a:spLocks/>
              </p:cNvSpPr>
              <p:nvPr/>
            </p:nvSpPr>
            <p:spPr bwMode="auto">
              <a:xfrm>
                <a:off x="7815263" y="2400300"/>
                <a:ext cx="85725" cy="57150"/>
              </a:xfrm>
              <a:custGeom>
                <a:avLst/>
                <a:gdLst>
                  <a:gd name="T0" fmla="*/ 2147483647 w 206"/>
                  <a:gd name="T1" fmla="*/ 2147483647 h 136"/>
                  <a:gd name="T2" fmla="*/ 2147483647 w 206"/>
                  <a:gd name="T3" fmla="*/ 2147483647 h 136"/>
                  <a:gd name="T4" fmla="*/ 2147483647 w 206"/>
                  <a:gd name="T5" fmla="*/ 2147483647 h 136"/>
                  <a:gd name="T6" fmla="*/ 2147483647 w 206"/>
                  <a:gd name="T7" fmla="*/ 2147483647 h 136"/>
                  <a:gd name="T8" fmla="*/ 2147483647 w 206"/>
                  <a:gd name="T9" fmla="*/ 2147483647 h 136"/>
                  <a:gd name="T10" fmla="*/ 2147483647 w 206"/>
                  <a:gd name="T11" fmla="*/ 2147483647 h 136"/>
                  <a:gd name="T12" fmla="*/ 2147483647 w 206"/>
                  <a:gd name="T13" fmla="*/ 2147483647 h 136"/>
                  <a:gd name="T14" fmla="*/ 2147483647 w 206"/>
                  <a:gd name="T15" fmla="*/ 2147483647 h 136"/>
                  <a:gd name="T16" fmla="*/ 2147483647 w 206"/>
                  <a:gd name="T17" fmla="*/ 214748364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6"/>
                  <a:gd name="T28" fmla="*/ 0 h 136"/>
                  <a:gd name="T29" fmla="*/ 206 w 206"/>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6" h="136">
                    <a:moveTo>
                      <a:pt x="175" y="136"/>
                    </a:moveTo>
                    <a:lnTo>
                      <a:pt x="175" y="136"/>
                    </a:lnTo>
                    <a:cubicBezTo>
                      <a:pt x="171" y="136"/>
                      <a:pt x="167" y="135"/>
                      <a:pt x="163" y="133"/>
                    </a:cubicBezTo>
                    <a:lnTo>
                      <a:pt x="18" y="54"/>
                    </a:lnTo>
                    <a:cubicBezTo>
                      <a:pt x="5" y="47"/>
                      <a:pt x="0" y="31"/>
                      <a:pt x="7" y="18"/>
                    </a:cubicBezTo>
                    <a:cubicBezTo>
                      <a:pt x="14" y="5"/>
                      <a:pt x="30" y="0"/>
                      <a:pt x="43" y="7"/>
                    </a:cubicBezTo>
                    <a:lnTo>
                      <a:pt x="188" y="86"/>
                    </a:lnTo>
                    <a:cubicBezTo>
                      <a:pt x="201" y="93"/>
                      <a:pt x="206" y="110"/>
                      <a:pt x="199" y="123"/>
                    </a:cubicBezTo>
                    <a:cubicBezTo>
                      <a:pt x="194" y="131"/>
                      <a:pt x="185" y="136"/>
                      <a:pt x="175" y="136"/>
                    </a:cubicBezTo>
                    <a:close/>
                  </a:path>
                </a:pathLst>
              </a:custGeom>
              <a:grpFill/>
              <a:ln w="0">
                <a:noFill/>
                <a:round/>
                <a:headEnd/>
                <a:tailEnd/>
              </a:ln>
            </p:spPr>
            <p:txBody>
              <a:bodyPr/>
              <a:lstStyle/>
              <a:p>
                <a:endParaRPr lang="zh-CN" altLang="en-US" sz="1799"/>
              </a:p>
            </p:txBody>
          </p:sp>
          <p:sp>
            <p:nvSpPr>
              <p:cNvPr id="347" name="Freeform 93"/>
              <p:cNvSpPr>
                <a:spLocks/>
              </p:cNvSpPr>
              <p:nvPr/>
            </p:nvSpPr>
            <p:spPr bwMode="auto">
              <a:xfrm>
                <a:off x="7816850" y="2401888"/>
                <a:ext cx="22225" cy="84138"/>
              </a:xfrm>
              <a:custGeom>
                <a:avLst/>
                <a:gdLst>
                  <a:gd name="T0" fmla="*/ 2147483647 w 53"/>
                  <a:gd name="T1" fmla="*/ 2147483647 h 200"/>
                  <a:gd name="T2" fmla="*/ 2147483647 w 53"/>
                  <a:gd name="T3" fmla="*/ 2147483647 h 200"/>
                  <a:gd name="T4" fmla="*/ 0 w 53"/>
                  <a:gd name="T5" fmla="*/ 2147483647 h 200"/>
                  <a:gd name="T6" fmla="*/ 0 w 53"/>
                  <a:gd name="T7" fmla="*/ 2147483647 h 200"/>
                  <a:gd name="T8" fmla="*/ 2147483647 w 53"/>
                  <a:gd name="T9" fmla="*/ 0 h 200"/>
                  <a:gd name="T10" fmla="*/ 2147483647 w 53"/>
                  <a:gd name="T11" fmla="*/ 2147483647 h 200"/>
                  <a:gd name="T12" fmla="*/ 2147483647 w 53"/>
                  <a:gd name="T13" fmla="*/ 2147483647 h 200"/>
                  <a:gd name="T14" fmla="*/ 2147483647 w 53"/>
                  <a:gd name="T15" fmla="*/ 2147483647 h 200"/>
                  <a:gd name="T16" fmla="*/ 0 60000 65536"/>
                  <a:gd name="T17" fmla="*/ 0 60000 65536"/>
                  <a:gd name="T18" fmla="*/ 0 60000 65536"/>
                  <a:gd name="T19" fmla="*/ 0 60000 65536"/>
                  <a:gd name="T20" fmla="*/ 0 60000 65536"/>
                  <a:gd name="T21" fmla="*/ 0 60000 65536"/>
                  <a:gd name="T22" fmla="*/ 0 60000 65536"/>
                  <a:gd name="T23" fmla="*/ 0 60000 65536"/>
                  <a:gd name="T24" fmla="*/ 0 w 53"/>
                  <a:gd name="T25" fmla="*/ 0 h 200"/>
                  <a:gd name="T26" fmla="*/ 53 w 53"/>
                  <a:gd name="T27" fmla="*/ 200 h 2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 h="200">
                    <a:moveTo>
                      <a:pt x="26" y="200"/>
                    </a:moveTo>
                    <a:lnTo>
                      <a:pt x="26" y="200"/>
                    </a:lnTo>
                    <a:cubicBezTo>
                      <a:pt x="12" y="200"/>
                      <a:pt x="0" y="188"/>
                      <a:pt x="0" y="173"/>
                    </a:cubicBezTo>
                    <a:lnTo>
                      <a:pt x="0" y="27"/>
                    </a:lnTo>
                    <a:cubicBezTo>
                      <a:pt x="0" y="12"/>
                      <a:pt x="12" y="0"/>
                      <a:pt x="26" y="0"/>
                    </a:cubicBezTo>
                    <a:cubicBezTo>
                      <a:pt x="41" y="0"/>
                      <a:pt x="53" y="12"/>
                      <a:pt x="53" y="27"/>
                    </a:cubicBezTo>
                    <a:lnTo>
                      <a:pt x="53" y="173"/>
                    </a:lnTo>
                    <a:cubicBezTo>
                      <a:pt x="53" y="188"/>
                      <a:pt x="41" y="200"/>
                      <a:pt x="26" y="200"/>
                    </a:cubicBezTo>
                    <a:close/>
                  </a:path>
                </a:pathLst>
              </a:custGeom>
              <a:grpFill/>
              <a:ln w="0">
                <a:noFill/>
                <a:round/>
                <a:headEnd/>
                <a:tailEnd/>
              </a:ln>
            </p:spPr>
            <p:txBody>
              <a:bodyPr/>
              <a:lstStyle/>
              <a:p>
                <a:endParaRPr lang="zh-CN" altLang="en-US" sz="1799"/>
              </a:p>
            </p:txBody>
          </p:sp>
          <p:sp>
            <p:nvSpPr>
              <p:cNvPr id="348" name="Freeform 94"/>
              <p:cNvSpPr>
                <a:spLocks/>
              </p:cNvSpPr>
              <p:nvPr/>
            </p:nvSpPr>
            <p:spPr bwMode="auto">
              <a:xfrm>
                <a:off x="7651750" y="2490788"/>
                <a:ext cx="85725" cy="57150"/>
              </a:xfrm>
              <a:custGeom>
                <a:avLst/>
                <a:gdLst>
                  <a:gd name="T0" fmla="*/ 2147483647 w 205"/>
                  <a:gd name="T1" fmla="*/ 2147483647 h 137"/>
                  <a:gd name="T2" fmla="*/ 2147483647 w 205"/>
                  <a:gd name="T3" fmla="*/ 2147483647 h 137"/>
                  <a:gd name="T4" fmla="*/ 2147483647 w 205"/>
                  <a:gd name="T5" fmla="*/ 2147483647 h 137"/>
                  <a:gd name="T6" fmla="*/ 2147483647 w 205"/>
                  <a:gd name="T7" fmla="*/ 2147483647 h 137"/>
                  <a:gd name="T8" fmla="*/ 2147483647 w 205"/>
                  <a:gd name="T9" fmla="*/ 2147483647 h 137"/>
                  <a:gd name="T10" fmla="*/ 2147483647 w 205"/>
                  <a:gd name="T11" fmla="*/ 2147483647 h 137"/>
                  <a:gd name="T12" fmla="*/ 2147483647 w 205"/>
                  <a:gd name="T13" fmla="*/ 2147483647 h 137"/>
                  <a:gd name="T14" fmla="*/ 2147483647 w 205"/>
                  <a:gd name="T15" fmla="*/ 2147483647 h 137"/>
                  <a:gd name="T16" fmla="*/ 2147483647 w 205"/>
                  <a:gd name="T17" fmla="*/ 2147483647 h 1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5"/>
                  <a:gd name="T28" fmla="*/ 0 h 137"/>
                  <a:gd name="T29" fmla="*/ 205 w 205"/>
                  <a:gd name="T30" fmla="*/ 137 h 1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5" h="137">
                    <a:moveTo>
                      <a:pt x="174" y="137"/>
                    </a:moveTo>
                    <a:lnTo>
                      <a:pt x="174" y="137"/>
                    </a:lnTo>
                    <a:cubicBezTo>
                      <a:pt x="170" y="137"/>
                      <a:pt x="166" y="136"/>
                      <a:pt x="161" y="134"/>
                    </a:cubicBezTo>
                    <a:lnTo>
                      <a:pt x="18" y="54"/>
                    </a:lnTo>
                    <a:cubicBezTo>
                      <a:pt x="5" y="47"/>
                      <a:pt x="0" y="31"/>
                      <a:pt x="8" y="18"/>
                    </a:cubicBezTo>
                    <a:cubicBezTo>
                      <a:pt x="15" y="5"/>
                      <a:pt x="31" y="0"/>
                      <a:pt x="44" y="8"/>
                    </a:cubicBezTo>
                    <a:lnTo>
                      <a:pt x="187" y="87"/>
                    </a:lnTo>
                    <a:cubicBezTo>
                      <a:pt x="200" y="94"/>
                      <a:pt x="205" y="111"/>
                      <a:pt x="198" y="124"/>
                    </a:cubicBezTo>
                    <a:cubicBezTo>
                      <a:pt x="193" y="132"/>
                      <a:pt x="184" y="137"/>
                      <a:pt x="174" y="137"/>
                    </a:cubicBezTo>
                    <a:close/>
                  </a:path>
                </a:pathLst>
              </a:custGeom>
              <a:grpFill/>
              <a:ln w="0">
                <a:noFill/>
                <a:round/>
                <a:headEnd/>
                <a:tailEnd/>
              </a:ln>
            </p:spPr>
            <p:txBody>
              <a:bodyPr/>
              <a:lstStyle/>
              <a:p>
                <a:endParaRPr lang="zh-CN" altLang="en-US" sz="1799"/>
              </a:p>
            </p:txBody>
          </p:sp>
          <p:sp>
            <p:nvSpPr>
              <p:cNvPr id="349" name="Freeform 95"/>
              <p:cNvSpPr>
                <a:spLocks/>
              </p:cNvSpPr>
              <p:nvPr/>
            </p:nvSpPr>
            <p:spPr bwMode="auto">
              <a:xfrm>
                <a:off x="7651750" y="2457450"/>
                <a:ext cx="85725" cy="57150"/>
              </a:xfrm>
              <a:custGeom>
                <a:avLst/>
                <a:gdLst>
                  <a:gd name="T0" fmla="*/ 2147483647 w 205"/>
                  <a:gd name="T1" fmla="*/ 2147483647 h 136"/>
                  <a:gd name="T2" fmla="*/ 2147483647 w 205"/>
                  <a:gd name="T3" fmla="*/ 2147483647 h 136"/>
                  <a:gd name="T4" fmla="*/ 2147483647 w 205"/>
                  <a:gd name="T5" fmla="*/ 2147483647 h 136"/>
                  <a:gd name="T6" fmla="*/ 2147483647 w 205"/>
                  <a:gd name="T7" fmla="*/ 2147483647 h 136"/>
                  <a:gd name="T8" fmla="*/ 2147483647 w 205"/>
                  <a:gd name="T9" fmla="*/ 2147483647 h 136"/>
                  <a:gd name="T10" fmla="*/ 2147483647 w 205"/>
                  <a:gd name="T11" fmla="*/ 2147483647 h 136"/>
                  <a:gd name="T12" fmla="*/ 2147483647 w 205"/>
                  <a:gd name="T13" fmla="*/ 2147483647 h 136"/>
                  <a:gd name="T14" fmla="*/ 2147483647 w 205"/>
                  <a:gd name="T15" fmla="*/ 2147483647 h 136"/>
                  <a:gd name="T16" fmla="*/ 2147483647 w 205"/>
                  <a:gd name="T17" fmla="*/ 214748364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5"/>
                  <a:gd name="T28" fmla="*/ 0 h 136"/>
                  <a:gd name="T29" fmla="*/ 205 w 205"/>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5" h="136">
                    <a:moveTo>
                      <a:pt x="31" y="136"/>
                    </a:moveTo>
                    <a:lnTo>
                      <a:pt x="31" y="136"/>
                    </a:lnTo>
                    <a:cubicBezTo>
                      <a:pt x="21" y="136"/>
                      <a:pt x="12" y="132"/>
                      <a:pt x="8" y="123"/>
                    </a:cubicBezTo>
                    <a:cubicBezTo>
                      <a:pt x="0" y="110"/>
                      <a:pt x="5" y="94"/>
                      <a:pt x="18" y="87"/>
                    </a:cubicBezTo>
                    <a:lnTo>
                      <a:pt x="161" y="7"/>
                    </a:lnTo>
                    <a:cubicBezTo>
                      <a:pt x="174" y="0"/>
                      <a:pt x="191" y="4"/>
                      <a:pt x="198" y="17"/>
                    </a:cubicBezTo>
                    <a:cubicBezTo>
                      <a:pt x="205" y="30"/>
                      <a:pt x="200" y="46"/>
                      <a:pt x="187" y="53"/>
                    </a:cubicBezTo>
                    <a:lnTo>
                      <a:pt x="44" y="133"/>
                    </a:lnTo>
                    <a:cubicBezTo>
                      <a:pt x="40" y="135"/>
                      <a:pt x="35" y="136"/>
                      <a:pt x="31" y="136"/>
                    </a:cubicBezTo>
                    <a:close/>
                  </a:path>
                </a:pathLst>
              </a:custGeom>
              <a:grpFill/>
              <a:ln w="0">
                <a:noFill/>
                <a:round/>
                <a:headEnd/>
                <a:tailEnd/>
              </a:ln>
            </p:spPr>
            <p:txBody>
              <a:bodyPr/>
              <a:lstStyle/>
              <a:p>
                <a:endParaRPr lang="zh-CN" altLang="en-US" sz="1799"/>
              </a:p>
            </p:txBody>
          </p:sp>
          <p:sp>
            <p:nvSpPr>
              <p:cNvPr id="350" name="Freeform 96"/>
              <p:cNvSpPr>
                <a:spLocks/>
              </p:cNvSpPr>
              <p:nvPr/>
            </p:nvSpPr>
            <p:spPr bwMode="auto">
              <a:xfrm>
                <a:off x="7653338" y="2492375"/>
                <a:ext cx="134938" cy="22225"/>
              </a:xfrm>
              <a:custGeom>
                <a:avLst/>
                <a:gdLst>
                  <a:gd name="T0" fmla="*/ 2147483647 w 324"/>
                  <a:gd name="T1" fmla="*/ 2147483647 h 53"/>
                  <a:gd name="T2" fmla="*/ 2147483647 w 324"/>
                  <a:gd name="T3" fmla="*/ 2147483647 h 53"/>
                  <a:gd name="T4" fmla="*/ 2147483647 w 324"/>
                  <a:gd name="T5" fmla="*/ 2147483647 h 53"/>
                  <a:gd name="T6" fmla="*/ 0 w 324"/>
                  <a:gd name="T7" fmla="*/ 2147483647 h 53"/>
                  <a:gd name="T8" fmla="*/ 2147483647 w 324"/>
                  <a:gd name="T9" fmla="*/ 0 h 53"/>
                  <a:gd name="T10" fmla="*/ 2147483647 w 324"/>
                  <a:gd name="T11" fmla="*/ 0 h 53"/>
                  <a:gd name="T12" fmla="*/ 2147483647 w 324"/>
                  <a:gd name="T13" fmla="*/ 2147483647 h 53"/>
                  <a:gd name="T14" fmla="*/ 2147483647 w 324"/>
                  <a:gd name="T15" fmla="*/ 2147483647 h 53"/>
                  <a:gd name="T16" fmla="*/ 0 60000 65536"/>
                  <a:gd name="T17" fmla="*/ 0 60000 65536"/>
                  <a:gd name="T18" fmla="*/ 0 60000 65536"/>
                  <a:gd name="T19" fmla="*/ 0 60000 65536"/>
                  <a:gd name="T20" fmla="*/ 0 60000 65536"/>
                  <a:gd name="T21" fmla="*/ 0 60000 65536"/>
                  <a:gd name="T22" fmla="*/ 0 60000 65536"/>
                  <a:gd name="T23" fmla="*/ 0 60000 65536"/>
                  <a:gd name="T24" fmla="*/ 0 w 324"/>
                  <a:gd name="T25" fmla="*/ 0 h 53"/>
                  <a:gd name="T26" fmla="*/ 324 w 324"/>
                  <a:gd name="T27" fmla="*/ 53 h 5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4" h="53">
                    <a:moveTo>
                      <a:pt x="297" y="53"/>
                    </a:moveTo>
                    <a:lnTo>
                      <a:pt x="297" y="53"/>
                    </a:lnTo>
                    <a:lnTo>
                      <a:pt x="27" y="53"/>
                    </a:lnTo>
                    <a:cubicBezTo>
                      <a:pt x="12" y="53"/>
                      <a:pt x="0" y="42"/>
                      <a:pt x="0" y="27"/>
                    </a:cubicBezTo>
                    <a:cubicBezTo>
                      <a:pt x="0" y="12"/>
                      <a:pt x="12" y="0"/>
                      <a:pt x="27" y="0"/>
                    </a:cubicBezTo>
                    <a:lnTo>
                      <a:pt x="297" y="0"/>
                    </a:lnTo>
                    <a:cubicBezTo>
                      <a:pt x="312" y="0"/>
                      <a:pt x="324" y="12"/>
                      <a:pt x="324" y="27"/>
                    </a:cubicBezTo>
                    <a:cubicBezTo>
                      <a:pt x="324" y="42"/>
                      <a:pt x="312" y="53"/>
                      <a:pt x="297" y="53"/>
                    </a:cubicBezTo>
                    <a:close/>
                  </a:path>
                </a:pathLst>
              </a:custGeom>
              <a:grpFill/>
              <a:ln w="0">
                <a:noFill/>
                <a:round/>
                <a:headEnd/>
                <a:tailEnd/>
              </a:ln>
            </p:spPr>
            <p:txBody>
              <a:bodyPr/>
              <a:lstStyle/>
              <a:p>
                <a:endParaRPr lang="zh-CN" altLang="en-US" sz="1799"/>
              </a:p>
            </p:txBody>
          </p:sp>
          <p:sp>
            <p:nvSpPr>
              <p:cNvPr id="351" name="Freeform 97"/>
              <p:cNvSpPr>
                <a:spLocks/>
              </p:cNvSpPr>
              <p:nvPr/>
            </p:nvSpPr>
            <p:spPr bwMode="auto">
              <a:xfrm>
                <a:off x="7920038" y="2457450"/>
                <a:ext cx="85725" cy="57150"/>
              </a:xfrm>
              <a:custGeom>
                <a:avLst/>
                <a:gdLst>
                  <a:gd name="T0" fmla="*/ 2147483647 w 204"/>
                  <a:gd name="T1" fmla="*/ 2147483647 h 137"/>
                  <a:gd name="T2" fmla="*/ 2147483647 w 204"/>
                  <a:gd name="T3" fmla="*/ 2147483647 h 137"/>
                  <a:gd name="T4" fmla="*/ 2147483647 w 204"/>
                  <a:gd name="T5" fmla="*/ 2147483647 h 137"/>
                  <a:gd name="T6" fmla="*/ 2147483647 w 204"/>
                  <a:gd name="T7" fmla="*/ 2147483647 h 137"/>
                  <a:gd name="T8" fmla="*/ 2147483647 w 204"/>
                  <a:gd name="T9" fmla="*/ 2147483647 h 137"/>
                  <a:gd name="T10" fmla="*/ 2147483647 w 204"/>
                  <a:gd name="T11" fmla="*/ 2147483647 h 137"/>
                  <a:gd name="T12" fmla="*/ 2147483647 w 204"/>
                  <a:gd name="T13" fmla="*/ 2147483647 h 137"/>
                  <a:gd name="T14" fmla="*/ 2147483647 w 204"/>
                  <a:gd name="T15" fmla="*/ 2147483647 h 137"/>
                  <a:gd name="T16" fmla="*/ 2147483647 w 204"/>
                  <a:gd name="T17" fmla="*/ 2147483647 h 1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4"/>
                  <a:gd name="T28" fmla="*/ 0 h 137"/>
                  <a:gd name="T29" fmla="*/ 204 w 204"/>
                  <a:gd name="T30" fmla="*/ 137 h 1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4" h="137">
                    <a:moveTo>
                      <a:pt x="174" y="137"/>
                    </a:moveTo>
                    <a:lnTo>
                      <a:pt x="174" y="137"/>
                    </a:lnTo>
                    <a:cubicBezTo>
                      <a:pt x="169" y="137"/>
                      <a:pt x="165" y="135"/>
                      <a:pt x="161" y="133"/>
                    </a:cubicBezTo>
                    <a:lnTo>
                      <a:pt x="17" y="53"/>
                    </a:lnTo>
                    <a:cubicBezTo>
                      <a:pt x="4" y="46"/>
                      <a:pt x="0" y="30"/>
                      <a:pt x="7" y="17"/>
                    </a:cubicBezTo>
                    <a:cubicBezTo>
                      <a:pt x="14" y="4"/>
                      <a:pt x="30" y="0"/>
                      <a:pt x="43" y="7"/>
                    </a:cubicBezTo>
                    <a:lnTo>
                      <a:pt x="187" y="87"/>
                    </a:lnTo>
                    <a:cubicBezTo>
                      <a:pt x="200" y="94"/>
                      <a:pt x="204" y="110"/>
                      <a:pt x="197" y="123"/>
                    </a:cubicBezTo>
                    <a:cubicBezTo>
                      <a:pt x="192" y="132"/>
                      <a:pt x="183" y="137"/>
                      <a:pt x="174" y="137"/>
                    </a:cubicBezTo>
                    <a:close/>
                  </a:path>
                </a:pathLst>
              </a:custGeom>
              <a:grpFill/>
              <a:ln w="0">
                <a:noFill/>
                <a:round/>
                <a:headEnd/>
                <a:tailEnd/>
              </a:ln>
            </p:spPr>
            <p:txBody>
              <a:bodyPr/>
              <a:lstStyle/>
              <a:p>
                <a:endParaRPr lang="zh-CN" altLang="en-US" sz="1799"/>
              </a:p>
            </p:txBody>
          </p:sp>
          <p:sp>
            <p:nvSpPr>
              <p:cNvPr id="352" name="Freeform 98"/>
              <p:cNvSpPr>
                <a:spLocks/>
              </p:cNvSpPr>
              <p:nvPr/>
            </p:nvSpPr>
            <p:spPr bwMode="auto">
              <a:xfrm>
                <a:off x="7920038" y="2490788"/>
                <a:ext cx="85725" cy="57150"/>
              </a:xfrm>
              <a:custGeom>
                <a:avLst/>
                <a:gdLst>
                  <a:gd name="T0" fmla="*/ 2147483647 w 204"/>
                  <a:gd name="T1" fmla="*/ 2147483647 h 137"/>
                  <a:gd name="T2" fmla="*/ 2147483647 w 204"/>
                  <a:gd name="T3" fmla="*/ 2147483647 h 137"/>
                  <a:gd name="T4" fmla="*/ 2147483647 w 204"/>
                  <a:gd name="T5" fmla="*/ 2147483647 h 137"/>
                  <a:gd name="T6" fmla="*/ 2147483647 w 204"/>
                  <a:gd name="T7" fmla="*/ 2147483647 h 137"/>
                  <a:gd name="T8" fmla="*/ 2147483647 w 204"/>
                  <a:gd name="T9" fmla="*/ 2147483647 h 137"/>
                  <a:gd name="T10" fmla="*/ 2147483647 w 204"/>
                  <a:gd name="T11" fmla="*/ 2147483647 h 137"/>
                  <a:gd name="T12" fmla="*/ 2147483647 w 204"/>
                  <a:gd name="T13" fmla="*/ 2147483647 h 137"/>
                  <a:gd name="T14" fmla="*/ 2147483647 w 204"/>
                  <a:gd name="T15" fmla="*/ 2147483647 h 137"/>
                  <a:gd name="T16" fmla="*/ 2147483647 w 204"/>
                  <a:gd name="T17" fmla="*/ 2147483647 h 1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4"/>
                  <a:gd name="T28" fmla="*/ 0 h 137"/>
                  <a:gd name="T29" fmla="*/ 204 w 204"/>
                  <a:gd name="T30" fmla="*/ 137 h 1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4" h="137">
                    <a:moveTo>
                      <a:pt x="30" y="137"/>
                    </a:moveTo>
                    <a:lnTo>
                      <a:pt x="30" y="137"/>
                    </a:lnTo>
                    <a:cubicBezTo>
                      <a:pt x="21" y="137"/>
                      <a:pt x="12" y="132"/>
                      <a:pt x="7" y="124"/>
                    </a:cubicBezTo>
                    <a:cubicBezTo>
                      <a:pt x="0" y="111"/>
                      <a:pt x="4" y="95"/>
                      <a:pt x="17" y="87"/>
                    </a:cubicBezTo>
                    <a:lnTo>
                      <a:pt x="161" y="8"/>
                    </a:lnTo>
                    <a:cubicBezTo>
                      <a:pt x="174" y="0"/>
                      <a:pt x="190" y="5"/>
                      <a:pt x="197" y="18"/>
                    </a:cubicBezTo>
                    <a:cubicBezTo>
                      <a:pt x="204" y="31"/>
                      <a:pt x="200" y="47"/>
                      <a:pt x="187" y="54"/>
                    </a:cubicBezTo>
                    <a:lnTo>
                      <a:pt x="43" y="134"/>
                    </a:lnTo>
                    <a:cubicBezTo>
                      <a:pt x="39" y="136"/>
                      <a:pt x="35" y="137"/>
                      <a:pt x="30" y="137"/>
                    </a:cubicBezTo>
                    <a:close/>
                  </a:path>
                </a:pathLst>
              </a:custGeom>
              <a:grpFill/>
              <a:ln w="0">
                <a:noFill/>
                <a:round/>
                <a:headEnd/>
                <a:tailEnd/>
              </a:ln>
            </p:spPr>
            <p:txBody>
              <a:bodyPr/>
              <a:lstStyle/>
              <a:p>
                <a:endParaRPr lang="zh-CN" altLang="en-US" sz="1799"/>
              </a:p>
            </p:txBody>
          </p:sp>
          <p:sp>
            <p:nvSpPr>
              <p:cNvPr id="353" name="Freeform 99"/>
              <p:cNvSpPr>
                <a:spLocks/>
              </p:cNvSpPr>
              <p:nvPr/>
            </p:nvSpPr>
            <p:spPr bwMode="auto">
              <a:xfrm>
                <a:off x="7867650" y="2492375"/>
                <a:ext cx="136525" cy="22225"/>
              </a:xfrm>
              <a:custGeom>
                <a:avLst/>
                <a:gdLst>
                  <a:gd name="T0" fmla="*/ 2147483647 w 323"/>
                  <a:gd name="T1" fmla="*/ 2147483647 h 54"/>
                  <a:gd name="T2" fmla="*/ 2147483647 w 323"/>
                  <a:gd name="T3" fmla="*/ 2147483647 h 54"/>
                  <a:gd name="T4" fmla="*/ 2147483647 w 323"/>
                  <a:gd name="T5" fmla="*/ 2147483647 h 54"/>
                  <a:gd name="T6" fmla="*/ 0 w 323"/>
                  <a:gd name="T7" fmla="*/ 2147483647 h 54"/>
                  <a:gd name="T8" fmla="*/ 2147483647 w 323"/>
                  <a:gd name="T9" fmla="*/ 0 h 54"/>
                  <a:gd name="T10" fmla="*/ 2147483647 w 323"/>
                  <a:gd name="T11" fmla="*/ 0 h 54"/>
                  <a:gd name="T12" fmla="*/ 2147483647 w 323"/>
                  <a:gd name="T13" fmla="*/ 2147483647 h 54"/>
                  <a:gd name="T14" fmla="*/ 2147483647 w 323"/>
                  <a:gd name="T15" fmla="*/ 2147483647 h 54"/>
                  <a:gd name="T16" fmla="*/ 0 60000 65536"/>
                  <a:gd name="T17" fmla="*/ 0 60000 65536"/>
                  <a:gd name="T18" fmla="*/ 0 60000 65536"/>
                  <a:gd name="T19" fmla="*/ 0 60000 65536"/>
                  <a:gd name="T20" fmla="*/ 0 60000 65536"/>
                  <a:gd name="T21" fmla="*/ 0 60000 65536"/>
                  <a:gd name="T22" fmla="*/ 0 60000 65536"/>
                  <a:gd name="T23" fmla="*/ 0 60000 65536"/>
                  <a:gd name="T24" fmla="*/ 0 w 323"/>
                  <a:gd name="T25" fmla="*/ 0 h 54"/>
                  <a:gd name="T26" fmla="*/ 323 w 323"/>
                  <a:gd name="T27" fmla="*/ 54 h 5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3" h="54">
                    <a:moveTo>
                      <a:pt x="297" y="54"/>
                    </a:moveTo>
                    <a:lnTo>
                      <a:pt x="297" y="54"/>
                    </a:lnTo>
                    <a:lnTo>
                      <a:pt x="26" y="54"/>
                    </a:lnTo>
                    <a:cubicBezTo>
                      <a:pt x="11" y="54"/>
                      <a:pt x="0" y="42"/>
                      <a:pt x="0" y="27"/>
                    </a:cubicBezTo>
                    <a:cubicBezTo>
                      <a:pt x="0" y="12"/>
                      <a:pt x="11" y="0"/>
                      <a:pt x="26" y="0"/>
                    </a:cubicBezTo>
                    <a:lnTo>
                      <a:pt x="297" y="0"/>
                    </a:lnTo>
                    <a:cubicBezTo>
                      <a:pt x="311" y="0"/>
                      <a:pt x="323" y="12"/>
                      <a:pt x="323" y="27"/>
                    </a:cubicBezTo>
                    <a:cubicBezTo>
                      <a:pt x="323" y="42"/>
                      <a:pt x="311" y="54"/>
                      <a:pt x="297" y="54"/>
                    </a:cubicBezTo>
                    <a:close/>
                  </a:path>
                </a:pathLst>
              </a:custGeom>
              <a:grpFill/>
              <a:ln w="0">
                <a:noFill/>
                <a:round/>
                <a:headEnd/>
                <a:tailEnd/>
              </a:ln>
            </p:spPr>
            <p:txBody>
              <a:bodyPr/>
              <a:lstStyle/>
              <a:p>
                <a:endParaRPr lang="zh-CN" altLang="en-US" sz="1799"/>
              </a:p>
            </p:txBody>
          </p:sp>
          <p:sp>
            <p:nvSpPr>
              <p:cNvPr id="354" name="Freeform 100"/>
              <p:cNvSpPr>
                <a:spLocks/>
              </p:cNvSpPr>
              <p:nvPr/>
            </p:nvSpPr>
            <p:spPr bwMode="auto">
              <a:xfrm>
                <a:off x="7766050" y="2503488"/>
                <a:ext cx="22225" cy="28575"/>
              </a:xfrm>
              <a:custGeom>
                <a:avLst/>
                <a:gdLst>
                  <a:gd name="T0" fmla="*/ 2147483647 w 53"/>
                  <a:gd name="T1" fmla="*/ 2147483647 h 66"/>
                  <a:gd name="T2" fmla="*/ 2147483647 w 53"/>
                  <a:gd name="T3" fmla="*/ 2147483647 h 66"/>
                  <a:gd name="T4" fmla="*/ 0 w 53"/>
                  <a:gd name="T5" fmla="*/ 2147483647 h 66"/>
                  <a:gd name="T6" fmla="*/ 0 w 53"/>
                  <a:gd name="T7" fmla="*/ 0 h 66"/>
                  <a:gd name="T8" fmla="*/ 2147483647 w 53"/>
                  <a:gd name="T9" fmla="*/ 0 h 66"/>
                  <a:gd name="T10" fmla="*/ 2147483647 w 53"/>
                  <a:gd name="T11" fmla="*/ 2147483647 h 66"/>
                  <a:gd name="T12" fmla="*/ 0 60000 65536"/>
                  <a:gd name="T13" fmla="*/ 0 60000 65536"/>
                  <a:gd name="T14" fmla="*/ 0 60000 65536"/>
                  <a:gd name="T15" fmla="*/ 0 60000 65536"/>
                  <a:gd name="T16" fmla="*/ 0 60000 65536"/>
                  <a:gd name="T17" fmla="*/ 0 60000 65536"/>
                  <a:gd name="T18" fmla="*/ 0 w 53"/>
                  <a:gd name="T19" fmla="*/ 0 h 66"/>
                  <a:gd name="T20" fmla="*/ 53 w 53"/>
                  <a:gd name="T21" fmla="*/ 66 h 66"/>
                </a:gdLst>
                <a:ahLst/>
                <a:cxnLst>
                  <a:cxn ang="T12">
                    <a:pos x="T0" y="T1"/>
                  </a:cxn>
                  <a:cxn ang="T13">
                    <a:pos x="T2" y="T3"/>
                  </a:cxn>
                  <a:cxn ang="T14">
                    <a:pos x="T4" y="T5"/>
                  </a:cxn>
                  <a:cxn ang="T15">
                    <a:pos x="T6" y="T7"/>
                  </a:cxn>
                  <a:cxn ang="T16">
                    <a:pos x="T8" y="T9"/>
                  </a:cxn>
                  <a:cxn ang="T17">
                    <a:pos x="T10" y="T11"/>
                  </a:cxn>
                </a:cxnLst>
                <a:rect l="T18" t="T19" r="T20" b="T21"/>
                <a:pathLst>
                  <a:path w="53" h="66">
                    <a:moveTo>
                      <a:pt x="53" y="66"/>
                    </a:moveTo>
                    <a:lnTo>
                      <a:pt x="53" y="66"/>
                    </a:lnTo>
                    <a:lnTo>
                      <a:pt x="0" y="66"/>
                    </a:lnTo>
                    <a:lnTo>
                      <a:pt x="0" y="0"/>
                    </a:lnTo>
                    <a:lnTo>
                      <a:pt x="53" y="0"/>
                    </a:lnTo>
                    <a:lnTo>
                      <a:pt x="53" y="66"/>
                    </a:lnTo>
                    <a:close/>
                  </a:path>
                </a:pathLst>
              </a:custGeom>
              <a:grpFill/>
              <a:ln w="0">
                <a:noFill/>
                <a:round/>
                <a:headEnd/>
                <a:tailEnd/>
              </a:ln>
            </p:spPr>
            <p:txBody>
              <a:bodyPr/>
              <a:lstStyle/>
              <a:p>
                <a:endParaRPr lang="zh-CN" altLang="en-US" sz="1799"/>
              </a:p>
            </p:txBody>
          </p:sp>
          <p:sp>
            <p:nvSpPr>
              <p:cNvPr id="355" name="Freeform 101"/>
              <p:cNvSpPr>
                <a:spLocks/>
              </p:cNvSpPr>
              <p:nvPr/>
            </p:nvSpPr>
            <p:spPr bwMode="auto">
              <a:xfrm>
                <a:off x="7827963" y="2519363"/>
                <a:ext cx="34925" cy="23813"/>
              </a:xfrm>
              <a:custGeom>
                <a:avLst/>
                <a:gdLst>
                  <a:gd name="T0" fmla="*/ 2147483647 w 83"/>
                  <a:gd name="T1" fmla="*/ 2147483647 h 54"/>
                  <a:gd name="T2" fmla="*/ 2147483647 w 83"/>
                  <a:gd name="T3" fmla="*/ 2147483647 h 54"/>
                  <a:gd name="T4" fmla="*/ 0 w 83"/>
                  <a:gd name="T5" fmla="*/ 2147483647 h 54"/>
                  <a:gd name="T6" fmla="*/ 0 w 83"/>
                  <a:gd name="T7" fmla="*/ 0 h 54"/>
                  <a:gd name="T8" fmla="*/ 2147483647 w 83"/>
                  <a:gd name="T9" fmla="*/ 0 h 54"/>
                  <a:gd name="T10" fmla="*/ 2147483647 w 83"/>
                  <a:gd name="T11" fmla="*/ 2147483647 h 54"/>
                  <a:gd name="T12" fmla="*/ 0 60000 65536"/>
                  <a:gd name="T13" fmla="*/ 0 60000 65536"/>
                  <a:gd name="T14" fmla="*/ 0 60000 65536"/>
                  <a:gd name="T15" fmla="*/ 0 60000 65536"/>
                  <a:gd name="T16" fmla="*/ 0 60000 65536"/>
                  <a:gd name="T17" fmla="*/ 0 60000 65536"/>
                  <a:gd name="T18" fmla="*/ 0 w 83"/>
                  <a:gd name="T19" fmla="*/ 0 h 54"/>
                  <a:gd name="T20" fmla="*/ 83 w 83"/>
                  <a:gd name="T21" fmla="*/ 54 h 54"/>
                </a:gdLst>
                <a:ahLst/>
                <a:cxnLst>
                  <a:cxn ang="T12">
                    <a:pos x="T0" y="T1"/>
                  </a:cxn>
                  <a:cxn ang="T13">
                    <a:pos x="T2" y="T3"/>
                  </a:cxn>
                  <a:cxn ang="T14">
                    <a:pos x="T4" y="T5"/>
                  </a:cxn>
                  <a:cxn ang="T15">
                    <a:pos x="T6" y="T7"/>
                  </a:cxn>
                  <a:cxn ang="T16">
                    <a:pos x="T8" y="T9"/>
                  </a:cxn>
                  <a:cxn ang="T17">
                    <a:pos x="T10" y="T11"/>
                  </a:cxn>
                </a:cxnLst>
                <a:rect l="T18" t="T19" r="T20" b="T21"/>
                <a:pathLst>
                  <a:path w="83" h="54">
                    <a:moveTo>
                      <a:pt x="83" y="54"/>
                    </a:moveTo>
                    <a:lnTo>
                      <a:pt x="83" y="54"/>
                    </a:lnTo>
                    <a:lnTo>
                      <a:pt x="0" y="54"/>
                    </a:lnTo>
                    <a:lnTo>
                      <a:pt x="0" y="0"/>
                    </a:lnTo>
                    <a:lnTo>
                      <a:pt x="83" y="0"/>
                    </a:lnTo>
                    <a:lnTo>
                      <a:pt x="83" y="54"/>
                    </a:lnTo>
                    <a:close/>
                  </a:path>
                </a:pathLst>
              </a:custGeom>
              <a:grpFill/>
              <a:ln w="0">
                <a:noFill/>
                <a:round/>
                <a:headEnd/>
                <a:tailEnd/>
              </a:ln>
            </p:spPr>
            <p:txBody>
              <a:bodyPr/>
              <a:lstStyle/>
              <a:p>
                <a:endParaRPr lang="zh-CN" altLang="en-US" sz="1799"/>
              </a:p>
            </p:txBody>
          </p:sp>
          <p:sp>
            <p:nvSpPr>
              <p:cNvPr id="356" name="Freeform 102"/>
              <p:cNvSpPr>
                <a:spLocks/>
              </p:cNvSpPr>
              <p:nvPr/>
            </p:nvSpPr>
            <p:spPr bwMode="auto">
              <a:xfrm>
                <a:off x="7867650" y="2474913"/>
                <a:ext cx="22225" cy="28575"/>
              </a:xfrm>
              <a:custGeom>
                <a:avLst/>
                <a:gdLst>
                  <a:gd name="T0" fmla="*/ 2147483647 w 53"/>
                  <a:gd name="T1" fmla="*/ 2147483647 h 67"/>
                  <a:gd name="T2" fmla="*/ 2147483647 w 53"/>
                  <a:gd name="T3" fmla="*/ 2147483647 h 67"/>
                  <a:gd name="T4" fmla="*/ 0 w 53"/>
                  <a:gd name="T5" fmla="*/ 2147483647 h 67"/>
                  <a:gd name="T6" fmla="*/ 0 w 53"/>
                  <a:gd name="T7" fmla="*/ 0 h 67"/>
                  <a:gd name="T8" fmla="*/ 2147483647 w 53"/>
                  <a:gd name="T9" fmla="*/ 0 h 67"/>
                  <a:gd name="T10" fmla="*/ 2147483647 w 53"/>
                  <a:gd name="T11" fmla="*/ 2147483647 h 67"/>
                  <a:gd name="T12" fmla="*/ 0 60000 65536"/>
                  <a:gd name="T13" fmla="*/ 0 60000 65536"/>
                  <a:gd name="T14" fmla="*/ 0 60000 65536"/>
                  <a:gd name="T15" fmla="*/ 0 60000 65536"/>
                  <a:gd name="T16" fmla="*/ 0 60000 65536"/>
                  <a:gd name="T17" fmla="*/ 0 60000 65536"/>
                  <a:gd name="T18" fmla="*/ 0 w 53"/>
                  <a:gd name="T19" fmla="*/ 0 h 67"/>
                  <a:gd name="T20" fmla="*/ 53 w 53"/>
                  <a:gd name="T21" fmla="*/ 67 h 67"/>
                </a:gdLst>
                <a:ahLst/>
                <a:cxnLst>
                  <a:cxn ang="T12">
                    <a:pos x="T0" y="T1"/>
                  </a:cxn>
                  <a:cxn ang="T13">
                    <a:pos x="T2" y="T3"/>
                  </a:cxn>
                  <a:cxn ang="T14">
                    <a:pos x="T4" y="T5"/>
                  </a:cxn>
                  <a:cxn ang="T15">
                    <a:pos x="T6" y="T7"/>
                  </a:cxn>
                  <a:cxn ang="T16">
                    <a:pos x="T8" y="T9"/>
                  </a:cxn>
                  <a:cxn ang="T17">
                    <a:pos x="T10" y="T11"/>
                  </a:cxn>
                </a:cxnLst>
                <a:rect l="T18" t="T19" r="T20" b="T21"/>
                <a:pathLst>
                  <a:path w="53" h="67">
                    <a:moveTo>
                      <a:pt x="53" y="67"/>
                    </a:moveTo>
                    <a:lnTo>
                      <a:pt x="53" y="67"/>
                    </a:lnTo>
                    <a:lnTo>
                      <a:pt x="0" y="67"/>
                    </a:lnTo>
                    <a:lnTo>
                      <a:pt x="0" y="0"/>
                    </a:lnTo>
                    <a:lnTo>
                      <a:pt x="53" y="0"/>
                    </a:lnTo>
                    <a:lnTo>
                      <a:pt x="53" y="67"/>
                    </a:lnTo>
                    <a:close/>
                  </a:path>
                </a:pathLst>
              </a:custGeom>
              <a:grpFill/>
              <a:ln w="0">
                <a:noFill/>
                <a:round/>
                <a:headEnd/>
                <a:tailEnd/>
              </a:ln>
            </p:spPr>
            <p:txBody>
              <a:bodyPr/>
              <a:lstStyle/>
              <a:p>
                <a:endParaRPr lang="zh-CN" altLang="en-US" sz="1799"/>
              </a:p>
            </p:txBody>
          </p:sp>
          <p:sp>
            <p:nvSpPr>
              <p:cNvPr id="357" name="Freeform 103"/>
              <p:cNvSpPr>
                <a:spLocks/>
              </p:cNvSpPr>
              <p:nvPr/>
            </p:nvSpPr>
            <p:spPr bwMode="auto">
              <a:xfrm>
                <a:off x="7793038" y="2463800"/>
                <a:ext cx="34925" cy="22225"/>
              </a:xfrm>
              <a:custGeom>
                <a:avLst/>
                <a:gdLst>
                  <a:gd name="T0" fmla="*/ 2147483647 w 82"/>
                  <a:gd name="T1" fmla="*/ 2147483647 h 53"/>
                  <a:gd name="T2" fmla="*/ 2147483647 w 82"/>
                  <a:gd name="T3" fmla="*/ 2147483647 h 53"/>
                  <a:gd name="T4" fmla="*/ 0 w 82"/>
                  <a:gd name="T5" fmla="*/ 2147483647 h 53"/>
                  <a:gd name="T6" fmla="*/ 0 w 82"/>
                  <a:gd name="T7" fmla="*/ 0 h 53"/>
                  <a:gd name="T8" fmla="*/ 2147483647 w 82"/>
                  <a:gd name="T9" fmla="*/ 0 h 53"/>
                  <a:gd name="T10" fmla="*/ 2147483647 w 82"/>
                  <a:gd name="T11" fmla="*/ 2147483647 h 53"/>
                  <a:gd name="T12" fmla="*/ 0 60000 65536"/>
                  <a:gd name="T13" fmla="*/ 0 60000 65536"/>
                  <a:gd name="T14" fmla="*/ 0 60000 65536"/>
                  <a:gd name="T15" fmla="*/ 0 60000 65536"/>
                  <a:gd name="T16" fmla="*/ 0 60000 65536"/>
                  <a:gd name="T17" fmla="*/ 0 60000 65536"/>
                  <a:gd name="T18" fmla="*/ 0 w 82"/>
                  <a:gd name="T19" fmla="*/ 0 h 53"/>
                  <a:gd name="T20" fmla="*/ 82 w 82"/>
                  <a:gd name="T21" fmla="*/ 53 h 53"/>
                </a:gdLst>
                <a:ahLst/>
                <a:cxnLst>
                  <a:cxn ang="T12">
                    <a:pos x="T0" y="T1"/>
                  </a:cxn>
                  <a:cxn ang="T13">
                    <a:pos x="T2" y="T3"/>
                  </a:cxn>
                  <a:cxn ang="T14">
                    <a:pos x="T4" y="T5"/>
                  </a:cxn>
                  <a:cxn ang="T15">
                    <a:pos x="T6" y="T7"/>
                  </a:cxn>
                  <a:cxn ang="T16">
                    <a:pos x="T8" y="T9"/>
                  </a:cxn>
                  <a:cxn ang="T17">
                    <a:pos x="T10" y="T11"/>
                  </a:cxn>
                </a:cxnLst>
                <a:rect l="T18" t="T19" r="T20" b="T21"/>
                <a:pathLst>
                  <a:path w="82" h="53">
                    <a:moveTo>
                      <a:pt x="82" y="53"/>
                    </a:moveTo>
                    <a:lnTo>
                      <a:pt x="82" y="53"/>
                    </a:lnTo>
                    <a:lnTo>
                      <a:pt x="0" y="53"/>
                    </a:lnTo>
                    <a:lnTo>
                      <a:pt x="0" y="0"/>
                    </a:lnTo>
                    <a:lnTo>
                      <a:pt x="82" y="0"/>
                    </a:lnTo>
                    <a:lnTo>
                      <a:pt x="82" y="53"/>
                    </a:lnTo>
                    <a:close/>
                  </a:path>
                </a:pathLst>
              </a:custGeom>
              <a:grpFill/>
              <a:ln w="0">
                <a:noFill/>
                <a:round/>
                <a:headEnd/>
                <a:tailEnd/>
              </a:ln>
            </p:spPr>
            <p:txBody>
              <a:bodyPr/>
              <a:lstStyle/>
              <a:p>
                <a:endParaRPr lang="zh-CN" altLang="en-US" sz="1799"/>
              </a:p>
            </p:txBody>
          </p:sp>
          <p:sp>
            <p:nvSpPr>
              <p:cNvPr id="358" name="Freeform 104"/>
              <p:cNvSpPr>
                <a:spLocks/>
              </p:cNvSpPr>
              <p:nvPr/>
            </p:nvSpPr>
            <p:spPr bwMode="auto">
              <a:xfrm>
                <a:off x="7754938" y="2808288"/>
                <a:ext cx="58738" cy="58738"/>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70" y="139"/>
                    </a:moveTo>
                    <a:lnTo>
                      <a:pt x="70" y="139"/>
                    </a:lnTo>
                    <a:cubicBezTo>
                      <a:pt x="31" y="139"/>
                      <a:pt x="0" y="108"/>
                      <a:pt x="0" y="70"/>
                    </a:cubicBezTo>
                    <a:cubicBezTo>
                      <a:pt x="0" y="31"/>
                      <a:pt x="31" y="0"/>
                      <a:pt x="70" y="0"/>
                    </a:cubicBezTo>
                    <a:cubicBezTo>
                      <a:pt x="108" y="0"/>
                      <a:pt x="139" y="31"/>
                      <a:pt x="139" y="70"/>
                    </a:cubicBezTo>
                    <a:cubicBezTo>
                      <a:pt x="139" y="108"/>
                      <a:pt x="108" y="139"/>
                      <a:pt x="70" y="139"/>
                    </a:cubicBezTo>
                    <a:close/>
                  </a:path>
                </a:pathLst>
              </a:custGeom>
              <a:grpFill/>
              <a:ln w="0">
                <a:noFill/>
                <a:round/>
                <a:headEnd/>
                <a:tailEnd/>
              </a:ln>
            </p:spPr>
            <p:txBody>
              <a:bodyPr/>
              <a:lstStyle/>
              <a:p>
                <a:endParaRPr lang="zh-CN" altLang="en-US" sz="1799"/>
              </a:p>
            </p:txBody>
          </p:sp>
          <p:sp>
            <p:nvSpPr>
              <p:cNvPr id="359" name="Freeform 105"/>
              <p:cNvSpPr>
                <a:spLocks/>
              </p:cNvSpPr>
              <p:nvPr/>
            </p:nvSpPr>
            <p:spPr bwMode="auto">
              <a:xfrm>
                <a:off x="7843838" y="2808288"/>
                <a:ext cx="58738" cy="58738"/>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70" y="139"/>
                    </a:moveTo>
                    <a:lnTo>
                      <a:pt x="70" y="139"/>
                    </a:lnTo>
                    <a:cubicBezTo>
                      <a:pt x="31" y="139"/>
                      <a:pt x="0" y="108"/>
                      <a:pt x="0" y="70"/>
                    </a:cubicBezTo>
                    <a:cubicBezTo>
                      <a:pt x="0" y="31"/>
                      <a:pt x="31" y="0"/>
                      <a:pt x="70" y="0"/>
                    </a:cubicBezTo>
                    <a:cubicBezTo>
                      <a:pt x="108" y="0"/>
                      <a:pt x="139" y="31"/>
                      <a:pt x="139" y="70"/>
                    </a:cubicBezTo>
                    <a:cubicBezTo>
                      <a:pt x="139" y="108"/>
                      <a:pt x="108" y="139"/>
                      <a:pt x="70" y="139"/>
                    </a:cubicBezTo>
                    <a:close/>
                  </a:path>
                </a:pathLst>
              </a:custGeom>
              <a:grpFill/>
              <a:ln w="0">
                <a:noFill/>
                <a:round/>
                <a:headEnd/>
                <a:tailEnd/>
              </a:ln>
            </p:spPr>
            <p:txBody>
              <a:bodyPr/>
              <a:lstStyle/>
              <a:p>
                <a:endParaRPr lang="zh-CN" altLang="en-US" sz="1799"/>
              </a:p>
            </p:txBody>
          </p:sp>
        </p:grpSp>
        <p:grpSp>
          <p:nvGrpSpPr>
            <p:cNvPr id="360" name="组合 223"/>
            <p:cNvGrpSpPr>
              <a:grpSpLocks/>
            </p:cNvGrpSpPr>
            <p:nvPr/>
          </p:nvGrpSpPr>
          <p:grpSpPr bwMode="auto">
            <a:xfrm>
              <a:off x="4420844" y="1703282"/>
              <a:ext cx="457200" cy="457200"/>
              <a:chOff x="7570788" y="2359025"/>
              <a:chExt cx="519113" cy="508001"/>
            </a:xfrm>
            <a:grpFill/>
          </p:grpSpPr>
          <p:sp>
            <p:nvSpPr>
              <p:cNvPr id="361" name="Freeform 85"/>
              <p:cNvSpPr>
                <a:spLocks noEditPoints="1"/>
              </p:cNvSpPr>
              <p:nvPr/>
            </p:nvSpPr>
            <p:spPr bwMode="auto">
              <a:xfrm>
                <a:off x="7570788" y="2359025"/>
                <a:ext cx="519113" cy="290513"/>
              </a:xfrm>
              <a:custGeom>
                <a:avLst/>
                <a:gdLst>
                  <a:gd name="T0" fmla="*/ 2147483647 w 1240"/>
                  <a:gd name="T1" fmla="*/ 2147483647 h 690"/>
                  <a:gd name="T2" fmla="*/ 2147483647 w 1240"/>
                  <a:gd name="T3" fmla="*/ 2147483647 h 690"/>
                  <a:gd name="T4" fmla="*/ 2147483647 w 1240"/>
                  <a:gd name="T5" fmla="*/ 2147483647 h 690"/>
                  <a:gd name="T6" fmla="*/ 2147483647 w 1240"/>
                  <a:gd name="T7" fmla="*/ 2147483647 h 690"/>
                  <a:gd name="T8" fmla="*/ 2147483647 w 1240"/>
                  <a:gd name="T9" fmla="*/ 2147483647 h 690"/>
                  <a:gd name="T10" fmla="*/ 2147483647 w 1240"/>
                  <a:gd name="T11" fmla="*/ 2147483647 h 690"/>
                  <a:gd name="T12" fmla="*/ 2147483647 w 1240"/>
                  <a:gd name="T13" fmla="*/ 2147483647 h 690"/>
                  <a:gd name="T14" fmla="*/ 2147483647 w 1240"/>
                  <a:gd name="T15" fmla="*/ 2147483647 h 690"/>
                  <a:gd name="T16" fmla="*/ 0 w 1240"/>
                  <a:gd name="T17" fmla="*/ 2147483647 h 690"/>
                  <a:gd name="T18" fmla="*/ 2147483647 w 1240"/>
                  <a:gd name="T19" fmla="*/ 0 h 690"/>
                  <a:gd name="T20" fmla="*/ 2147483647 w 1240"/>
                  <a:gd name="T21" fmla="*/ 2147483647 h 690"/>
                  <a:gd name="T22" fmla="*/ 2147483647 w 1240"/>
                  <a:gd name="T23" fmla="*/ 2147483647 h 69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40"/>
                  <a:gd name="T37" fmla="*/ 0 h 690"/>
                  <a:gd name="T38" fmla="*/ 1240 w 1240"/>
                  <a:gd name="T39" fmla="*/ 690 h 69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40" h="690">
                    <a:moveTo>
                      <a:pt x="620" y="67"/>
                    </a:moveTo>
                    <a:lnTo>
                      <a:pt x="620" y="67"/>
                    </a:lnTo>
                    <a:cubicBezTo>
                      <a:pt x="320" y="67"/>
                      <a:pt x="66" y="194"/>
                      <a:pt x="66" y="345"/>
                    </a:cubicBezTo>
                    <a:cubicBezTo>
                      <a:pt x="66" y="496"/>
                      <a:pt x="320" y="623"/>
                      <a:pt x="620" y="623"/>
                    </a:cubicBezTo>
                    <a:cubicBezTo>
                      <a:pt x="920" y="623"/>
                      <a:pt x="1174" y="496"/>
                      <a:pt x="1174" y="345"/>
                    </a:cubicBezTo>
                    <a:cubicBezTo>
                      <a:pt x="1174" y="194"/>
                      <a:pt x="920" y="67"/>
                      <a:pt x="620" y="67"/>
                    </a:cubicBezTo>
                    <a:close/>
                    <a:moveTo>
                      <a:pt x="620" y="690"/>
                    </a:moveTo>
                    <a:lnTo>
                      <a:pt x="620" y="690"/>
                    </a:lnTo>
                    <a:cubicBezTo>
                      <a:pt x="272" y="690"/>
                      <a:pt x="0" y="539"/>
                      <a:pt x="0" y="345"/>
                    </a:cubicBezTo>
                    <a:cubicBezTo>
                      <a:pt x="0" y="152"/>
                      <a:pt x="272" y="0"/>
                      <a:pt x="620" y="0"/>
                    </a:cubicBezTo>
                    <a:cubicBezTo>
                      <a:pt x="968" y="0"/>
                      <a:pt x="1240" y="152"/>
                      <a:pt x="1240" y="345"/>
                    </a:cubicBezTo>
                    <a:cubicBezTo>
                      <a:pt x="1240" y="539"/>
                      <a:pt x="968" y="690"/>
                      <a:pt x="620" y="690"/>
                    </a:cubicBezTo>
                    <a:close/>
                  </a:path>
                </a:pathLst>
              </a:custGeom>
              <a:grpFill/>
              <a:ln w="0">
                <a:noFill/>
                <a:round/>
                <a:headEnd/>
                <a:tailEnd/>
              </a:ln>
            </p:spPr>
            <p:txBody>
              <a:bodyPr/>
              <a:lstStyle/>
              <a:p>
                <a:endParaRPr lang="zh-CN" altLang="en-US" sz="1799"/>
              </a:p>
            </p:txBody>
          </p:sp>
          <p:sp>
            <p:nvSpPr>
              <p:cNvPr id="362" name="Freeform 86"/>
              <p:cNvSpPr>
                <a:spLocks/>
              </p:cNvSpPr>
              <p:nvPr/>
            </p:nvSpPr>
            <p:spPr bwMode="auto">
              <a:xfrm>
                <a:off x="7570788" y="2497138"/>
                <a:ext cx="519113" cy="352425"/>
              </a:xfrm>
              <a:custGeom>
                <a:avLst/>
                <a:gdLst>
                  <a:gd name="T0" fmla="*/ 2147483647 w 1240"/>
                  <a:gd name="T1" fmla="*/ 2147483647 h 836"/>
                  <a:gd name="T2" fmla="*/ 2147483647 w 1240"/>
                  <a:gd name="T3" fmla="*/ 2147483647 h 836"/>
                  <a:gd name="T4" fmla="*/ 2147483647 w 1240"/>
                  <a:gd name="T5" fmla="*/ 2147483647 h 836"/>
                  <a:gd name="T6" fmla="*/ 2147483647 w 1240"/>
                  <a:gd name="T7" fmla="*/ 2147483647 h 836"/>
                  <a:gd name="T8" fmla="*/ 2147483647 w 1240"/>
                  <a:gd name="T9" fmla="*/ 2147483647 h 836"/>
                  <a:gd name="T10" fmla="*/ 2147483647 w 1240"/>
                  <a:gd name="T11" fmla="*/ 2147483647 h 836"/>
                  <a:gd name="T12" fmla="*/ 2147483647 w 1240"/>
                  <a:gd name="T13" fmla="*/ 2147483647 h 836"/>
                  <a:gd name="T14" fmla="*/ 0 w 1240"/>
                  <a:gd name="T15" fmla="*/ 2147483647 h 836"/>
                  <a:gd name="T16" fmla="*/ 0 w 1240"/>
                  <a:gd name="T17" fmla="*/ 2147483647 h 836"/>
                  <a:gd name="T18" fmla="*/ 2147483647 w 1240"/>
                  <a:gd name="T19" fmla="*/ 0 h 836"/>
                  <a:gd name="T20" fmla="*/ 2147483647 w 1240"/>
                  <a:gd name="T21" fmla="*/ 2147483647 h 836"/>
                  <a:gd name="T22" fmla="*/ 2147483647 w 1240"/>
                  <a:gd name="T23" fmla="*/ 2147483647 h 836"/>
                  <a:gd name="T24" fmla="*/ 2147483647 w 1240"/>
                  <a:gd name="T25" fmla="*/ 2147483647 h 836"/>
                  <a:gd name="T26" fmla="*/ 2147483647 w 1240"/>
                  <a:gd name="T27" fmla="*/ 2147483647 h 836"/>
                  <a:gd name="T28" fmla="*/ 2147483647 w 1240"/>
                  <a:gd name="T29" fmla="*/ 2147483647 h 836"/>
                  <a:gd name="T30" fmla="*/ 2147483647 w 1240"/>
                  <a:gd name="T31" fmla="*/ 2147483647 h 836"/>
                  <a:gd name="T32" fmla="*/ 2147483647 w 1240"/>
                  <a:gd name="T33" fmla="*/ 2147483647 h 836"/>
                  <a:gd name="T34" fmla="*/ 2147483647 w 1240"/>
                  <a:gd name="T35" fmla="*/ 2147483647 h 836"/>
                  <a:gd name="T36" fmla="*/ 2147483647 w 1240"/>
                  <a:gd name="T37" fmla="*/ 2147483647 h 8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40"/>
                  <a:gd name="T58" fmla="*/ 0 h 836"/>
                  <a:gd name="T59" fmla="*/ 1240 w 1240"/>
                  <a:gd name="T60" fmla="*/ 836 h 8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40" h="836">
                    <a:moveTo>
                      <a:pt x="715" y="836"/>
                    </a:moveTo>
                    <a:lnTo>
                      <a:pt x="715" y="836"/>
                    </a:lnTo>
                    <a:cubicBezTo>
                      <a:pt x="698" y="836"/>
                      <a:pt x="684" y="823"/>
                      <a:pt x="682" y="806"/>
                    </a:cubicBezTo>
                    <a:cubicBezTo>
                      <a:pt x="681" y="788"/>
                      <a:pt x="694" y="771"/>
                      <a:pt x="713" y="770"/>
                    </a:cubicBezTo>
                    <a:cubicBezTo>
                      <a:pt x="975" y="747"/>
                      <a:pt x="1174" y="629"/>
                      <a:pt x="1174" y="496"/>
                    </a:cubicBezTo>
                    <a:lnTo>
                      <a:pt x="1174" y="421"/>
                    </a:lnTo>
                    <a:cubicBezTo>
                      <a:pt x="1072" y="533"/>
                      <a:pt x="865" y="608"/>
                      <a:pt x="620" y="608"/>
                    </a:cubicBezTo>
                    <a:cubicBezTo>
                      <a:pt x="272" y="608"/>
                      <a:pt x="0" y="457"/>
                      <a:pt x="0" y="263"/>
                    </a:cubicBezTo>
                    <a:lnTo>
                      <a:pt x="0" y="33"/>
                    </a:lnTo>
                    <a:cubicBezTo>
                      <a:pt x="0" y="14"/>
                      <a:pt x="15" y="0"/>
                      <a:pt x="33" y="0"/>
                    </a:cubicBezTo>
                    <a:cubicBezTo>
                      <a:pt x="51" y="0"/>
                      <a:pt x="66" y="14"/>
                      <a:pt x="66" y="33"/>
                    </a:cubicBezTo>
                    <a:lnTo>
                      <a:pt x="66" y="263"/>
                    </a:lnTo>
                    <a:cubicBezTo>
                      <a:pt x="66" y="414"/>
                      <a:pt x="320" y="541"/>
                      <a:pt x="620" y="541"/>
                    </a:cubicBezTo>
                    <a:cubicBezTo>
                      <a:pt x="920" y="541"/>
                      <a:pt x="1174" y="414"/>
                      <a:pt x="1174" y="263"/>
                    </a:cubicBezTo>
                    <a:lnTo>
                      <a:pt x="1174" y="33"/>
                    </a:lnTo>
                    <a:lnTo>
                      <a:pt x="1240" y="33"/>
                    </a:lnTo>
                    <a:lnTo>
                      <a:pt x="1240" y="496"/>
                    </a:lnTo>
                    <a:cubicBezTo>
                      <a:pt x="1240" y="667"/>
                      <a:pt x="1021" y="810"/>
                      <a:pt x="718" y="836"/>
                    </a:cubicBezTo>
                    <a:cubicBezTo>
                      <a:pt x="717" y="836"/>
                      <a:pt x="716" y="836"/>
                      <a:pt x="715" y="836"/>
                    </a:cubicBezTo>
                    <a:close/>
                  </a:path>
                </a:pathLst>
              </a:custGeom>
              <a:grpFill/>
              <a:ln w="0">
                <a:noFill/>
                <a:round/>
                <a:headEnd/>
                <a:tailEnd/>
              </a:ln>
            </p:spPr>
            <p:txBody>
              <a:bodyPr/>
              <a:lstStyle/>
              <a:p>
                <a:endParaRPr lang="zh-CN" altLang="en-US" sz="1799"/>
              </a:p>
            </p:txBody>
          </p:sp>
          <p:sp>
            <p:nvSpPr>
              <p:cNvPr id="363" name="Freeform 87"/>
              <p:cNvSpPr>
                <a:spLocks/>
              </p:cNvSpPr>
              <p:nvPr/>
            </p:nvSpPr>
            <p:spPr bwMode="auto">
              <a:xfrm>
                <a:off x="7570788" y="2595563"/>
                <a:ext cx="231775" cy="254000"/>
              </a:xfrm>
              <a:custGeom>
                <a:avLst/>
                <a:gdLst>
                  <a:gd name="T0" fmla="*/ 2147483647 w 555"/>
                  <a:gd name="T1" fmla="*/ 2147483647 h 604"/>
                  <a:gd name="T2" fmla="*/ 2147483647 w 555"/>
                  <a:gd name="T3" fmla="*/ 2147483647 h 604"/>
                  <a:gd name="T4" fmla="*/ 2147483647 w 555"/>
                  <a:gd name="T5" fmla="*/ 2147483647 h 604"/>
                  <a:gd name="T6" fmla="*/ 0 w 555"/>
                  <a:gd name="T7" fmla="*/ 2147483647 h 604"/>
                  <a:gd name="T8" fmla="*/ 0 w 555"/>
                  <a:gd name="T9" fmla="*/ 2147483647 h 604"/>
                  <a:gd name="T10" fmla="*/ 2147483647 w 555"/>
                  <a:gd name="T11" fmla="*/ 0 h 604"/>
                  <a:gd name="T12" fmla="*/ 2147483647 w 555"/>
                  <a:gd name="T13" fmla="*/ 2147483647 h 604"/>
                  <a:gd name="T14" fmla="*/ 2147483647 w 555"/>
                  <a:gd name="T15" fmla="*/ 2147483647 h 604"/>
                  <a:gd name="T16" fmla="*/ 2147483647 w 555"/>
                  <a:gd name="T17" fmla="*/ 2147483647 h 604"/>
                  <a:gd name="T18" fmla="*/ 2147483647 w 555"/>
                  <a:gd name="T19" fmla="*/ 2147483647 h 604"/>
                  <a:gd name="T20" fmla="*/ 2147483647 w 555"/>
                  <a:gd name="T21" fmla="*/ 2147483647 h 60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5"/>
                  <a:gd name="T34" fmla="*/ 0 h 604"/>
                  <a:gd name="T35" fmla="*/ 555 w 555"/>
                  <a:gd name="T36" fmla="*/ 604 h 60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5" h="604">
                    <a:moveTo>
                      <a:pt x="521" y="604"/>
                    </a:moveTo>
                    <a:lnTo>
                      <a:pt x="521" y="604"/>
                    </a:lnTo>
                    <a:cubicBezTo>
                      <a:pt x="520" y="604"/>
                      <a:pt x="519" y="604"/>
                      <a:pt x="518" y="604"/>
                    </a:cubicBezTo>
                    <a:cubicBezTo>
                      <a:pt x="218" y="577"/>
                      <a:pt x="0" y="434"/>
                      <a:pt x="0" y="264"/>
                    </a:cubicBezTo>
                    <a:lnTo>
                      <a:pt x="0" y="33"/>
                    </a:lnTo>
                    <a:cubicBezTo>
                      <a:pt x="0" y="15"/>
                      <a:pt x="15" y="0"/>
                      <a:pt x="33" y="0"/>
                    </a:cubicBezTo>
                    <a:cubicBezTo>
                      <a:pt x="52" y="0"/>
                      <a:pt x="66" y="15"/>
                      <a:pt x="66" y="33"/>
                    </a:cubicBezTo>
                    <a:lnTo>
                      <a:pt x="66" y="264"/>
                    </a:lnTo>
                    <a:cubicBezTo>
                      <a:pt x="66" y="396"/>
                      <a:pt x="263" y="514"/>
                      <a:pt x="524" y="538"/>
                    </a:cubicBezTo>
                    <a:cubicBezTo>
                      <a:pt x="542" y="539"/>
                      <a:pt x="555" y="555"/>
                      <a:pt x="554" y="574"/>
                    </a:cubicBezTo>
                    <a:cubicBezTo>
                      <a:pt x="552" y="591"/>
                      <a:pt x="538" y="604"/>
                      <a:pt x="521" y="604"/>
                    </a:cubicBezTo>
                    <a:close/>
                  </a:path>
                </a:pathLst>
              </a:custGeom>
              <a:grpFill/>
              <a:ln w="0">
                <a:noFill/>
                <a:round/>
                <a:headEnd/>
                <a:tailEnd/>
              </a:ln>
            </p:spPr>
            <p:txBody>
              <a:bodyPr/>
              <a:lstStyle/>
              <a:p>
                <a:endParaRPr lang="zh-CN" altLang="en-US" sz="1799"/>
              </a:p>
            </p:txBody>
          </p:sp>
          <p:sp>
            <p:nvSpPr>
              <p:cNvPr id="364" name="Freeform 88"/>
              <p:cNvSpPr>
                <a:spLocks/>
              </p:cNvSpPr>
              <p:nvPr/>
            </p:nvSpPr>
            <p:spPr bwMode="auto">
              <a:xfrm>
                <a:off x="7815263" y="2547938"/>
                <a:ext cx="87313" cy="57150"/>
              </a:xfrm>
              <a:custGeom>
                <a:avLst/>
                <a:gdLst>
                  <a:gd name="T0" fmla="*/ 2147483647 w 205"/>
                  <a:gd name="T1" fmla="*/ 2147483647 h 137"/>
                  <a:gd name="T2" fmla="*/ 2147483647 w 205"/>
                  <a:gd name="T3" fmla="*/ 2147483647 h 137"/>
                  <a:gd name="T4" fmla="*/ 2147483647 w 205"/>
                  <a:gd name="T5" fmla="*/ 2147483647 h 137"/>
                  <a:gd name="T6" fmla="*/ 2147483647 w 205"/>
                  <a:gd name="T7" fmla="*/ 2147483647 h 137"/>
                  <a:gd name="T8" fmla="*/ 2147483647 w 205"/>
                  <a:gd name="T9" fmla="*/ 2147483647 h 137"/>
                  <a:gd name="T10" fmla="*/ 2147483647 w 205"/>
                  <a:gd name="T11" fmla="*/ 2147483647 h 137"/>
                  <a:gd name="T12" fmla="*/ 2147483647 w 205"/>
                  <a:gd name="T13" fmla="*/ 2147483647 h 137"/>
                  <a:gd name="T14" fmla="*/ 2147483647 w 205"/>
                  <a:gd name="T15" fmla="*/ 2147483647 h 137"/>
                  <a:gd name="T16" fmla="*/ 2147483647 w 205"/>
                  <a:gd name="T17" fmla="*/ 2147483647 h 1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5"/>
                  <a:gd name="T28" fmla="*/ 0 h 137"/>
                  <a:gd name="T29" fmla="*/ 205 w 205"/>
                  <a:gd name="T30" fmla="*/ 137 h 1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5" h="137">
                    <a:moveTo>
                      <a:pt x="30" y="137"/>
                    </a:moveTo>
                    <a:lnTo>
                      <a:pt x="30" y="137"/>
                    </a:lnTo>
                    <a:cubicBezTo>
                      <a:pt x="21" y="137"/>
                      <a:pt x="12" y="132"/>
                      <a:pt x="7" y="123"/>
                    </a:cubicBezTo>
                    <a:cubicBezTo>
                      <a:pt x="0" y="110"/>
                      <a:pt x="4" y="94"/>
                      <a:pt x="17" y="87"/>
                    </a:cubicBezTo>
                    <a:lnTo>
                      <a:pt x="162" y="8"/>
                    </a:lnTo>
                    <a:cubicBezTo>
                      <a:pt x="175" y="0"/>
                      <a:pt x="191" y="5"/>
                      <a:pt x="198" y="18"/>
                    </a:cubicBezTo>
                    <a:cubicBezTo>
                      <a:pt x="205" y="31"/>
                      <a:pt x="201" y="47"/>
                      <a:pt x="188" y="54"/>
                    </a:cubicBezTo>
                    <a:lnTo>
                      <a:pt x="43" y="133"/>
                    </a:lnTo>
                    <a:cubicBezTo>
                      <a:pt x="39" y="136"/>
                      <a:pt x="34" y="137"/>
                      <a:pt x="30" y="137"/>
                    </a:cubicBezTo>
                    <a:close/>
                  </a:path>
                </a:pathLst>
              </a:custGeom>
              <a:grpFill/>
              <a:ln w="0">
                <a:noFill/>
                <a:round/>
                <a:headEnd/>
                <a:tailEnd/>
              </a:ln>
            </p:spPr>
            <p:txBody>
              <a:bodyPr/>
              <a:lstStyle/>
              <a:p>
                <a:endParaRPr lang="zh-CN" altLang="en-US" sz="1799"/>
              </a:p>
            </p:txBody>
          </p:sp>
          <p:sp>
            <p:nvSpPr>
              <p:cNvPr id="365" name="Freeform 89"/>
              <p:cNvSpPr>
                <a:spLocks/>
              </p:cNvSpPr>
              <p:nvPr/>
            </p:nvSpPr>
            <p:spPr bwMode="auto">
              <a:xfrm>
                <a:off x="7754938" y="2547938"/>
                <a:ext cx="87313" cy="57150"/>
              </a:xfrm>
              <a:custGeom>
                <a:avLst/>
                <a:gdLst>
                  <a:gd name="T0" fmla="*/ 2147483647 w 206"/>
                  <a:gd name="T1" fmla="*/ 2147483647 h 137"/>
                  <a:gd name="T2" fmla="*/ 2147483647 w 206"/>
                  <a:gd name="T3" fmla="*/ 2147483647 h 137"/>
                  <a:gd name="T4" fmla="*/ 2147483647 w 206"/>
                  <a:gd name="T5" fmla="*/ 2147483647 h 137"/>
                  <a:gd name="T6" fmla="*/ 2147483647 w 206"/>
                  <a:gd name="T7" fmla="*/ 2147483647 h 137"/>
                  <a:gd name="T8" fmla="*/ 2147483647 w 206"/>
                  <a:gd name="T9" fmla="*/ 2147483647 h 137"/>
                  <a:gd name="T10" fmla="*/ 2147483647 w 206"/>
                  <a:gd name="T11" fmla="*/ 2147483647 h 137"/>
                  <a:gd name="T12" fmla="*/ 2147483647 w 206"/>
                  <a:gd name="T13" fmla="*/ 2147483647 h 137"/>
                  <a:gd name="T14" fmla="*/ 2147483647 w 206"/>
                  <a:gd name="T15" fmla="*/ 2147483647 h 137"/>
                  <a:gd name="T16" fmla="*/ 2147483647 w 206"/>
                  <a:gd name="T17" fmla="*/ 2147483647 h 1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6"/>
                  <a:gd name="T28" fmla="*/ 0 h 137"/>
                  <a:gd name="T29" fmla="*/ 206 w 206"/>
                  <a:gd name="T30" fmla="*/ 137 h 1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6" h="137">
                    <a:moveTo>
                      <a:pt x="175" y="137"/>
                    </a:moveTo>
                    <a:lnTo>
                      <a:pt x="175" y="137"/>
                    </a:lnTo>
                    <a:cubicBezTo>
                      <a:pt x="171" y="137"/>
                      <a:pt x="166" y="136"/>
                      <a:pt x="162" y="133"/>
                    </a:cubicBezTo>
                    <a:lnTo>
                      <a:pt x="17" y="54"/>
                    </a:lnTo>
                    <a:cubicBezTo>
                      <a:pt x="5" y="47"/>
                      <a:pt x="0" y="31"/>
                      <a:pt x="7" y="18"/>
                    </a:cubicBezTo>
                    <a:cubicBezTo>
                      <a:pt x="14" y="5"/>
                      <a:pt x="30" y="0"/>
                      <a:pt x="43" y="8"/>
                    </a:cubicBezTo>
                    <a:lnTo>
                      <a:pt x="188" y="87"/>
                    </a:lnTo>
                    <a:cubicBezTo>
                      <a:pt x="201" y="94"/>
                      <a:pt x="206" y="110"/>
                      <a:pt x="199" y="123"/>
                    </a:cubicBezTo>
                    <a:cubicBezTo>
                      <a:pt x="194" y="132"/>
                      <a:pt x="185" y="137"/>
                      <a:pt x="175" y="137"/>
                    </a:cubicBezTo>
                    <a:close/>
                  </a:path>
                </a:pathLst>
              </a:custGeom>
              <a:grpFill/>
              <a:ln w="0">
                <a:noFill/>
                <a:round/>
                <a:headEnd/>
                <a:tailEnd/>
              </a:ln>
            </p:spPr>
            <p:txBody>
              <a:bodyPr/>
              <a:lstStyle/>
              <a:p>
                <a:endParaRPr lang="zh-CN" altLang="en-US" sz="1799"/>
              </a:p>
            </p:txBody>
          </p:sp>
          <p:sp>
            <p:nvSpPr>
              <p:cNvPr id="366" name="Freeform 90"/>
              <p:cNvSpPr>
                <a:spLocks/>
              </p:cNvSpPr>
              <p:nvPr/>
            </p:nvSpPr>
            <p:spPr bwMode="auto">
              <a:xfrm>
                <a:off x="7816850" y="2519363"/>
                <a:ext cx="23813" cy="85725"/>
              </a:xfrm>
              <a:custGeom>
                <a:avLst/>
                <a:gdLst>
                  <a:gd name="T0" fmla="*/ 2147483647 w 54"/>
                  <a:gd name="T1" fmla="*/ 2147483647 h 203"/>
                  <a:gd name="T2" fmla="*/ 2147483647 w 54"/>
                  <a:gd name="T3" fmla="*/ 2147483647 h 203"/>
                  <a:gd name="T4" fmla="*/ 0 w 54"/>
                  <a:gd name="T5" fmla="*/ 2147483647 h 203"/>
                  <a:gd name="T6" fmla="*/ 0 w 54"/>
                  <a:gd name="T7" fmla="*/ 2147483647 h 203"/>
                  <a:gd name="T8" fmla="*/ 2147483647 w 54"/>
                  <a:gd name="T9" fmla="*/ 0 h 203"/>
                  <a:gd name="T10" fmla="*/ 2147483647 w 54"/>
                  <a:gd name="T11" fmla="*/ 2147483647 h 203"/>
                  <a:gd name="T12" fmla="*/ 2147483647 w 54"/>
                  <a:gd name="T13" fmla="*/ 2147483647 h 203"/>
                  <a:gd name="T14" fmla="*/ 2147483647 w 54"/>
                  <a:gd name="T15" fmla="*/ 2147483647 h 203"/>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203"/>
                  <a:gd name="T26" fmla="*/ 54 w 54"/>
                  <a:gd name="T27" fmla="*/ 203 h 20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203">
                    <a:moveTo>
                      <a:pt x="27" y="203"/>
                    </a:moveTo>
                    <a:lnTo>
                      <a:pt x="27" y="203"/>
                    </a:lnTo>
                    <a:cubicBezTo>
                      <a:pt x="12" y="203"/>
                      <a:pt x="0" y="191"/>
                      <a:pt x="0" y="176"/>
                    </a:cubicBezTo>
                    <a:lnTo>
                      <a:pt x="0" y="27"/>
                    </a:lnTo>
                    <a:cubicBezTo>
                      <a:pt x="0" y="12"/>
                      <a:pt x="12" y="0"/>
                      <a:pt x="27" y="0"/>
                    </a:cubicBezTo>
                    <a:cubicBezTo>
                      <a:pt x="42" y="0"/>
                      <a:pt x="54" y="12"/>
                      <a:pt x="54" y="27"/>
                    </a:cubicBezTo>
                    <a:lnTo>
                      <a:pt x="54" y="176"/>
                    </a:lnTo>
                    <a:cubicBezTo>
                      <a:pt x="54" y="191"/>
                      <a:pt x="42" y="203"/>
                      <a:pt x="27" y="203"/>
                    </a:cubicBezTo>
                    <a:close/>
                  </a:path>
                </a:pathLst>
              </a:custGeom>
              <a:grpFill/>
              <a:ln w="0">
                <a:noFill/>
                <a:round/>
                <a:headEnd/>
                <a:tailEnd/>
              </a:ln>
            </p:spPr>
            <p:txBody>
              <a:bodyPr/>
              <a:lstStyle/>
              <a:p>
                <a:endParaRPr lang="zh-CN" altLang="en-US" sz="1799"/>
              </a:p>
            </p:txBody>
          </p:sp>
          <p:sp>
            <p:nvSpPr>
              <p:cNvPr id="367" name="Freeform 91"/>
              <p:cNvSpPr>
                <a:spLocks/>
              </p:cNvSpPr>
              <p:nvPr/>
            </p:nvSpPr>
            <p:spPr bwMode="auto">
              <a:xfrm>
                <a:off x="7754938" y="2400300"/>
                <a:ext cx="85725" cy="57150"/>
              </a:xfrm>
              <a:custGeom>
                <a:avLst/>
                <a:gdLst>
                  <a:gd name="T0" fmla="*/ 2147483647 w 206"/>
                  <a:gd name="T1" fmla="*/ 2147483647 h 136"/>
                  <a:gd name="T2" fmla="*/ 2147483647 w 206"/>
                  <a:gd name="T3" fmla="*/ 2147483647 h 136"/>
                  <a:gd name="T4" fmla="*/ 2147483647 w 206"/>
                  <a:gd name="T5" fmla="*/ 2147483647 h 136"/>
                  <a:gd name="T6" fmla="*/ 2147483647 w 206"/>
                  <a:gd name="T7" fmla="*/ 2147483647 h 136"/>
                  <a:gd name="T8" fmla="*/ 2147483647 w 206"/>
                  <a:gd name="T9" fmla="*/ 2147483647 h 136"/>
                  <a:gd name="T10" fmla="*/ 2147483647 w 206"/>
                  <a:gd name="T11" fmla="*/ 2147483647 h 136"/>
                  <a:gd name="T12" fmla="*/ 2147483647 w 206"/>
                  <a:gd name="T13" fmla="*/ 2147483647 h 136"/>
                  <a:gd name="T14" fmla="*/ 2147483647 w 206"/>
                  <a:gd name="T15" fmla="*/ 2147483647 h 136"/>
                  <a:gd name="T16" fmla="*/ 2147483647 w 206"/>
                  <a:gd name="T17" fmla="*/ 214748364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6"/>
                  <a:gd name="T28" fmla="*/ 0 h 136"/>
                  <a:gd name="T29" fmla="*/ 206 w 206"/>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6" h="136">
                    <a:moveTo>
                      <a:pt x="31" y="136"/>
                    </a:moveTo>
                    <a:lnTo>
                      <a:pt x="31" y="136"/>
                    </a:lnTo>
                    <a:cubicBezTo>
                      <a:pt x="21" y="136"/>
                      <a:pt x="12" y="131"/>
                      <a:pt x="7" y="123"/>
                    </a:cubicBezTo>
                    <a:cubicBezTo>
                      <a:pt x="0" y="110"/>
                      <a:pt x="5" y="93"/>
                      <a:pt x="18" y="86"/>
                    </a:cubicBezTo>
                    <a:lnTo>
                      <a:pt x="163" y="7"/>
                    </a:lnTo>
                    <a:cubicBezTo>
                      <a:pt x="176" y="0"/>
                      <a:pt x="192" y="5"/>
                      <a:pt x="199" y="18"/>
                    </a:cubicBezTo>
                    <a:cubicBezTo>
                      <a:pt x="206" y="31"/>
                      <a:pt x="201" y="47"/>
                      <a:pt x="188" y="54"/>
                    </a:cubicBezTo>
                    <a:lnTo>
                      <a:pt x="43" y="133"/>
                    </a:lnTo>
                    <a:cubicBezTo>
                      <a:pt x="39" y="135"/>
                      <a:pt x="35" y="136"/>
                      <a:pt x="31" y="136"/>
                    </a:cubicBezTo>
                    <a:close/>
                  </a:path>
                </a:pathLst>
              </a:custGeom>
              <a:grpFill/>
              <a:ln w="0">
                <a:noFill/>
                <a:round/>
                <a:headEnd/>
                <a:tailEnd/>
              </a:ln>
            </p:spPr>
            <p:txBody>
              <a:bodyPr/>
              <a:lstStyle/>
              <a:p>
                <a:endParaRPr lang="zh-CN" altLang="en-US" sz="1799"/>
              </a:p>
            </p:txBody>
          </p:sp>
          <p:sp>
            <p:nvSpPr>
              <p:cNvPr id="368" name="Freeform 92"/>
              <p:cNvSpPr>
                <a:spLocks/>
              </p:cNvSpPr>
              <p:nvPr/>
            </p:nvSpPr>
            <p:spPr bwMode="auto">
              <a:xfrm>
                <a:off x="7815263" y="2400300"/>
                <a:ext cx="85725" cy="57150"/>
              </a:xfrm>
              <a:custGeom>
                <a:avLst/>
                <a:gdLst>
                  <a:gd name="T0" fmla="*/ 2147483647 w 206"/>
                  <a:gd name="T1" fmla="*/ 2147483647 h 136"/>
                  <a:gd name="T2" fmla="*/ 2147483647 w 206"/>
                  <a:gd name="T3" fmla="*/ 2147483647 h 136"/>
                  <a:gd name="T4" fmla="*/ 2147483647 w 206"/>
                  <a:gd name="T5" fmla="*/ 2147483647 h 136"/>
                  <a:gd name="T6" fmla="*/ 2147483647 w 206"/>
                  <a:gd name="T7" fmla="*/ 2147483647 h 136"/>
                  <a:gd name="T8" fmla="*/ 2147483647 w 206"/>
                  <a:gd name="T9" fmla="*/ 2147483647 h 136"/>
                  <a:gd name="T10" fmla="*/ 2147483647 w 206"/>
                  <a:gd name="T11" fmla="*/ 2147483647 h 136"/>
                  <a:gd name="T12" fmla="*/ 2147483647 w 206"/>
                  <a:gd name="T13" fmla="*/ 2147483647 h 136"/>
                  <a:gd name="T14" fmla="*/ 2147483647 w 206"/>
                  <a:gd name="T15" fmla="*/ 2147483647 h 136"/>
                  <a:gd name="T16" fmla="*/ 2147483647 w 206"/>
                  <a:gd name="T17" fmla="*/ 214748364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6"/>
                  <a:gd name="T28" fmla="*/ 0 h 136"/>
                  <a:gd name="T29" fmla="*/ 206 w 206"/>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6" h="136">
                    <a:moveTo>
                      <a:pt x="175" y="136"/>
                    </a:moveTo>
                    <a:lnTo>
                      <a:pt x="175" y="136"/>
                    </a:lnTo>
                    <a:cubicBezTo>
                      <a:pt x="171" y="136"/>
                      <a:pt x="167" y="135"/>
                      <a:pt x="163" y="133"/>
                    </a:cubicBezTo>
                    <a:lnTo>
                      <a:pt x="18" y="54"/>
                    </a:lnTo>
                    <a:cubicBezTo>
                      <a:pt x="5" y="47"/>
                      <a:pt x="0" y="31"/>
                      <a:pt x="7" y="18"/>
                    </a:cubicBezTo>
                    <a:cubicBezTo>
                      <a:pt x="14" y="5"/>
                      <a:pt x="30" y="0"/>
                      <a:pt x="43" y="7"/>
                    </a:cubicBezTo>
                    <a:lnTo>
                      <a:pt x="188" y="86"/>
                    </a:lnTo>
                    <a:cubicBezTo>
                      <a:pt x="201" y="93"/>
                      <a:pt x="206" y="110"/>
                      <a:pt x="199" y="123"/>
                    </a:cubicBezTo>
                    <a:cubicBezTo>
                      <a:pt x="194" y="131"/>
                      <a:pt x="185" y="136"/>
                      <a:pt x="175" y="136"/>
                    </a:cubicBezTo>
                    <a:close/>
                  </a:path>
                </a:pathLst>
              </a:custGeom>
              <a:grpFill/>
              <a:ln w="0">
                <a:noFill/>
                <a:round/>
                <a:headEnd/>
                <a:tailEnd/>
              </a:ln>
            </p:spPr>
            <p:txBody>
              <a:bodyPr/>
              <a:lstStyle/>
              <a:p>
                <a:endParaRPr lang="zh-CN" altLang="en-US" sz="1799"/>
              </a:p>
            </p:txBody>
          </p:sp>
          <p:sp>
            <p:nvSpPr>
              <p:cNvPr id="369" name="Freeform 93"/>
              <p:cNvSpPr>
                <a:spLocks/>
              </p:cNvSpPr>
              <p:nvPr/>
            </p:nvSpPr>
            <p:spPr bwMode="auto">
              <a:xfrm>
                <a:off x="7816850" y="2401888"/>
                <a:ext cx="22225" cy="84138"/>
              </a:xfrm>
              <a:custGeom>
                <a:avLst/>
                <a:gdLst>
                  <a:gd name="T0" fmla="*/ 2147483647 w 53"/>
                  <a:gd name="T1" fmla="*/ 2147483647 h 200"/>
                  <a:gd name="T2" fmla="*/ 2147483647 w 53"/>
                  <a:gd name="T3" fmla="*/ 2147483647 h 200"/>
                  <a:gd name="T4" fmla="*/ 0 w 53"/>
                  <a:gd name="T5" fmla="*/ 2147483647 h 200"/>
                  <a:gd name="T6" fmla="*/ 0 w 53"/>
                  <a:gd name="T7" fmla="*/ 2147483647 h 200"/>
                  <a:gd name="T8" fmla="*/ 2147483647 w 53"/>
                  <a:gd name="T9" fmla="*/ 0 h 200"/>
                  <a:gd name="T10" fmla="*/ 2147483647 w 53"/>
                  <a:gd name="T11" fmla="*/ 2147483647 h 200"/>
                  <a:gd name="T12" fmla="*/ 2147483647 w 53"/>
                  <a:gd name="T13" fmla="*/ 2147483647 h 200"/>
                  <a:gd name="T14" fmla="*/ 2147483647 w 53"/>
                  <a:gd name="T15" fmla="*/ 2147483647 h 200"/>
                  <a:gd name="T16" fmla="*/ 0 60000 65536"/>
                  <a:gd name="T17" fmla="*/ 0 60000 65536"/>
                  <a:gd name="T18" fmla="*/ 0 60000 65536"/>
                  <a:gd name="T19" fmla="*/ 0 60000 65536"/>
                  <a:gd name="T20" fmla="*/ 0 60000 65536"/>
                  <a:gd name="T21" fmla="*/ 0 60000 65536"/>
                  <a:gd name="T22" fmla="*/ 0 60000 65536"/>
                  <a:gd name="T23" fmla="*/ 0 60000 65536"/>
                  <a:gd name="T24" fmla="*/ 0 w 53"/>
                  <a:gd name="T25" fmla="*/ 0 h 200"/>
                  <a:gd name="T26" fmla="*/ 53 w 53"/>
                  <a:gd name="T27" fmla="*/ 200 h 2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 h="200">
                    <a:moveTo>
                      <a:pt x="26" y="200"/>
                    </a:moveTo>
                    <a:lnTo>
                      <a:pt x="26" y="200"/>
                    </a:lnTo>
                    <a:cubicBezTo>
                      <a:pt x="12" y="200"/>
                      <a:pt x="0" y="188"/>
                      <a:pt x="0" y="173"/>
                    </a:cubicBezTo>
                    <a:lnTo>
                      <a:pt x="0" y="27"/>
                    </a:lnTo>
                    <a:cubicBezTo>
                      <a:pt x="0" y="12"/>
                      <a:pt x="12" y="0"/>
                      <a:pt x="26" y="0"/>
                    </a:cubicBezTo>
                    <a:cubicBezTo>
                      <a:pt x="41" y="0"/>
                      <a:pt x="53" y="12"/>
                      <a:pt x="53" y="27"/>
                    </a:cubicBezTo>
                    <a:lnTo>
                      <a:pt x="53" y="173"/>
                    </a:lnTo>
                    <a:cubicBezTo>
                      <a:pt x="53" y="188"/>
                      <a:pt x="41" y="200"/>
                      <a:pt x="26" y="200"/>
                    </a:cubicBezTo>
                    <a:close/>
                  </a:path>
                </a:pathLst>
              </a:custGeom>
              <a:grpFill/>
              <a:ln w="0">
                <a:noFill/>
                <a:round/>
                <a:headEnd/>
                <a:tailEnd/>
              </a:ln>
            </p:spPr>
            <p:txBody>
              <a:bodyPr/>
              <a:lstStyle/>
              <a:p>
                <a:endParaRPr lang="zh-CN" altLang="en-US" sz="1799"/>
              </a:p>
            </p:txBody>
          </p:sp>
          <p:sp>
            <p:nvSpPr>
              <p:cNvPr id="370" name="Freeform 94"/>
              <p:cNvSpPr>
                <a:spLocks/>
              </p:cNvSpPr>
              <p:nvPr/>
            </p:nvSpPr>
            <p:spPr bwMode="auto">
              <a:xfrm>
                <a:off x="7651750" y="2490788"/>
                <a:ext cx="85725" cy="57150"/>
              </a:xfrm>
              <a:custGeom>
                <a:avLst/>
                <a:gdLst>
                  <a:gd name="T0" fmla="*/ 2147483647 w 205"/>
                  <a:gd name="T1" fmla="*/ 2147483647 h 137"/>
                  <a:gd name="T2" fmla="*/ 2147483647 w 205"/>
                  <a:gd name="T3" fmla="*/ 2147483647 h 137"/>
                  <a:gd name="T4" fmla="*/ 2147483647 w 205"/>
                  <a:gd name="T5" fmla="*/ 2147483647 h 137"/>
                  <a:gd name="T6" fmla="*/ 2147483647 w 205"/>
                  <a:gd name="T7" fmla="*/ 2147483647 h 137"/>
                  <a:gd name="T8" fmla="*/ 2147483647 w 205"/>
                  <a:gd name="T9" fmla="*/ 2147483647 h 137"/>
                  <a:gd name="T10" fmla="*/ 2147483647 w 205"/>
                  <a:gd name="T11" fmla="*/ 2147483647 h 137"/>
                  <a:gd name="T12" fmla="*/ 2147483647 w 205"/>
                  <a:gd name="T13" fmla="*/ 2147483647 h 137"/>
                  <a:gd name="T14" fmla="*/ 2147483647 w 205"/>
                  <a:gd name="T15" fmla="*/ 2147483647 h 137"/>
                  <a:gd name="T16" fmla="*/ 2147483647 w 205"/>
                  <a:gd name="T17" fmla="*/ 2147483647 h 1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5"/>
                  <a:gd name="T28" fmla="*/ 0 h 137"/>
                  <a:gd name="T29" fmla="*/ 205 w 205"/>
                  <a:gd name="T30" fmla="*/ 137 h 1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5" h="137">
                    <a:moveTo>
                      <a:pt x="174" y="137"/>
                    </a:moveTo>
                    <a:lnTo>
                      <a:pt x="174" y="137"/>
                    </a:lnTo>
                    <a:cubicBezTo>
                      <a:pt x="170" y="137"/>
                      <a:pt x="166" y="136"/>
                      <a:pt x="161" y="134"/>
                    </a:cubicBezTo>
                    <a:lnTo>
                      <a:pt x="18" y="54"/>
                    </a:lnTo>
                    <a:cubicBezTo>
                      <a:pt x="5" y="47"/>
                      <a:pt x="0" y="31"/>
                      <a:pt x="8" y="18"/>
                    </a:cubicBezTo>
                    <a:cubicBezTo>
                      <a:pt x="15" y="5"/>
                      <a:pt x="31" y="0"/>
                      <a:pt x="44" y="8"/>
                    </a:cubicBezTo>
                    <a:lnTo>
                      <a:pt x="187" y="87"/>
                    </a:lnTo>
                    <a:cubicBezTo>
                      <a:pt x="200" y="94"/>
                      <a:pt x="205" y="111"/>
                      <a:pt x="198" y="124"/>
                    </a:cubicBezTo>
                    <a:cubicBezTo>
                      <a:pt x="193" y="132"/>
                      <a:pt x="184" y="137"/>
                      <a:pt x="174" y="137"/>
                    </a:cubicBezTo>
                    <a:close/>
                  </a:path>
                </a:pathLst>
              </a:custGeom>
              <a:grpFill/>
              <a:ln w="0">
                <a:noFill/>
                <a:round/>
                <a:headEnd/>
                <a:tailEnd/>
              </a:ln>
            </p:spPr>
            <p:txBody>
              <a:bodyPr/>
              <a:lstStyle/>
              <a:p>
                <a:endParaRPr lang="zh-CN" altLang="en-US" sz="1799"/>
              </a:p>
            </p:txBody>
          </p:sp>
          <p:sp>
            <p:nvSpPr>
              <p:cNvPr id="371" name="Freeform 95"/>
              <p:cNvSpPr>
                <a:spLocks/>
              </p:cNvSpPr>
              <p:nvPr/>
            </p:nvSpPr>
            <p:spPr bwMode="auto">
              <a:xfrm>
                <a:off x="7651750" y="2457450"/>
                <a:ext cx="85725" cy="57150"/>
              </a:xfrm>
              <a:custGeom>
                <a:avLst/>
                <a:gdLst>
                  <a:gd name="T0" fmla="*/ 2147483647 w 205"/>
                  <a:gd name="T1" fmla="*/ 2147483647 h 136"/>
                  <a:gd name="T2" fmla="*/ 2147483647 w 205"/>
                  <a:gd name="T3" fmla="*/ 2147483647 h 136"/>
                  <a:gd name="T4" fmla="*/ 2147483647 w 205"/>
                  <a:gd name="T5" fmla="*/ 2147483647 h 136"/>
                  <a:gd name="T6" fmla="*/ 2147483647 w 205"/>
                  <a:gd name="T7" fmla="*/ 2147483647 h 136"/>
                  <a:gd name="T8" fmla="*/ 2147483647 w 205"/>
                  <a:gd name="T9" fmla="*/ 2147483647 h 136"/>
                  <a:gd name="T10" fmla="*/ 2147483647 w 205"/>
                  <a:gd name="T11" fmla="*/ 2147483647 h 136"/>
                  <a:gd name="T12" fmla="*/ 2147483647 w 205"/>
                  <a:gd name="T13" fmla="*/ 2147483647 h 136"/>
                  <a:gd name="T14" fmla="*/ 2147483647 w 205"/>
                  <a:gd name="T15" fmla="*/ 2147483647 h 136"/>
                  <a:gd name="T16" fmla="*/ 2147483647 w 205"/>
                  <a:gd name="T17" fmla="*/ 214748364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5"/>
                  <a:gd name="T28" fmla="*/ 0 h 136"/>
                  <a:gd name="T29" fmla="*/ 205 w 205"/>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5" h="136">
                    <a:moveTo>
                      <a:pt x="31" y="136"/>
                    </a:moveTo>
                    <a:lnTo>
                      <a:pt x="31" y="136"/>
                    </a:lnTo>
                    <a:cubicBezTo>
                      <a:pt x="21" y="136"/>
                      <a:pt x="12" y="132"/>
                      <a:pt x="8" y="123"/>
                    </a:cubicBezTo>
                    <a:cubicBezTo>
                      <a:pt x="0" y="110"/>
                      <a:pt x="5" y="94"/>
                      <a:pt x="18" y="87"/>
                    </a:cubicBezTo>
                    <a:lnTo>
                      <a:pt x="161" y="7"/>
                    </a:lnTo>
                    <a:cubicBezTo>
                      <a:pt x="174" y="0"/>
                      <a:pt x="191" y="4"/>
                      <a:pt x="198" y="17"/>
                    </a:cubicBezTo>
                    <a:cubicBezTo>
                      <a:pt x="205" y="30"/>
                      <a:pt x="200" y="46"/>
                      <a:pt x="187" y="53"/>
                    </a:cubicBezTo>
                    <a:lnTo>
                      <a:pt x="44" y="133"/>
                    </a:lnTo>
                    <a:cubicBezTo>
                      <a:pt x="40" y="135"/>
                      <a:pt x="35" y="136"/>
                      <a:pt x="31" y="136"/>
                    </a:cubicBezTo>
                    <a:close/>
                  </a:path>
                </a:pathLst>
              </a:custGeom>
              <a:grpFill/>
              <a:ln w="0">
                <a:noFill/>
                <a:round/>
                <a:headEnd/>
                <a:tailEnd/>
              </a:ln>
            </p:spPr>
            <p:txBody>
              <a:bodyPr/>
              <a:lstStyle/>
              <a:p>
                <a:endParaRPr lang="zh-CN" altLang="en-US" sz="1799"/>
              </a:p>
            </p:txBody>
          </p:sp>
          <p:sp>
            <p:nvSpPr>
              <p:cNvPr id="372" name="Freeform 96"/>
              <p:cNvSpPr>
                <a:spLocks/>
              </p:cNvSpPr>
              <p:nvPr/>
            </p:nvSpPr>
            <p:spPr bwMode="auto">
              <a:xfrm>
                <a:off x="7653338" y="2492375"/>
                <a:ext cx="134938" cy="22225"/>
              </a:xfrm>
              <a:custGeom>
                <a:avLst/>
                <a:gdLst>
                  <a:gd name="T0" fmla="*/ 2147483647 w 324"/>
                  <a:gd name="T1" fmla="*/ 2147483647 h 53"/>
                  <a:gd name="T2" fmla="*/ 2147483647 w 324"/>
                  <a:gd name="T3" fmla="*/ 2147483647 h 53"/>
                  <a:gd name="T4" fmla="*/ 2147483647 w 324"/>
                  <a:gd name="T5" fmla="*/ 2147483647 h 53"/>
                  <a:gd name="T6" fmla="*/ 0 w 324"/>
                  <a:gd name="T7" fmla="*/ 2147483647 h 53"/>
                  <a:gd name="T8" fmla="*/ 2147483647 w 324"/>
                  <a:gd name="T9" fmla="*/ 0 h 53"/>
                  <a:gd name="T10" fmla="*/ 2147483647 w 324"/>
                  <a:gd name="T11" fmla="*/ 0 h 53"/>
                  <a:gd name="T12" fmla="*/ 2147483647 w 324"/>
                  <a:gd name="T13" fmla="*/ 2147483647 h 53"/>
                  <a:gd name="T14" fmla="*/ 2147483647 w 324"/>
                  <a:gd name="T15" fmla="*/ 2147483647 h 53"/>
                  <a:gd name="T16" fmla="*/ 0 60000 65536"/>
                  <a:gd name="T17" fmla="*/ 0 60000 65536"/>
                  <a:gd name="T18" fmla="*/ 0 60000 65536"/>
                  <a:gd name="T19" fmla="*/ 0 60000 65536"/>
                  <a:gd name="T20" fmla="*/ 0 60000 65536"/>
                  <a:gd name="T21" fmla="*/ 0 60000 65536"/>
                  <a:gd name="T22" fmla="*/ 0 60000 65536"/>
                  <a:gd name="T23" fmla="*/ 0 60000 65536"/>
                  <a:gd name="T24" fmla="*/ 0 w 324"/>
                  <a:gd name="T25" fmla="*/ 0 h 53"/>
                  <a:gd name="T26" fmla="*/ 324 w 324"/>
                  <a:gd name="T27" fmla="*/ 53 h 5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4" h="53">
                    <a:moveTo>
                      <a:pt x="297" y="53"/>
                    </a:moveTo>
                    <a:lnTo>
                      <a:pt x="297" y="53"/>
                    </a:lnTo>
                    <a:lnTo>
                      <a:pt x="27" y="53"/>
                    </a:lnTo>
                    <a:cubicBezTo>
                      <a:pt x="12" y="53"/>
                      <a:pt x="0" y="42"/>
                      <a:pt x="0" y="27"/>
                    </a:cubicBezTo>
                    <a:cubicBezTo>
                      <a:pt x="0" y="12"/>
                      <a:pt x="12" y="0"/>
                      <a:pt x="27" y="0"/>
                    </a:cubicBezTo>
                    <a:lnTo>
                      <a:pt x="297" y="0"/>
                    </a:lnTo>
                    <a:cubicBezTo>
                      <a:pt x="312" y="0"/>
                      <a:pt x="324" y="12"/>
                      <a:pt x="324" y="27"/>
                    </a:cubicBezTo>
                    <a:cubicBezTo>
                      <a:pt x="324" y="42"/>
                      <a:pt x="312" y="53"/>
                      <a:pt x="297" y="53"/>
                    </a:cubicBezTo>
                    <a:close/>
                  </a:path>
                </a:pathLst>
              </a:custGeom>
              <a:grpFill/>
              <a:ln w="0">
                <a:noFill/>
                <a:round/>
                <a:headEnd/>
                <a:tailEnd/>
              </a:ln>
            </p:spPr>
            <p:txBody>
              <a:bodyPr/>
              <a:lstStyle/>
              <a:p>
                <a:endParaRPr lang="zh-CN" altLang="en-US" sz="1799"/>
              </a:p>
            </p:txBody>
          </p:sp>
          <p:sp>
            <p:nvSpPr>
              <p:cNvPr id="373" name="Freeform 97"/>
              <p:cNvSpPr>
                <a:spLocks/>
              </p:cNvSpPr>
              <p:nvPr/>
            </p:nvSpPr>
            <p:spPr bwMode="auto">
              <a:xfrm>
                <a:off x="7920038" y="2457450"/>
                <a:ext cx="85725" cy="57150"/>
              </a:xfrm>
              <a:custGeom>
                <a:avLst/>
                <a:gdLst>
                  <a:gd name="T0" fmla="*/ 2147483647 w 204"/>
                  <a:gd name="T1" fmla="*/ 2147483647 h 137"/>
                  <a:gd name="T2" fmla="*/ 2147483647 w 204"/>
                  <a:gd name="T3" fmla="*/ 2147483647 h 137"/>
                  <a:gd name="T4" fmla="*/ 2147483647 w 204"/>
                  <a:gd name="T5" fmla="*/ 2147483647 h 137"/>
                  <a:gd name="T6" fmla="*/ 2147483647 w 204"/>
                  <a:gd name="T7" fmla="*/ 2147483647 h 137"/>
                  <a:gd name="T8" fmla="*/ 2147483647 w 204"/>
                  <a:gd name="T9" fmla="*/ 2147483647 h 137"/>
                  <a:gd name="T10" fmla="*/ 2147483647 w 204"/>
                  <a:gd name="T11" fmla="*/ 2147483647 h 137"/>
                  <a:gd name="T12" fmla="*/ 2147483647 w 204"/>
                  <a:gd name="T13" fmla="*/ 2147483647 h 137"/>
                  <a:gd name="T14" fmla="*/ 2147483647 w 204"/>
                  <a:gd name="T15" fmla="*/ 2147483647 h 137"/>
                  <a:gd name="T16" fmla="*/ 2147483647 w 204"/>
                  <a:gd name="T17" fmla="*/ 2147483647 h 1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4"/>
                  <a:gd name="T28" fmla="*/ 0 h 137"/>
                  <a:gd name="T29" fmla="*/ 204 w 204"/>
                  <a:gd name="T30" fmla="*/ 137 h 1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4" h="137">
                    <a:moveTo>
                      <a:pt x="174" y="137"/>
                    </a:moveTo>
                    <a:lnTo>
                      <a:pt x="174" y="137"/>
                    </a:lnTo>
                    <a:cubicBezTo>
                      <a:pt x="169" y="137"/>
                      <a:pt x="165" y="135"/>
                      <a:pt x="161" y="133"/>
                    </a:cubicBezTo>
                    <a:lnTo>
                      <a:pt x="17" y="53"/>
                    </a:lnTo>
                    <a:cubicBezTo>
                      <a:pt x="4" y="46"/>
                      <a:pt x="0" y="30"/>
                      <a:pt x="7" y="17"/>
                    </a:cubicBezTo>
                    <a:cubicBezTo>
                      <a:pt x="14" y="4"/>
                      <a:pt x="30" y="0"/>
                      <a:pt x="43" y="7"/>
                    </a:cubicBezTo>
                    <a:lnTo>
                      <a:pt x="187" y="87"/>
                    </a:lnTo>
                    <a:cubicBezTo>
                      <a:pt x="200" y="94"/>
                      <a:pt x="204" y="110"/>
                      <a:pt x="197" y="123"/>
                    </a:cubicBezTo>
                    <a:cubicBezTo>
                      <a:pt x="192" y="132"/>
                      <a:pt x="183" y="137"/>
                      <a:pt x="174" y="137"/>
                    </a:cubicBezTo>
                    <a:close/>
                  </a:path>
                </a:pathLst>
              </a:custGeom>
              <a:grpFill/>
              <a:ln w="0">
                <a:noFill/>
                <a:round/>
                <a:headEnd/>
                <a:tailEnd/>
              </a:ln>
            </p:spPr>
            <p:txBody>
              <a:bodyPr/>
              <a:lstStyle/>
              <a:p>
                <a:endParaRPr lang="zh-CN" altLang="en-US" sz="1799"/>
              </a:p>
            </p:txBody>
          </p:sp>
          <p:sp>
            <p:nvSpPr>
              <p:cNvPr id="374" name="Freeform 98"/>
              <p:cNvSpPr>
                <a:spLocks/>
              </p:cNvSpPr>
              <p:nvPr/>
            </p:nvSpPr>
            <p:spPr bwMode="auto">
              <a:xfrm>
                <a:off x="7920038" y="2490788"/>
                <a:ext cx="85725" cy="57150"/>
              </a:xfrm>
              <a:custGeom>
                <a:avLst/>
                <a:gdLst>
                  <a:gd name="T0" fmla="*/ 2147483647 w 204"/>
                  <a:gd name="T1" fmla="*/ 2147483647 h 137"/>
                  <a:gd name="T2" fmla="*/ 2147483647 w 204"/>
                  <a:gd name="T3" fmla="*/ 2147483647 h 137"/>
                  <a:gd name="T4" fmla="*/ 2147483647 w 204"/>
                  <a:gd name="T5" fmla="*/ 2147483647 h 137"/>
                  <a:gd name="T6" fmla="*/ 2147483647 w 204"/>
                  <a:gd name="T7" fmla="*/ 2147483647 h 137"/>
                  <a:gd name="T8" fmla="*/ 2147483647 w 204"/>
                  <a:gd name="T9" fmla="*/ 2147483647 h 137"/>
                  <a:gd name="T10" fmla="*/ 2147483647 w 204"/>
                  <a:gd name="T11" fmla="*/ 2147483647 h 137"/>
                  <a:gd name="T12" fmla="*/ 2147483647 w 204"/>
                  <a:gd name="T13" fmla="*/ 2147483647 h 137"/>
                  <a:gd name="T14" fmla="*/ 2147483647 w 204"/>
                  <a:gd name="T15" fmla="*/ 2147483647 h 137"/>
                  <a:gd name="T16" fmla="*/ 2147483647 w 204"/>
                  <a:gd name="T17" fmla="*/ 2147483647 h 1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4"/>
                  <a:gd name="T28" fmla="*/ 0 h 137"/>
                  <a:gd name="T29" fmla="*/ 204 w 204"/>
                  <a:gd name="T30" fmla="*/ 137 h 1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4" h="137">
                    <a:moveTo>
                      <a:pt x="30" y="137"/>
                    </a:moveTo>
                    <a:lnTo>
                      <a:pt x="30" y="137"/>
                    </a:lnTo>
                    <a:cubicBezTo>
                      <a:pt x="21" y="137"/>
                      <a:pt x="12" y="132"/>
                      <a:pt x="7" y="124"/>
                    </a:cubicBezTo>
                    <a:cubicBezTo>
                      <a:pt x="0" y="111"/>
                      <a:pt x="4" y="95"/>
                      <a:pt x="17" y="87"/>
                    </a:cubicBezTo>
                    <a:lnTo>
                      <a:pt x="161" y="8"/>
                    </a:lnTo>
                    <a:cubicBezTo>
                      <a:pt x="174" y="0"/>
                      <a:pt x="190" y="5"/>
                      <a:pt x="197" y="18"/>
                    </a:cubicBezTo>
                    <a:cubicBezTo>
                      <a:pt x="204" y="31"/>
                      <a:pt x="200" y="47"/>
                      <a:pt x="187" y="54"/>
                    </a:cubicBezTo>
                    <a:lnTo>
                      <a:pt x="43" y="134"/>
                    </a:lnTo>
                    <a:cubicBezTo>
                      <a:pt x="39" y="136"/>
                      <a:pt x="35" y="137"/>
                      <a:pt x="30" y="137"/>
                    </a:cubicBezTo>
                    <a:close/>
                  </a:path>
                </a:pathLst>
              </a:custGeom>
              <a:grpFill/>
              <a:ln w="0">
                <a:noFill/>
                <a:round/>
                <a:headEnd/>
                <a:tailEnd/>
              </a:ln>
            </p:spPr>
            <p:txBody>
              <a:bodyPr/>
              <a:lstStyle/>
              <a:p>
                <a:endParaRPr lang="zh-CN" altLang="en-US" sz="1799"/>
              </a:p>
            </p:txBody>
          </p:sp>
          <p:sp>
            <p:nvSpPr>
              <p:cNvPr id="375" name="Freeform 99"/>
              <p:cNvSpPr>
                <a:spLocks/>
              </p:cNvSpPr>
              <p:nvPr/>
            </p:nvSpPr>
            <p:spPr bwMode="auto">
              <a:xfrm>
                <a:off x="7867650" y="2492375"/>
                <a:ext cx="136525" cy="22225"/>
              </a:xfrm>
              <a:custGeom>
                <a:avLst/>
                <a:gdLst>
                  <a:gd name="T0" fmla="*/ 2147483647 w 323"/>
                  <a:gd name="T1" fmla="*/ 2147483647 h 54"/>
                  <a:gd name="T2" fmla="*/ 2147483647 w 323"/>
                  <a:gd name="T3" fmla="*/ 2147483647 h 54"/>
                  <a:gd name="T4" fmla="*/ 2147483647 w 323"/>
                  <a:gd name="T5" fmla="*/ 2147483647 h 54"/>
                  <a:gd name="T6" fmla="*/ 0 w 323"/>
                  <a:gd name="T7" fmla="*/ 2147483647 h 54"/>
                  <a:gd name="T8" fmla="*/ 2147483647 w 323"/>
                  <a:gd name="T9" fmla="*/ 0 h 54"/>
                  <a:gd name="T10" fmla="*/ 2147483647 w 323"/>
                  <a:gd name="T11" fmla="*/ 0 h 54"/>
                  <a:gd name="T12" fmla="*/ 2147483647 w 323"/>
                  <a:gd name="T13" fmla="*/ 2147483647 h 54"/>
                  <a:gd name="T14" fmla="*/ 2147483647 w 323"/>
                  <a:gd name="T15" fmla="*/ 2147483647 h 54"/>
                  <a:gd name="T16" fmla="*/ 0 60000 65536"/>
                  <a:gd name="T17" fmla="*/ 0 60000 65536"/>
                  <a:gd name="T18" fmla="*/ 0 60000 65536"/>
                  <a:gd name="T19" fmla="*/ 0 60000 65536"/>
                  <a:gd name="T20" fmla="*/ 0 60000 65536"/>
                  <a:gd name="T21" fmla="*/ 0 60000 65536"/>
                  <a:gd name="T22" fmla="*/ 0 60000 65536"/>
                  <a:gd name="T23" fmla="*/ 0 60000 65536"/>
                  <a:gd name="T24" fmla="*/ 0 w 323"/>
                  <a:gd name="T25" fmla="*/ 0 h 54"/>
                  <a:gd name="T26" fmla="*/ 323 w 323"/>
                  <a:gd name="T27" fmla="*/ 54 h 5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3" h="54">
                    <a:moveTo>
                      <a:pt x="297" y="54"/>
                    </a:moveTo>
                    <a:lnTo>
                      <a:pt x="297" y="54"/>
                    </a:lnTo>
                    <a:lnTo>
                      <a:pt x="26" y="54"/>
                    </a:lnTo>
                    <a:cubicBezTo>
                      <a:pt x="11" y="54"/>
                      <a:pt x="0" y="42"/>
                      <a:pt x="0" y="27"/>
                    </a:cubicBezTo>
                    <a:cubicBezTo>
                      <a:pt x="0" y="12"/>
                      <a:pt x="11" y="0"/>
                      <a:pt x="26" y="0"/>
                    </a:cubicBezTo>
                    <a:lnTo>
                      <a:pt x="297" y="0"/>
                    </a:lnTo>
                    <a:cubicBezTo>
                      <a:pt x="311" y="0"/>
                      <a:pt x="323" y="12"/>
                      <a:pt x="323" y="27"/>
                    </a:cubicBezTo>
                    <a:cubicBezTo>
                      <a:pt x="323" y="42"/>
                      <a:pt x="311" y="54"/>
                      <a:pt x="297" y="54"/>
                    </a:cubicBezTo>
                    <a:close/>
                  </a:path>
                </a:pathLst>
              </a:custGeom>
              <a:grpFill/>
              <a:ln w="0">
                <a:noFill/>
                <a:round/>
                <a:headEnd/>
                <a:tailEnd/>
              </a:ln>
            </p:spPr>
            <p:txBody>
              <a:bodyPr/>
              <a:lstStyle/>
              <a:p>
                <a:endParaRPr lang="zh-CN" altLang="en-US" sz="1799"/>
              </a:p>
            </p:txBody>
          </p:sp>
          <p:sp>
            <p:nvSpPr>
              <p:cNvPr id="376" name="Freeform 100"/>
              <p:cNvSpPr>
                <a:spLocks/>
              </p:cNvSpPr>
              <p:nvPr/>
            </p:nvSpPr>
            <p:spPr bwMode="auto">
              <a:xfrm>
                <a:off x="7766050" y="2503488"/>
                <a:ext cx="22225" cy="28575"/>
              </a:xfrm>
              <a:custGeom>
                <a:avLst/>
                <a:gdLst>
                  <a:gd name="T0" fmla="*/ 2147483647 w 53"/>
                  <a:gd name="T1" fmla="*/ 2147483647 h 66"/>
                  <a:gd name="T2" fmla="*/ 2147483647 w 53"/>
                  <a:gd name="T3" fmla="*/ 2147483647 h 66"/>
                  <a:gd name="T4" fmla="*/ 0 w 53"/>
                  <a:gd name="T5" fmla="*/ 2147483647 h 66"/>
                  <a:gd name="T6" fmla="*/ 0 w 53"/>
                  <a:gd name="T7" fmla="*/ 0 h 66"/>
                  <a:gd name="T8" fmla="*/ 2147483647 w 53"/>
                  <a:gd name="T9" fmla="*/ 0 h 66"/>
                  <a:gd name="T10" fmla="*/ 2147483647 w 53"/>
                  <a:gd name="T11" fmla="*/ 2147483647 h 66"/>
                  <a:gd name="T12" fmla="*/ 0 60000 65536"/>
                  <a:gd name="T13" fmla="*/ 0 60000 65536"/>
                  <a:gd name="T14" fmla="*/ 0 60000 65536"/>
                  <a:gd name="T15" fmla="*/ 0 60000 65536"/>
                  <a:gd name="T16" fmla="*/ 0 60000 65536"/>
                  <a:gd name="T17" fmla="*/ 0 60000 65536"/>
                  <a:gd name="T18" fmla="*/ 0 w 53"/>
                  <a:gd name="T19" fmla="*/ 0 h 66"/>
                  <a:gd name="T20" fmla="*/ 53 w 53"/>
                  <a:gd name="T21" fmla="*/ 66 h 66"/>
                </a:gdLst>
                <a:ahLst/>
                <a:cxnLst>
                  <a:cxn ang="T12">
                    <a:pos x="T0" y="T1"/>
                  </a:cxn>
                  <a:cxn ang="T13">
                    <a:pos x="T2" y="T3"/>
                  </a:cxn>
                  <a:cxn ang="T14">
                    <a:pos x="T4" y="T5"/>
                  </a:cxn>
                  <a:cxn ang="T15">
                    <a:pos x="T6" y="T7"/>
                  </a:cxn>
                  <a:cxn ang="T16">
                    <a:pos x="T8" y="T9"/>
                  </a:cxn>
                  <a:cxn ang="T17">
                    <a:pos x="T10" y="T11"/>
                  </a:cxn>
                </a:cxnLst>
                <a:rect l="T18" t="T19" r="T20" b="T21"/>
                <a:pathLst>
                  <a:path w="53" h="66">
                    <a:moveTo>
                      <a:pt x="53" y="66"/>
                    </a:moveTo>
                    <a:lnTo>
                      <a:pt x="53" y="66"/>
                    </a:lnTo>
                    <a:lnTo>
                      <a:pt x="0" y="66"/>
                    </a:lnTo>
                    <a:lnTo>
                      <a:pt x="0" y="0"/>
                    </a:lnTo>
                    <a:lnTo>
                      <a:pt x="53" y="0"/>
                    </a:lnTo>
                    <a:lnTo>
                      <a:pt x="53" y="66"/>
                    </a:lnTo>
                    <a:close/>
                  </a:path>
                </a:pathLst>
              </a:custGeom>
              <a:grpFill/>
              <a:ln w="0">
                <a:noFill/>
                <a:round/>
                <a:headEnd/>
                <a:tailEnd/>
              </a:ln>
            </p:spPr>
            <p:txBody>
              <a:bodyPr/>
              <a:lstStyle/>
              <a:p>
                <a:endParaRPr lang="zh-CN" altLang="en-US" sz="1799"/>
              </a:p>
            </p:txBody>
          </p:sp>
          <p:sp>
            <p:nvSpPr>
              <p:cNvPr id="377" name="Freeform 101"/>
              <p:cNvSpPr>
                <a:spLocks/>
              </p:cNvSpPr>
              <p:nvPr/>
            </p:nvSpPr>
            <p:spPr bwMode="auto">
              <a:xfrm>
                <a:off x="7827963" y="2519363"/>
                <a:ext cx="34925" cy="23813"/>
              </a:xfrm>
              <a:custGeom>
                <a:avLst/>
                <a:gdLst>
                  <a:gd name="T0" fmla="*/ 2147483647 w 83"/>
                  <a:gd name="T1" fmla="*/ 2147483647 h 54"/>
                  <a:gd name="T2" fmla="*/ 2147483647 w 83"/>
                  <a:gd name="T3" fmla="*/ 2147483647 h 54"/>
                  <a:gd name="T4" fmla="*/ 0 w 83"/>
                  <a:gd name="T5" fmla="*/ 2147483647 h 54"/>
                  <a:gd name="T6" fmla="*/ 0 w 83"/>
                  <a:gd name="T7" fmla="*/ 0 h 54"/>
                  <a:gd name="T8" fmla="*/ 2147483647 w 83"/>
                  <a:gd name="T9" fmla="*/ 0 h 54"/>
                  <a:gd name="T10" fmla="*/ 2147483647 w 83"/>
                  <a:gd name="T11" fmla="*/ 2147483647 h 54"/>
                  <a:gd name="T12" fmla="*/ 0 60000 65536"/>
                  <a:gd name="T13" fmla="*/ 0 60000 65536"/>
                  <a:gd name="T14" fmla="*/ 0 60000 65536"/>
                  <a:gd name="T15" fmla="*/ 0 60000 65536"/>
                  <a:gd name="T16" fmla="*/ 0 60000 65536"/>
                  <a:gd name="T17" fmla="*/ 0 60000 65536"/>
                  <a:gd name="T18" fmla="*/ 0 w 83"/>
                  <a:gd name="T19" fmla="*/ 0 h 54"/>
                  <a:gd name="T20" fmla="*/ 83 w 83"/>
                  <a:gd name="T21" fmla="*/ 54 h 54"/>
                </a:gdLst>
                <a:ahLst/>
                <a:cxnLst>
                  <a:cxn ang="T12">
                    <a:pos x="T0" y="T1"/>
                  </a:cxn>
                  <a:cxn ang="T13">
                    <a:pos x="T2" y="T3"/>
                  </a:cxn>
                  <a:cxn ang="T14">
                    <a:pos x="T4" y="T5"/>
                  </a:cxn>
                  <a:cxn ang="T15">
                    <a:pos x="T6" y="T7"/>
                  </a:cxn>
                  <a:cxn ang="T16">
                    <a:pos x="T8" y="T9"/>
                  </a:cxn>
                  <a:cxn ang="T17">
                    <a:pos x="T10" y="T11"/>
                  </a:cxn>
                </a:cxnLst>
                <a:rect l="T18" t="T19" r="T20" b="T21"/>
                <a:pathLst>
                  <a:path w="83" h="54">
                    <a:moveTo>
                      <a:pt x="83" y="54"/>
                    </a:moveTo>
                    <a:lnTo>
                      <a:pt x="83" y="54"/>
                    </a:lnTo>
                    <a:lnTo>
                      <a:pt x="0" y="54"/>
                    </a:lnTo>
                    <a:lnTo>
                      <a:pt x="0" y="0"/>
                    </a:lnTo>
                    <a:lnTo>
                      <a:pt x="83" y="0"/>
                    </a:lnTo>
                    <a:lnTo>
                      <a:pt x="83" y="54"/>
                    </a:lnTo>
                    <a:close/>
                  </a:path>
                </a:pathLst>
              </a:custGeom>
              <a:grpFill/>
              <a:ln w="0">
                <a:noFill/>
                <a:round/>
                <a:headEnd/>
                <a:tailEnd/>
              </a:ln>
            </p:spPr>
            <p:txBody>
              <a:bodyPr/>
              <a:lstStyle/>
              <a:p>
                <a:endParaRPr lang="zh-CN" altLang="en-US" sz="1799"/>
              </a:p>
            </p:txBody>
          </p:sp>
          <p:sp>
            <p:nvSpPr>
              <p:cNvPr id="378" name="Freeform 102"/>
              <p:cNvSpPr>
                <a:spLocks/>
              </p:cNvSpPr>
              <p:nvPr/>
            </p:nvSpPr>
            <p:spPr bwMode="auto">
              <a:xfrm>
                <a:off x="7867650" y="2474913"/>
                <a:ext cx="22225" cy="28575"/>
              </a:xfrm>
              <a:custGeom>
                <a:avLst/>
                <a:gdLst>
                  <a:gd name="T0" fmla="*/ 2147483647 w 53"/>
                  <a:gd name="T1" fmla="*/ 2147483647 h 67"/>
                  <a:gd name="T2" fmla="*/ 2147483647 w 53"/>
                  <a:gd name="T3" fmla="*/ 2147483647 h 67"/>
                  <a:gd name="T4" fmla="*/ 0 w 53"/>
                  <a:gd name="T5" fmla="*/ 2147483647 h 67"/>
                  <a:gd name="T6" fmla="*/ 0 w 53"/>
                  <a:gd name="T7" fmla="*/ 0 h 67"/>
                  <a:gd name="T8" fmla="*/ 2147483647 w 53"/>
                  <a:gd name="T9" fmla="*/ 0 h 67"/>
                  <a:gd name="T10" fmla="*/ 2147483647 w 53"/>
                  <a:gd name="T11" fmla="*/ 2147483647 h 67"/>
                  <a:gd name="T12" fmla="*/ 0 60000 65536"/>
                  <a:gd name="T13" fmla="*/ 0 60000 65536"/>
                  <a:gd name="T14" fmla="*/ 0 60000 65536"/>
                  <a:gd name="T15" fmla="*/ 0 60000 65536"/>
                  <a:gd name="T16" fmla="*/ 0 60000 65536"/>
                  <a:gd name="T17" fmla="*/ 0 60000 65536"/>
                  <a:gd name="T18" fmla="*/ 0 w 53"/>
                  <a:gd name="T19" fmla="*/ 0 h 67"/>
                  <a:gd name="T20" fmla="*/ 53 w 53"/>
                  <a:gd name="T21" fmla="*/ 67 h 67"/>
                </a:gdLst>
                <a:ahLst/>
                <a:cxnLst>
                  <a:cxn ang="T12">
                    <a:pos x="T0" y="T1"/>
                  </a:cxn>
                  <a:cxn ang="T13">
                    <a:pos x="T2" y="T3"/>
                  </a:cxn>
                  <a:cxn ang="T14">
                    <a:pos x="T4" y="T5"/>
                  </a:cxn>
                  <a:cxn ang="T15">
                    <a:pos x="T6" y="T7"/>
                  </a:cxn>
                  <a:cxn ang="T16">
                    <a:pos x="T8" y="T9"/>
                  </a:cxn>
                  <a:cxn ang="T17">
                    <a:pos x="T10" y="T11"/>
                  </a:cxn>
                </a:cxnLst>
                <a:rect l="T18" t="T19" r="T20" b="T21"/>
                <a:pathLst>
                  <a:path w="53" h="67">
                    <a:moveTo>
                      <a:pt x="53" y="67"/>
                    </a:moveTo>
                    <a:lnTo>
                      <a:pt x="53" y="67"/>
                    </a:lnTo>
                    <a:lnTo>
                      <a:pt x="0" y="67"/>
                    </a:lnTo>
                    <a:lnTo>
                      <a:pt x="0" y="0"/>
                    </a:lnTo>
                    <a:lnTo>
                      <a:pt x="53" y="0"/>
                    </a:lnTo>
                    <a:lnTo>
                      <a:pt x="53" y="67"/>
                    </a:lnTo>
                    <a:close/>
                  </a:path>
                </a:pathLst>
              </a:custGeom>
              <a:grpFill/>
              <a:ln w="0">
                <a:noFill/>
                <a:round/>
                <a:headEnd/>
                <a:tailEnd/>
              </a:ln>
            </p:spPr>
            <p:txBody>
              <a:bodyPr/>
              <a:lstStyle/>
              <a:p>
                <a:endParaRPr lang="zh-CN" altLang="en-US" sz="1799"/>
              </a:p>
            </p:txBody>
          </p:sp>
          <p:sp>
            <p:nvSpPr>
              <p:cNvPr id="379" name="Freeform 103"/>
              <p:cNvSpPr>
                <a:spLocks/>
              </p:cNvSpPr>
              <p:nvPr/>
            </p:nvSpPr>
            <p:spPr bwMode="auto">
              <a:xfrm>
                <a:off x="7793038" y="2463800"/>
                <a:ext cx="34925" cy="22225"/>
              </a:xfrm>
              <a:custGeom>
                <a:avLst/>
                <a:gdLst>
                  <a:gd name="T0" fmla="*/ 2147483647 w 82"/>
                  <a:gd name="T1" fmla="*/ 2147483647 h 53"/>
                  <a:gd name="T2" fmla="*/ 2147483647 w 82"/>
                  <a:gd name="T3" fmla="*/ 2147483647 h 53"/>
                  <a:gd name="T4" fmla="*/ 0 w 82"/>
                  <a:gd name="T5" fmla="*/ 2147483647 h 53"/>
                  <a:gd name="T6" fmla="*/ 0 w 82"/>
                  <a:gd name="T7" fmla="*/ 0 h 53"/>
                  <a:gd name="T8" fmla="*/ 2147483647 w 82"/>
                  <a:gd name="T9" fmla="*/ 0 h 53"/>
                  <a:gd name="T10" fmla="*/ 2147483647 w 82"/>
                  <a:gd name="T11" fmla="*/ 2147483647 h 53"/>
                  <a:gd name="T12" fmla="*/ 0 60000 65536"/>
                  <a:gd name="T13" fmla="*/ 0 60000 65536"/>
                  <a:gd name="T14" fmla="*/ 0 60000 65536"/>
                  <a:gd name="T15" fmla="*/ 0 60000 65536"/>
                  <a:gd name="T16" fmla="*/ 0 60000 65536"/>
                  <a:gd name="T17" fmla="*/ 0 60000 65536"/>
                  <a:gd name="T18" fmla="*/ 0 w 82"/>
                  <a:gd name="T19" fmla="*/ 0 h 53"/>
                  <a:gd name="T20" fmla="*/ 82 w 82"/>
                  <a:gd name="T21" fmla="*/ 53 h 53"/>
                </a:gdLst>
                <a:ahLst/>
                <a:cxnLst>
                  <a:cxn ang="T12">
                    <a:pos x="T0" y="T1"/>
                  </a:cxn>
                  <a:cxn ang="T13">
                    <a:pos x="T2" y="T3"/>
                  </a:cxn>
                  <a:cxn ang="T14">
                    <a:pos x="T4" y="T5"/>
                  </a:cxn>
                  <a:cxn ang="T15">
                    <a:pos x="T6" y="T7"/>
                  </a:cxn>
                  <a:cxn ang="T16">
                    <a:pos x="T8" y="T9"/>
                  </a:cxn>
                  <a:cxn ang="T17">
                    <a:pos x="T10" y="T11"/>
                  </a:cxn>
                </a:cxnLst>
                <a:rect l="T18" t="T19" r="T20" b="T21"/>
                <a:pathLst>
                  <a:path w="82" h="53">
                    <a:moveTo>
                      <a:pt x="82" y="53"/>
                    </a:moveTo>
                    <a:lnTo>
                      <a:pt x="82" y="53"/>
                    </a:lnTo>
                    <a:lnTo>
                      <a:pt x="0" y="53"/>
                    </a:lnTo>
                    <a:lnTo>
                      <a:pt x="0" y="0"/>
                    </a:lnTo>
                    <a:lnTo>
                      <a:pt x="82" y="0"/>
                    </a:lnTo>
                    <a:lnTo>
                      <a:pt x="82" y="53"/>
                    </a:lnTo>
                    <a:close/>
                  </a:path>
                </a:pathLst>
              </a:custGeom>
              <a:grpFill/>
              <a:ln w="0">
                <a:noFill/>
                <a:round/>
                <a:headEnd/>
                <a:tailEnd/>
              </a:ln>
            </p:spPr>
            <p:txBody>
              <a:bodyPr/>
              <a:lstStyle/>
              <a:p>
                <a:endParaRPr lang="zh-CN" altLang="en-US" sz="1799"/>
              </a:p>
            </p:txBody>
          </p:sp>
          <p:sp>
            <p:nvSpPr>
              <p:cNvPr id="380" name="Freeform 104"/>
              <p:cNvSpPr>
                <a:spLocks/>
              </p:cNvSpPr>
              <p:nvPr/>
            </p:nvSpPr>
            <p:spPr bwMode="auto">
              <a:xfrm>
                <a:off x="7754938" y="2808288"/>
                <a:ext cx="58738" cy="58738"/>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70" y="139"/>
                    </a:moveTo>
                    <a:lnTo>
                      <a:pt x="70" y="139"/>
                    </a:lnTo>
                    <a:cubicBezTo>
                      <a:pt x="31" y="139"/>
                      <a:pt x="0" y="108"/>
                      <a:pt x="0" y="70"/>
                    </a:cubicBezTo>
                    <a:cubicBezTo>
                      <a:pt x="0" y="31"/>
                      <a:pt x="31" y="0"/>
                      <a:pt x="70" y="0"/>
                    </a:cubicBezTo>
                    <a:cubicBezTo>
                      <a:pt x="108" y="0"/>
                      <a:pt x="139" y="31"/>
                      <a:pt x="139" y="70"/>
                    </a:cubicBezTo>
                    <a:cubicBezTo>
                      <a:pt x="139" y="108"/>
                      <a:pt x="108" y="139"/>
                      <a:pt x="70" y="139"/>
                    </a:cubicBezTo>
                    <a:close/>
                  </a:path>
                </a:pathLst>
              </a:custGeom>
              <a:grpFill/>
              <a:ln w="0">
                <a:noFill/>
                <a:round/>
                <a:headEnd/>
                <a:tailEnd/>
              </a:ln>
            </p:spPr>
            <p:txBody>
              <a:bodyPr/>
              <a:lstStyle/>
              <a:p>
                <a:endParaRPr lang="zh-CN" altLang="en-US" sz="1799"/>
              </a:p>
            </p:txBody>
          </p:sp>
          <p:sp>
            <p:nvSpPr>
              <p:cNvPr id="381" name="Freeform 105"/>
              <p:cNvSpPr>
                <a:spLocks/>
              </p:cNvSpPr>
              <p:nvPr/>
            </p:nvSpPr>
            <p:spPr bwMode="auto">
              <a:xfrm>
                <a:off x="7843838" y="2808288"/>
                <a:ext cx="58738" cy="58738"/>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70" y="139"/>
                    </a:moveTo>
                    <a:lnTo>
                      <a:pt x="70" y="139"/>
                    </a:lnTo>
                    <a:cubicBezTo>
                      <a:pt x="31" y="139"/>
                      <a:pt x="0" y="108"/>
                      <a:pt x="0" y="70"/>
                    </a:cubicBezTo>
                    <a:cubicBezTo>
                      <a:pt x="0" y="31"/>
                      <a:pt x="31" y="0"/>
                      <a:pt x="70" y="0"/>
                    </a:cubicBezTo>
                    <a:cubicBezTo>
                      <a:pt x="108" y="0"/>
                      <a:pt x="139" y="31"/>
                      <a:pt x="139" y="70"/>
                    </a:cubicBezTo>
                    <a:cubicBezTo>
                      <a:pt x="139" y="108"/>
                      <a:pt x="108" y="139"/>
                      <a:pt x="70" y="139"/>
                    </a:cubicBezTo>
                    <a:close/>
                  </a:path>
                </a:pathLst>
              </a:custGeom>
              <a:grpFill/>
              <a:ln w="0">
                <a:noFill/>
                <a:round/>
                <a:headEnd/>
                <a:tailEnd/>
              </a:ln>
            </p:spPr>
            <p:txBody>
              <a:bodyPr/>
              <a:lstStyle/>
              <a:p>
                <a:endParaRPr lang="zh-CN" altLang="en-US" sz="1799"/>
              </a:p>
            </p:txBody>
          </p:sp>
        </p:grpSp>
      </p:grpSp>
      <p:sp>
        <p:nvSpPr>
          <p:cNvPr id="382" name="矩形 381"/>
          <p:cNvSpPr/>
          <p:nvPr/>
        </p:nvSpPr>
        <p:spPr>
          <a:xfrm>
            <a:off x="4144280" y="2297056"/>
            <a:ext cx="2657270" cy="344702"/>
          </a:xfrm>
          <a:prstGeom prst="rect">
            <a:avLst/>
          </a:prstGeom>
        </p:spPr>
        <p:txBody>
          <a:bodyPr wrap="square" lIns="121912" tIns="60956" rIns="121912" bIns="60956">
            <a:spAutoFit/>
          </a:bodyPr>
          <a:lstStyle/>
          <a:p>
            <a:pPr algn="ctr">
              <a:lnSpc>
                <a:spcPct val="120000"/>
              </a:lnSpc>
              <a:spcBef>
                <a:spcPct val="50000"/>
              </a:spcBef>
            </a:pPr>
            <a:r>
              <a:rPr lang="en-US" altLang="zh-CN" sz="1200" kern="0" dirty="0">
                <a:solidFill>
                  <a:schemeClr val="bg1"/>
                </a:solidFill>
                <a:ea typeface="微软雅黑" pitchFamily="34" charset="-122"/>
              </a:rPr>
              <a:t>Red de </a:t>
            </a:r>
            <a:r>
              <a:rPr lang="en-US" altLang="zh-CN" sz="1200" kern="0" dirty="0" err="1">
                <a:solidFill>
                  <a:schemeClr val="bg1"/>
                </a:solidFill>
                <a:ea typeface="微软雅黑" pitchFamily="34" charset="-122"/>
              </a:rPr>
              <a:t>Educación</a:t>
            </a:r>
            <a:r>
              <a:rPr lang="en-US" altLang="zh-CN" sz="1200" kern="0" dirty="0">
                <a:solidFill>
                  <a:schemeClr val="bg1"/>
                </a:solidFill>
                <a:ea typeface="微软雅黑" pitchFamily="34" charset="-122"/>
              </a:rPr>
              <a:t> </a:t>
            </a:r>
            <a:r>
              <a:rPr lang="en-US" altLang="zh-CN" sz="1200" kern="0" dirty="0" err="1">
                <a:solidFill>
                  <a:schemeClr val="bg1"/>
                </a:solidFill>
                <a:ea typeface="微软雅黑" pitchFamily="34" charset="-122"/>
              </a:rPr>
              <a:t>Metropolitana</a:t>
            </a:r>
            <a:endParaRPr lang="en-US" altLang="zh-CN" sz="1200" kern="0" dirty="0">
              <a:solidFill>
                <a:schemeClr val="bg1"/>
              </a:solidFill>
              <a:ea typeface="微软雅黑" pitchFamily="34" charset="-122"/>
            </a:endParaRPr>
          </a:p>
        </p:txBody>
      </p:sp>
      <p:sp>
        <p:nvSpPr>
          <p:cNvPr id="6" name="矩形 5"/>
          <p:cNvSpPr/>
          <p:nvPr/>
        </p:nvSpPr>
        <p:spPr>
          <a:xfrm>
            <a:off x="994913" y="4803464"/>
            <a:ext cx="1015709" cy="461665"/>
          </a:xfrm>
          <a:prstGeom prst="rect">
            <a:avLst/>
          </a:prstGeom>
        </p:spPr>
        <p:txBody>
          <a:bodyPr wrap="square">
            <a:spAutoFit/>
          </a:bodyPr>
          <a:lstStyle/>
          <a:p>
            <a:pPr algn="ctr" defTabSz="1068747" fontAlgn="ctr">
              <a:defRPr/>
            </a:pPr>
            <a:r>
              <a:rPr lang="en-US" altLang="zh-CN" sz="1200" b="1" kern="0" dirty="0">
                <a:solidFill>
                  <a:schemeClr val="bg1"/>
                </a:solidFill>
                <a:ea typeface="微软雅黑" pitchFamily="34" charset="-122"/>
              </a:rPr>
              <a:t>Wireless campus</a:t>
            </a:r>
          </a:p>
        </p:txBody>
      </p:sp>
      <p:sp>
        <p:nvSpPr>
          <p:cNvPr id="388" name="1901948586"/>
          <p:cNvSpPr>
            <a:spLocks noChangeArrowheads="1"/>
          </p:cNvSpPr>
          <p:nvPr/>
        </p:nvSpPr>
        <p:spPr bwMode="auto">
          <a:xfrm>
            <a:off x="2302437" y="4224046"/>
            <a:ext cx="1075652" cy="184666"/>
          </a:xfrm>
          <a:prstGeom prst="rect">
            <a:avLst/>
          </a:prstGeom>
          <a:noFill/>
          <a:ln w="9525" algn="ctr">
            <a:noFill/>
            <a:miter lim="800000"/>
            <a:headEnd/>
            <a:tailEnd/>
          </a:ln>
        </p:spPr>
        <p:txBody>
          <a:bodyPr wrap="square" lIns="0" tIns="0" rIns="0" bIns="0">
            <a:spAutoFit/>
          </a:bodyPr>
          <a:lstStyle/>
          <a:p>
            <a:pPr algn="ctr" defTabSz="1068747" fontAlgn="ctr">
              <a:defRPr/>
            </a:pPr>
            <a:r>
              <a:rPr lang="en-US" altLang="zh-CN" sz="1200" b="1" kern="0" dirty="0">
                <a:solidFill>
                  <a:schemeClr val="bg1"/>
                </a:solidFill>
                <a:cs typeface="Arial Unicode MS" pitchFamily="34" charset="-122"/>
              </a:rPr>
              <a:t>Green campus</a:t>
            </a:r>
          </a:p>
        </p:txBody>
      </p:sp>
      <p:pic>
        <p:nvPicPr>
          <p:cNvPr id="5" name="图片 4"/>
          <p:cNvPicPr>
            <a:picLocks noChangeAspect="1"/>
          </p:cNvPicPr>
          <p:nvPr/>
        </p:nvPicPr>
        <p:blipFill>
          <a:blip r:embed="rId7"/>
          <a:stretch>
            <a:fillRect/>
          </a:stretch>
        </p:blipFill>
        <p:spPr>
          <a:xfrm>
            <a:off x="2731441" y="978372"/>
            <a:ext cx="1950449" cy="1143073"/>
          </a:xfrm>
          <a:prstGeom prst="rect">
            <a:avLst/>
          </a:prstGeom>
          <a:ln>
            <a:noFill/>
          </a:ln>
          <a:effectLst>
            <a:softEdge rad="112500"/>
          </a:effectLst>
        </p:spPr>
      </p:pic>
      <p:cxnSp>
        <p:nvCxnSpPr>
          <p:cNvPr id="16" name="直接连接符 15"/>
          <p:cNvCxnSpPr/>
          <p:nvPr/>
        </p:nvCxnSpPr>
        <p:spPr>
          <a:xfrm>
            <a:off x="2246541" y="1804378"/>
            <a:ext cx="0" cy="731329"/>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26" name="直接连接符 425"/>
          <p:cNvCxnSpPr/>
          <p:nvPr/>
        </p:nvCxnSpPr>
        <p:spPr>
          <a:xfrm rot="16200000">
            <a:off x="2520789" y="1530130"/>
            <a:ext cx="0" cy="548497"/>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28" name="直接连接符 427"/>
          <p:cNvCxnSpPr/>
          <p:nvPr/>
        </p:nvCxnSpPr>
        <p:spPr>
          <a:xfrm rot="16200000">
            <a:off x="2833177" y="3559076"/>
            <a:ext cx="0" cy="1188411"/>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29" name="直接连接符 428"/>
          <p:cNvCxnSpPr/>
          <p:nvPr/>
        </p:nvCxnSpPr>
        <p:spPr>
          <a:xfrm>
            <a:off x="5355987" y="1713774"/>
            <a:ext cx="0" cy="548497"/>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30" name="直接连接符 429"/>
          <p:cNvCxnSpPr/>
          <p:nvPr/>
        </p:nvCxnSpPr>
        <p:spPr>
          <a:xfrm rot="16200000">
            <a:off x="4984199" y="1328506"/>
            <a:ext cx="0" cy="777037"/>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31" name="直接连接符 430"/>
          <p:cNvCxnSpPr/>
          <p:nvPr/>
        </p:nvCxnSpPr>
        <p:spPr>
          <a:xfrm>
            <a:off x="2246541" y="3209103"/>
            <a:ext cx="0" cy="969011"/>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32" name="直接连接符 431"/>
          <p:cNvCxnSpPr/>
          <p:nvPr/>
        </p:nvCxnSpPr>
        <p:spPr>
          <a:xfrm rot="16200000">
            <a:off x="4542383" y="3339679"/>
            <a:ext cx="0" cy="1627208"/>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433" name="Line 9"/>
          <p:cNvSpPr>
            <a:spLocks noChangeShapeType="1"/>
          </p:cNvSpPr>
          <p:nvPr/>
        </p:nvSpPr>
        <p:spPr bwMode="auto">
          <a:xfrm rot="5400000" flipH="1" flipV="1">
            <a:off x="5226749" y="4058320"/>
            <a:ext cx="216839" cy="0"/>
          </a:xfrm>
          <a:prstGeom prst="line">
            <a:avLst/>
          </a:prstGeom>
          <a:noFill/>
          <a:ln w="19050">
            <a:solidFill>
              <a:srgbClr val="00B0F0"/>
            </a:solidFill>
            <a:round/>
            <a:headEnd/>
            <a:tailEnd/>
          </a:ln>
          <a:effectLst/>
        </p:spPr>
        <p:txBody>
          <a:bodyPr wrap="square" lIns="79169" tIns="39586" rIns="79169" bIns="39586">
            <a:spAutoFit/>
          </a:bodyPr>
          <a:lstStyle/>
          <a:p>
            <a:pPr defTabSz="1219180"/>
            <a:endParaRPr lang="zh-CN" altLang="en-US" sz="2399" kern="0" dirty="0">
              <a:solidFill>
                <a:schemeClr val="bg1"/>
              </a:solidFill>
              <a:ea typeface="华文细黑"/>
              <a:cs typeface="Arial" pitchFamily="34" charset="0"/>
            </a:endParaRPr>
          </a:p>
        </p:txBody>
      </p:sp>
      <p:sp>
        <p:nvSpPr>
          <p:cNvPr id="434" name="Line 9"/>
          <p:cNvSpPr>
            <a:spLocks noChangeShapeType="1"/>
          </p:cNvSpPr>
          <p:nvPr/>
        </p:nvSpPr>
        <p:spPr bwMode="auto">
          <a:xfrm rot="5400000" flipH="1" flipV="1">
            <a:off x="3445588" y="4380471"/>
            <a:ext cx="216839" cy="0"/>
          </a:xfrm>
          <a:prstGeom prst="line">
            <a:avLst/>
          </a:prstGeom>
          <a:noFill/>
          <a:ln w="19050">
            <a:solidFill>
              <a:srgbClr val="00B0F0"/>
            </a:solidFill>
            <a:round/>
            <a:headEnd/>
            <a:tailEnd/>
          </a:ln>
          <a:effectLst/>
        </p:spPr>
        <p:txBody>
          <a:bodyPr wrap="square" lIns="79169" tIns="39586" rIns="79169" bIns="39586">
            <a:spAutoFit/>
          </a:bodyPr>
          <a:lstStyle/>
          <a:p>
            <a:pPr defTabSz="1219180"/>
            <a:endParaRPr lang="zh-CN" altLang="en-US" sz="2399" kern="0" dirty="0">
              <a:solidFill>
                <a:schemeClr val="bg1"/>
              </a:solidFill>
              <a:ea typeface="华文细黑"/>
              <a:cs typeface="Arial" pitchFamily="34" charset="0"/>
            </a:endParaRPr>
          </a:p>
        </p:txBody>
      </p:sp>
      <p:grpSp>
        <p:nvGrpSpPr>
          <p:cNvPr id="17" name="组合 16"/>
          <p:cNvGrpSpPr/>
          <p:nvPr/>
        </p:nvGrpSpPr>
        <p:grpSpPr>
          <a:xfrm>
            <a:off x="7011522" y="1728699"/>
            <a:ext cx="4643286" cy="1264829"/>
            <a:chOff x="7425472" y="1117488"/>
            <a:chExt cx="4644495" cy="1265158"/>
          </a:xfrm>
        </p:grpSpPr>
        <p:sp>
          <p:nvSpPr>
            <p:cNvPr id="436" name="Text Box 20"/>
            <p:cNvSpPr txBox="1">
              <a:spLocks noChangeArrowheads="1"/>
            </p:cNvSpPr>
            <p:nvPr/>
          </p:nvSpPr>
          <p:spPr bwMode="gray">
            <a:xfrm>
              <a:off x="7425472" y="1117488"/>
              <a:ext cx="4476639" cy="1221104"/>
            </a:xfrm>
            <a:prstGeom prst="rect">
              <a:avLst/>
            </a:prstGeom>
            <a:noFill/>
            <a:ln>
              <a:solidFill>
                <a:srgbClr val="00B0F0"/>
              </a:solidFill>
            </a:ln>
            <a:effectLst/>
          </p:spPr>
          <p:txBody>
            <a:bodyPr vert="horz" wrap="square" lIns="121916" tIns="60958" rIns="121916" bIns="60958" numCol="1" rtlCol="0" anchor="ctr" anchorCtr="0" compatLnSpc="1">
              <a:prstTxWarp prst="textNoShape">
                <a:avLst/>
              </a:prstTxWarp>
            </a:bodyPr>
            <a:lstStyle>
              <a:defPPr>
                <a:defRPr lang="zh-CN"/>
              </a:defPPr>
              <a:lvl1pPr marL="176202" indent="-176202" algn="ctr" defTabSz="914339">
                <a:lnSpc>
                  <a:spcPct val="120000"/>
                </a:lnSpc>
                <a:defRPr sz="1400" kern="0">
                  <a:solidFill>
                    <a:schemeClr val="bg1"/>
                  </a:solidFill>
                  <a:ea typeface="宋体" charset="-122"/>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endParaRPr lang="en-US" altLang="zh-CN" sz="1399" dirty="0"/>
            </a:p>
          </p:txBody>
        </p:sp>
        <p:sp>
          <p:nvSpPr>
            <p:cNvPr id="437" name="矩形 436"/>
            <p:cNvSpPr/>
            <p:nvPr/>
          </p:nvSpPr>
          <p:spPr bwMode="auto">
            <a:xfrm>
              <a:off x="7425472" y="1119467"/>
              <a:ext cx="4476635" cy="396000"/>
            </a:xfrm>
            <a:prstGeom prst="rect">
              <a:avLst/>
            </a:prstGeom>
            <a:solidFill>
              <a:schemeClr val="accent5">
                <a:lumMod val="75000"/>
              </a:schemeClr>
            </a:solidFill>
            <a:ln>
              <a:noFill/>
            </a:ln>
            <a:effectLst/>
          </p:spPr>
          <p:txBody>
            <a:bodyPr vert="horz" wrap="square" lIns="121916" tIns="60958" rIns="121916" bIns="60958" numCol="1" rtlCol="0" anchor="ctr" anchorCtr="0" compatLnSpc="1">
              <a:prstTxWarp prst="textNoShape">
                <a:avLst/>
              </a:prstTxWarp>
            </a:bodyPr>
            <a:lstStyle/>
            <a:p>
              <a:pPr marL="176164" indent="-176164" algn="ctr" defTabSz="914141">
                <a:lnSpc>
                  <a:spcPct val="120000"/>
                </a:lnSpc>
              </a:pPr>
              <a:r>
                <a:rPr lang="en-US" altLang="zh-CN" sz="1399" kern="0" dirty="0">
                  <a:solidFill>
                    <a:schemeClr val="bg1"/>
                  </a:solidFill>
                  <a:ea typeface="宋体" charset="-122"/>
                </a:rPr>
                <a:t>Red de </a:t>
              </a:r>
              <a:r>
                <a:rPr lang="en-US" altLang="zh-CN" sz="1399" kern="0" dirty="0" err="1">
                  <a:solidFill>
                    <a:schemeClr val="bg1"/>
                  </a:solidFill>
                  <a:ea typeface="宋体" charset="-122"/>
                </a:rPr>
                <a:t>Educación</a:t>
              </a:r>
              <a:r>
                <a:rPr lang="en-US" altLang="zh-CN" sz="1399" kern="0" dirty="0">
                  <a:solidFill>
                    <a:schemeClr val="bg1"/>
                  </a:solidFill>
                  <a:ea typeface="宋体" charset="-122"/>
                </a:rPr>
                <a:t> </a:t>
              </a:r>
              <a:r>
                <a:rPr lang="en-US" altLang="zh-CN" sz="1399" kern="0" dirty="0" err="1">
                  <a:solidFill>
                    <a:schemeClr val="bg1"/>
                  </a:solidFill>
                  <a:ea typeface="宋体" charset="-122"/>
                </a:rPr>
                <a:t>Metropolitana</a:t>
              </a:r>
              <a:endParaRPr lang="en-US" altLang="zh-CN" sz="1399" kern="0" dirty="0">
                <a:solidFill>
                  <a:schemeClr val="bg1"/>
                </a:solidFill>
                <a:ea typeface="宋体" charset="-122"/>
              </a:endParaRPr>
            </a:p>
          </p:txBody>
        </p:sp>
        <p:sp>
          <p:nvSpPr>
            <p:cNvPr id="438" name="TextBox 131"/>
            <p:cNvSpPr txBox="1"/>
            <p:nvPr/>
          </p:nvSpPr>
          <p:spPr>
            <a:xfrm>
              <a:off x="7481085" y="1487474"/>
              <a:ext cx="4588882" cy="895172"/>
            </a:xfrm>
            <a:prstGeom prst="rect">
              <a:avLst/>
            </a:prstGeom>
            <a:noFill/>
            <a:ln>
              <a:noFill/>
            </a:ln>
            <a:effectLst/>
          </p:spPr>
          <p:txBody>
            <a:bodyPr vert="horz" wrap="square" lIns="121916" tIns="60958" rIns="121916" bIns="60958" numCol="1" rtlCol="0" anchor="ctr" anchorCtr="0" compatLnSpc="1">
              <a:prstTxWarp prst="textNoShape">
                <a:avLst/>
              </a:prstTxWarp>
            </a:bodyPr>
            <a:lstStyle>
              <a:defPPr>
                <a:defRPr lang="zh-CN"/>
              </a:defPPr>
              <a:lvl1pPr marL="176202" indent="-176202" algn="ctr" defTabSz="914339">
                <a:lnSpc>
                  <a:spcPct val="120000"/>
                </a:lnSpc>
                <a:defRPr sz="1400" kern="0">
                  <a:solidFill>
                    <a:schemeClr val="bg1"/>
                  </a:solidFill>
                  <a:ea typeface="宋体" charset="-122"/>
                </a:defRPr>
              </a:lvl1pPr>
            </a:lstStyle>
            <a:p>
              <a:pPr marL="285688" indent="-285688" algn="l">
                <a:lnSpc>
                  <a:spcPct val="130000"/>
                </a:lnSpc>
                <a:buFont typeface="Arial" panose="020B0604020202020204" pitchFamily="34" charset="0"/>
                <a:buChar char="•"/>
              </a:pPr>
              <a:endParaRPr lang="en-US" altLang="zh-CN" sz="1250" dirty="0" smtClean="0">
                <a:latin typeface="+mj-lt"/>
              </a:endParaRPr>
            </a:p>
            <a:p>
              <a:pPr marL="285688" indent="-285688" algn="l">
                <a:lnSpc>
                  <a:spcPct val="130000"/>
                </a:lnSpc>
                <a:buFont typeface="Arial" panose="020B0604020202020204" pitchFamily="34" charset="0"/>
                <a:buChar char="•"/>
              </a:pPr>
              <a:r>
                <a:rPr lang="en-US" altLang="zh-CN" sz="1250" dirty="0" err="1" smtClean="0">
                  <a:latin typeface="+mj-lt"/>
                </a:rPr>
                <a:t>Interconexión</a:t>
              </a:r>
              <a:r>
                <a:rPr lang="en-US" altLang="zh-CN" sz="1250" dirty="0" smtClean="0">
                  <a:latin typeface="+mj-lt"/>
                </a:rPr>
                <a:t> </a:t>
              </a:r>
              <a:r>
                <a:rPr lang="en-US" altLang="zh-CN" sz="1250" dirty="0" err="1">
                  <a:latin typeface="+mj-lt"/>
                </a:rPr>
                <a:t>fiable</a:t>
              </a:r>
              <a:r>
                <a:rPr lang="en-US" altLang="zh-CN" sz="1250" dirty="0">
                  <a:latin typeface="+mj-lt"/>
                </a:rPr>
                <a:t> con </a:t>
              </a:r>
              <a:r>
                <a:rPr lang="en-US" altLang="zh-CN" sz="1250" dirty="0" err="1">
                  <a:latin typeface="+mj-lt"/>
                </a:rPr>
                <a:t>organizaciones</a:t>
              </a:r>
              <a:r>
                <a:rPr lang="en-US" altLang="zh-CN" sz="1250" dirty="0">
                  <a:latin typeface="+mj-lt"/>
                </a:rPr>
                <a:t> de </a:t>
              </a:r>
              <a:r>
                <a:rPr lang="en-US" altLang="zh-CN" sz="1250" dirty="0" err="1">
                  <a:latin typeface="+mj-lt"/>
                </a:rPr>
                <a:t>educación</a:t>
              </a:r>
              <a:r>
                <a:rPr lang="en-US" altLang="zh-CN" sz="1250" dirty="0">
                  <a:latin typeface="+mj-lt"/>
                </a:rPr>
                <a:t> </a:t>
              </a:r>
              <a:r>
                <a:rPr lang="en-US" altLang="zh-CN" sz="1250" dirty="0" err="1">
                  <a:latin typeface="+mj-lt"/>
                </a:rPr>
                <a:t>administrativas</a:t>
              </a:r>
              <a:endParaRPr lang="zh-CN" altLang="en-US" sz="1250" dirty="0">
                <a:latin typeface="+mj-lt"/>
              </a:endParaRPr>
            </a:p>
            <a:p>
              <a:pPr marL="285688" indent="-285688" algn="l">
                <a:lnSpc>
                  <a:spcPct val="130000"/>
                </a:lnSpc>
                <a:buFont typeface="Arial" panose="020B0604020202020204" pitchFamily="34" charset="0"/>
                <a:buChar char="•"/>
              </a:pPr>
              <a:r>
                <a:rPr lang="en-US" altLang="zh-CN" sz="1250" dirty="0" err="1">
                  <a:latin typeface="+mj-lt"/>
                </a:rPr>
                <a:t>Servicios</a:t>
              </a:r>
              <a:r>
                <a:rPr lang="en-US" altLang="zh-CN" sz="1250" dirty="0">
                  <a:latin typeface="+mj-lt"/>
                </a:rPr>
                <a:t> VPN </a:t>
              </a:r>
              <a:r>
                <a:rPr lang="en-US" altLang="zh-CN" sz="1250" dirty="0" err="1">
                  <a:latin typeface="+mj-lt"/>
                </a:rPr>
                <a:t>asegura</a:t>
              </a:r>
              <a:r>
                <a:rPr lang="en-US" altLang="zh-CN" sz="1250" dirty="0">
                  <a:latin typeface="+mj-lt"/>
                </a:rPr>
                <a:t> la </a:t>
              </a:r>
              <a:r>
                <a:rPr lang="en-US" altLang="zh-CN" sz="1250" dirty="0" err="1">
                  <a:latin typeface="+mj-lt"/>
                </a:rPr>
                <a:t>calidad</a:t>
              </a:r>
              <a:r>
                <a:rPr lang="en-US" altLang="zh-CN" sz="1250" dirty="0">
                  <a:latin typeface="+mj-lt"/>
                </a:rPr>
                <a:t> de </a:t>
              </a:r>
              <a:r>
                <a:rPr lang="en-US" altLang="zh-CN" sz="1250" dirty="0" err="1">
                  <a:latin typeface="+mj-lt"/>
                </a:rPr>
                <a:t>servicio</a:t>
              </a:r>
              <a:r>
                <a:rPr lang="en-US" altLang="zh-CN" sz="1250" dirty="0">
                  <a:latin typeface="+mj-lt"/>
                </a:rPr>
                <a:t> de la </a:t>
              </a:r>
              <a:r>
                <a:rPr lang="en-US" altLang="zh-CN" sz="1250" dirty="0" err="1">
                  <a:latin typeface="+mj-lt"/>
                </a:rPr>
                <a:t>plataforma</a:t>
              </a:r>
              <a:endParaRPr lang="zh-CN" altLang="en-US" sz="1250" dirty="0">
                <a:latin typeface="+mj-lt"/>
              </a:endParaRPr>
            </a:p>
          </p:txBody>
        </p:sp>
      </p:grpSp>
      <p:sp>
        <p:nvSpPr>
          <p:cNvPr id="156" name="Text Box 20"/>
          <p:cNvSpPr txBox="1">
            <a:spLocks noChangeArrowheads="1"/>
          </p:cNvSpPr>
          <p:nvPr/>
        </p:nvSpPr>
        <p:spPr bwMode="gray">
          <a:xfrm>
            <a:off x="7022426" y="3349231"/>
            <a:ext cx="4451121" cy="940307"/>
          </a:xfrm>
          <a:prstGeom prst="rect">
            <a:avLst/>
          </a:prstGeom>
          <a:noFill/>
          <a:ln w="19050">
            <a:solidFill>
              <a:srgbClr val="00B0F0"/>
            </a:solidFill>
            <a:headEnd/>
            <a:tailEnd/>
          </a:ln>
          <a:effectLst/>
          <a:scene3d>
            <a:camera prst="orthographicFront"/>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16841" tIns="8421" rIns="16841" bIns="8421" anchor="ctr" anchorCtr="0">
            <a:noAutofit/>
          </a:bodyPr>
          <a:lstStyle>
            <a:defPPr>
              <a:defRPr lang="zh-CN"/>
            </a:defPPr>
            <a:lvl1pPr algn="ctr" eaLnBrk="0" hangingPunct="0">
              <a:buClr>
                <a:srgbClr val="CC9900"/>
              </a:buClr>
              <a:buFont typeface="Wingdings" pitchFamily="2" charset="2"/>
              <a:buNone/>
              <a:defRPr sz="1800">
                <a:solidFill>
                  <a:schemeClr val="bg1"/>
                </a:solidFill>
                <a:latin typeface="+mj-lt"/>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ltLang="zh-CN" sz="1599" dirty="0">
              <a:latin typeface="Calibri" panose="020F0502020204030204" pitchFamily="34" charset="0"/>
            </a:endParaRPr>
          </a:p>
        </p:txBody>
      </p:sp>
      <p:sp>
        <p:nvSpPr>
          <p:cNvPr id="157" name="矩形 156"/>
          <p:cNvSpPr/>
          <p:nvPr/>
        </p:nvSpPr>
        <p:spPr bwMode="auto">
          <a:xfrm>
            <a:off x="7011522" y="3237485"/>
            <a:ext cx="4475469" cy="354311"/>
          </a:xfrm>
          <a:prstGeom prst="rect">
            <a:avLst/>
          </a:prstGeom>
          <a:solidFill>
            <a:schemeClr val="accent5">
              <a:lumMod val="75000"/>
            </a:schemeClr>
          </a:solidFill>
          <a:ln>
            <a:noFill/>
          </a:ln>
          <a:effectLst/>
        </p:spPr>
        <p:txBody>
          <a:bodyPr vert="horz" wrap="square" lIns="121916" tIns="60958" rIns="121916" bIns="60958" numCol="1" rtlCol="0" anchor="ctr" anchorCtr="0" compatLnSpc="1">
            <a:prstTxWarp prst="textNoShape">
              <a:avLst/>
            </a:prstTxWarp>
          </a:bodyPr>
          <a:lstStyle/>
          <a:p>
            <a:pPr marL="176164" indent="-176164" algn="ctr" defTabSz="914141">
              <a:lnSpc>
                <a:spcPct val="120000"/>
              </a:lnSpc>
            </a:pPr>
            <a:r>
              <a:rPr lang="en-US" altLang="zh-CN" sz="1399" kern="0" dirty="0">
                <a:solidFill>
                  <a:schemeClr val="bg1"/>
                </a:solidFill>
                <a:ea typeface="宋体" charset="-122"/>
                <a:sym typeface="Arial" panose="020B0604020202020204" pitchFamily="34" charset="0"/>
              </a:rPr>
              <a:t>Green Campus</a:t>
            </a:r>
            <a:endParaRPr lang="zh-CN" altLang="en-US" sz="1399" kern="0" dirty="0">
              <a:solidFill>
                <a:schemeClr val="bg1"/>
              </a:solidFill>
              <a:ea typeface="宋体" charset="-122"/>
            </a:endParaRPr>
          </a:p>
        </p:txBody>
      </p:sp>
      <p:sp>
        <p:nvSpPr>
          <p:cNvPr id="158" name="矩形 157"/>
          <p:cNvSpPr/>
          <p:nvPr/>
        </p:nvSpPr>
        <p:spPr>
          <a:xfrm>
            <a:off x="7100258" y="3660596"/>
            <a:ext cx="4547733" cy="812145"/>
          </a:xfrm>
          <a:prstGeom prst="rect">
            <a:avLst/>
          </a:prstGeom>
        </p:spPr>
        <p:txBody>
          <a:bodyPr wrap="square">
            <a:spAutoFit/>
          </a:bodyPr>
          <a:lstStyle/>
          <a:p>
            <a:pPr marL="285688" lvl="1" indent="-285688" defTabSz="914141" fontAlgn="ctr">
              <a:lnSpc>
                <a:spcPct val="120000"/>
              </a:lnSpc>
              <a:buFont typeface="Arial" panose="020B0604020202020204" pitchFamily="34" charset="0"/>
              <a:buChar char="•"/>
            </a:pPr>
            <a:r>
              <a:rPr lang="en-US" altLang="zh-CN" sz="1299" kern="0" dirty="0" err="1">
                <a:solidFill>
                  <a:schemeClr val="bg1"/>
                </a:solidFill>
                <a:latin typeface="+mj-lt"/>
                <a:ea typeface="宋体" charset="-122"/>
              </a:rPr>
              <a:t>Acceso</a:t>
            </a:r>
            <a:r>
              <a:rPr lang="en-US" altLang="zh-CN" sz="1299" kern="0" dirty="0">
                <a:solidFill>
                  <a:schemeClr val="bg1"/>
                </a:solidFill>
                <a:latin typeface="+mj-lt"/>
                <a:ea typeface="宋体" charset="-122"/>
              </a:rPr>
              <a:t> Control  a la red de Campus, </a:t>
            </a:r>
            <a:r>
              <a:rPr lang="en-US" altLang="zh-CN" sz="1299" kern="0" dirty="0" err="1">
                <a:solidFill>
                  <a:schemeClr val="bg1"/>
                </a:solidFill>
                <a:latin typeface="+mj-lt"/>
                <a:ea typeface="宋体" charset="-122"/>
              </a:rPr>
              <a:t>Prevención</a:t>
            </a:r>
            <a:r>
              <a:rPr lang="en-US" altLang="zh-CN" sz="1299" kern="0" dirty="0">
                <a:solidFill>
                  <a:schemeClr val="bg1"/>
                </a:solidFill>
                <a:latin typeface="+mj-lt"/>
                <a:ea typeface="宋体" charset="-122"/>
              </a:rPr>
              <a:t> de </a:t>
            </a:r>
            <a:r>
              <a:rPr lang="en-US" altLang="zh-CN" sz="1299" kern="0" dirty="0" err="1">
                <a:solidFill>
                  <a:schemeClr val="bg1"/>
                </a:solidFill>
                <a:latin typeface="+mj-lt"/>
                <a:ea typeface="宋体" charset="-122"/>
              </a:rPr>
              <a:t>amenazas</a:t>
            </a:r>
            <a:r>
              <a:rPr lang="en-US" altLang="zh-CN" sz="1299" kern="0" dirty="0">
                <a:solidFill>
                  <a:schemeClr val="bg1"/>
                </a:solidFill>
                <a:latin typeface="+mj-lt"/>
                <a:ea typeface="宋体" charset="-122"/>
              </a:rPr>
              <a:t> </a:t>
            </a:r>
            <a:r>
              <a:rPr lang="en-US" altLang="zh-CN" sz="1299" kern="0" dirty="0" err="1">
                <a:solidFill>
                  <a:schemeClr val="bg1"/>
                </a:solidFill>
                <a:latin typeface="+mj-lt"/>
                <a:ea typeface="宋体" charset="-122"/>
              </a:rPr>
              <a:t>en</a:t>
            </a:r>
            <a:r>
              <a:rPr lang="en-US" altLang="zh-CN" sz="1299" kern="0" dirty="0">
                <a:solidFill>
                  <a:schemeClr val="bg1"/>
                </a:solidFill>
                <a:latin typeface="+mj-lt"/>
                <a:ea typeface="宋体" charset="-122"/>
              </a:rPr>
              <a:t> Internet, y </a:t>
            </a:r>
            <a:r>
              <a:rPr lang="en-US" altLang="zh-CN" sz="1299" kern="0" dirty="0" err="1">
                <a:solidFill>
                  <a:schemeClr val="bg1"/>
                </a:solidFill>
                <a:latin typeface="+mj-lt"/>
                <a:ea typeface="宋体" charset="-122"/>
              </a:rPr>
              <a:t>servicio</a:t>
            </a:r>
            <a:r>
              <a:rPr lang="en-US" altLang="zh-CN" sz="1299" kern="0" dirty="0">
                <a:solidFill>
                  <a:schemeClr val="bg1"/>
                </a:solidFill>
                <a:latin typeface="+mj-lt"/>
                <a:ea typeface="宋体" charset="-122"/>
              </a:rPr>
              <a:t> </a:t>
            </a:r>
            <a:r>
              <a:rPr lang="en-US" altLang="zh-CN" sz="1299" kern="0" dirty="0" err="1">
                <a:solidFill>
                  <a:schemeClr val="bg1"/>
                </a:solidFill>
                <a:latin typeface="+mj-lt"/>
                <a:ea typeface="宋体" charset="-122"/>
              </a:rPr>
              <a:t>seguro</a:t>
            </a:r>
            <a:r>
              <a:rPr lang="en-US" altLang="zh-CN" sz="1299" kern="0" dirty="0">
                <a:solidFill>
                  <a:schemeClr val="bg1"/>
                </a:solidFill>
                <a:latin typeface="+mj-lt"/>
                <a:ea typeface="宋体" charset="-122"/>
              </a:rPr>
              <a:t> </a:t>
            </a:r>
            <a:r>
              <a:rPr lang="en-US" altLang="zh-CN" sz="1299" kern="0" dirty="0" err="1">
                <a:solidFill>
                  <a:schemeClr val="bg1"/>
                </a:solidFill>
                <a:latin typeface="+mj-lt"/>
                <a:ea typeface="宋体" charset="-122"/>
              </a:rPr>
              <a:t>bajo</a:t>
            </a:r>
            <a:r>
              <a:rPr lang="en-US" altLang="zh-CN" sz="1299" kern="0" dirty="0">
                <a:solidFill>
                  <a:schemeClr val="bg1"/>
                </a:solidFill>
                <a:latin typeface="+mj-lt"/>
                <a:ea typeface="宋体" charset="-122"/>
              </a:rPr>
              <a:t> </a:t>
            </a:r>
            <a:r>
              <a:rPr lang="en-US" altLang="zh-CN" sz="1299" kern="0" dirty="0" err="1">
                <a:solidFill>
                  <a:schemeClr val="bg1"/>
                </a:solidFill>
                <a:latin typeface="+mj-lt"/>
                <a:ea typeface="宋体" charset="-122"/>
              </a:rPr>
              <a:t>modelo</a:t>
            </a:r>
            <a:r>
              <a:rPr lang="en-US" altLang="zh-CN" sz="1299" kern="0" dirty="0">
                <a:solidFill>
                  <a:schemeClr val="bg1"/>
                </a:solidFill>
                <a:latin typeface="+mj-lt"/>
                <a:ea typeface="宋体" charset="-122"/>
              </a:rPr>
              <a:t> BYOD</a:t>
            </a:r>
          </a:p>
          <a:p>
            <a:pPr marL="285688" lvl="1" indent="-285688" defTabSz="914141" fontAlgn="ctr">
              <a:lnSpc>
                <a:spcPct val="120000"/>
              </a:lnSpc>
              <a:buFont typeface="Arial" panose="020B0604020202020204" pitchFamily="34" charset="0"/>
              <a:buChar char="•"/>
            </a:pPr>
            <a:endParaRPr lang="en-US" altLang="zh-CN" sz="1299" kern="0" dirty="0">
              <a:solidFill>
                <a:schemeClr val="bg1"/>
              </a:solidFill>
              <a:latin typeface="+mj-lt"/>
              <a:ea typeface="宋体" charset="-122"/>
            </a:endParaRPr>
          </a:p>
        </p:txBody>
      </p:sp>
      <p:pic>
        <p:nvPicPr>
          <p:cNvPr id="148" name="Imagen 147">
            <a:extLst>
              <a:ext uri="{FF2B5EF4-FFF2-40B4-BE49-F238E27FC236}">
                <a16:creationId xmlns:a16="http://schemas.microsoft.com/office/drawing/2014/main" id="{5A89A802-4C13-8D43-9591-AB5316624BC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10879" y="264176"/>
            <a:ext cx="1388533" cy="355600"/>
          </a:xfrm>
          <a:prstGeom prst="rect">
            <a:avLst/>
          </a:prstGeom>
        </p:spPr>
      </p:pic>
      <p:sp>
        <p:nvSpPr>
          <p:cNvPr id="149" name="Marcador de número de diapositiva 1"/>
          <p:cNvSpPr txBox="1">
            <a:spLocks/>
          </p:cNvSpPr>
          <p:nvPr/>
        </p:nvSpPr>
        <p:spPr>
          <a:xfrm>
            <a:off x="11704622" y="6458134"/>
            <a:ext cx="487378" cy="48134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dirty="0" smtClean="0">
                <a:solidFill>
                  <a:schemeClr val="bg1"/>
                </a:solidFill>
              </a:rPr>
              <a:t>51</a:t>
            </a:r>
            <a:endParaRPr lang="en-US" sz="2000" dirty="0">
              <a:solidFill>
                <a:schemeClr val="bg1"/>
              </a:solidFill>
            </a:endParaRPr>
          </a:p>
        </p:txBody>
      </p:sp>
    </p:spTree>
    <p:extLst>
      <p:ext uri="{BB962C8B-B14F-4D97-AF65-F5344CB8AC3E}">
        <p14:creationId xmlns:p14="http://schemas.microsoft.com/office/powerpoint/2010/main" val="3363411930"/>
      </p:ext>
    </p:extLst>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3" name="Marcador de número de diapositiva 1"/>
          <p:cNvSpPr txBox="1">
            <a:spLocks/>
          </p:cNvSpPr>
          <p:nvPr/>
        </p:nvSpPr>
        <p:spPr>
          <a:xfrm>
            <a:off x="11704622" y="6458134"/>
            <a:ext cx="487378" cy="48134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dirty="0" smtClean="0">
                <a:solidFill>
                  <a:schemeClr val="bg1"/>
                </a:solidFill>
              </a:rPr>
              <a:t>52</a:t>
            </a:r>
            <a:endParaRPr lang="en-US" sz="2000" dirty="0">
              <a:solidFill>
                <a:schemeClr val="bg1"/>
              </a:solidFill>
            </a:endParaRPr>
          </a:p>
        </p:txBody>
      </p:sp>
      <p:pic>
        <p:nvPicPr>
          <p:cNvPr id="4" name="Imagen 3" descr="Imagen que contiene Texto&#10;&#10;Descripción generada automáticamente">
            <a:extLst>
              <a:ext uri="{FF2B5EF4-FFF2-40B4-BE49-F238E27FC236}">
                <a16:creationId xmlns:a16="http://schemas.microsoft.com/office/drawing/2014/main" id="{F880A9AD-AB6C-C247-A8D2-828D09F4BA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0161" y="112384"/>
            <a:ext cx="2389816" cy="955926"/>
          </a:xfrm>
          <a:prstGeom prst="rect">
            <a:avLst/>
          </a:prstGeom>
        </p:spPr>
      </p:pic>
      <p:pic>
        <p:nvPicPr>
          <p:cNvPr id="5" name="Imagen 4">
            <a:extLst>
              <a:ext uri="{FF2B5EF4-FFF2-40B4-BE49-F238E27FC236}">
                <a16:creationId xmlns:a16="http://schemas.microsoft.com/office/drawing/2014/main" id="{27C710D8-2666-43EF-A988-8A7D95DD911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889500" y="1410173"/>
            <a:ext cx="3971924" cy="6155641"/>
          </a:xfrm>
          <a:prstGeom prst="rect">
            <a:avLst/>
          </a:prstGeom>
        </p:spPr>
      </p:pic>
    </p:spTree>
    <p:extLst>
      <p:ext uri="{BB962C8B-B14F-4D97-AF65-F5344CB8AC3E}">
        <p14:creationId xmlns:p14="http://schemas.microsoft.com/office/powerpoint/2010/main" val="2665127804"/>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7" name="Rectángulo 46">
            <a:extLst>
              <a:ext uri="{FF2B5EF4-FFF2-40B4-BE49-F238E27FC236}">
                <a16:creationId xmlns:a16="http://schemas.microsoft.com/office/drawing/2014/main" id="{9A9C969E-6F57-4A6B-A827-03BD015C0663}"/>
              </a:ext>
            </a:extLst>
          </p:cNvPr>
          <p:cNvSpPr/>
          <p:nvPr/>
        </p:nvSpPr>
        <p:spPr bwMode="auto">
          <a:xfrm>
            <a:off x="1122942" y="1105398"/>
            <a:ext cx="3270250" cy="816981"/>
          </a:xfrm>
          <a:prstGeom prst="rect">
            <a:avLst/>
          </a:prstGeom>
          <a:ln/>
        </p:spPr>
        <p:style>
          <a:lnRef idx="1">
            <a:schemeClr val="accent5"/>
          </a:lnRef>
          <a:fillRef idx="2">
            <a:schemeClr val="accent5"/>
          </a:fillRef>
          <a:effectRef idx="1">
            <a:schemeClr val="accent5"/>
          </a:effectRef>
          <a:fontRef idx="minor">
            <a:schemeClr val="dk1"/>
          </a:fontRef>
        </p:style>
        <p:txBody>
          <a:bodyPr anchor="ctr"/>
          <a:lstStyle/>
          <a:p>
            <a:pPr algn="ctr" defTabSz="914446">
              <a:defRPr/>
            </a:pPr>
            <a:endParaRPr lang="es-ES">
              <a:solidFill>
                <a:schemeClr val="bg1"/>
              </a:solidFill>
              <a:latin typeface="Source Sans Pro" panose="020B0503030403020204" pitchFamily="34" charset="0"/>
            </a:endParaRPr>
          </a:p>
        </p:txBody>
      </p:sp>
      <p:pic>
        <p:nvPicPr>
          <p:cNvPr id="49" name="Imagen 48">
            <a:extLst>
              <a:ext uri="{FF2B5EF4-FFF2-40B4-BE49-F238E27FC236}">
                <a16:creationId xmlns:a16="http://schemas.microsoft.com/office/drawing/2014/main" id="{D220FE1D-006A-4579-8EBC-5DA7F6723014}"/>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37206" y="945060"/>
            <a:ext cx="545150" cy="539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CuadroTexto 50">
            <a:extLst>
              <a:ext uri="{FF2B5EF4-FFF2-40B4-BE49-F238E27FC236}">
                <a16:creationId xmlns:a16="http://schemas.microsoft.com/office/drawing/2014/main" id="{8879A27A-679E-4DB0-A5DE-A61DAC19C47E}"/>
              </a:ext>
            </a:extLst>
          </p:cNvPr>
          <p:cNvSpPr txBox="1"/>
          <p:nvPr/>
        </p:nvSpPr>
        <p:spPr bwMode="auto">
          <a:xfrm>
            <a:off x="1477677" y="1312494"/>
            <a:ext cx="2849563" cy="769441"/>
          </a:xfrm>
          <a:prstGeom prst="rect">
            <a:avLst/>
          </a:prstGeom>
          <a:noFill/>
          <a:ln>
            <a:noFill/>
          </a:ln>
        </p:spPr>
        <p:txBody>
          <a:bodyPr anchor="t">
            <a:spAutoFit/>
          </a:bodyPr>
          <a:lstStyle/>
          <a:p>
            <a:pPr defTabSz="914446">
              <a:defRPr/>
            </a:pPr>
            <a:r>
              <a:rPr lang="es-ES" sz="1600" b="1" dirty="0">
                <a:solidFill>
                  <a:schemeClr val="bg1"/>
                </a:solidFill>
                <a:latin typeface="Telefonica"/>
                <a:cs typeface="Calibri"/>
              </a:rPr>
              <a:t>Conectividad personal</a:t>
            </a:r>
          </a:p>
          <a:p>
            <a:pPr marL="171459" indent="-171459" defTabSz="914446">
              <a:buFont typeface="Arial" panose="020B0604020202020204" pitchFamily="34" charset="0"/>
              <a:buChar char="•"/>
              <a:defRPr/>
            </a:pPr>
            <a:r>
              <a:rPr lang="es-ES" sz="1400" dirty="0">
                <a:solidFill>
                  <a:schemeClr val="bg1"/>
                </a:solidFill>
                <a:latin typeface="Telefonica"/>
                <a:cs typeface="Calibri"/>
              </a:rPr>
              <a:t>Banda Ancha Fija ADSL/Fibra</a:t>
            </a:r>
            <a:r>
              <a:rPr lang="es-ES" sz="1400" dirty="0">
                <a:latin typeface="Telefonica"/>
                <a:cs typeface="Calibri"/>
              </a:rPr>
              <a:t> </a:t>
            </a:r>
            <a:endParaRPr lang="es-ES" sz="1400" dirty="0">
              <a:latin typeface="Telefonica"/>
              <a:cs typeface="Calibri" pitchFamily="34" charset="0"/>
            </a:endParaRPr>
          </a:p>
          <a:p>
            <a:pPr defTabSz="914446">
              <a:defRPr/>
            </a:pPr>
            <a:endParaRPr lang="es-ES" sz="1400" dirty="0">
              <a:latin typeface="Telefonica"/>
              <a:cs typeface="Calibri" pitchFamily="34" charset="0"/>
            </a:endParaRPr>
          </a:p>
        </p:txBody>
      </p:sp>
      <p:sp>
        <p:nvSpPr>
          <p:cNvPr id="56" name="Rectángulo 55">
            <a:extLst>
              <a:ext uri="{FF2B5EF4-FFF2-40B4-BE49-F238E27FC236}">
                <a16:creationId xmlns:a16="http://schemas.microsoft.com/office/drawing/2014/main" id="{F7B64157-7075-415B-9054-8E93D5672239}"/>
              </a:ext>
            </a:extLst>
          </p:cNvPr>
          <p:cNvSpPr/>
          <p:nvPr/>
        </p:nvSpPr>
        <p:spPr bwMode="auto">
          <a:xfrm>
            <a:off x="364117" y="2201656"/>
            <a:ext cx="3759200" cy="1803222"/>
          </a:xfrm>
          <a:prstGeom prst="rect">
            <a:avLst/>
          </a:prstGeom>
          <a:noFill/>
          <a:ln>
            <a:solidFill>
              <a:schemeClr val="bg2">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46">
              <a:defRPr/>
            </a:pPr>
            <a:endParaRPr lang="es-ES" sz="2800">
              <a:solidFill>
                <a:schemeClr val="tx1"/>
              </a:solidFill>
              <a:latin typeface="Telefonica"/>
            </a:endParaRPr>
          </a:p>
        </p:txBody>
      </p:sp>
      <p:sp>
        <p:nvSpPr>
          <p:cNvPr id="59" name="CuadroTexto 58">
            <a:extLst>
              <a:ext uri="{FF2B5EF4-FFF2-40B4-BE49-F238E27FC236}">
                <a16:creationId xmlns:a16="http://schemas.microsoft.com/office/drawing/2014/main" id="{F6891831-00D9-45D6-A957-FF19EB2149A7}"/>
              </a:ext>
            </a:extLst>
          </p:cNvPr>
          <p:cNvSpPr txBox="1"/>
          <p:nvPr/>
        </p:nvSpPr>
        <p:spPr bwMode="auto">
          <a:xfrm>
            <a:off x="540173" y="2168395"/>
            <a:ext cx="3278346" cy="1631216"/>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p>
            <a:pPr defTabSz="914446">
              <a:defRPr/>
            </a:pPr>
            <a:r>
              <a:rPr lang="es-ES" sz="1600" b="1" dirty="0">
                <a:solidFill>
                  <a:schemeClr val="bg1"/>
                </a:solidFill>
                <a:latin typeface="Telefonica"/>
                <a:cs typeface="Calibri" pitchFamily="34" charset="0"/>
              </a:rPr>
              <a:t>Dispositivos y accesorios</a:t>
            </a:r>
          </a:p>
          <a:p>
            <a:pPr marL="171459" indent="-171459" defTabSz="914409">
              <a:buFont typeface="Arial" panose="020B0604020202020204" pitchFamily="34" charset="0"/>
              <a:buChar char="•"/>
              <a:defRPr/>
            </a:pPr>
            <a:r>
              <a:rPr lang="es-ES" sz="1400" dirty="0">
                <a:solidFill>
                  <a:schemeClr val="bg1"/>
                </a:solidFill>
                <a:latin typeface="Telefonica"/>
                <a:cs typeface="Calibri" pitchFamily="34" charset="0"/>
              </a:rPr>
              <a:t>Suministro </a:t>
            </a:r>
            <a:r>
              <a:rPr lang="es-ES" sz="1400" dirty="0" err="1">
                <a:solidFill>
                  <a:schemeClr val="bg1"/>
                </a:solidFill>
                <a:latin typeface="Telefonica"/>
                <a:cs typeface="Calibri" pitchFamily="34" charset="0"/>
              </a:rPr>
              <a:t>PCs</a:t>
            </a:r>
            <a:r>
              <a:rPr lang="es-ES" sz="1400" dirty="0">
                <a:solidFill>
                  <a:schemeClr val="bg1"/>
                </a:solidFill>
                <a:latin typeface="Telefonica"/>
                <a:cs typeface="Calibri" pitchFamily="34" charset="0"/>
              </a:rPr>
              <a:t>, </a:t>
            </a:r>
            <a:r>
              <a:rPr lang="es-ES" sz="1400" dirty="0" err="1">
                <a:solidFill>
                  <a:schemeClr val="bg1"/>
                </a:solidFill>
                <a:latin typeface="Telefonica"/>
                <a:cs typeface="Calibri" pitchFamily="34" charset="0"/>
              </a:rPr>
              <a:t>Chromebooks</a:t>
            </a:r>
            <a:r>
              <a:rPr lang="es-ES" sz="1400" dirty="0">
                <a:solidFill>
                  <a:schemeClr val="bg1"/>
                </a:solidFill>
                <a:latin typeface="Telefonica"/>
                <a:cs typeface="Calibri" pitchFamily="34" charset="0"/>
              </a:rPr>
              <a:t>, Tabletas, Auriculares, ...</a:t>
            </a:r>
          </a:p>
          <a:p>
            <a:pPr marL="171459" indent="-171459" defTabSz="914409">
              <a:buFont typeface="Arial" panose="020B0604020202020204" pitchFamily="34" charset="0"/>
              <a:buChar char="•"/>
              <a:defRPr/>
            </a:pPr>
            <a:r>
              <a:rPr lang="es-ES" sz="1400" dirty="0">
                <a:solidFill>
                  <a:schemeClr val="bg1"/>
                </a:solidFill>
                <a:latin typeface="Telefonica"/>
                <a:cs typeface="Calibri" pitchFamily="34" charset="0"/>
              </a:rPr>
              <a:t>Gestión y Mantenimiento Postventa de Dispositivos</a:t>
            </a:r>
          </a:p>
          <a:p>
            <a:pPr marL="171459" indent="-171459" defTabSz="914409">
              <a:buFont typeface="Arial" panose="020B0604020202020204" pitchFamily="34" charset="0"/>
              <a:buChar char="•"/>
              <a:defRPr/>
            </a:pPr>
            <a:r>
              <a:rPr lang="es-ES" sz="1400" dirty="0" err="1">
                <a:solidFill>
                  <a:schemeClr val="bg1"/>
                </a:solidFill>
                <a:latin typeface="Telefonica"/>
                <a:cs typeface="Calibri" pitchFamily="34" charset="0"/>
              </a:rPr>
              <a:t>Plataformado</a:t>
            </a:r>
            <a:r>
              <a:rPr lang="es-ES" sz="1400" dirty="0">
                <a:solidFill>
                  <a:schemeClr val="bg1"/>
                </a:solidFill>
                <a:latin typeface="Telefonica"/>
                <a:cs typeface="Calibri" pitchFamily="34" charset="0"/>
              </a:rPr>
              <a:t> Automático y Logística</a:t>
            </a:r>
          </a:p>
          <a:p>
            <a:pPr marL="171459" indent="-171459" defTabSz="914409">
              <a:buFont typeface="Arial" panose="020B0604020202020204" pitchFamily="34" charset="0"/>
              <a:buChar char="•"/>
              <a:defRPr/>
            </a:pPr>
            <a:r>
              <a:rPr lang="es-ES" sz="1400" dirty="0">
                <a:solidFill>
                  <a:schemeClr val="bg1"/>
                </a:solidFill>
                <a:latin typeface="Telefonica"/>
                <a:cs typeface="Calibri" pitchFamily="34" charset="0"/>
              </a:rPr>
              <a:t>Financiación flexible</a:t>
            </a:r>
          </a:p>
        </p:txBody>
      </p:sp>
      <p:pic>
        <p:nvPicPr>
          <p:cNvPr id="57" name="Imagen 56">
            <a:extLst>
              <a:ext uri="{FF2B5EF4-FFF2-40B4-BE49-F238E27FC236}">
                <a16:creationId xmlns:a16="http://schemas.microsoft.com/office/drawing/2014/main" id="{180DC647-2318-4672-9173-9B0A7B08972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130756" y="1980993"/>
            <a:ext cx="538162" cy="534988"/>
          </a:xfrm>
          <a:prstGeom prst="rect">
            <a:avLst/>
          </a:prstGeom>
          <a:effectLst>
            <a:outerShdw blurRad="50800" dist="38100" dir="8100000" algn="tr" rotWithShape="0">
              <a:prstClr val="black">
                <a:alpha val="40000"/>
              </a:prstClr>
            </a:outerShdw>
          </a:effectLst>
        </p:spPr>
      </p:pic>
      <p:sp>
        <p:nvSpPr>
          <p:cNvPr id="61" name="Rectángulo 60">
            <a:extLst>
              <a:ext uri="{FF2B5EF4-FFF2-40B4-BE49-F238E27FC236}">
                <a16:creationId xmlns:a16="http://schemas.microsoft.com/office/drawing/2014/main" id="{FCE7D812-36B5-4513-987B-67A26BDC8754}"/>
              </a:ext>
            </a:extLst>
          </p:cNvPr>
          <p:cNvSpPr/>
          <p:nvPr/>
        </p:nvSpPr>
        <p:spPr>
          <a:xfrm>
            <a:off x="794669" y="4075826"/>
            <a:ext cx="3592512" cy="1796714"/>
          </a:xfrm>
          <a:prstGeom prst="rect">
            <a:avLst/>
          </a:prstGeom>
          <a:ln/>
        </p:spPr>
        <p:style>
          <a:lnRef idx="1">
            <a:schemeClr val="accent5"/>
          </a:lnRef>
          <a:fillRef idx="2">
            <a:schemeClr val="accent5"/>
          </a:fillRef>
          <a:effectRef idx="1">
            <a:schemeClr val="accent5"/>
          </a:effectRef>
          <a:fontRef idx="minor">
            <a:schemeClr val="dk1"/>
          </a:fontRef>
        </p:style>
        <p:txBody>
          <a:bodyPr anchor="ctr"/>
          <a:lstStyle/>
          <a:p>
            <a:pPr algn="ctr" defTabSz="914446">
              <a:defRPr/>
            </a:pPr>
            <a:endParaRPr lang="es-ES">
              <a:solidFill>
                <a:schemeClr val="tx1"/>
              </a:solidFill>
              <a:latin typeface="Telefonica"/>
            </a:endParaRPr>
          </a:p>
        </p:txBody>
      </p:sp>
      <p:sp>
        <p:nvSpPr>
          <p:cNvPr id="62" name="CuadroTexto 61">
            <a:extLst>
              <a:ext uri="{FF2B5EF4-FFF2-40B4-BE49-F238E27FC236}">
                <a16:creationId xmlns:a16="http://schemas.microsoft.com/office/drawing/2014/main" id="{688FD983-7550-4DDA-888F-34A44160F0D5}"/>
              </a:ext>
            </a:extLst>
          </p:cNvPr>
          <p:cNvSpPr txBox="1"/>
          <p:nvPr/>
        </p:nvSpPr>
        <p:spPr bwMode="auto">
          <a:xfrm>
            <a:off x="921219" y="4146608"/>
            <a:ext cx="3367405" cy="1661993"/>
          </a:xfrm>
          <a:prstGeom prst="rect">
            <a:avLst/>
          </a:prstGeom>
          <a:ln/>
        </p:spPr>
        <p:style>
          <a:lnRef idx="1">
            <a:schemeClr val="accent5"/>
          </a:lnRef>
          <a:fillRef idx="3">
            <a:schemeClr val="accent5"/>
          </a:fillRef>
          <a:effectRef idx="2">
            <a:schemeClr val="accent5"/>
          </a:effectRef>
          <a:fontRef idx="minor">
            <a:schemeClr val="lt1"/>
          </a:fontRef>
        </p:style>
        <p:txBody>
          <a:bodyPr wrap="square">
            <a:spAutoFit/>
          </a:bodyPr>
          <a:lstStyle/>
          <a:p>
            <a:pPr defTabSz="914446">
              <a:defRPr/>
            </a:pPr>
            <a:r>
              <a:rPr lang="es-ES" sz="1600" b="1" dirty="0">
                <a:solidFill>
                  <a:schemeClr val="bg1"/>
                </a:solidFill>
                <a:latin typeface="Telefonica"/>
                <a:cs typeface="Calibri" pitchFamily="34" charset="0"/>
              </a:rPr>
              <a:t>Gestión Educativa y Colaboración</a:t>
            </a:r>
          </a:p>
          <a:p>
            <a:pPr marL="171459" indent="-171459" defTabSz="914409">
              <a:buFont typeface="Arial" panose="020B0604020202020204" pitchFamily="34" charset="0"/>
              <a:buChar char="•"/>
              <a:defRPr/>
            </a:pPr>
            <a:r>
              <a:rPr lang="es-ES" sz="1400" dirty="0">
                <a:solidFill>
                  <a:schemeClr val="bg1"/>
                </a:solidFill>
                <a:latin typeface="Telefonica"/>
                <a:cs typeface="Calibri" pitchFamily="34" charset="0"/>
              </a:rPr>
              <a:t>G-Suite </a:t>
            </a:r>
            <a:r>
              <a:rPr lang="es-ES" sz="1400" dirty="0" err="1">
                <a:solidFill>
                  <a:schemeClr val="bg1"/>
                </a:solidFill>
                <a:latin typeface="Telefonica"/>
                <a:cs typeface="Calibri" pitchFamily="34" charset="0"/>
              </a:rPr>
              <a:t>for</a:t>
            </a:r>
            <a:r>
              <a:rPr lang="es-ES" sz="1400" dirty="0">
                <a:solidFill>
                  <a:schemeClr val="bg1"/>
                </a:solidFill>
                <a:latin typeface="Telefonica"/>
                <a:cs typeface="Calibri" pitchFamily="34" charset="0"/>
              </a:rPr>
              <a:t> </a:t>
            </a:r>
            <a:r>
              <a:rPr lang="es-ES" sz="1400" dirty="0" err="1">
                <a:solidFill>
                  <a:schemeClr val="bg1"/>
                </a:solidFill>
                <a:latin typeface="Telefonica"/>
                <a:cs typeface="Calibri" pitchFamily="34" charset="0"/>
              </a:rPr>
              <a:t>Education</a:t>
            </a:r>
            <a:endParaRPr lang="es-ES" sz="1400" dirty="0">
              <a:solidFill>
                <a:schemeClr val="bg1"/>
              </a:solidFill>
              <a:latin typeface="Telefonica"/>
              <a:cs typeface="Calibri" pitchFamily="34" charset="0"/>
            </a:endParaRPr>
          </a:p>
          <a:p>
            <a:pPr marL="171459" indent="-171459" defTabSz="914409">
              <a:buFont typeface="Arial" panose="020B0604020202020204" pitchFamily="34" charset="0"/>
              <a:buChar char="•"/>
              <a:defRPr/>
            </a:pPr>
            <a:r>
              <a:rPr lang="es-ES" sz="1400" dirty="0">
                <a:solidFill>
                  <a:schemeClr val="bg1"/>
                </a:solidFill>
                <a:latin typeface="Telefonica"/>
                <a:cs typeface="Calibri" pitchFamily="34" charset="0"/>
              </a:rPr>
              <a:t>O365/M365 </a:t>
            </a:r>
            <a:r>
              <a:rPr lang="es-ES" sz="1400" dirty="0" err="1">
                <a:solidFill>
                  <a:schemeClr val="bg1"/>
                </a:solidFill>
                <a:latin typeface="Telefonica"/>
                <a:cs typeface="Calibri" pitchFamily="34" charset="0"/>
              </a:rPr>
              <a:t>for</a:t>
            </a:r>
            <a:r>
              <a:rPr lang="es-ES" sz="1400" dirty="0">
                <a:solidFill>
                  <a:schemeClr val="bg1"/>
                </a:solidFill>
                <a:latin typeface="Telefonica"/>
                <a:cs typeface="Calibri" pitchFamily="34" charset="0"/>
              </a:rPr>
              <a:t> </a:t>
            </a:r>
            <a:r>
              <a:rPr lang="es-ES" sz="1400" dirty="0" err="1">
                <a:solidFill>
                  <a:schemeClr val="bg1"/>
                </a:solidFill>
                <a:latin typeface="Telefonica"/>
                <a:cs typeface="Calibri" pitchFamily="34" charset="0"/>
              </a:rPr>
              <a:t>Education</a:t>
            </a:r>
            <a:endParaRPr lang="es-ES" sz="1400" dirty="0">
              <a:solidFill>
                <a:schemeClr val="bg1"/>
              </a:solidFill>
              <a:latin typeface="Telefonica"/>
              <a:cs typeface="Calibri" pitchFamily="34" charset="0"/>
            </a:endParaRPr>
          </a:p>
          <a:p>
            <a:pPr marL="171459" indent="-171459" defTabSz="914409">
              <a:buFont typeface="Arial" panose="020B0604020202020204" pitchFamily="34" charset="0"/>
              <a:buChar char="•"/>
              <a:defRPr/>
            </a:pPr>
            <a:r>
              <a:rPr lang="es-ES" sz="1400" dirty="0" err="1">
                <a:solidFill>
                  <a:schemeClr val="bg1"/>
                </a:solidFill>
                <a:latin typeface="Telefonica"/>
                <a:cs typeface="Calibri" pitchFamily="34" charset="0"/>
              </a:rPr>
              <a:t>iReunión</a:t>
            </a:r>
            <a:r>
              <a:rPr lang="es-ES" sz="1400" dirty="0">
                <a:solidFill>
                  <a:schemeClr val="bg1"/>
                </a:solidFill>
                <a:latin typeface="Telefonica"/>
                <a:cs typeface="Calibri" pitchFamily="34" charset="0"/>
              </a:rPr>
              <a:t> - </a:t>
            </a:r>
            <a:r>
              <a:rPr lang="es-ES" sz="1400" dirty="0" err="1">
                <a:solidFill>
                  <a:schemeClr val="bg1"/>
                </a:solidFill>
                <a:latin typeface="Telefonica"/>
                <a:cs typeface="Calibri" pitchFamily="34" charset="0"/>
              </a:rPr>
              <a:t>Webex</a:t>
            </a:r>
            <a:r>
              <a:rPr lang="es-ES" sz="1400" dirty="0">
                <a:solidFill>
                  <a:schemeClr val="bg1"/>
                </a:solidFill>
                <a:latin typeface="Telefonica"/>
                <a:cs typeface="Calibri" pitchFamily="34" charset="0"/>
              </a:rPr>
              <a:t> </a:t>
            </a:r>
            <a:r>
              <a:rPr lang="es-ES" sz="1400" dirty="0" err="1">
                <a:solidFill>
                  <a:schemeClr val="bg1"/>
                </a:solidFill>
                <a:latin typeface="Telefonica"/>
                <a:cs typeface="Calibri" pitchFamily="34" charset="0"/>
              </a:rPr>
              <a:t>Teams</a:t>
            </a:r>
            <a:endParaRPr lang="es-ES" sz="1400" dirty="0">
              <a:solidFill>
                <a:schemeClr val="bg1"/>
              </a:solidFill>
              <a:latin typeface="Telefonica"/>
              <a:cs typeface="Calibri" pitchFamily="34" charset="0"/>
            </a:endParaRPr>
          </a:p>
          <a:p>
            <a:pPr marL="171459" indent="-171459" defTabSz="914409">
              <a:buFont typeface="Arial" panose="020B0604020202020204" pitchFamily="34" charset="0"/>
              <a:buChar char="•"/>
              <a:defRPr/>
            </a:pPr>
            <a:r>
              <a:rPr lang="es-ES" sz="1400" dirty="0">
                <a:solidFill>
                  <a:schemeClr val="bg1"/>
                </a:solidFill>
                <a:latin typeface="Telefonica"/>
                <a:cs typeface="Calibri" pitchFamily="34" charset="0"/>
              </a:rPr>
              <a:t>Integraciones con contenidos editoriales.</a:t>
            </a:r>
          </a:p>
        </p:txBody>
      </p:sp>
      <p:sp>
        <p:nvSpPr>
          <p:cNvPr id="63" name="Elipse 62">
            <a:extLst>
              <a:ext uri="{FF2B5EF4-FFF2-40B4-BE49-F238E27FC236}">
                <a16:creationId xmlns:a16="http://schemas.microsoft.com/office/drawing/2014/main" id="{A9EE67B6-5A53-4536-A5EC-18C678F6A439}"/>
              </a:ext>
            </a:extLst>
          </p:cNvPr>
          <p:cNvSpPr>
            <a:spLocks noChangeAspect="1"/>
          </p:cNvSpPr>
          <p:nvPr/>
        </p:nvSpPr>
        <p:spPr>
          <a:xfrm>
            <a:off x="540172" y="3783535"/>
            <a:ext cx="545310" cy="540000"/>
          </a:xfrm>
          <a:prstGeom prst="ellipse">
            <a:avLst/>
          </a:prstGeom>
          <a:solidFill>
            <a:srgbClr val="FFFE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defRPr/>
            </a:pPr>
            <a:endParaRPr lang="es-ES">
              <a:solidFill>
                <a:schemeClr val="tx1"/>
              </a:solidFill>
              <a:latin typeface="Telefonica"/>
            </a:endParaRPr>
          </a:p>
        </p:txBody>
      </p:sp>
      <p:sp>
        <p:nvSpPr>
          <p:cNvPr id="64" name="Elipse 63">
            <a:extLst>
              <a:ext uri="{FF2B5EF4-FFF2-40B4-BE49-F238E27FC236}">
                <a16:creationId xmlns:a16="http://schemas.microsoft.com/office/drawing/2014/main" id="{2009177E-3F2F-4A7E-A25B-3FF68066A961}"/>
              </a:ext>
            </a:extLst>
          </p:cNvPr>
          <p:cNvSpPr>
            <a:spLocks noChangeAspect="1"/>
          </p:cNvSpPr>
          <p:nvPr/>
        </p:nvSpPr>
        <p:spPr>
          <a:xfrm>
            <a:off x="591469" y="3840874"/>
            <a:ext cx="432000" cy="42779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defRPr/>
            </a:pPr>
            <a:endParaRPr lang="es-ES">
              <a:solidFill>
                <a:schemeClr val="tx1"/>
              </a:solidFill>
              <a:latin typeface="Telefonica"/>
            </a:endParaRPr>
          </a:p>
        </p:txBody>
      </p:sp>
      <p:pic>
        <p:nvPicPr>
          <p:cNvPr id="65" name="Picture 63">
            <a:extLst>
              <a:ext uri="{FF2B5EF4-FFF2-40B4-BE49-F238E27FC236}">
                <a16:creationId xmlns:a16="http://schemas.microsoft.com/office/drawing/2014/main" id="{3F829D5D-DC83-4B6B-A138-89932CBD0EA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61026" y="3909350"/>
            <a:ext cx="288370" cy="288370"/>
          </a:xfrm>
          <a:prstGeom prst="rect">
            <a:avLst/>
          </a:prstGeom>
        </p:spPr>
      </p:pic>
      <p:pic>
        <p:nvPicPr>
          <p:cNvPr id="43" name="Imagen 42">
            <a:extLst>
              <a:ext uri="{FF2B5EF4-FFF2-40B4-BE49-F238E27FC236}">
                <a16:creationId xmlns:a16="http://schemas.microsoft.com/office/drawing/2014/main" id="{27C710D8-2666-43EF-A988-8A7D95DD911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52875" y="1817579"/>
            <a:ext cx="3971924" cy="6155641"/>
          </a:xfrm>
          <a:prstGeom prst="rect">
            <a:avLst/>
          </a:prstGeom>
        </p:spPr>
      </p:pic>
      <p:sp>
        <p:nvSpPr>
          <p:cNvPr id="66" name="Rectángulo 65">
            <a:extLst>
              <a:ext uri="{FF2B5EF4-FFF2-40B4-BE49-F238E27FC236}">
                <a16:creationId xmlns:a16="http://schemas.microsoft.com/office/drawing/2014/main" id="{D37A236F-066D-4EE8-8606-E875EE8B0E25}"/>
              </a:ext>
            </a:extLst>
          </p:cNvPr>
          <p:cNvSpPr/>
          <p:nvPr/>
        </p:nvSpPr>
        <p:spPr bwMode="auto">
          <a:xfrm>
            <a:off x="7281523" y="546783"/>
            <a:ext cx="3759200" cy="1689660"/>
          </a:xfrm>
          <a:prstGeom prst="rect">
            <a:avLst/>
          </a:prstGeom>
          <a:ln/>
        </p:spPr>
        <p:style>
          <a:lnRef idx="1">
            <a:schemeClr val="accent5"/>
          </a:lnRef>
          <a:fillRef idx="2">
            <a:schemeClr val="accent5"/>
          </a:fillRef>
          <a:effectRef idx="1">
            <a:schemeClr val="accent5"/>
          </a:effectRef>
          <a:fontRef idx="minor">
            <a:schemeClr val="dk1"/>
          </a:fontRef>
        </p:style>
        <p:txBody>
          <a:bodyPr anchor="ctr"/>
          <a:lstStyle/>
          <a:p>
            <a:pPr algn="ctr" defTabSz="914446">
              <a:defRPr/>
            </a:pPr>
            <a:endParaRPr lang="es-ES">
              <a:solidFill>
                <a:schemeClr val="bg1"/>
              </a:solidFill>
              <a:latin typeface="Telefonica"/>
            </a:endParaRPr>
          </a:p>
        </p:txBody>
      </p:sp>
      <p:pic>
        <p:nvPicPr>
          <p:cNvPr id="67" name="Imagen 66">
            <a:extLst>
              <a:ext uri="{FF2B5EF4-FFF2-40B4-BE49-F238E27FC236}">
                <a16:creationId xmlns:a16="http://schemas.microsoft.com/office/drawing/2014/main" id="{33D62671-CB11-4106-8B0C-455EE34C8F1C}"/>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bwMode="auto">
          <a:xfrm>
            <a:off x="6967014" y="697422"/>
            <a:ext cx="541338" cy="541338"/>
          </a:xfrm>
          <a:prstGeom prst="rect">
            <a:avLst/>
          </a:prstGeom>
          <a:effectLst>
            <a:outerShdw blurRad="50800" dist="38100" dir="8100000" algn="tr" rotWithShape="0">
              <a:prstClr val="black">
                <a:alpha val="40000"/>
              </a:prstClr>
            </a:outerShdw>
          </a:effectLst>
        </p:spPr>
      </p:pic>
      <p:sp>
        <p:nvSpPr>
          <p:cNvPr id="68" name="CuadroTexto 67">
            <a:extLst>
              <a:ext uri="{FF2B5EF4-FFF2-40B4-BE49-F238E27FC236}">
                <a16:creationId xmlns:a16="http://schemas.microsoft.com/office/drawing/2014/main" id="{EBFBA020-7F4D-4E76-95D1-6B3A505754FF}"/>
              </a:ext>
            </a:extLst>
          </p:cNvPr>
          <p:cNvSpPr txBox="1"/>
          <p:nvPr/>
        </p:nvSpPr>
        <p:spPr bwMode="auto">
          <a:xfrm>
            <a:off x="7524582" y="535371"/>
            <a:ext cx="3238500" cy="1631216"/>
          </a:xfrm>
          <a:prstGeom prst="rect">
            <a:avLst/>
          </a:prstGeom>
          <a:noFill/>
          <a:ln>
            <a:noFill/>
          </a:ln>
        </p:spPr>
        <p:txBody>
          <a:bodyPr>
            <a:spAutoFit/>
          </a:bodyPr>
          <a:lstStyle/>
          <a:p>
            <a:pPr defTabSz="914446">
              <a:defRPr/>
            </a:pPr>
            <a:r>
              <a:rPr lang="es-ES" sz="1600" b="1" dirty="0">
                <a:solidFill>
                  <a:schemeClr val="bg1"/>
                </a:solidFill>
                <a:latin typeface="Telefonica"/>
                <a:cs typeface="Calibri" pitchFamily="34" charset="0"/>
              </a:rPr>
              <a:t>Gestión Unificada</a:t>
            </a:r>
          </a:p>
          <a:p>
            <a:pPr marL="285764" indent="-285764" defTabSz="914409">
              <a:buFont typeface="Arial" panose="020B0604020202020204" pitchFamily="34" charset="0"/>
              <a:buChar char="•"/>
              <a:defRPr/>
            </a:pPr>
            <a:r>
              <a:rPr lang="es-ES" sz="1400" dirty="0">
                <a:solidFill>
                  <a:schemeClr val="bg1"/>
                </a:solidFill>
                <a:latin typeface="Telefonica"/>
                <a:cs typeface="Calibri" pitchFamily="34" charset="0"/>
              </a:rPr>
              <a:t>Centro de atención personalizada al Sector Educativo.</a:t>
            </a:r>
          </a:p>
          <a:p>
            <a:pPr marL="285764" indent="-285764" defTabSz="914409">
              <a:buFont typeface="Arial" panose="020B0604020202020204" pitchFamily="34" charset="0"/>
              <a:buChar char="•"/>
              <a:defRPr/>
            </a:pPr>
            <a:r>
              <a:rPr lang="es-ES" sz="1400" dirty="0">
                <a:solidFill>
                  <a:schemeClr val="bg1"/>
                </a:solidFill>
                <a:latin typeface="Telefonica"/>
                <a:cs typeface="Calibri" pitchFamily="34" charset="0"/>
              </a:rPr>
              <a:t>Punto único de contacto para toda la comunidad educativa.</a:t>
            </a:r>
          </a:p>
          <a:p>
            <a:pPr marL="285764" indent="-285764" defTabSz="914409">
              <a:buFont typeface="Arial" panose="020B0604020202020204" pitchFamily="34" charset="0"/>
              <a:buChar char="•"/>
              <a:defRPr/>
            </a:pPr>
            <a:r>
              <a:rPr lang="es-ES" sz="1400" dirty="0">
                <a:solidFill>
                  <a:schemeClr val="bg1"/>
                </a:solidFill>
                <a:latin typeface="Telefonica"/>
                <a:cs typeface="Calibri" pitchFamily="34" charset="0"/>
              </a:rPr>
              <a:t>Soporte Operativo</a:t>
            </a:r>
          </a:p>
          <a:p>
            <a:pPr marL="285764" indent="-285764" defTabSz="914409">
              <a:buFont typeface="Arial" panose="020B0604020202020204" pitchFamily="34" charset="0"/>
              <a:buChar char="•"/>
              <a:defRPr/>
            </a:pPr>
            <a:r>
              <a:rPr lang="es-ES" sz="1400" dirty="0">
                <a:solidFill>
                  <a:schemeClr val="bg1"/>
                </a:solidFill>
                <a:latin typeface="Telefonica"/>
                <a:cs typeface="Calibri" pitchFamily="34" charset="0"/>
              </a:rPr>
              <a:t>Dudas funcionales.</a:t>
            </a:r>
          </a:p>
        </p:txBody>
      </p:sp>
      <p:sp>
        <p:nvSpPr>
          <p:cNvPr id="69" name="Elipse 68">
            <a:extLst>
              <a:ext uri="{FF2B5EF4-FFF2-40B4-BE49-F238E27FC236}">
                <a16:creationId xmlns:a16="http://schemas.microsoft.com/office/drawing/2014/main" id="{8AB2F286-F842-4492-A3D5-2922378D1A1B}"/>
              </a:ext>
            </a:extLst>
          </p:cNvPr>
          <p:cNvSpPr/>
          <p:nvPr/>
        </p:nvSpPr>
        <p:spPr bwMode="auto">
          <a:xfrm>
            <a:off x="7051152" y="772036"/>
            <a:ext cx="374650" cy="3397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46">
              <a:defRPr/>
            </a:pPr>
            <a:endParaRPr lang="es-ES">
              <a:solidFill>
                <a:schemeClr val="tx1"/>
              </a:solidFill>
              <a:latin typeface="Telefonica"/>
            </a:endParaRPr>
          </a:p>
        </p:txBody>
      </p:sp>
      <p:pic>
        <p:nvPicPr>
          <p:cNvPr id="70" name="Gráfico 96" descr="Engranajes">
            <a:extLst>
              <a:ext uri="{FF2B5EF4-FFF2-40B4-BE49-F238E27FC236}">
                <a16:creationId xmlns:a16="http://schemas.microsoft.com/office/drawing/2014/main" id="{37B8ADEB-E1D5-4BB9-93B2-015121404839}"/>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7009876" y="762138"/>
            <a:ext cx="425450" cy="427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 name="Rectángulo 70">
            <a:extLst>
              <a:ext uri="{FF2B5EF4-FFF2-40B4-BE49-F238E27FC236}">
                <a16:creationId xmlns:a16="http://schemas.microsoft.com/office/drawing/2014/main" id="{45179CB9-C78E-4594-8ECE-DB021A6F542C}"/>
              </a:ext>
            </a:extLst>
          </p:cNvPr>
          <p:cNvSpPr/>
          <p:nvPr/>
        </p:nvSpPr>
        <p:spPr>
          <a:xfrm>
            <a:off x="8567500" y="2714996"/>
            <a:ext cx="3398838" cy="1482725"/>
          </a:xfrm>
          <a:prstGeom prst="rect">
            <a:avLst/>
          </a:prstGeom>
          <a:solidFill>
            <a:schemeClr val="bg1"/>
          </a:solidFill>
          <a:ln>
            <a:solidFill>
              <a:schemeClr val="accent5">
                <a:lumMod val="20000"/>
                <a:lumOff val="8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46">
              <a:defRPr/>
            </a:pPr>
            <a:endParaRPr lang="es-ES">
              <a:solidFill>
                <a:schemeClr val="tx1"/>
              </a:solidFill>
              <a:latin typeface="Telefonica"/>
            </a:endParaRPr>
          </a:p>
        </p:txBody>
      </p:sp>
      <p:pic>
        <p:nvPicPr>
          <p:cNvPr id="72" name="Imagen 71">
            <a:extLst>
              <a:ext uri="{FF2B5EF4-FFF2-40B4-BE49-F238E27FC236}">
                <a16:creationId xmlns:a16="http://schemas.microsoft.com/office/drawing/2014/main" id="{F211EC78-D5CC-4530-AEBE-89B9BAFCD2C6}"/>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324614" y="2462583"/>
            <a:ext cx="541337" cy="536575"/>
          </a:xfrm>
          <a:prstGeom prst="rect">
            <a:avLst/>
          </a:prstGeom>
          <a:effectLst>
            <a:outerShdw blurRad="50800" dist="38100" dir="8100000" algn="tr" rotWithShape="0">
              <a:prstClr val="black">
                <a:alpha val="40000"/>
              </a:prstClr>
            </a:outerShdw>
          </a:effectLst>
        </p:spPr>
      </p:pic>
      <p:sp>
        <p:nvSpPr>
          <p:cNvPr id="73" name="CuadroTexto 72">
            <a:extLst>
              <a:ext uri="{FF2B5EF4-FFF2-40B4-BE49-F238E27FC236}">
                <a16:creationId xmlns:a16="http://schemas.microsoft.com/office/drawing/2014/main" id="{64FE40C1-09E0-46BE-AE49-CE091D7B98E9}"/>
              </a:ext>
            </a:extLst>
          </p:cNvPr>
          <p:cNvSpPr txBox="1"/>
          <p:nvPr/>
        </p:nvSpPr>
        <p:spPr bwMode="auto">
          <a:xfrm>
            <a:off x="8862775" y="2749919"/>
            <a:ext cx="3135211" cy="1846659"/>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p>
            <a:pPr defTabSz="914446">
              <a:defRPr/>
            </a:pPr>
            <a:r>
              <a:rPr lang="es-ES" sz="1600" b="1">
                <a:latin typeface="Telefonica"/>
                <a:cs typeface="Calibri" pitchFamily="34" charset="0"/>
              </a:rPr>
              <a:t>Seguridad</a:t>
            </a:r>
            <a:endParaRPr lang="es-ES" sz="1200" b="1">
              <a:latin typeface="Telefonica"/>
              <a:cs typeface="Calibri" pitchFamily="34" charset="0"/>
            </a:endParaRPr>
          </a:p>
          <a:p>
            <a:pPr marL="285764" indent="-285764" defTabSz="914446">
              <a:buFont typeface="Arial" panose="020B0604020202020204" pitchFamily="34" charset="0"/>
              <a:buChar char="•"/>
              <a:defRPr/>
            </a:pPr>
            <a:r>
              <a:rPr lang="es-ES" sz="1400">
                <a:latin typeface="Telefonica"/>
                <a:cs typeface="Calibri" pitchFamily="34" charset="0"/>
              </a:rPr>
              <a:t>Protección avanzada </a:t>
            </a:r>
            <a:r>
              <a:rPr lang="es-ES" sz="1400" b="1">
                <a:latin typeface="Telefonica"/>
                <a:cs typeface="Calibri" pitchFamily="34" charset="0"/>
              </a:rPr>
              <a:t>dispositivo</a:t>
            </a:r>
          </a:p>
          <a:p>
            <a:pPr marL="285764" indent="-285764" defTabSz="914446">
              <a:buFont typeface="Arial" panose="020B0604020202020204" pitchFamily="34" charset="0"/>
              <a:buChar char="•"/>
              <a:defRPr/>
            </a:pPr>
            <a:r>
              <a:rPr lang="es-ES" sz="1400">
                <a:latin typeface="Telefonica"/>
                <a:cs typeface="Calibri" pitchFamily="34" charset="0"/>
              </a:rPr>
              <a:t>Protección </a:t>
            </a:r>
            <a:r>
              <a:rPr lang="es-ES" sz="1400" b="1">
                <a:latin typeface="Telefonica"/>
                <a:cs typeface="Calibri" pitchFamily="34" charset="0"/>
              </a:rPr>
              <a:t>credenciales escolares</a:t>
            </a:r>
          </a:p>
          <a:p>
            <a:pPr marL="285764" indent="-285764" defTabSz="914446">
              <a:buFont typeface="Arial" panose="020B0604020202020204" pitchFamily="34" charset="0"/>
              <a:buChar char="•"/>
              <a:defRPr/>
            </a:pPr>
            <a:r>
              <a:rPr lang="es-ES" sz="1400">
                <a:latin typeface="Telefonica"/>
                <a:cs typeface="Calibri" pitchFamily="34" charset="0"/>
              </a:rPr>
              <a:t>Protección </a:t>
            </a:r>
            <a:r>
              <a:rPr lang="es-ES" sz="1400" b="1">
                <a:latin typeface="Telefonica"/>
                <a:cs typeface="Calibri" pitchFamily="34" charset="0"/>
              </a:rPr>
              <a:t>Información y correo electrónico</a:t>
            </a:r>
          </a:p>
          <a:p>
            <a:pPr marL="285764" indent="-285764" defTabSz="914446">
              <a:buFont typeface="Arial" panose="020B0604020202020204" pitchFamily="34" charset="0"/>
              <a:buChar char="•"/>
              <a:defRPr/>
            </a:pPr>
            <a:r>
              <a:rPr lang="es-ES" sz="1400">
                <a:latin typeface="Telefonica"/>
                <a:cs typeface="Calibri" pitchFamily="34" charset="0"/>
              </a:rPr>
              <a:t>Protección </a:t>
            </a:r>
            <a:r>
              <a:rPr lang="es-ES" sz="1400" b="1">
                <a:latin typeface="Telefonica"/>
                <a:cs typeface="Calibri" pitchFamily="34" charset="0"/>
              </a:rPr>
              <a:t>navegación</a:t>
            </a:r>
          </a:p>
          <a:p>
            <a:pPr defTabSz="914446">
              <a:defRPr/>
            </a:pPr>
            <a:endParaRPr lang="es-ES" sz="1400">
              <a:highlight>
                <a:srgbClr val="FFFF00"/>
              </a:highlight>
              <a:latin typeface="Telefonica"/>
              <a:cs typeface="Calibri" pitchFamily="34" charset="0"/>
            </a:endParaRPr>
          </a:p>
        </p:txBody>
      </p:sp>
      <p:sp>
        <p:nvSpPr>
          <p:cNvPr id="74" name="Elipse 73">
            <a:extLst>
              <a:ext uri="{FF2B5EF4-FFF2-40B4-BE49-F238E27FC236}">
                <a16:creationId xmlns:a16="http://schemas.microsoft.com/office/drawing/2014/main" id="{53D15F26-ADFA-49B4-B48C-C3926BA45014}"/>
              </a:ext>
            </a:extLst>
          </p:cNvPr>
          <p:cNvSpPr/>
          <p:nvPr/>
        </p:nvSpPr>
        <p:spPr>
          <a:xfrm>
            <a:off x="8418276" y="2561008"/>
            <a:ext cx="373063" cy="3397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46">
              <a:defRPr/>
            </a:pPr>
            <a:endParaRPr lang="es-ES">
              <a:solidFill>
                <a:schemeClr val="tx1"/>
              </a:solidFill>
              <a:latin typeface="Telefonica"/>
            </a:endParaRPr>
          </a:p>
        </p:txBody>
      </p:sp>
      <p:pic>
        <p:nvPicPr>
          <p:cNvPr id="75" name="Imagen 106">
            <a:extLst>
              <a:ext uri="{FF2B5EF4-FFF2-40B4-BE49-F238E27FC236}">
                <a16:creationId xmlns:a16="http://schemas.microsoft.com/office/drawing/2014/main" id="{A21CC828-9A53-4F90-BFA9-D8AB93F486A1}"/>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gray">
          <a:xfrm>
            <a:off x="8467489" y="2600696"/>
            <a:ext cx="2762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6" name="Rectángulo 75">
            <a:extLst>
              <a:ext uri="{FF2B5EF4-FFF2-40B4-BE49-F238E27FC236}">
                <a16:creationId xmlns:a16="http://schemas.microsoft.com/office/drawing/2014/main" id="{7011BAC3-0D1B-4836-AA42-FFE802C37FD4}"/>
              </a:ext>
            </a:extLst>
          </p:cNvPr>
          <p:cNvSpPr/>
          <p:nvPr/>
        </p:nvSpPr>
        <p:spPr>
          <a:xfrm>
            <a:off x="7675038" y="4409631"/>
            <a:ext cx="3930650" cy="1257059"/>
          </a:xfrm>
          <a:prstGeom prst="rect">
            <a:avLst/>
          </a:prstGeom>
          <a:solidFill>
            <a:schemeClr val="bg1"/>
          </a:solidFill>
          <a:ln>
            <a:solidFill>
              <a:srgbClr val="0070C0"/>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46">
              <a:defRPr/>
            </a:pPr>
            <a:endParaRPr lang="es-ES">
              <a:solidFill>
                <a:schemeClr val="tx1"/>
              </a:solidFill>
              <a:latin typeface="Telefonica"/>
            </a:endParaRPr>
          </a:p>
        </p:txBody>
      </p:sp>
      <p:sp>
        <p:nvSpPr>
          <p:cNvPr id="77" name="CuadroTexto 76">
            <a:extLst>
              <a:ext uri="{FF2B5EF4-FFF2-40B4-BE49-F238E27FC236}">
                <a16:creationId xmlns:a16="http://schemas.microsoft.com/office/drawing/2014/main" id="{D0DC2F8E-0641-40DA-92B0-9F19F111FD33}"/>
              </a:ext>
            </a:extLst>
          </p:cNvPr>
          <p:cNvSpPr txBox="1"/>
          <p:nvPr/>
        </p:nvSpPr>
        <p:spPr bwMode="auto">
          <a:xfrm>
            <a:off x="8108593" y="4442969"/>
            <a:ext cx="3457575" cy="1415772"/>
          </a:xfrm>
          <a:prstGeom prst="rect">
            <a:avLst/>
          </a:prstGeom>
          <a:ln/>
        </p:spPr>
        <p:style>
          <a:lnRef idx="1">
            <a:schemeClr val="accent5"/>
          </a:lnRef>
          <a:fillRef idx="3">
            <a:schemeClr val="accent5"/>
          </a:fillRef>
          <a:effectRef idx="2">
            <a:schemeClr val="accent5"/>
          </a:effectRef>
          <a:fontRef idx="minor">
            <a:schemeClr val="lt1"/>
          </a:fontRef>
        </p:style>
        <p:txBody>
          <a:bodyPr>
            <a:spAutoFit/>
          </a:bodyPr>
          <a:lstStyle/>
          <a:p>
            <a:pPr defTabSz="914446">
              <a:defRPr/>
            </a:pPr>
            <a:r>
              <a:rPr lang="es-ES" sz="1600" b="1">
                <a:solidFill>
                  <a:schemeClr val="bg1"/>
                </a:solidFill>
                <a:latin typeface="Telefonica"/>
                <a:cs typeface="Calibri" pitchFamily="34" charset="0"/>
              </a:rPr>
              <a:t>Contenidos Digitales</a:t>
            </a:r>
          </a:p>
          <a:p>
            <a:pPr marL="171459" indent="-171459" defTabSz="914409">
              <a:buFont typeface="Arial" panose="020B0604020202020204" pitchFamily="34" charset="0"/>
              <a:buChar char="•"/>
              <a:defRPr/>
            </a:pPr>
            <a:r>
              <a:rPr lang="es-ES" sz="1400">
                <a:solidFill>
                  <a:schemeClr val="bg1"/>
                </a:solidFill>
                <a:latin typeface="Telefonica"/>
                <a:cs typeface="Calibri" pitchFamily="34" charset="0"/>
              </a:rPr>
              <a:t>Compatibilidad con la Suite de Gestión educativa y colaboración</a:t>
            </a:r>
          </a:p>
          <a:p>
            <a:pPr marL="171459" indent="-171459" defTabSz="914409">
              <a:buFont typeface="Arial" panose="020B0604020202020204" pitchFamily="34" charset="0"/>
              <a:buChar char="•"/>
              <a:defRPr/>
            </a:pPr>
            <a:r>
              <a:rPr lang="es-ES" sz="1400">
                <a:solidFill>
                  <a:schemeClr val="bg1"/>
                </a:solidFill>
                <a:latin typeface="Telefonica"/>
                <a:cs typeface="Calibri" pitchFamily="34" charset="0"/>
              </a:rPr>
              <a:t>Integración de contenidos de diferentes editoriales y otros de elaboración propia.</a:t>
            </a:r>
          </a:p>
        </p:txBody>
      </p:sp>
      <p:pic>
        <p:nvPicPr>
          <p:cNvPr id="78" name="Imagen 77">
            <a:extLst>
              <a:ext uri="{FF2B5EF4-FFF2-40B4-BE49-F238E27FC236}">
                <a16:creationId xmlns:a16="http://schemas.microsoft.com/office/drawing/2014/main" id="{8EB54315-A924-407D-9CE9-EDD7EB1F716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435326" y="4114355"/>
            <a:ext cx="538162" cy="534988"/>
          </a:xfrm>
          <a:prstGeom prst="rect">
            <a:avLst/>
          </a:prstGeom>
          <a:effectLst>
            <a:outerShdw blurRad="50800" dist="38100" dir="8100000" algn="tr" rotWithShape="0">
              <a:prstClr val="black">
                <a:alpha val="40000"/>
              </a:prstClr>
            </a:outerShdw>
          </a:effectLst>
        </p:spPr>
      </p:pic>
      <p:sp>
        <p:nvSpPr>
          <p:cNvPr id="79" name="Elipse 78">
            <a:extLst>
              <a:ext uri="{FF2B5EF4-FFF2-40B4-BE49-F238E27FC236}">
                <a16:creationId xmlns:a16="http://schemas.microsoft.com/office/drawing/2014/main" id="{D3816FA5-7634-4FB2-9CE7-873BFB740A2D}"/>
              </a:ext>
            </a:extLst>
          </p:cNvPr>
          <p:cNvSpPr/>
          <p:nvPr/>
        </p:nvSpPr>
        <p:spPr>
          <a:xfrm>
            <a:off x="7521052" y="4220718"/>
            <a:ext cx="373062" cy="3413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46">
              <a:defRPr/>
            </a:pPr>
            <a:endParaRPr lang="es-ES">
              <a:solidFill>
                <a:schemeClr val="tx1"/>
              </a:solidFill>
              <a:latin typeface="Telefonica"/>
            </a:endParaRPr>
          </a:p>
        </p:txBody>
      </p:sp>
      <p:sp>
        <p:nvSpPr>
          <p:cNvPr id="4" name="Rectángulo 3">
            <a:extLst>
              <a:ext uri="{FF2B5EF4-FFF2-40B4-BE49-F238E27FC236}">
                <a16:creationId xmlns:a16="http://schemas.microsoft.com/office/drawing/2014/main" id="{E639A34A-8D03-40D0-BDAB-B1A7D64DC3F9}"/>
              </a:ext>
            </a:extLst>
          </p:cNvPr>
          <p:cNvSpPr/>
          <p:nvPr/>
        </p:nvSpPr>
        <p:spPr>
          <a:xfrm>
            <a:off x="5608948" y="3448795"/>
            <a:ext cx="678730" cy="6235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defRPr/>
            </a:pPr>
            <a:endParaRPr lang="es-ES">
              <a:solidFill>
                <a:schemeClr val="tx1"/>
              </a:solidFill>
              <a:latin typeface="Telefonica"/>
            </a:endParaRPr>
          </a:p>
        </p:txBody>
      </p:sp>
      <p:sp>
        <p:nvSpPr>
          <p:cNvPr id="2" name="Elipse 1">
            <a:extLst>
              <a:ext uri="{FF2B5EF4-FFF2-40B4-BE49-F238E27FC236}">
                <a16:creationId xmlns:a16="http://schemas.microsoft.com/office/drawing/2014/main" id="{8F0DEA79-ADFA-4F22-A185-21B8100B9C95}"/>
              </a:ext>
            </a:extLst>
          </p:cNvPr>
          <p:cNvSpPr/>
          <p:nvPr/>
        </p:nvSpPr>
        <p:spPr>
          <a:xfrm>
            <a:off x="5137149" y="3201272"/>
            <a:ext cx="366233" cy="3690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defRPr/>
            </a:pPr>
            <a:endParaRPr lang="es-ES">
              <a:solidFill>
                <a:schemeClr val="tx1"/>
              </a:solidFill>
              <a:latin typeface="Telefonica"/>
            </a:endParaRPr>
          </a:p>
        </p:txBody>
      </p:sp>
      <p:pic>
        <p:nvPicPr>
          <p:cNvPr id="5" name="Gráfico 4" descr="Enrutador inalámbrico">
            <a:extLst>
              <a:ext uri="{FF2B5EF4-FFF2-40B4-BE49-F238E27FC236}">
                <a16:creationId xmlns:a16="http://schemas.microsoft.com/office/drawing/2014/main" id="{10884512-AE53-4D89-A4F7-1F34DCC77BEE}"/>
              </a:ext>
            </a:extLst>
          </p:cNvPr>
          <p:cNvPicPr>
            <a:picLocks noChangeAspect="1"/>
          </p:cNvPicPr>
          <p:nvPr/>
        </p:nvPicPr>
        <p:blipFill>
          <a:blip r:embed="rId11" cstate="hqprint">
            <a:lum bright="70000" contrast="-70000"/>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5154492" y="3236596"/>
            <a:ext cx="298450" cy="298450"/>
          </a:xfrm>
          <a:prstGeom prst="rect">
            <a:avLst/>
          </a:prstGeom>
        </p:spPr>
      </p:pic>
      <p:pic>
        <p:nvPicPr>
          <p:cNvPr id="81" name="Imagen 80">
            <a:extLst>
              <a:ext uri="{FF2B5EF4-FFF2-40B4-BE49-F238E27FC236}">
                <a16:creationId xmlns:a16="http://schemas.microsoft.com/office/drawing/2014/main" id="{830503DE-8ABF-4CC9-A6A8-BC45C9E3204F}"/>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751131" y="3236596"/>
            <a:ext cx="441009" cy="407891"/>
          </a:xfrm>
          <a:prstGeom prst="rect">
            <a:avLst/>
          </a:prstGeom>
        </p:spPr>
      </p:pic>
      <p:pic>
        <p:nvPicPr>
          <p:cNvPr id="82" name="Imagen 81">
            <a:extLst>
              <a:ext uri="{FF2B5EF4-FFF2-40B4-BE49-F238E27FC236}">
                <a16:creationId xmlns:a16="http://schemas.microsoft.com/office/drawing/2014/main" id="{269D8D16-B677-4652-88D5-50EBC9FBE4D5}"/>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6096000" y="3736135"/>
            <a:ext cx="491018" cy="423457"/>
          </a:xfrm>
          <a:prstGeom prst="rect">
            <a:avLst/>
          </a:prstGeom>
        </p:spPr>
      </p:pic>
      <p:pic>
        <p:nvPicPr>
          <p:cNvPr id="83" name="Imagen 82">
            <a:extLst>
              <a:ext uri="{FF2B5EF4-FFF2-40B4-BE49-F238E27FC236}">
                <a16:creationId xmlns:a16="http://schemas.microsoft.com/office/drawing/2014/main" id="{209353B7-C495-497F-A877-68EC286E6B49}"/>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5440656" y="3739305"/>
            <a:ext cx="457773" cy="374559"/>
          </a:xfrm>
          <a:prstGeom prst="rect">
            <a:avLst/>
          </a:prstGeom>
        </p:spPr>
      </p:pic>
      <p:pic>
        <p:nvPicPr>
          <p:cNvPr id="6" name="Gráfico 5" descr="Libros">
            <a:extLst>
              <a:ext uri="{FF2B5EF4-FFF2-40B4-BE49-F238E27FC236}">
                <a16:creationId xmlns:a16="http://schemas.microsoft.com/office/drawing/2014/main" id="{7124B8A5-47F1-4142-B5C5-1120BE4FCC36}"/>
              </a:ext>
            </a:extLst>
          </p:cNvPr>
          <p:cNvPicPr>
            <a:picLocks noChangeAspect="1"/>
          </p:cNvPicPr>
          <p:nvPr/>
        </p:nvPicPr>
        <p:blipFill>
          <a:blip r:embed="rId16" cstate="hqprint">
            <a:extLst>
              <a:ext uri="{28A0092B-C50C-407E-A947-70E740481C1C}">
                <a14:useLocalDpi xmlns:a14="http://schemas.microsoft.com/office/drawing/2010/main" val="0"/>
              </a:ext>
              <a:ext uri="{96DAC541-7B7A-43D3-8B79-37D633B846F1}">
                <asvg:svgBlip xmlns:asvg="http://schemas.microsoft.com/office/drawing/2016/SVG/main" xmlns="" r:embed="rId17"/>
              </a:ext>
            </a:extLst>
          </a:blip>
          <a:stretch>
            <a:fillRect/>
          </a:stretch>
        </p:blipFill>
        <p:spPr>
          <a:xfrm>
            <a:off x="7533751" y="4220718"/>
            <a:ext cx="341312" cy="341312"/>
          </a:xfrm>
          <a:prstGeom prst="rect">
            <a:avLst/>
          </a:prstGeom>
        </p:spPr>
      </p:pic>
      <p:sp>
        <p:nvSpPr>
          <p:cNvPr id="37" name="Rectángulo 36">
            <a:extLst>
              <a:ext uri="{FF2B5EF4-FFF2-40B4-BE49-F238E27FC236}">
                <a16:creationId xmlns:a16="http://schemas.microsoft.com/office/drawing/2014/main" id="{8F57D8D5-8453-48CF-9F5B-E872B73AB271}"/>
              </a:ext>
            </a:extLst>
          </p:cNvPr>
          <p:cNvSpPr/>
          <p:nvPr/>
        </p:nvSpPr>
        <p:spPr>
          <a:xfrm>
            <a:off x="3976973" y="5723818"/>
            <a:ext cx="4725332" cy="1015664"/>
          </a:xfrm>
          <a:prstGeom prst="rect">
            <a:avLst/>
          </a:prstGeom>
          <a:ln/>
        </p:spPr>
        <p:style>
          <a:lnRef idx="1">
            <a:schemeClr val="accent5"/>
          </a:lnRef>
          <a:fillRef idx="2">
            <a:schemeClr val="accent5"/>
          </a:fillRef>
          <a:effectRef idx="1">
            <a:schemeClr val="accent5"/>
          </a:effectRef>
          <a:fontRef idx="minor">
            <a:schemeClr val="dk1"/>
          </a:fontRef>
        </p:style>
        <p:txBody>
          <a:bodyPr anchor="ctr"/>
          <a:lstStyle/>
          <a:p>
            <a:pPr algn="ctr" defTabSz="914446">
              <a:defRPr/>
            </a:pPr>
            <a:endParaRPr lang="es-ES">
              <a:solidFill>
                <a:schemeClr val="bg1"/>
              </a:solidFill>
              <a:latin typeface="Telefonica"/>
            </a:endParaRPr>
          </a:p>
        </p:txBody>
      </p:sp>
      <p:sp>
        <p:nvSpPr>
          <p:cNvPr id="38" name="CuadroTexto 37">
            <a:extLst>
              <a:ext uri="{FF2B5EF4-FFF2-40B4-BE49-F238E27FC236}">
                <a16:creationId xmlns:a16="http://schemas.microsoft.com/office/drawing/2014/main" id="{476B83DF-A48A-447E-A73B-CE0E4D83B879}"/>
              </a:ext>
            </a:extLst>
          </p:cNvPr>
          <p:cNvSpPr txBox="1"/>
          <p:nvPr/>
        </p:nvSpPr>
        <p:spPr bwMode="auto">
          <a:xfrm>
            <a:off x="4123318" y="5872540"/>
            <a:ext cx="4696619" cy="1015663"/>
          </a:xfrm>
          <a:prstGeom prst="rect">
            <a:avLst/>
          </a:prstGeom>
          <a:noFill/>
          <a:ln>
            <a:noFill/>
          </a:ln>
        </p:spPr>
        <p:txBody>
          <a:bodyPr wrap="square">
            <a:spAutoFit/>
          </a:bodyPr>
          <a:lstStyle/>
          <a:p>
            <a:pPr defTabSz="914446">
              <a:defRPr/>
            </a:pPr>
            <a:r>
              <a:rPr lang="es-ES" sz="1600" b="1" dirty="0">
                <a:solidFill>
                  <a:schemeClr val="bg1"/>
                </a:solidFill>
                <a:latin typeface="Telefonica"/>
                <a:cs typeface="Calibri" pitchFamily="34" charset="0"/>
              </a:rPr>
              <a:t>Aulas </a:t>
            </a:r>
            <a:r>
              <a:rPr lang="es-ES" sz="1600" b="1" dirty="0" smtClean="0">
                <a:solidFill>
                  <a:schemeClr val="bg1"/>
                </a:solidFill>
                <a:latin typeface="Telefonica"/>
                <a:cs typeface="Calibri" pitchFamily="34" charset="0"/>
              </a:rPr>
              <a:t>Híbridas</a:t>
            </a:r>
            <a:endParaRPr lang="es-ES" sz="1600" b="1" dirty="0">
              <a:solidFill>
                <a:schemeClr val="bg1"/>
              </a:solidFill>
              <a:latin typeface="Telefonica"/>
              <a:cs typeface="Calibri" pitchFamily="34" charset="0"/>
            </a:endParaRPr>
          </a:p>
          <a:p>
            <a:pPr marL="171459" indent="-171459" defTabSz="914409">
              <a:buFont typeface="Arial" panose="020B0604020202020204" pitchFamily="34" charset="0"/>
              <a:buChar char="•"/>
              <a:defRPr/>
            </a:pPr>
            <a:r>
              <a:rPr lang="es-ES" sz="1400" dirty="0">
                <a:solidFill>
                  <a:schemeClr val="bg1"/>
                </a:solidFill>
                <a:latin typeface="Telefonica"/>
                <a:cs typeface="Calibri" pitchFamily="34" charset="0"/>
              </a:rPr>
              <a:t>Soluciones Audiovisuales para garantizar la docencia presencial seguridad y seguimiento virtual en directo.</a:t>
            </a:r>
          </a:p>
          <a:p>
            <a:pPr defTabSz="914446">
              <a:defRPr/>
            </a:pPr>
            <a:endParaRPr lang="es-ES" sz="1600" b="1" dirty="0">
              <a:solidFill>
                <a:schemeClr val="bg1"/>
              </a:solidFill>
              <a:latin typeface="Telefonica"/>
              <a:cs typeface="Calibri" pitchFamily="34" charset="0"/>
            </a:endParaRPr>
          </a:p>
        </p:txBody>
      </p:sp>
      <p:pic>
        <p:nvPicPr>
          <p:cNvPr id="39" name="Imagen 38">
            <a:extLst>
              <a:ext uri="{FF2B5EF4-FFF2-40B4-BE49-F238E27FC236}">
                <a16:creationId xmlns:a16="http://schemas.microsoft.com/office/drawing/2014/main" id="{6CBC9037-78C7-4E39-A3C1-25A29B8A998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003296" y="5361047"/>
            <a:ext cx="538162" cy="534988"/>
          </a:xfrm>
          <a:prstGeom prst="rect">
            <a:avLst/>
          </a:prstGeom>
          <a:effectLst>
            <a:outerShdw blurRad="50800" dist="38100" dir="8100000" algn="tr" rotWithShape="0">
              <a:prstClr val="black">
                <a:alpha val="40000"/>
              </a:prstClr>
            </a:outerShdw>
          </a:effectLst>
        </p:spPr>
      </p:pic>
      <p:sp>
        <p:nvSpPr>
          <p:cNvPr id="40" name="Elipse 39">
            <a:extLst>
              <a:ext uri="{FF2B5EF4-FFF2-40B4-BE49-F238E27FC236}">
                <a16:creationId xmlns:a16="http://schemas.microsoft.com/office/drawing/2014/main" id="{9045E812-1A71-4B1E-BDA5-BFDA57582EBD}"/>
              </a:ext>
            </a:extLst>
          </p:cNvPr>
          <p:cNvSpPr/>
          <p:nvPr/>
        </p:nvSpPr>
        <p:spPr>
          <a:xfrm>
            <a:off x="4094780" y="5448851"/>
            <a:ext cx="373062" cy="3413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46">
              <a:defRPr/>
            </a:pPr>
            <a:endParaRPr lang="es-ES">
              <a:solidFill>
                <a:schemeClr val="tx1"/>
              </a:solidFill>
              <a:latin typeface="Telefonica"/>
            </a:endParaRPr>
          </a:p>
        </p:txBody>
      </p:sp>
      <p:pic>
        <p:nvPicPr>
          <p:cNvPr id="7" name="Gráfico 6" descr="Aula de clases">
            <a:extLst>
              <a:ext uri="{FF2B5EF4-FFF2-40B4-BE49-F238E27FC236}">
                <a16:creationId xmlns:a16="http://schemas.microsoft.com/office/drawing/2014/main" id="{0BFBA529-EA35-40AD-B9C6-1BA5188E2373}"/>
              </a:ext>
            </a:extLst>
          </p:cNvPr>
          <p:cNvPicPr>
            <a:picLocks noChangeAspect="1"/>
          </p:cNvPicPr>
          <p:nvPr/>
        </p:nvPicPr>
        <p:blipFill>
          <a:blip r:embed="rId18" cstate="hqprint">
            <a:extLst>
              <a:ext uri="{28A0092B-C50C-407E-A947-70E740481C1C}">
                <a14:useLocalDpi xmlns:a14="http://schemas.microsoft.com/office/drawing/2010/main" val="0"/>
              </a:ext>
              <a:ext uri="{96DAC541-7B7A-43D3-8B79-37D633B846F1}">
                <asvg:svgBlip xmlns:asvg="http://schemas.microsoft.com/office/drawing/2016/SVG/main" xmlns="" r:embed="rId19"/>
              </a:ext>
            </a:extLst>
          </a:blip>
          <a:stretch>
            <a:fillRect/>
          </a:stretch>
        </p:blipFill>
        <p:spPr>
          <a:xfrm>
            <a:off x="4054799" y="5433790"/>
            <a:ext cx="419015" cy="419015"/>
          </a:xfrm>
          <a:prstGeom prst="rect">
            <a:avLst/>
          </a:prstGeom>
        </p:spPr>
      </p:pic>
      <p:pic>
        <p:nvPicPr>
          <p:cNvPr id="42" name="Imagen 41" descr="Imagen que contiene Texto&#10;&#10;Descripción generada automáticamente">
            <a:extLst>
              <a:ext uri="{FF2B5EF4-FFF2-40B4-BE49-F238E27FC236}">
                <a16:creationId xmlns:a16="http://schemas.microsoft.com/office/drawing/2014/main" id="{F880A9AD-AB6C-C247-A8D2-828D09F4BA34}"/>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20160" y="112383"/>
            <a:ext cx="1185333" cy="474133"/>
          </a:xfrm>
          <a:prstGeom prst="rect">
            <a:avLst/>
          </a:prstGeom>
        </p:spPr>
      </p:pic>
      <p:sp>
        <p:nvSpPr>
          <p:cNvPr id="41" name="Marcador de número de diapositiva 1"/>
          <p:cNvSpPr txBox="1">
            <a:spLocks/>
          </p:cNvSpPr>
          <p:nvPr/>
        </p:nvSpPr>
        <p:spPr>
          <a:xfrm>
            <a:off x="11704622" y="6458134"/>
            <a:ext cx="487378" cy="48134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dirty="0" smtClean="0">
                <a:solidFill>
                  <a:schemeClr val="bg1"/>
                </a:solidFill>
              </a:rPr>
              <a:t>53</a:t>
            </a:r>
            <a:endParaRPr lang="en-US" sz="2000" dirty="0">
              <a:solidFill>
                <a:schemeClr val="bg1"/>
              </a:solidFill>
            </a:endParaRPr>
          </a:p>
        </p:txBody>
      </p:sp>
    </p:spTree>
    <p:extLst>
      <p:ext uri="{BB962C8B-B14F-4D97-AF65-F5344CB8AC3E}">
        <p14:creationId xmlns:p14="http://schemas.microsoft.com/office/powerpoint/2010/main" val="85154376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45" name="Text Placeholder 88">
            <a:extLst>
              <a:ext uri="{FF2B5EF4-FFF2-40B4-BE49-F238E27FC236}">
                <a16:creationId xmlns:a16="http://schemas.microsoft.com/office/drawing/2014/main" id="{B310629C-A1FF-418F-9D26-08D959A06799}"/>
              </a:ext>
            </a:extLst>
          </p:cNvPr>
          <p:cNvSpPr txBox="1">
            <a:spLocks/>
          </p:cNvSpPr>
          <p:nvPr>
            <p:custDataLst>
              <p:tags r:id="rId1"/>
            </p:custDataLst>
          </p:nvPr>
        </p:nvSpPr>
        <p:spPr>
          <a:xfrm>
            <a:off x="341780" y="131809"/>
            <a:ext cx="9418683" cy="383495"/>
          </a:xfrm>
          <a:prstGeom prst="rect">
            <a:avLst/>
          </a:prstGeom>
        </p:spPr>
        <p:txBody>
          <a:bodyPr vert="horz" lIns="91382" tIns="45691" rIns="91382" bIns="45691"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000" b="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defTabSz="914446">
              <a:spcBef>
                <a:spcPts val="100"/>
              </a:spcBef>
              <a:spcAft>
                <a:spcPts val="100"/>
              </a:spcAft>
              <a:defRPr/>
            </a:pPr>
            <a:r>
              <a:rPr lang="es-ES_tradnl" sz="1800" dirty="0">
                <a:solidFill>
                  <a:srgbClr val="FFFFFF"/>
                </a:solidFill>
                <a:latin typeface="Arial" panose="020B0604020202020204" pitchFamily="34" charset="0"/>
              </a:rPr>
              <a:t>Caso de uso: Centro Educativo</a:t>
            </a:r>
          </a:p>
        </p:txBody>
      </p:sp>
      <p:pic>
        <p:nvPicPr>
          <p:cNvPr id="154" name="Gráfico 153">
            <a:extLst>
              <a:ext uri="{FF2B5EF4-FFF2-40B4-BE49-F238E27FC236}">
                <a16:creationId xmlns:a16="http://schemas.microsoft.com/office/drawing/2014/main" id="{919DC667-9A68-45AC-9ABB-E19C20CEB59A}"/>
              </a:ext>
            </a:extLst>
          </p:cNvPr>
          <p:cNvPicPr>
            <a:picLocks noChangeAspect="1"/>
          </p:cNvPicPr>
          <p:nvPr/>
        </p:nvPicPr>
        <p:blipFill>
          <a:blip r:embed="rId4" cstate="print">
            <a:alphaModFix/>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11243356" y="506056"/>
            <a:ext cx="391324" cy="391324"/>
          </a:xfrm>
          <a:prstGeom prst="rect">
            <a:avLst/>
          </a:prstGeom>
        </p:spPr>
      </p:pic>
      <p:sp>
        <p:nvSpPr>
          <p:cNvPr id="52" name="Content Placeholder 2">
            <a:extLst>
              <a:ext uri="{FF2B5EF4-FFF2-40B4-BE49-F238E27FC236}">
                <a16:creationId xmlns:a16="http://schemas.microsoft.com/office/drawing/2014/main" id="{8E336C63-B7FC-9B4B-8289-536C130397E8}"/>
              </a:ext>
            </a:extLst>
          </p:cNvPr>
          <p:cNvSpPr txBox="1">
            <a:spLocks/>
          </p:cNvSpPr>
          <p:nvPr/>
        </p:nvSpPr>
        <p:spPr>
          <a:xfrm>
            <a:off x="370320" y="737530"/>
            <a:ext cx="6861214" cy="1286146"/>
          </a:xfrm>
          <a:prstGeom prst="rect">
            <a:avLst/>
          </a:prstGeom>
          <a:noFill/>
          <a:ln>
            <a:noFill/>
          </a:ln>
        </p:spPr>
        <p:txBody>
          <a:bodyPr anchor="t"/>
          <a:lstStyle>
            <a:lvl1pPr marL="0" marR="0" indent="0" algn="ctr" defTabSz="914400" rtl="0" eaLnBrk="0" fontAlgn="base" latinLnBrk="0" hangingPunct="0">
              <a:lnSpc>
                <a:spcPct val="100000"/>
              </a:lnSpc>
              <a:spcBef>
                <a:spcPct val="20000"/>
              </a:spcBef>
              <a:spcAft>
                <a:spcPct val="0"/>
              </a:spcAft>
              <a:buClrTx/>
              <a:buSzTx/>
              <a:buFontTx/>
              <a:buNone/>
              <a:tabLst/>
              <a:defRPr sz="1800" b="0" i="0" kern="1200">
                <a:solidFill>
                  <a:schemeClr val="tx1"/>
                </a:solidFill>
                <a:latin typeface="Arial Regular"/>
                <a:ea typeface="+mn-ea"/>
                <a:cs typeface="+mn-cs"/>
              </a:defRPr>
            </a:lvl1pPr>
            <a:lvl2pPr marL="990575" indent="-380990" algn="l" rtl="0" eaLnBrk="0" fontAlgn="base" hangingPunct="0">
              <a:spcBef>
                <a:spcPct val="20000"/>
              </a:spcBef>
              <a:spcAft>
                <a:spcPct val="0"/>
              </a:spcAft>
              <a:buFont typeface="Arial" pitchFamily="34" charset="0"/>
              <a:buChar char="–"/>
              <a:defRPr sz="3700" kern="1200">
                <a:solidFill>
                  <a:schemeClr val="tx1"/>
                </a:solidFill>
                <a:latin typeface="+mn-lt"/>
                <a:ea typeface="+mn-ea"/>
                <a:cs typeface="+mn-cs"/>
              </a:defRPr>
            </a:lvl2pPr>
            <a:lvl3pPr marL="1523962" indent="-304792"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3pPr>
            <a:lvl4pPr marL="2133547" indent="-304792" algn="l" rtl="0" eaLnBrk="0" fontAlgn="base" hangingPunct="0">
              <a:spcBef>
                <a:spcPct val="20000"/>
              </a:spcBef>
              <a:spcAft>
                <a:spcPct val="0"/>
              </a:spcAft>
              <a:buFont typeface="Arial" pitchFamily="34" charset="0"/>
              <a:buChar char="–"/>
              <a:defRPr sz="2700" kern="1200">
                <a:solidFill>
                  <a:schemeClr val="tx1"/>
                </a:solidFill>
                <a:latin typeface="+mn-lt"/>
                <a:ea typeface="+mn-ea"/>
                <a:cs typeface="+mn-cs"/>
              </a:defRPr>
            </a:lvl4pPr>
            <a:lvl5pPr marL="2743131" indent="-304792" algn="l" rtl="0" eaLnBrk="0" fontAlgn="base" hangingPunct="0">
              <a:spcBef>
                <a:spcPct val="20000"/>
              </a:spcBef>
              <a:spcAft>
                <a:spcPct val="0"/>
              </a:spcAft>
              <a:buFont typeface="Arial" pitchFamily="34" charset="0"/>
              <a:buChar char="»"/>
              <a:defRPr sz="270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a:lstStyle>
          <a:p>
            <a:pPr algn="l" defTabSz="914446">
              <a:lnSpc>
                <a:spcPts val="2500"/>
              </a:lnSpc>
              <a:defRPr/>
            </a:pPr>
            <a:r>
              <a:rPr lang="es-ES" sz="1600" b="1" spc="300" dirty="0">
                <a:solidFill>
                  <a:schemeClr val="accent1">
                    <a:lumMod val="75000"/>
                  </a:schemeClr>
                </a:solidFill>
                <a:latin typeface="Telefonica" pitchFamily="2" charset="77"/>
              </a:rPr>
              <a:t>SOLUCIONES AUDIOVISUALES PARA GARANTIZAR LA DOCENCIA PRESENCIAL SEGURA Y EL SEGUIMIMIENTO VIRTUAL EN DIRECTO</a:t>
            </a:r>
          </a:p>
        </p:txBody>
      </p:sp>
      <p:sp>
        <p:nvSpPr>
          <p:cNvPr id="81" name="Rectángulo 5">
            <a:extLst>
              <a:ext uri="{FF2B5EF4-FFF2-40B4-BE49-F238E27FC236}">
                <a16:creationId xmlns:a16="http://schemas.microsoft.com/office/drawing/2014/main" id="{674E03B2-2ED6-8142-AD93-732AA710B0F9}"/>
              </a:ext>
            </a:extLst>
          </p:cNvPr>
          <p:cNvSpPr/>
          <p:nvPr/>
        </p:nvSpPr>
        <p:spPr>
          <a:xfrm>
            <a:off x="465802" y="1767825"/>
            <a:ext cx="931906" cy="905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9">
              <a:defRPr/>
            </a:pPr>
            <a:endParaRPr lang="es-ES_tradnl">
              <a:solidFill>
                <a:srgbClr val="FFFFFF"/>
              </a:solidFill>
              <a:latin typeface="Calibri" panose="020F0502020204030204"/>
            </a:endParaRPr>
          </a:p>
        </p:txBody>
      </p:sp>
      <p:sp>
        <p:nvSpPr>
          <p:cNvPr id="83" name="Rectángulo 82">
            <a:extLst>
              <a:ext uri="{FF2B5EF4-FFF2-40B4-BE49-F238E27FC236}">
                <a16:creationId xmlns:a16="http://schemas.microsoft.com/office/drawing/2014/main" id="{E2C6694F-1952-1447-9D07-446A83A3B4D1}"/>
              </a:ext>
            </a:extLst>
          </p:cNvPr>
          <p:cNvSpPr/>
          <p:nvPr/>
        </p:nvSpPr>
        <p:spPr>
          <a:xfrm>
            <a:off x="8571942" y="1893970"/>
            <a:ext cx="3327139" cy="3511548"/>
          </a:xfrm>
          <a:prstGeom prst="rect">
            <a:avLst/>
          </a:prstGeom>
          <a:ln/>
        </p:spPr>
        <p:style>
          <a:lnRef idx="1">
            <a:schemeClr val="accent5"/>
          </a:lnRef>
          <a:fillRef idx="2">
            <a:schemeClr val="accent5"/>
          </a:fillRef>
          <a:effectRef idx="1">
            <a:schemeClr val="accent5"/>
          </a:effectRef>
          <a:fontRef idx="minor">
            <a:schemeClr val="dk1"/>
          </a:fontRef>
        </p:style>
        <p:txBody>
          <a:bodyPr wrap="none" lIns="0" tIns="0" rIns="0" bIns="0" rtlCol="0" anchor="ctr">
            <a:noAutofit/>
          </a:bodyPr>
          <a:lstStyle/>
          <a:p>
            <a:pPr algn="ctr" defTabSz="1086396">
              <a:defRPr/>
            </a:pPr>
            <a:endParaRPr lang="es-ES" sz="1400">
              <a:solidFill>
                <a:srgbClr val="FFFFFF"/>
              </a:solidFill>
              <a:latin typeface="Calibri" panose="020F0502020204030204" pitchFamily="34" charset="0"/>
              <a:cs typeface="Calibri" panose="020F0502020204030204" pitchFamily="34" charset="0"/>
            </a:endParaRPr>
          </a:p>
        </p:txBody>
      </p:sp>
      <p:sp>
        <p:nvSpPr>
          <p:cNvPr id="84" name="Título 1">
            <a:extLst>
              <a:ext uri="{FF2B5EF4-FFF2-40B4-BE49-F238E27FC236}">
                <a16:creationId xmlns:a16="http://schemas.microsoft.com/office/drawing/2014/main" id="{4EF0F2E6-DD32-9A4F-AB68-24A5D9756F01}"/>
              </a:ext>
            </a:extLst>
          </p:cNvPr>
          <p:cNvSpPr txBox="1">
            <a:spLocks/>
          </p:cNvSpPr>
          <p:nvPr/>
        </p:nvSpPr>
        <p:spPr>
          <a:xfrm>
            <a:off x="370320" y="2267383"/>
            <a:ext cx="1494694" cy="246543"/>
          </a:xfrm>
          <a:prstGeom prst="rect">
            <a:avLst/>
          </a:prstGeom>
          <a:noFill/>
        </p:spPr>
        <p:txBody>
          <a:bodyPr wrap="square" lIns="0" tIns="0" rIns="0" bIns="0" anchor="ctr" anchorCtr="0"/>
          <a:lstStyle>
            <a:lvl1pPr algn="ctr" rtl="0" eaLnBrk="0" fontAlgn="base" hangingPunct="0">
              <a:spcBef>
                <a:spcPct val="0"/>
              </a:spcBef>
              <a:spcAft>
                <a:spcPct val="0"/>
              </a:spcAft>
              <a:defRPr sz="5900" kern="1200">
                <a:solidFill>
                  <a:schemeClr val="tx1"/>
                </a:solidFill>
                <a:latin typeface="+mj-lt"/>
                <a:ea typeface="+mj-ea"/>
                <a:cs typeface="+mj-cs"/>
              </a:defRPr>
            </a:lvl1pPr>
            <a:lvl2pPr algn="ctr" rtl="0" eaLnBrk="0" fontAlgn="base" hangingPunct="0">
              <a:spcBef>
                <a:spcPct val="0"/>
              </a:spcBef>
              <a:spcAft>
                <a:spcPct val="0"/>
              </a:spcAft>
              <a:defRPr sz="5900">
                <a:solidFill>
                  <a:schemeClr val="tx1"/>
                </a:solidFill>
                <a:latin typeface="Calibri" pitchFamily="34" charset="0"/>
              </a:defRPr>
            </a:lvl2pPr>
            <a:lvl3pPr algn="ctr" rtl="0" eaLnBrk="0" fontAlgn="base" hangingPunct="0">
              <a:spcBef>
                <a:spcPct val="0"/>
              </a:spcBef>
              <a:spcAft>
                <a:spcPct val="0"/>
              </a:spcAft>
              <a:defRPr sz="5900">
                <a:solidFill>
                  <a:schemeClr val="tx1"/>
                </a:solidFill>
                <a:latin typeface="Calibri" pitchFamily="34" charset="0"/>
              </a:defRPr>
            </a:lvl3pPr>
            <a:lvl4pPr algn="ctr" rtl="0" eaLnBrk="0" fontAlgn="base" hangingPunct="0">
              <a:spcBef>
                <a:spcPct val="0"/>
              </a:spcBef>
              <a:spcAft>
                <a:spcPct val="0"/>
              </a:spcAft>
              <a:defRPr sz="5900">
                <a:solidFill>
                  <a:schemeClr val="tx1"/>
                </a:solidFill>
                <a:latin typeface="Calibri" pitchFamily="34" charset="0"/>
              </a:defRPr>
            </a:lvl4pPr>
            <a:lvl5pPr algn="ctr" rtl="0" eaLnBrk="0" fontAlgn="base" hangingPunct="0">
              <a:spcBef>
                <a:spcPct val="0"/>
              </a:spcBef>
              <a:spcAft>
                <a:spcPct val="0"/>
              </a:spcAft>
              <a:defRPr sz="5900">
                <a:solidFill>
                  <a:schemeClr val="tx1"/>
                </a:solidFill>
                <a:latin typeface="Calibri" pitchFamily="34" charset="0"/>
              </a:defRPr>
            </a:lvl5pPr>
            <a:lvl6pPr marL="609585" algn="ctr" rtl="0" fontAlgn="base">
              <a:spcBef>
                <a:spcPct val="0"/>
              </a:spcBef>
              <a:spcAft>
                <a:spcPct val="0"/>
              </a:spcAft>
              <a:defRPr sz="5900">
                <a:solidFill>
                  <a:schemeClr val="tx1"/>
                </a:solidFill>
                <a:latin typeface="Calibri" pitchFamily="34" charset="0"/>
              </a:defRPr>
            </a:lvl6pPr>
            <a:lvl7pPr marL="1219170" algn="ctr" rtl="0" fontAlgn="base">
              <a:spcBef>
                <a:spcPct val="0"/>
              </a:spcBef>
              <a:spcAft>
                <a:spcPct val="0"/>
              </a:spcAft>
              <a:defRPr sz="5900">
                <a:solidFill>
                  <a:schemeClr val="tx1"/>
                </a:solidFill>
                <a:latin typeface="Calibri" pitchFamily="34" charset="0"/>
              </a:defRPr>
            </a:lvl7pPr>
            <a:lvl8pPr marL="1828754" algn="ctr" rtl="0" fontAlgn="base">
              <a:spcBef>
                <a:spcPct val="0"/>
              </a:spcBef>
              <a:spcAft>
                <a:spcPct val="0"/>
              </a:spcAft>
              <a:defRPr sz="5900">
                <a:solidFill>
                  <a:schemeClr val="tx1"/>
                </a:solidFill>
                <a:latin typeface="Calibri" pitchFamily="34" charset="0"/>
              </a:defRPr>
            </a:lvl8pPr>
            <a:lvl9pPr marL="2438339" algn="ctr" rtl="0" fontAlgn="base">
              <a:spcBef>
                <a:spcPct val="0"/>
              </a:spcBef>
              <a:spcAft>
                <a:spcPct val="0"/>
              </a:spcAft>
              <a:defRPr sz="5900">
                <a:solidFill>
                  <a:schemeClr val="tx1"/>
                </a:solidFill>
                <a:latin typeface="Calibri" pitchFamily="34" charset="0"/>
              </a:defRPr>
            </a:lvl9pPr>
          </a:lstStyle>
          <a:p>
            <a:pPr algn="l" defTabSz="911474" eaLnBrk="1" hangingPunct="1">
              <a:defRPr/>
            </a:pPr>
            <a:r>
              <a:rPr lang="es-ES" altLang="es-ES" sz="2000" b="1" dirty="0">
                <a:solidFill>
                  <a:srgbClr val="003042"/>
                </a:solidFill>
                <a:latin typeface="Calibri Light" panose="020F0302020204030204" pitchFamily="34" charset="0"/>
                <a:ea typeface="MS PGothic" panose="020B0600070205080204" pitchFamily="34" charset="-128"/>
                <a:cs typeface="Calibri Light" panose="020F0302020204030204" pitchFamily="34" charset="0"/>
              </a:rPr>
              <a:t>SOLUCIONES</a:t>
            </a:r>
          </a:p>
        </p:txBody>
      </p:sp>
      <p:sp>
        <p:nvSpPr>
          <p:cNvPr id="85" name="Título 1">
            <a:extLst>
              <a:ext uri="{FF2B5EF4-FFF2-40B4-BE49-F238E27FC236}">
                <a16:creationId xmlns:a16="http://schemas.microsoft.com/office/drawing/2014/main" id="{028471C6-A5FC-D64D-B2C0-FBC2E26E9780}"/>
              </a:ext>
            </a:extLst>
          </p:cNvPr>
          <p:cNvSpPr txBox="1">
            <a:spLocks/>
          </p:cNvSpPr>
          <p:nvPr/>
        </p:nvSpPr>
        <p:spPr>
          <a:xfrm>
            <a:off x="8571940" y="1610914"/>
            <a:ext cx="3189500" cy="246543"/>
          </a:xfrm>
          <a:prstGeom prst="rect">
            <a:avLst/>
          </a:prstGeom>
          <a:noFill/>
        </p:spPr>
        <p:txBody>
          <a:bodyPr wrap="square" lIns="0" tIns="0" rIns="0" bIns="0" anchor="ctr" anchorCtr="0"/>
          <a:lstStyle>
            <a:lvl1pPr algn="ctr" rtl="0" eaLnBrk="0" fontAlgn="base" hangingPunct="0">
              <a:spcBef>
                <a:spcPct val="0"/>
              </a:spcBef>
              <a:spcAft>
                <a:spcPct val="0"/>
              </a:spcAft>
              <a:defRPr sz="5900" kern="1200">
                <a:solidFill>
                  <a:schemeClr val="tx1"/>
                </a:solidFill>
                <a:latin typeface="+mj-lt"/>
                <a:ea typeface="+mj-ea"/>
                <a:cs typeface="+mj-cs"/>
              </a:defRPr>
            </a:lvl1pPr>
            <a:lvl2pPr algn="ctr" rtl="0" eaLnBrk="0" fontAlgn="base" hangingPunct="0">
              <a:spcBef>
                <a:spcPct val="0"/>
              </a:spcBef>
              <a:spcAft>
                <a:spcPct val="0"/>
              </a:spcAft>
              <a:defRPr sz="5900">
                <a:solidFill>
                  <a:schemeClr val="tx1"/>
                </a:solidFill>
                <a:latin typeface="Calibri" pitchFamily="34" charset="0"/>
              </a:defRPr>
            </a:lvl2pPr>
            <a:lvl3pPr algn="ctr" rtl="0" eaLnBrk="0" fontAlgn="base" hangingPunct="0">
              <a:spcBef>
                <a:spcPct val="0"/>
              </a:spcBef>
              <a:spcAft>
                <a:spcPct val="0"/>
              </a:spcAft>
              <a:defRPr sz="5900">
                <a:solidFill>
                  <a:schemeClr val="tx1"/>
                </a:solidFill>
                <a:latin typeface="Calibri" pitchFamily="34" charset="0"/>
              </a:defRPr>
            </a:lvl3pPr>
            <a:lvl4pPr algn="ctr" rtl="0" eaLnBrk="0" fontAlgn="base" hangingPunct="0">
              <a:spcBef>
                <a:spcPct val="0"/>
              </a:spcBef>
              <a:spcAft>
                <a:spcPct val="0"/>
              </a:spcAft>
              <a:defRPr sz="5900">
                <a:solidFill>
                  <a:schemeClr val="tx1"/>
                </a:solidFill>
                <a:latin typeface="Calibri" pitchFamily="34" charset="0"/>
              </a:defRPr>
            </a:lvl4pPr>
            <a:lvl5pPr algn="ctr" rtl="0" eaLnBrk="0" fontAlgn="base" hangingPunct="0">
              <a:spcBef>
                <a:spcPct val="0"/>
              </a:spcBef>
              <a:spcAft>
                <a:spcPct val="0"/>
              </a:spcAft>
              <a:defRPr sz="5900">
                <a:solidFill>
                  <a:schemeClr val="tx1"/>
                </a:solidFill>
                <a:latin typeface="Calibri" pitchFamily="34" charset="0"/>
              </a:defRPr>
            </a:lvl5pPr>
            <a:lvl6pPr marL="609585" algn="ctr" rtl="0" fontAlgn="base">
              <a:spcBef>
                <a:spcPct val="0"/>
              </a:spcBef>
              <a:spcAft>
                <a:spcPct val="0"/>
              </a:spcAft>
              <a:defRPr sz="5900">
                <a:solidFill>
                  <a:schemeClr val="tx1"/>
                </a:solidFill>
                <a:latin typeface="Calibri" pitchFamily="34" charset="0"/>
              </a:defRPr>
            </a:lvl6pPr>
            <a:lvl7pPr marL="1219170" algn="ctr" rtl="0" fontAlgn="base">
              <a:spcBef>
                <a:spcPct val="0"/>
              </a:spcBef>
              <a:spcAft>
                <a:spcPct val="0"/>
              </a:spcAft>
              <a:defRPr sz="5900">
                <a:solidFill>
                  <a:schemeClr val="tx1"/>
                </a:solidFill>
                <a:latin typeface="Calibri" pitchFamily="34" charset="0"/>
              </a:defRPr>
            </a:lvl7pPr>
            <a:lvl8pPr marL="1828754" algn="ctr" rtl="0" fontAlgn="base">
              <a:spcBef>
                <a:spcPct val="0"/>
              </a:spcBef>
              <a:spcAft>
                <a:spcPct val="0"/>
              </a:spcAft>
              <a:defRPr sz="5900">
                <a:solidFill>
                  <a:schemeClr val="tx1"/>
                </a:solidFill>
                <a:latin typeface="Calibri" pitchFamily="34" charset="0"/>
              </a:defRPr>
            </a:lvl8pPr>
            <a:lvl9pPr marL="2438339" algn="ctr" rtl="0" fontAlgn="base">
              <a:spcBef>
                <a:spcPct val="0"/>
              </a:spcBef>
              <a:spcAft>
                <a:spcPct val="0"/>
              </a:spcAft>
              <a:defRPr sz="5900">
                <a:solidFill>
                  <a:schemeClr val="tx1"/>
                </a:solidFill>
                <a:latin typeface="Calibri" pitchFamily="34" charset="0"/>
              </a:defRPr>
            </a:lvl9pPr>
          </a:lstStyle>
          <a:p>
            <a:pPr algn="l" defTabSz="911474" eaLnBrk="1" hangingPunct="1">
              <a:defRPr/>
            </a:pPr>
            <a:r>
              <a:rPr lang="es-ES" altLang="es-ES" sz="1800" b="1" dirty="0">
                <a:solidFill>
                  <a:srgbClr val="003042"/>
                </a:solidFill>
                <a:latin typeface="Calibri Light" panose="020F0302020204030204" pitchFamily="34" charset="0"/>
                <a:ea typeface="MS PGothic" panose="020B0600070205080204" pitchFamily="34" charset="-128"/>
                <a:cs typeface="Calibri Light" panose="020F0302020204030204" pitchFamily="34" charset="0"/>
              </a:rPr>
              <a:t>ELEMENTOS</a:t>
            </a:r>
          </a:p>
        </p:txBody>
      </p:sp>
      <p:sp>
        <p:nvSpPr>
          <p:cNvPr id="86" name="Rectángulo 85">
            <a:extLst>
              <a:ext uri="{FF2B5EF4-FFF2-40B4-BE49-F238E27FC236}">
                <a16:creationId xmlns:a16="http://schemas.microsoft.com/office/drawing/2014/main" id="{F931D237-7A4C-B04E-BD5D-481668AB9C40}"/>
              </a:ext>
            </a:extLst>
          </p:cNvPr>
          <p:cNvSpPr/>
          <p:nvPr/>
        </p:nvSpPr>
        <p:spPr>
          <a:xfrm>
            <a:off x="8713204" y="1989198"/>
            <a:ext cx="2990711" cy="3416320"/>
          </a:xfrm>
          <a:prstGeom prst="rect">
            <a:avLst/>
          </a:prstGeom>
        </p:spPr>
        <p:txBody>
          <a:bodyPr wrap="square">
            <a:spAutoFit/>
          </a:bodyPr>
          <a:lstStyle/>
          <a:p>
            <a:pPr marL="285764" indent="-285764" defTabSz="914409">
              <a:buClr>
                <a:srgbClr val="44546A"/>
              </a:buClr>
              <a:buFont typeface="Wingdings" panose="05000000000000000000" pitchFamily="2" charset="2"/>
              <a:buChar char="§"/>
              <a:defRPr/>
            </a:pPr>
            <a:r>
              <a:rPr lang="es-ES" sz="1200" b="1" dirty="0">
                <a:solidFill>
                  <a:srgbClr val="003245"/>
                </a:solidFill>
                <a:latin typeface="Telefonica" panose="00000500000000000000" pitchFamily="50" charset="0"/>
                <a:cs typeface="Arial" panose="020B0604020202020204" pitchFamily="34" charset="0"/>
              </a:rPr>
              <a:t>Pantalla táctil </a:t>
            </a:r>
            <a:r>
              <a:rPr lang="es-ES" sz="1200" dirty="0">
                <a:solidFill>
                  <a:srgbClr val="003245"/>
                </a:solidFill>
                <a:latin typeface="Telefonica" panose="00000500000000000000" pitchFamily="50" charset="0"/>
                <a:cs typeface="Arial" panose="020B0604020202020204" pitchFamily="34" charset="0"/>
              </a:rPr>
              <a:t>que consolida todos los dispositivos </a:t>
            </a:r>
          </a:p>
          <a:p>
            <a:pPr marL="285764" indent="-285764" defTabSz="914409">
              <a:buClr>
                <a:srgbClr val="44546A"/>
              </a:buClr>
              <a:buFont typeface="Wingdings" panose="05000000000000000000" pitchFamily="2" charset="2"/>
              <a:buChar char="§"/>
              <a:defRPr/>
            </a:pPr>
            <a:r>
              <a:rPr lang="es-ES" sz="1200" b="1" dirty="0">
                <a:solidFill>
                  <a:srgbClr val="003245"/>
                </a:solidFill>
                <a:latin typeface="Telefonica" panose="00000500000000000000" pitchFamily="50" charset="0"/>
                <a:cs typeface="Arial" panose="020B0604020202020204" pitchFamily="34" charset="0"/>
              </a:rPr>
              <a:t>Proyector</a:t>
            </a:r>
            <a:r>
              <a:rPr lang="es-ES" sz="1200" dirty="0">
                <a:solidFill>
                  <a:srgbClr val="003245"/>
                </a:solidFill>
                <a:latin typeface="Telefonica" panose="00000500000000000000" pitchFamily="50" charset="0"/>
                <a:cs typeface="Arial" panose="020B0604020202020204" pitchFamily="34" charset="0"/>
              </a:rPr>
              <a:t> de alta calidad</a:t>
            </a:r>
          </a:p>
          <a:p>
            <a:pPr marL="285764" indent="-285764" defTabSz="914409">
              <a:buClr>
                <a:srgbClr val="44546A"/>
              </a:buClr>
              <a:buFont typeface="Wingdings" panose="05000000000000000000" pitchFamily="2" charset="2"/>
              <a:buChar char="§"/>
              <a:defRPr/>
            </a:pPr>
            <a:r>
              <a:rPr lang="es-ES" sz="1200" b="1" dirty="0">
                <a:solidFill>
                  <a:srgbClr val="003245"/>
                </a:solidFill>
                <a:latin typeface="Telefonica" panose="00000500000000000000" pitchFamily="50" charset="0"/>
                <a:cs typeface="Arial" panose="020B0604020202020204" pitchFamily="34" charset="0"/>
              </a:rPr>
              <a:t>Pizarra colaborativa </a:t>
            </a:r>
            <a:r>
              <a:rPr lang="es-ES" sz="1200" dirty="0">
                <a:solidFill>
                  <a:srgbClr val="003245"/>
                </a:solidFill>
                <a:latin typeface="Telefonica" panose="00000500000000000000" pitchFamily="50" charset="0"/>
                <a:cs typeface="Arial" panose="020B0604020202020204" pitchFamily="34" charset="0"/>
              </a:rPr>
              <a:t>que permite al docente escribir y compartir contenidos en remoto y presencial</a:t>
            </a:r>
          </a:p>
          <a:p>
            <a:pPr marL="285764" indent="-285764" defTabSz="914409">
              <a:buClr>
                <a:srgbClr val="44546A"/>
              </a:buClr>
              <a:buFont typeface="Wingdings" panose="05000000000000000000" pitchFamily="2" charset="2"/>
              <a:buChar char="§"/>
              <a:defRPr/>
            </a:pPr>
            <a:r>
              <a:rPr lang="es-ES" sz="1200" b="1" dirty="0">
                <a:solidFill>
                  <a:srgbClr val="003245"/>
                </a:solidFill>
                <a:latin typeface="Telefonica" panose="00000500000000000000" pitchFamily="50" charset="0"/>
                <a:cs typeface="Arial" panose="020B0604020202020204" pitchFamily="34" charset="0"/>
              </a:rPr>
              <a:t>Cámaras</a:t>
            </a:r>
            <a:r>
              <a:rPr lang="es-ES" sz="1200" dirty="0">
                <a:solidFill>
                  <a:srgbClr val="003245"/>
                </a:solidFill>
                <a:latin typeface="Telefonica" panose="00000500000000000000" pitchFamily="50" charset="0"/>
                <a:cs typeface="Arial" panose="020B0604020202020204" pitchFamily="34" charset="0"/>
              </a:rPr>
              <a:t> de alta definición en </a:t>
            </a:r>
            <a:r>
              <a:rPr lang="es-ES" sz="1200" dirty="0" err="1">
                <a:solidFill>
                  <a:srgbClr val="003245"/>
                </a:solidFill>
                <a:latin typeface="Telefonica" panose="00000500000000000000" pitchFamily="50" charset="0"/>
                <a:cs typeface="Arial" panose="020B0604020202020204" pitchFamily="34" charset="0"/>
              </a:rPr>
              <a:t>Streaming</a:t>
            </a:r>
            <a:r>
              <a:rPr lang="es-ES" sz="1200" dirty="0">
                <a:solidFill>
                  <a:srgbClr val="003245"/>
                </a:solidFill>
                <a:latin typeface="Telefonica" panose="00000500000000000000" pitchFamily="50" charset="0"/>
                <a:cs typeface="Arial" panose="020B0604020202020204" pitchFamily="34" charset="0"/>
              </a:rPr>
              <a:t>, que garanticen la cobertura del profesor en todo momento.</a:t>
            </a:r>
          </a:p>
          <a:p>
            <a:pPr marL="285764" indent="-285764" defTabSz="914409">
              <a:buClr>
                <a:srgbClr val="44546A"/>
              </a:buClr>
              <a:buFont typeface="Wingdings" panose="05000000000000000000" pitchFamily="2" charset="2"/>
              <a:buChar char="§"/>
              <a:defRPr/>
            </a:pPr>
            <a:r>
              <a:rPr lang="es-ES" sz="1200" b="1" dirty="0" err="1">
                <a:solidFill>
                  <a:srgbClr val="003245"/>
                </a:solidFill>
                <a:latin typeface="Telefonica" panose="00000500000000000000" pitchFamily="50" charset="0"/>
                <a:cs typeface="Arial" panose="020B0604020202020204" pitchFamily="34" charset="0"/>
              </a:rPr>
              <a:t>Microfonía</a:t>
            </a:r>
            <a:r>
              <a:rPr lang="es-ES" sz="1200" dirty="0">
                <a:solidFill>
                  <a:srgbClr val="003245"/>
                </a:solidFill>
                <a:latin typeface="Telefonica" panose="00000500000000000000" pitchFamily="50" charset="0"/>
                <a:cs typeface="Arial" panose="020B0604020202020204" pitchFamily="34" charset="0"/>
              </a:rPr>
              <a:t> direccional y </a:t>
            </a:r>
            <a:r>
              <a:rPr lang="es-ES" sz="1200" b="1" dirty="0">
                <a:solidFill>
                  <a:srgbClr val="003245"/>
                </a:solidFill>
                <a:latin typeface="Telefonica" panose="00000500000000000000" pitchFamily="50" charset="0"/>
                <a:cs typeface="Arial" panose="020B0604020202020204" pitchFamily="34" charset="0"/>
              </a:rPr>
              <a:t>sonorización</a:t>
            </a:r>
            <a:r>
              <a:rPr lang="es-ES" sz="1200" dirty="0">
                <a:solidFill>
                  <a:srgbClr val="003245"/>
                </a:solidFill>
                <a:latin typeface="Telefonica" panose="00000500000000000000" pitchFamily="50" charset="0"/>
                <a:cs typeface="Arial" panose="020B0604020202020204" pitchFamily="34" charset="0"/>
              </a:rPr>
              <a:t> adaptada a las características del aula con voz natural y sin eco </a:t>
            </a:r>
          </a:p>
          <a:p>
            <a:pPr marL="285764" indent="-285764" defTabSz="914409">
              <a:buClr>
                <a:srgbClr val="44546A"/>
              </a:buClr>
              <a:buFont typeface="Wingdings" panose="05000000000000000000" pitchFamily="2" charset="2"/>
              <a:buChar char="§"/>
              <a:defRPr/>
            </a:pPr>
            <a:r>
              <a:rPr lang="es-ES" sz="1200" dirty="0">
                <a:solidFill>
                  <a:srgbClr val="003245"/>
                </a:solidFill>
                <a:latin typeface="Telefonica" panose="00000500000000000000" pitchFamily="50" charset="0"/>
                <a:cs typeface="Arial" panose="020B0604020202020204" pitchFamily="34" charset="0"/>
              </a:rPr>
              <a:t>Sistemas de Control </a:t>
            </a:r>
            <a:r>
              <a:rPr lang="es-ES" sz="1200" b="1" dirty="0">
                <a:solidFill>
                  <a:srgbClr val="003245"/>
                </a:solidFill>
                <a:latin typeface="Telefonica" panose="00000500000000000000" pitchFamily="50" charset="0"/>
                <a:cs typeface="Arial" panose="020B0604020202020204" pitchFamily="34" charset="0"/>
              </a:rPr>
              <a:t>integrados con las plataformas de colaboración </a:t>
            </a:r>
            <a:r>
              <a:rPr lang="es-ES" sz="1200" dirty="0">
                <a:solidFill>
                  <a:srgbClr val="003245"/>
                </a:solidFill>
                <a:latin typeface="Telefonica" panose="00000500000000000000" pitchFamily="50" charset="0"/>
                <a:cs typeface="Arial" panose="020B0604020202020204" pitchFamily="34" charset="0"/>
              </a:rPr>
              <a:t>de la universidad (Zoom, </a:t>
            </a:r>
            <a:r>
              <a:rPr lang="es-ES" sz="1200" dirty="0" err="1">
                <a:solidFill>
                  <a:srgbClr val="003245"/>
                </a:solidFill>
                <a:latin typeface="Telefonica" panose="00000500000000000000" pitchFamily="50" charset="0"/>
                <a:cs typeface="Arial" panose="020B0604020202020204" pitchFamily="34" charset="0"/>
              </a:rPr>
              <a:t>Teams</a:t>
            </a:r>
            <a:r>
              <a:rPr lang="es-ES" sz="1200" dirty="0">
                <a:solidFill>
                  <a:srgbClr val="003245"/>
                </a:solidFill>
                <a:latin typeface="Telefonica" panose="00000500000000000000" pitchFamily="50" charset="0"/>
                <a:cs typeface="Arial" panose="020B0604020202020204" pitchFamily="34" charset="0"/>
              </a:rPr>
              <a:t>, </a:t>
            </a:r>
            <a:r>
              <a:rPr lang="es-ES" sz="1200" dirty="0" err="1">
                <a:solidFill>
                  <a:srgbClr val="003245"/>
                </a:solidFill>
                <a:latin typeface="Telefonica" panose="00000500000000000000" pitchFamily="50" charset="0"/>
                <a:cs typeface="Arial" panose="020B0604020202020204" pitchFamily="34" charset="0"/>
              </a:rPr>
              <a:t>Collaborate</a:t>
            </a:r>
            <a:r>
              <a:rPr lang="es-ES" sz="1200" dirty="0">
                <a:solidFill>
                  <a:srgbClr val="003245"/>
                </a:solidFill>
                <a:latin typeface="Telefonica" panose="00000500000000000000" pitchFamily="50" charset="0"/>
                <a:cs typeface="Arial" panose="020B0604020202020204" pitchFamily="34" charset="0"/>
              </a:rPr>
              <a:t>…)</a:t>
            </a:r>
          </a:p>
        </p:txBody>
      </p:sp>
      <p:pic>
        <p:nvPicPr>
          <p:cNvPr id="87" name="Imagen 86">
            <a:extLst>
              <a:ext uri="{FF2B5EF4-FFF2-40B4-BE49-F238E27FC236}">
                <a16:creationId xmlns:a16="http://schemas.microsoft.com/office/drawing/2014/main" id="{7F906486-DB73-1443-BD78-5F7B80A3895C}"/>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472685" y="2255798"/>
            <a:ext cx="5679633" cy="3136981"/>
          </a:xfrm>
          <a:prstGeom prst="rect">
            <a:avLst/>
          </a:prstGeom>
        </p:spPr>
      </p:pic>
      <p:grpSp>
        <p:nvGrpSpPr>
          <p:cNvPr id="88" name="Grupo 87">
            <a:extLst>
              <a:ext uri="{FF2B5EF4-FFF2-40B4-BE49-F238E27FC236}">
                <a16:creationId xmlns:a16="http://schemas.microsoft.com/office/drawing/2014/main" id="{0D621FE4-6647-D847-A439-EEA5E4F4E767}"/>
              </a:ext>
            </a:extLst>
          </p:cNvPr>
          <p:cNvGrpSpPr/>
          <p:nvPr/>
        </p:nvGrpSpPr>
        <p:grpSpPr>
          <a:xfrm>
            <a:off x="4096513" y="4059937"/>
            <a:ext cx="4152195" cy="2432003"/>
            <a:chOff x="1180486" y="1127450"/>
            <a:chExt cx="9038682" cy="5389566"/>
          </a:xfrm>
        </p:grpSpPr>
        <p:pic>
          <p:nvPicPr>
            <p:cNvPr id="89" name="Imagen 88">
              <a:extLst>
                <a:ext uri="{FF2B5EF4-FFF2-40B4-BE49-F238E27FC236}">
                  <a16:creationId xmlns:a16="http://schemas.microsoft.com/office/drawing/2014/main" id="{A76845DA-B372-2E4E-AAAC-F49FD1BECDA9}"/>
                </a:ext>
              </a:extLst>
            </p:cNvPr>
            <p:cNvPicPr>
              <a:picLocks noChangeAspect="1"/>
            </p:cNvPicPr>
            <p:nvPr/>
          </p:nvPicPr>
          <p:blipFill rotWithShape="1">
            <a:blip r:embed="rId7"/>
            <a:srcRect l="9682" t="16423" r="16181" b="4950"/>
            <a:stretch/>
          </p:blipFill>
          <p:spPr>
            <a:xfrm>
              <a:off x="1180486" y="1127450"/>
              <a:ext cx="9038682" cy="5389566"/>
            </a:xfrm>
            <a:prstGeom prst="rect">
              <a:avLst/>
            </a:prstGeom>
          </p:spPr>
        </p:pic>
        <p:sp>
          <p:nvSpPr>
            <p:cNvPr id="90" name="Rectángulo 89">
              <a:extLst>
                <a:ext uri="{FF2B5EF4-FFF2-40B4-BE49-F238E27FC236}">
                  <a16:creationId xmlns:a16="http://schemas.microsoft.com/office/drawing/2014/main" id="{5BEBDA12-80A2-5148-AB30-37B00D1F41F9}"/>
                </a:ext>
              </a:extLst>
            </p:cNvPr>
            <p:cNvSpPr/>
            <p:nvPr/>
          </p:nvSpPr>
          <p:spPr>
            <a:xfrm>
              <a:off x="7791450" y="2581275"/>
              <a:ext cx="776498" cy="2190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defRPr/>
              </a:pPr>
              <a:endParaRPr lang="es-ES">
                <a:solidFill>
                  <a:prstClr val="white"/>
                </a:solidFill>
                <a:latin typeface="Calibri" panose="020F0502020204030204"/>
              </a:endParaRPr>
            </a:p>
          </p:txBody>
        </p:sp>
        <p:sp>
          <p:nvSpPr>
            <p:cNvPr id="91" name="Rectángulo 90">
              <a:extLst>
                <a:ext uri="{FF2B5EF4-FFF2-40B4-BE49-F238E27FC236}">
                  <a16:creationId xmlns:a16="http://schemas.microsoft.com/office/drawing/2014/main" id="{E5B3DB83-A414-7C45-86BD-22F49DA641E9}"/>
                </a:ext>
              </a:extLst>
            </p:cNvPr>
            <p:cNvSpPr/>
            <p:nvPr/>
          </p:nvSpPr>
          <p:spPr>
            <a:xfrm>
              <a:off x="7819523" y="4895850"/>
              <a:ext cx="776498" cy="2190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defRPr/>
              </a:pPr>
              <a:endParaRPr lang="es-ES">
                <a:solidFill>
                  <a:prstClr val="white"/>
                </a:solidFill>
                <a:latin typeface="Calibri" panose="020F0502020204030204"/>
              </a:endParaRPr>
            </a:p>
          </p:txBody>
        </p:sp>
        <p:sp>
          <p:nvSpPr>
            <p:cNvPr id="92" name="Rectángulo 91">
              <a:extLst>
                <a:ext uri="{FF2B5EF4-FFF2-40B4-BE49-F238E27FC236}">
                  <a16:creationId xmlns:a16="http://schemas.microsoft.com/office/drawing/2014/main" id="{D651BE22-C7AB-4544-8573-52704EBB2D65}"/>
                </a:ext>
              </a:extLst>
            </p:cNvPr>
            <p:cNvSpPr/>
            <p:nvPr/>
          </p:nvSpPr>
          <p:spPr>
            <a:xfrm>
              <a:off x="7653599" y="6029325"/>
              <a:ext cx="776498" cy="2190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defRPr/>
              </a:pPr>
              <a:endParaRPr lang="es-ES">
                <a:solidFill>
                  <a:prstClr val="white"/>
                </a:solidFill>
                <a:latin typeface="Calibri" panose="020F0502020204030204"/>
              </a:endParaRPr>
            </a:p>
          </p:txBody>
        </p:sp>
        <p:sp>
          <p:nvSpPr>
            <p:cNvPr id="93" name="Rectángulo 92">
              <a:extLst>
                <a:ext uri="{FF2B5EF4-FFF2-40B4-BE49-F238E27FC236}">
                  <a16:creationId xmlns:a16="http://schemas.microsoft.com/office/drawing/2014/main" id="{862BA5D6-B626-364B-AD79-E376DB277B34}"/>
                </a:ext>
              </a:extLst>
            </p:cNvPr>
            <p:cNvSpPr/>
            <p:nvPr/>
          </p:nvSpPr>
          <p:spPr>
            <a:xfrm>
              <a:off x="3190875" y="5534025"/>
              <a:ext cx="1028700" cy="1444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defRPr/>
              </a:pPr>
              <a:endParaRPr lang="es-ES">
                <a:solidFill>
                  <a:prstClr val="white"/>
                </a:solidFill>
                <a:latin typeface="Calibri" panose="020F0502020204030204"/>
              </a:endParaRPr>
            </a:p>
          </p:txBody>
        </p:sp>
        <p:sp>
          <p:nvSpPr>
            <p:cNvPr id="94" name="Rectángulo 93">
              <a:extLst>
                <a:ext uri="{FF2B5EF4-FFF2-40B4-BE49-F238E27FC236}">
                  <a16:creationId xmlns:a16="http://schemas.microsoft.com/office/drawing/2014/main" id="{9D18B36A-486B-454A-BAEE-D25807827767}"/>
                </a:ext>
              </a:extLst>
            </p:cNvPr>
            <p:cNvSpPr/>
            <p:nvPr/>
          </p:nvSpPr>
          <p:spPr>
            <a:xfrm>
              <a:off x="2909677" y="4566917"/>
              <a:ext cx="776498" cy="2190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defRPr/>
              </a:pPr>
              <a:endParaRPr lang="es-ES">
                <a:solidFill>
                  <a:prstClr val="white"/>
                </a:solidFill>
                <a:latin typeface="Calibri" panose="020F0502020204030204"/>
              </a:endParaRPr>
            </a:p>
          </p:txBody>
        </p:sp>
        <p:sp>
          <p:nvSpPr>
            <p:cNvPr id="95" name="Rectángulo 94">
              <a:extLst>
                <a:ext uri="{FF2B5EF4-FFF2-40B4-BE49-F238E27FC236}">
                  <a16:creationId xmlns:a16="http://schemas.microsoft.com/office/drawing/2014/main" id="{2EFC6131-7445-D046-B676-75C76561E1C2}"/>
                </a:ext>
              </a:extLst>
            </p:cNvPr>
            <p:cNvSpPr/>
            <p:nvPr/>
          </p:nvSpPr>
          <p:spPr>
            <a:xfrm>
              <a:off x="2937750" y="3273502"/>
              <a:ext cx="776498" cy="2190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defRPr/>
              </a:pPr>
              <a:endParaRPr lang="es-ES">
                <a:solidFill>
                  <a:prstClr val="white"/>
                </a:solidFill>
                <a:latin typeface="Calibri" panose="020F0502020204030204"/>
              </a:endParaRPr>
            </a:p>
          </p:txBody>
        </p:sp>
        <p:sp>
          <p:nvSpPr>
            <p:cNvPr id="96" name="Rectángulo 95">
              <a:extLst>
                <a:ext uri="{FF2B5EF4-FFF2-40B4-BE49-F238E27FC236}">
                  <a16:creationId xmlns:a16="http://schemas.microsoft.com/office/drawing/2014/main" id="{BD4765CA-CBE8-DD44-A46C-59C9103AA2E3}"/>
                </a:ext>
              </a:extLst>
            </p:cNvPr>
            <p:cNvSpPr/>
            <p:nvPr/>
          </p:nvSpPr>
          <p:spPr>
            <a:xfrm>
              <a:off x="6553199" y="5773412"/>
              <a:ext cx="180975" cy="2035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defRPr/>
              </a:pPr>
              <a:endParaRPr lang="es-ES" dirty="0">
                <a:solidFill>
                  <a:prstClr val="white"/>
                </a:solidFill>
                <a:latin typeface="Calibri" panose="020F0502020204030204"/>
              </a:endParaRPr>
            </a:p>
          </p:txBody>
        </p:sp>
        <p:sp>
          <p:nvSpPr>
            <p:cNvPr id="97" name="Elipse 96">
              <a:extLst>
                <a:ext uri="{FF2B5EF4-FFF2-40B4-BE49-F238E27FC236}">
                  <a16:creationId xmlns:a16="http://schemas.microsoft.com/office/drawing/2014/main" id="{54C1BA3A-1016-794C-BE7D-AB6B52BA434E}"/>
                </a:ext>
              </a:extLst>
            </p:cNvPr>
            <p:cNvSpPr/>
            <p:nvPr/>
          </p:nvSpPr>
          <p:spPr>
            <a:xfrm>
              <a:off x="5505450" y="5730550"/>
              <a:ext cx="1143000" cy="117800"/>
            </a:xfrm>
            <a:prstGeom prst="ellipse">
              <a:avLst/>
            </a:prstGeom>
            <a:solidFill>
              <a:srgbClr val="F7C89A"/>
            </a:solidFill>
            <a:ln>
              <a:solidFill>
                <a:srgbClr val="F7C89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defRPr/>
              </a:pPr>
              <a:endParaRPr lang="es-ES">
                <a:solidFill>
                  <a:prstClr val="white"/>
                </a:solidFill>
                <a:latin typeface="Calibri" panose="020F0502020204030204"/>
              </a:endParaRPr>
            </a:p>
          </p:txBody>
        </p:sp>
      </p:grpSp>
      <p:grpSp>
        <p:nvGrpSpPr>
          <p:cNvPr id="23" name="Grupo 22">
            <a:extLst>
              <a:ext uri="{FF2B5EF4-FFF2-40B4-BE49-F238E27FC236}">
                <a16:creationId xmlns:a16="http://schemas.microsoft.com/office/drawing/2014/main" id="{5A7EBB89-F538-4C63-96A1-F06D3271839F}"/>
              </a:ext>
            </a:extLst>
          </p:cNvPr>
          <p:cNvGrpSpPr>
            <a:grpSpLocks/>
          </p:cNvGrpSpPr>
          <p:nvPr/>
        </p:nvGrpSpPr>
        <p:grpSpPr bwMode="auto">
          <a:xfrm>
            <a:off x="7568698" y="738277"/>
            <a:ext cx="3633940" cy="584776"/>
            <a:chOff x="1430096" y="328706"/>
            <a:chExt cx="3269177" cy="663214"/>
          </a:xfrm>
        </p:grpSpPr>
        <p:sp>
          <p:nvSpPr>
            <p:cNvPr id="24" name="Rectángulo 23">
              <a:extLst>
                <a:ext uri="{FF2B5EF4-FFF2-40B4-BE49-F238E27FC236}">
                  <a16:creationId xmlns:a16="http://schemas.microsoft.com/office/drawing/2014/main" id="{4568A52E-5524-48C0-A37B-8FA274D392D4}"/>
                </a:ext>
              </a:extLst>
            </p:cNvPr>
            <p:cNvSpPr/>
            <p:nvPr/>
          </p:nvSpPr>
          <p:spPr>
            <a:xfrm>
              <a:off x="1430096" y="374683"/>
              <a:ext cx="3269177" cy="540000"/>
            </a:xfrm>
            <a:prstGeom prst="rect">
              <a:avLst/>
            </a:prstGeom>
            <a:noFill/>
            <a:ln>
              <a:solidFill>
                <a:schemeClr val="accent4">
                  <a:lumMod val="40000"/>
                  <a:lumOff val="6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46">
                <a:defRPr/>
              </a:pPr>
              <a:endParaRPr lang="es-ES">
                <a:solidFill>
                  <a:srgbClr val="FFFFFF"/>
                </a:solidFill>
                <a:latin typeface="Source Sans Pro" panose="020B0503030403020204" pitchFamily="34" charset="0"/>
              </a:endParaRPr>
            </a:p>
          </p:txBody>
        </p:sp>
        <p:sp>
          <p:nvSpPr>
            <p:cNvPr id="25" name="CuadroTexto 24">
              <a:extLst>
                <a:ext uri="{FF2B5EF4-FFF2-40B4-BE49-F238E27FC236}">
                  <a16:creationId xmlns:a16="http://schemas.microsoft.com/office/drawing/2014/main" id="{A1670BA0-06F1-42D3-BDDD-7E09930A6459}"/>
                </a:ext>
              </a:extLst>
            </p:cNvPr>
            <p:cNvSpPr txBox="1"/>
            <p:nvPr/>
          </p:nvSpPr>
          <p:spPr bwMode="auto">
            <a:xfrm>
              <a:off x="1771678" y="328706"/>
              <a:ext cx="2848628" cy="663214"/>
            </a:xfrm>
            <a:prstGeom prst="rect">
              <a:avLst/>
            </a:prstGeom>
            <a:noFill/>
            <a:ln>
              <a:noFill/>
            </a:ln>
          </p:spPr>
          <p:txBody>
            <a:bodyPr>
              <a:spAutoFit/>
            </a:bodyPr>
            <a:lstStyle/>
            <a:p>
              <a:pPr defTabSz="914446">
                <a:defRPr/>
              </a:pPr>
              <a:r>
                <a:rPr lang="es-ES" sz="1600" b="1" dirty="0">
                  <a:solidFill>
                    <a:srgbClr val="003042"/>
                  </a:solidFill>
                  <a:latin typeface="Telefonica"/>
                  <a:cs typeface="Calibri" pitchFamily="34" charset="0"/>
                </a:rPr>
                <a:t>Modelo de atención Global</a:t>
              </a:r>
            </a:p>
          </p:txBody>
        </p:sp>
      </p:grpSp>
      <p:sp>
        <p:nvSpPr>
          <p:cNvPr id="26" name="Elipse 25">
            <a:extLst>
              <a:ext uri="{FF2B5EF4-FFF2-40B4-BE49-F238E27FC236}">
                <a16:creationId xmlns:a16="http://schemas.microsoft.com/office/drawing/2014/main" id="{BE6918D8-D870-4C68-85C0-90F7282766F1}"/>
              </a:ext>
            </a:extLst>
          </p:cNvPr>
          <p:cNvSpPr>
            <a:spLocks noChangeAspect="1"/>
          </p:cNvSpPr>
          <p:nvPr/>
        </p:nvSpPr>
        <p:spPr>
          <a:xfrm>
            <a:off x="7315304" y="376705"/>
            <a:ext cx="545310" cy="540000"/>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defRPr/>
            </a:pPr>
            <a:endParaRPr lang="es-ES">
              <a:solidFill>
                <a:srgbClr val="FFFFFF"/>
              </a:solidFill>
              <a:latin typeface="Telefonica"/>
            </a:endParaRPr>
          </a:p>
        </p:txBody>
      </p:sp>
      <p:sp>
        <p:nvSpPr>
          <p:cNvPr id="27" name="Elipse 26">
            <a:extLst>
              <a:ext uri="{FF2B5EF4-FFF2-40B4-BE49-F238E27FC236}">
                <a16:creationId xmlns:a16="http://schemas.microsoft.com/office/drawing/2014/main" id="{71659F02-68CF-4C29-AC2E-3BD2C85251FC}"/>
              </a:ext>
            </a:extLst>
          </p:cNvPr>
          <p:cNvSpPr>
            <a:spLocks noChangeAspect="1"/>
          </p:cNvSpPr>
          <p:nvPr/>
        </p:nvSpPr>
        <p:spPr>
          <a:xfrm>
            <a:off x="7368393" y="435394"/>
            <a:ext cx="432000" cy="427794"/>
          </a:xfrm>
          <a:prstGeom prst="ellipse">
            <a:avLst/>
          </a:prstGeom>
          <a:ln/>
        </p:spPr>
        <p:style>
          <a:lnRef idx="2">
            <a:schemeClr val="accent6"/>
          </a:lnRef>
          <a:fillRef idx="1">
            <a:schemeClr val="lt1"/>
          </a:fillRef>
          <a:effectRef idx="0">
            <a:schemeClr val="accent6"/>
          </a:effectRef>
          <a:fontRef idx="minor">
            <a:schemeClr val="dk1"/>
          </a:fontRef>
        </p:style>
        <p:txBody>
          <a:bodyPr rtlCol="0" anchor="ctr"/>
          <a:lstStyle/>
          <a:p>
            <a:pPr algn="ctr" defTabSz="914446">
              <a:defRPr/>
            </a:pPr>
            <a:endParaRPr lang="es-ES">
              <a:solidFill>
                <a:srgbClr val="FFFFFF"/>
              </a:solidFill>
              <a:latin typeface="Telefonica"/>
            </a:endParaRPr>
          </a:p>
        </p:txBody>
      </p:sp>
      <p:grpSp>
        <p:nvGrpSpPr>
          <p:cNvPr id="28" name="Grupo 27">
            <a:extLst>
              <a:ext uri="{FF2B5EF4-FFF2-40B4-BE49-F238E27FC236}">
                <a16:creationId xmlns:a16="http://schemas.microsoft.com/office/drawing/2014/main" id="{EC01BA61-BB24-4672-893A-1055FEADEE28}"/>
              </a:ext>
            </a:extLst>
          </p:cNvPr>
          <p:cNvGrpSpPr/>
          <p:nvPr/>
        </p:nvGrpSpPr>
        <p:grpSpPr>
          <a:xfrm>
            <a:off x="10809550" y="551643"/>
            <a:ext cx="1441762" cy="957508"/>
            <a:chOff x="11708186" y="914400"/>
            <a:chExt cx="1441762" cy="957508"/>
          </a:xfrm>
        </p:grpSpPr>
        <p:sp>
          <p:nvSpPr>
            <p:cNvPr id="29" name="Elipse 28">
              <a:extLst>
                <a:ext uri="{FF2B5EF4-FFF2-40B4-BE49-F238E27FC236}">
                  <a16:creationId xmlns:a16="http://schemas.microsoft.com/office/drawing/2014/main" id="{DF2CE9F7-E8D3-44F7-8191-CAE828417979}"/>
                </a:ext>
              </a:extLst>
            </p:cNvPr>
            <p:cNvSpPr/>
            <p:nvPr/>
          </p:nvSpPr>
          <p:spPr>
            <a:xfrm>
              <a:off x="11950313" y="914400"/>
              <a:ext cx="957508" cy="957508"/>
            </a:xfrm>
            <a:prstGeom prst="ellipse">
              <a:avLst/>
            </a:prstGeom>
            <a:ln w="19050"/>
          </p:spPr>
          <p:style>
            <a:lnRef idx="3">
              <a:schemeClr val="lt1"/>
            </a:lnRef>
            <a:fillRef idx="1">
              <a:schemeClr val="dk1"/>
            </a:fillRef>
            <a:effectRef idx="1">
              <a:schemeClr val="dk1"/>
            </a:effectRef>
            <a:fontRef idx="minor">
              <a:schemeClr val="lt1"/>
            </a:fontRef>
          </p:style>
          <p:txBody>
            <a:bodyPr rtlCol="0" anchor="ctr"/>
            <a:lstStyle/>
            <a:p>
              <a:pPr algn="ctr" defTabSz="914446">
                <a:defRPr/>
              </a:pPr>
              <a:endParaRPr lang="es-ES" sz="1400">
                <a:solidFill>
                  <a:srgbClr val="FFFFFF"/>
                </a:solidFill>
                <a:latin typeface="Telefonica"/>
              </a:endParaRPr>
            </a:p>
          </p:txBody>
        </p:sp>
        <p:sp>
          <p:nvSpPr>
            <p:cNvPr id="30" name="CuadroTexto 29">
              <a:extLst>
                <a:ext uri="{FF2B5EF4-FFF2-40B4-BE49-F238E27FC236}">
                  <a16:creationId xmlns:a16="http://schemas.microsoft.com/office/drawing/2014/main" id="{93163551-CA82-4212-B6C5-1929F0184734}"/>
                </a:ext>
              </a:extLst>
            </p:cNvPr>
            <p:cNvSpPr txBox="1"/>
            <p:nvPr/>
          </p:nvSpPr>
          <p:spPr bwMode="auto">
            <a:xfrm>
              <a:off x="11708186" y="1010172"/>
              <a:ext cx="1441762" cy="6001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rtlCol="0">
              <a:spAutoFit/>
            </a:bodyPr>
            <a:lstStyle/>
            <a:p>
              <a:pPr algn="ctr" defTabSz="914446">
                <a:defRPr/>
              </a:pPr>
              <a:r>
                <a:rPr lang="es-ES" sz="1100" dirty="0">
                  <a:solidFill>
                    <a:srgbClr val="FFFFFF"/>
                  </a:solidFill>
                  <a:latin typeface="Calibri" pitchFamily="34" charset="0"/>
                  <a:cs typeface="Calibri" pitchFamily="34" charset="0"/>
                </a:rPr>
                <a:t>Nuevo </a:t>
              </a:r>
            </a:p>
            <a:p>
              <a:pPr algn="ctr" defTabSz="914446">
                <a:defRPr/>
              </a:pPr>
              <a:r>
                <a:rPr lang="es-ES" sz="1100" dirty="0">
                  <a:solidFill>
                    <a:srgbClr val="FFFFFF"/>
                  </a:solidFill>
                  <a:latin typeface="Calibri" pitchFamily="34" charset="0"/>
                  <a:cs typeface="Calibri" pitchFamily="34" charset="0"/>
                </a:rPr>
                <a:t>Espacio de aprendizaje</a:t>
              </a:r>
            </a:p>
          </p:txBody>
        </p:sp>
      </p:grpSp>
      <p:pic>
        <p:nvPicPr>
          <p:cNvPr id="31" name="Gráfico 96" descr="Engranajes">
            <a:extLst>
              <a:ext uri="{FF2B5EF4-FFF2-40B4-BE49-F238E27FC236}">
                <a16:creationId xmlns:a16="http://schemas.microsoft.com/office/drawing/2014/main" id="{6E3F7EFE-41E8-4938-877F-81F55CCE2122}"/>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7378498" y="443783"/>
            <a:ext cx="425450" cy="427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Imagen 31" descr="Imagen que contiene Texto&#10;&#10;Descripción generada automáticamente">
            <a:extLst>
              <a:ext uri="{FF2B5EF4-FFF2-40B4-BE49-F238E27FC236}">
                <a16:creationId xmlns:a16="http://schemas.microsoft.com/office/drawing/2014/main" id="{B5DDF423-F58B-C641-AB4E-EA4DDD3EA95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0160" y="112383"/>
            <a:ext cx="1185333" cy="474133"/>
          </a:xfrm>
          <a:prstGeom prst="rect">
            <a:avLst/>
          </a:prstGeom>
        </p:spPr>
      </p:pic>
      <p:sp>
        <p:nvSpPr>
          <p:cNvPr id="33" name="Marcador de número de diapositiva 1"/>
          <p:cNvSpPr txBox="1">
            <a:spLocks/>
          </p:cNvSpPr>
          <p:nvPr/>
        </p:nvSpPr>
        <p:spPr>
          <a:xfrm>
            <a:off x="11704622" y="6458134"/>
            <a:ext cx="487378" cy="48134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dirty="0" smtClean="0">
                <a:solidFill>
                  <a:schemeClr val="bg1"/>
                </a:solidFill>
              </a:rPr>
              <a:t>54</a:t>
            </a:r>
            <a:endParaRPr lang="en-US" sz="2000" dirty="0">
              <a:solidFill>
                <a:schemeClr val="bg1"/>
              </a:solidFill>
            </a:endParaRPr>
          </a:p>
        </p:txBody>
      </p:sp>
    </p:spTree>
    <p:extLst>
      <p:ext uri="{BB962C8B-B14F-4D97-AF65-F5344CB8AC3E}">
        <p14:creationId xmlns:p14="http://schemas.microsoft.com/office/powerpoint/2010/main" val="3745926222"/>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Marcador de contenido 3">
            <a:extLst>
              <a:ext uri="{FF2B5EF4-FFF2-40B4-BE49-F238E27FC236}">
                <a16:creationId xmlns:a16="http://schemas.microsoft.com/office/drawing/2014/main" id="{C11C29C3-A66A-48FD-ADA2-9088B68995C3}"/>
              </a:ext>
            </a:extLst>
          </p:cNvPr>
          <p:cNvSpPr>
            <a:spLocks noGrp="1"/>
          </p:cNvSpPr>
          <p:nvPr>
            <p:ph sz="half" idx="14"/>
          </p:nvPr>
        </p:nvSpPr>
        <p:spPr>
          <a:xfrm>
            <a:off x="731814" y="634127"/>
            <a:ext cx="6902269" cy="707932"/>
          </a:xfrm>
        </p:spPr>
        <p:txBody>
          <a:bodyPr>
            <a:normAutofit/>
          </a:bodyPr>
          <a:lstStyle/>
          <a:p>
            <a:r>
              <a:rPr lang="es-ES" dirty="0">
                <a:solidFill>
                  <a:schemeClr val="accent1">
                    <a:lumMod val="75000"/>
                  </a:schemeClr>
                </a:solidFill>
                <a:latin typeface="Calibri" panose="020F0502020204030204" pitchFamily="34" charset="0"/>
                <a:cs typeface="Calibri" panose="020F0502020204030204" pitchFamily="34" charset="0"/>
              </a:rPr>
              <a:t>..con un modelo de atención </a:t>
            </a:r>
            <a:r>
              <a:rPr lang="es-ES" b="1" dirty="0">
                <a:solidFill>
                  <a:schemeClr val="accent1">
                    <a:lumMod val="75000"/>
                  </a:schemeClr>
                </a:solidFill>
                <a:latin typeface="Calibri" panose="020F0502020204030204" pitchFamily="34" charset="0"/>
                <a:cs typeface="Calibri" panose="020F0502020204030204" pitchFamily="34" charset="0"/>
              </a:rPr>
              <a:t>único y sencillo </a:t>
            </a:r>
            <a:r>
              <a:rPr lang="es-ES" dirty="0">
                <a:solidFill>
                  <a:schemeClr val="accent1">
                    <a:lumMod val="75000"/>
                  </a:schemeClr>
                </a:solidFill>
                <a:latin typeface="Calibri" panose="020F0502020204030204" pitchFamily="34" charset="0"/>
                <a:cs typeface="Calibri" panose="020F0502020204030204" pitchFamily="34" charset="0"/>
              </a:rPr>
              <a:t>para toda la Comunidad Educativa…</a:t>
            </a:r>
          </a:p>
        </p:txBody>
      </p:sp>
      <p:sp>
        <p:nvSpPr>
          <p:cNvPr id="68" name="Rectángulo 67">
            <a:extLst>
              <a:ext uri="{FF2B5EF4-FFF2-40B4-BE49-F238E27FC236}">
                <a16:creationId xmlns:a16="http://schemas.microsoft.com/office/drawing/2014/main" id="{5CE72742-4A0A-4786-8973-A17B9BFF2567}"/>
              </a:ext>
            </a:extLst>
          </p:cNvPr>
          <p:cNvSpPr/>
          <p:nvPr/>
        </p:nvSpPr>
        <p:spPr bwMode="auto">
          <a:xfrm>
            <a:off x="468218" y="4130069"/>
            <a:ext cx="8381014" cy="341851"/>
          </a:xfrm>
          <a:prstGeom prst="rect">
            <a:avLst/>
          </a:prstGeom>
          <a:solidFill>
            <a:schemeClr val="accent1">
              <a:lumMod val="60000"/>
              <a:lumOff val="40000"/>
              <a:alpha val="75686"/>
            </a:schemeClr>
          </a:solidFill>
          <a:ln w="38100" cap="flat" cmpd="sng" algn="ctr">
            <a:noFill/>
            <a:prstDash val="sysDash"/>
            <a:miter lim="800000"/>
          </a:ln>
          <a:effectLst/>
        </p:spPr>
        <p:txBody>
          <a:bodyPr rtlCol="0" anchor="ctr"/>
          <a:lstStyle/>
          <a:p>
            <a:pPr algn="ctr">
              <a:defRPr/>
            </a:pPr>
            <a:r>
              <a:rPr lang="es-ES" sz="2000" b="1" kern="0">
                <a:solidFill>
                  <a:sysClr val="windowText" lastClr="000000"/>
                </a:solidFill>
                <a:latin typeface="Helvetica Light"/>
              </a:rPr>
              <a:t>Centros técnicos soporte Nivel 2</a:t>
            </a:r>
          </a:p>
        </p:txBody>
      </p:sp>
      <p:sp>
        <p:nvSpPr>
          <p:cNvPr id="60" name="Rectángulo 59">
            <a:extLst>
              <a:ext uri="{FF2B5EF4-FFF2-40B4-BE49-F238E27FC236}">
                <a16:creationId xmlns:a16="http://schemas.microsoft.com/office/drawing/2014/main" id="{8356201F-961A-4FEB-BE2C-67716815FCE5}"/>
              </a:ext>
            </a:extLst>
          </p:cNvPr>
          <p:cNvSpPr/>
          <p:nvPr/>
        </p:nvSpPr>
        <p:spPr bwMode="auto">
          <a:xfrm>
            <a:off x="479830" y="3637686"/>
            <a:ext cx="8381014" cy="341851"/>
          </a:xfrm>
          <a:prstGeom prst="rect">
            <a:avLst/>
          </a:prstGeom>
          <a:solidFill>
            <a:srgbClr val="9128B6">
              <a:alpha val="75686"/>
            </a:srgbClr>
          </a:solidFill>
          <a:ln w="38100" cap="flat" cmpd="sng" algn="ctr">
            <a:noFill/>
            <a:prstDash val="sysDash"/>
            <a:miter lim="800000"/>
          </a:ln>
          <a:effectLst/>
        </p:spPr>
        <p:txBody>
          <a:bodyPr rtlCol="0" anchor="ctr"/>
          <a:lstStyle/>
          <a:p>
            <a:pPr>
              <a:defRPr/>
            </a:pPr>
            <a:endParaRPr lang="es-ES" sz="1600" kern="0">
              <a:solidFill>
                <a:sysClr val="windowText" lastClr="000000"/>
              </a:solidFill>
              <a:latin typeface="Helvetica Light"/>
            </a:endParaRPr>
          </a:p>
        </p:txBody>
      </p:sp>
      <p:sp>
        <p:nvSpPr>
          <p:cNvPr id="7" name="Rectangle 209">
            <a:extLst>
              <a:ext uri="{FF2B5EF4-FFF2-40B4-BE49-F238E27FC236}">
                <a16:creationId xmlns:a16="http://schemas.microsoft.com/office/drawing/2014/main" id="{BFE703D4-EA45-47BD-B260-2133DF1744E1}"/>
              </a:ext>
            </a:extLst>
          </p:cNvPr>
          <p:cNvSpPr/>
          <p:nvPr/>
        </p:nvSpPr>
        <p:spPr>
          <a:xfrm flipH="1">
            <a:off x="6254972" y="1978989"/>
            <a:ext cx="1261164" cy="1498500"/>
          </a:xfrm>
          <a:prstGeom prst="rect">
            <a:avLst/>
          </a:prstGeom>
          <a:solidFill>
            <a:srgbClr val="FFFFFF">
              <a:lumMod val="85000"/>
              <a:alpha val="76000"/>
            </a:srgbClr>
          </a:solidFill>
          <a:ln w="12700" cap="flat" cmpd="sng" algn="ctr">
            <a:noFill/>
            <a:prstDash val="solid"/>
            <a:miter lim="800000"/>
          </a:ln>
          <a:effectLst/>
        </p:spPr>
        <p:txBody>
          <a:bodyPr rtlCol="0" anchor="ctr"/>
          <a:lstStyle/>
          <a:p>
            <a:pPr>
              <a:defRPr/>
            </a:pPr>
            <a:endParaRPr lang="pt-PT" sz="1600" kern="0" dirty="0">
              <a:solidFill>
                <a:sysClr val="windowText" lastClr="000000"/>
              </a:solidFill>
              <a:latin typeface="Helvetica Light"/>
              <a:sym typeface="Helvetica Light"/>
            </a:endParaRPr>
          </a:p>
        </p:txBody>
      </p:sp>
      <p:sp>
        <p:nvSpPr>
          <p:cNvPr id="9" name="Rectángulo 8">
            <a:extLst>
              <a:ext uri="{FF2B5EF4-FFF2-40B4-BE49-F238E27FC236}">
                <a16:creationId xmlns:a16="http://schemas.microsoft.com/office/drawing/2014/main" id="{483A83CE-7CB3-469F-925D-C6246CE61C7B}"/>
              </a:ext>
            </a:extLst>
          </p:cNvPr>
          <p:cNvSpPr/>
          <p:nvPr/>
        </p:nvSpPr>
        <p:spPr bwMode="auto">
          <a:xfrm>
            <a:off x="4905608" y="1983775"/>
            <a:ext cx="1261166" cy="1506253"/>
          </a:xfrm>
          <a:prstGeom prst="rect">
            <a:avLst/>
          </a:prstGeom>
          <a:solidFill>
            <a:srgbClr val="FFFFFF">
              <a:lumMod val="50000"/>
            </a:srgbClr>
          </a:solidFill>
          <a:ln>
            <a:noFill/>
          </a:ln>
        </p:spPr>
        <p:txBody>
          <a:bodyPr lIns="0" tIns="0" rIns="0" bIns="0" rtlCol="0" anchor="ctr"/>
          <a:lstStyle/>
          <a:p>
            <a:pPr algn="ctr" defTabSz="914446">
              <a:defRPr/>
            </a:pPr>
            <a:endParaRPr lang="es-ES" sz="1600" kern="0">
              <a:solidFill>
                <a:srgbClr val="000000"/>
              </a:solidFill>
              <a:latin typeface="Calibri" panose="020F0502020204030204"/>
            </a:endParaRPr>
          </a:p>
        </p:txBody>
      </p:sp>
      <p:sp>
        <p:nvSpPr>
          <p:cNvPr id="10" name="Rectangle 209">
            <a:extLst>
              <a:ext uri="{FF2B5EF4-FFF2-40B4-BE49-F238E27FC236}">
                <a16:creationId xmlns:a16="http://schemas.microsoft.com/office/drawing/2014/main" id="{B3CC86FD-5062-40BD-AE35-86B1B966406D}"/>
              </a:ext>
            </a:extLst>
          </p:cNvPr>
          <p:cNvSpPr/>
          <p:nvPr/>
        </p:nvSpPr>
        <p:spPr>
          <a:xfrm flipH="1">
            <a:off x="470040" y="1388834"/>
            <a:ext cx="8426664" cy="482062"/>
          </a:xfrm>
          <a:prstGeom prst="rect">
            <a:avLst/>
          </a:prstGeom>
          <a:solidFill>
            <a:srgbClr val="5EC2BB">
              <a:alpha val="24000"/>
            </a:srgbClr>
          </a:solidFill>
          <a:ln w="12700" cap="flat" cmpd="sng" algn="ctr">
            <a:noFill/>
            <a:prstDash val="solid"/>
            <a:miter lim="800000"/>
          </a:ln>
          <a:effectLst/>
        </p:spPr>
        <p:txBody>
          <a:bodyPr rtlCol="0" anchor="ctr"/>
          <a:lstStyle/>
          <a:p>
            <a:pPr>
              <a:defRPr/>
            </a:pPr>
            <a:endParaRPr lang="pt-PT" sz="1600" kern="0">
              <a:solidFill>
                <a:sysClr val="windowText" lastClr="000000"/>
              </a:solidFill>
              <a:latin typeface="Helvetica Light"/>
              <a:sym typeface="Helvetica Light"/>
            </a:endParaRPr>
          </a:p>
        </p:txBody>
      </p:sp>
      <p:sp>
        <p:nvSpPr>
          <p:cNvPr id="11" name="Rectangle 209">
            <a:extLst>
              <a:ext uri="{FF2B5EF4-FFF2-40B4-BE49-F238E27FC236}">
                <a16:creationId xmlns:a16="http://schemas.microsoft.com/office/drawing/2014/main" id="{27E0D826-1372-4D90-A8F2-445410359988}"/>
              </a:ext>
            </a:extLst>
          </p:cNvPr>
          <p:cNvSpPr/>
          <p:nvPr/>
        </p:nvSpPr>
        <p:spPr>
          <a:xfrm flipH="1">
            <a:off x="470037" y="1980387"/>
            <a:ext cx="1602416" cy="1509207"/>
          </a:xfrm>
          <a:prstGeom prst="rect">
            <a:avLst/>
          </a:prstGeom>
          <a:solidFill>
            <a:srgbClr val="FFFFFF">
              <a:lumMod val="85000"/>
              <a:alpha val="76000"/>
            </a:srgbClr>
          </a:solidFill>
          <a:ln w="12700" cap="flat" cmpd="sng" algn="ctr">
            <a:noFill/>
            <a:prstDash val="solid"/>
            <a:miter lim="800000"/>
          </a:ln>
          <a:effectLst/>
        </p:spPr>
        <p:txBody>
          <a:bodyPr rtlCol="0" anchor="ctr"/>
          <a:lstStyle/>
          <a:p>
            <a:pPr>
              <a:defRPr/>
            </a:pPr>
            <a:endParaRPr lang="pt-PT" sz="1600" kern="0">
              <a:solidFill>
                <a:sysClr val="windowText" lastClr="000000"/>
              </a:solidFill>
              <a:latin typeface="Helvetica Light"/>
              <a:sym typeface="Helvetica Light"/>
            </a:endParaRPr>
          </a:p>
        </p:txBody>
      </p:sp>
      <p:sp>
        <p:nvSpPr>
          <p:cNvPr id="23" name="Rectángulo redondeado 77">
            <a:extLst>
              <a:ext uri="{FF2B5EF4-FFF2-40B4-BE49-F238E27FC236}">
                <a16:creationId xmlns:a16="http://schemas.microsoft.com/office/drawing/2014/main" id="{8F31B387-587C-4DD2-8009-925B3D43D6C6}"/>
              </a:ext>
            </a:extLst>
          </p:cNvPr>
          <p:cNvSpPr/>
          <p:nvPr/>
        </p:nvSpPr>
        <p:spPr>
          <a:xfrm>
            <a:off x="4601310" y="2069894"/>
            <a:ext cx="2361016" cy="2256782"/>
          </a:xfrm>
          <a:prstGeom prst="roundRect">
            <a:avLst>
              <a:gd name="adj" fmla="val 0"/>
            </a:avLst>
          </a:prstGeom>
          <a:noFill/>
          <a:ln w="12700" cap="flat" cmpd="sng" algn="ctr">
            <a:noFill/>
            <a:prstDash val="dash"/>
            <a:miter lim="800000"/>
          </a:ln>
          <a:effectLst/>
        </p:spPr>
        <p:txBody>
          <a:bodyPr rot="0" spcFirstLastPara="1" vertOverflow="overflow" horzOverflow="overflow" vert="horz" wrap="square" lIns="35719" tIns="35719" rIns="35719" bIns="35719" numCol="1" spcCol="38100" rtlCol="0" anchor="ctr">
            <a:noAutofit/>
          </a:bodyPr>
          <a:lstStyle/>
          <a:p>
            <a:pPr algn="ctr" defTabSz="410786" hangingPunct="0">
              <a:defRPr/>
            </a:pPr>
            <a:endParaRPr lang="es-ES" sz="1200" kern="0">
              <a:solidFill>
                <a:srgbClr val="FFFFFF"/>
              </a:solidFill>
              <a:latin typeface="Calibri"/>
              <a:sym typeface="Helvetica Light"/>
            </a:endParaRPr>
          </a:p>
        </p:txBody>
      </p:sp>
      <p:sp>
        <p:nvSpPr>
          <p:cNvPr id="24" name="Shape 157">
            <a:extLst>
              <a:ext uri="{FF2B5EF4-FFF2-40B4-BE49-F238E27FC236}">
                <a16:creationId xmlns:a16="http://schemas.microsoft.com/office/drawing/2014/main" id="{F29F64B1-45A6-4382-9CC2-DC6D61D13185}"/>
              </a:ext>
            </a:extLst>
          </p:cNvPr>
          <p:cNvSpPr/>
          <p:nvPr/>
        </p:nvSpPr>
        <p:spPr>
          <a:xfrm>
            <a:off x="126160" y="1989280"/>
            <a:ext cx="2361016" cy="360097"/>
          </a:xfrm>
          <a:prstGeom prst="rect">
            <a:avLst/>
          </a:prstGeom>
          <a:ln w="3175">
            <a:miter lim="400000"/>
          </a:ln>
          <a:extLst>
            <a:ext uri="{C572A759-6A51-4108-AA02-DFA0A04FC94B}">
              <ma14:wrappingTextBoxFlag xmlns:ma14="http://schemas.microsoft.com/office/mac/drawingml/2011/main" xmlns="" val="1"/>
            </a:ext>
          </a:extLst>
        </p:spPr>
        <p:txBody>
          <a:bodyPr wrap="square" lIns="68579" tIns="68579" rIns="68579" bIns="68579" anchor="ctr">
            <a:spAutoFit/>
          </a:bodyPr>
          <a:lstStyle/>
          <a:p>
            <a:pPr algn="ctr" defTabSz="964420" hangingPunct="0">
              <a:lnSpc>
                <a:spcPct val="90000"/>
              </a:lnSpc>
              <a:defRPr/>
            </a:pPr>
            <a:r>
              <a:rPr lang="es-ES" sz="1600" b="1" i="1" dirty="0">
                <a:solidFill>
                  <a:srgbClr val="003245"/>
                </a:solidFill>
                <a:latin typeface="Telefonica Headline Light" panose="02000506040000020004" pitchFamily="2" charset="0"/>
                <a:cs typeface="Calibri" panose="020F0502020204030204" pitchFamily="34" charset="0"/>
                <a:sym typeface="Trebuchet MS"/>
              </a:rPr>
              <a:t>Dispositivos</a:t>
            </a:r>
            <a:endParaRPr sz="1600" b="1" i="1" dirty="0">
              <a:solidFill>
                <a:srgbClr val="003245"/>
              </a:solidFill>
              <a:latin typeface="Telefonica Headline Light" panose="02000506040000020004" pitchFamily="2" charset="0"/>
              <a:cs typeface="Calibri" panose="020F0502020204030204" pitchFamily="34" charset="0"/>
              <a:sym typeface="Trebuchet MS"/>
            </a:endParaRPr>
          </a:p>
        </p:txBody>
      </p:sp>
      <p:pic>
        <p:nvPicPr>
          <p:cNvPr id="26" name="Gráfico 25" descr="Centro de llamadas">
            <a:extLst>
              <a:ext uri="{FF2B5EF4-FFF2-40B4-BE49-F238E27FC236}">
                <a16:creationId xmlns:a16="http://schemas.microsoft.com/office/drawing/2014/main" id="{DD592407-912C-452E-9996-572B6D451070}"/>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389776" y="1329455"/>
            <a:ext cx="551899" cy="551899"/>
          </a:xfrm>
          <a:prstGeom prst="rect">
            <a:avLst/>
          </a:prstGeom>
        </p:spPr>
      </p:pic>
      <p:pic>
        <p:nvPicPr>
          <p:cNvPr id="31" name="Picture 10" descr="http://cdn.mysitemyway.com/etc-mysitemyway/icons/legacy-previews/icons/glossy-black-icons-business/080921-glossy-black-icon-business-tools1.png">
            <a:extLst>
              <a:ext uri="{FF2B5EF4-FFF2-40B4-BE49-F238E27FC236}">
                <a16:creationId xmlns:a16="http://schemas.microsoft.com/office/drawing/2014/main" id="{929D5FDE-F9FA-4150-8910-33E5F8193311}"/>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985950" y="3928063"/>
            <a:ext cx="704503" cy="704504"/>
          </a:xfrm>
          <a:prstGeom prst="rect">
            <a:avLst/>
          </a:prstGeom>
          <a:noFill/>
          <a:extLst>
            <a:ext uri="{909E8E84-426E-40DD-AFC4-6F175D3DCCD1}">
              <a14:hiddenFill xmlns:a14="http://schemas.microsoft.com/office/drawing/2010/main">
                <a:solidFill>
                  <a:srgbClr val="FFFFFF"/>
                </a:solidFill>
              </a14:hiddenFill>
            </a:ext>
          </a:extLst>
        </p:spPr>
      </p:pic>
      <p:sp>
        <p:nvSpPr>
          <p:cNvPr id="32" name="CuadroTexto 31">
            <a:extLst>
              <a:ext uri="{FF2B5EF4-FFF2-40B4-BE49-F238E27FC236}">
                <a16:creationId xmlns:a16="http://schemas.microsoft.com/office/drawing/2014/main" id="{AEDE70C2-68A8-4FE4-83BB-E790ACAC3BCC}"/>
              </a:ext>
            </a:extLst>
          </p:cNvPr>
          <p:cNvSpPr txBox="1"/>
          <p:nvPr/>
        </p:nvSpPr>
        <p:spPr bwMode="auto">
          <a:xfrm>
            <a:off x="2976871" y="1449871"/>
            <a:ext cx="382765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defTabSz="410776" hangingPunct="0">
              <a:defRPr/>
            </a:pPr>
            <a:r>
              <a:rPr lang="es-ES_tradnl" sz="2000" b="1" kern="0">
                <a:solidFill>
                  <a:srgbClr val="003245"/>
                </a:solidFill>
                <a:latin typeface="Telefonica Headline Light" panose="02000506040000020004" pitchFamily="2" charset="0"/>
                <a:cs typeface="Calibri" pitchFamily="34" charset="0"/>
                <a:sym typeface="Helvetica Light"/>
              </a:rPr>
              <a:t>MODELO DE ATENCIÓN ÚNICO</a:t>
            </a:r>
            <a:endParaRPr lang="es-ES" sz="2000" b="1" kern="0">
              <a:solidFill>
                <a:srgbClr val="003245"/>
              </a:solidFill>
              <a:latin typeface="Telefonica Headline Light" panose="02000506040000020004" pitchFamily="2" charset="0"/>
              <a:cs typeface="Calibri" pitchFamily="34" charset="0"/>
              <a:sym typeface="Helvetica Light"/>
            </a:endParaRPr>
          </a:p>
        </p:txBody>
      </p:sp>
      <p:sp>
        <p:nvSpPr>
          <p:cNvPr id="33" name="Rectangle 209">
            <a:extLst>
              <a:ext uri="{FF2B5EF4-FFF2-40B4-BE49-F238E27FC236}">
                <a16:creationId xmlns:a16="http://schemas.microsoft.com/office/drawing/2014/main" id="{4EC9FB62-86E4-4503-8C26-0A8D9B53E5BD}"/>
              </a:ext>
            </a:extLst>
          </p:cNvPr>
          <p:cNvSpPr/>
          <p:nvPr/>
        </p:nvSpPr>
        <p:spPr>
          <a:xfrm flipH="1">
            <a:off x="2146349" y="1985044"/>
            <a:ext cx="2669265" cy="1506254"/>
          </a:xfrm>
          <a:prstGeom prst="rect">
            <a:avLst/>
          </a:prstGeom>
          <a:solidFill>
            <a:srgbClr val="5EC2BB">
              <a:alpha val="75686"/>
            </a:srgbClr>
          </a:solidFill>
          <a:ln w="12700" cap="flat" cmpd="sng" algn="ctr">
            <a:noFill/>
            <a:prstDash val="solid"/>
            <a:miter lim="800000"/>
          </a:ln>
          <a:effectLst/>
        </p:spPr>
        <p:txBody>
          <a:bodyPr rtlCol="0" anchor="ctr"/>
          <a:lstStyle/>
          <a:p>
            <a:pPr>
              <a:defRPr/>
            </a:pPr>
            <a:endParaRPr lang="pt-PT" sz="1600" kern="0">
              <a:solidFill>
                <a:sysClr val="windowText" lastClr="000000"/>
              </a:solidFill>
              <a:latin typeface="Helvetica Light"/>
              <a:sym typeface="Helvetica Light"/>
            </a:endParaRPr>
          </a:p>
        </p:txBody>
      </p:sp>
      <p:sp>
        <p:nvSpPr>
          <p:cNvPr id="37" name="Shape 157">
            <a:extLst>
              <a:ext uri="{FF2B5EF4-FFF2-40B4-BE49-F238E27FC236}">
                <a16:creationId xmlns:a16="http://schemas.microsoft.com/office/drawing/2014/main" id="{47C29F18-3E01-407D-95A9-68787294978F}"/>
              </a:ext>
            </a:extLst>
          </p:cNvPr>
          <p:cNvSpPr/>
          <p:nvPr/>
        </p:nvSpPr>
        <p:spPr>
          <a:xfrm>
            <a:off x="1982528" y="1988820"/>
            <a:ext cx="3078650" cy="360097"/>
          </a:xfrm>
          <a:prstGeom prst="rect">
            <a:avLst/>
          </a:prstGeom>
          <a:ln w="3175">
            <a:miter lim="400000"/>
          </a:ln>
          <a:extLst>
            <a:ext uri="{C572A759-6A51-4108-AA02-DFA0A04FC94B}">
              <ma14:wrappingTextBoxFlag xmlns:ma14="http://schemas.microsoft.com/office/mac/drawingml/2011/main" xmlns="" val="1"/>
            </a:ext>
          </a:extLst>
        </p:spPr>
        <p:txBody>
          <a:bodyPr wrap="square" lIns="68579" tIns="68579" rIns="68579" bIns="68579" anchor="ctr">
            <a:spAutoFit/>
          </a:bodyPr>
          <a:lstStyle/>
          <a:p>
            <a:pPr algn="ctr" defTabSz="964420" hangingPunct="0">
              <a:lnSpc>
                <a:spcPct val="90000"/>
              </a:lnSpc>
              <a:defRPr sz="3500">
                <a:solidFill>
                  <a:srgbClr val="003245"/>
                </a:solidFill>
                <a:latin typeface="Trebuchet MS"/>
                <a:ea typeface="Trebuchet MS"/>
                <a:cs typeface="Trebuchet MS"/>
                <a:sym typeface="Trebuchet MS"/>
              </a:defRPr>
            </a:pPr>
            <a:r>
              <a:rPr lang="es-ES" sz="1600" b="1" i="1" dirty="0">
                <a:solidFill>
                  <a:srgbClr val="003245"/>
                </a:solidFill>
                <a:latin typeface="Telefonica Headline Light" panose="02000506040000020004" pitchFamily="2" charset="0"/>
                <a:ea typeface="Trebuchet MS"/>
                <a:cs typeface="Calibri" panose="020F0502020204030204" pitchFamily="34" charset="0"/>
                <a:sym typeface="Trebuchet MS"/>
              </a:rPr>
              <a:t>Herramientas educativas</a:t>
            </a:r>
            <a:endParaRPr sz="1600" b="1" i="1" dirty="0">
              <a:solidFill>
                <a:srgbClr val="003245"/>
              </a:solidFill>
              <a:latin typeface="Telefonica Headline Light" panose="02000506040000020004" pitchFamily="2" charset="0"/>
              <a:ea typeface="Trebuchet MS"/>
              <a:cs typeface="Calibri" panose="020F0502020204030204" pitchFamily="34" charset="0"/>
              <a:sym typeface="Trebuchet MS"/>
            </a:endParaRPr>
          </a:p>
        </p:txBody>
      </p:sp>
      <p:pic>
        <p:nvPicPr>
          <p:cNvPr id="41" name="Imagen 40">
            <a:extLst>
              <a:ext uri="{FF2B5EF4-FFF2-40B4-BE49-F238E27FC236}">
                <a16:creationId xmlns:a16="http://schemas.microsoft.com/office/drawing/2014/main" id="{59B9E00C-4EE3-443D-B500-572CCEEF3D85}"/>
              </a:ext>
            </a:extLst>
          </p:cNvPr>
          <p:cNvPicPr>
            <a:picLocks noChangeAspect="1"/>
          </p:cNvPicPr>
          <p:nvPr/>
        </p:nvPicPr>
        <p:blipFill>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917821" y="2878859"/>
            <a:ext cx="416492" cy="416492"/>
          </a:xfrm>
          <a:prstGeom prst="rect">
            <a:avLst/>
          </a:prstGeom>
        </p:spPr>
      </p:pic>
      <p:pic>
        <p:nvPicPr>
          <p:cNvPr id="42" name="Picture 14" descr="Resultado de imagen de contenidos digitales icon">
            <a:extLst>
              <a:ext uri="{FF2B5EF4-FFF2-40B4-BE49-F238E27FC236}">
                <a16:creationId xmlns:a16="http://schemas.microsoft.com/office/drawing/2014/main" id="{D7BFFDFA-9377-4518-B5E2-8F7550422979}"/>
              </a:ext>
            </a:extLst>
          </p:cNvPr>
          <p:cNvPicPr>
            <a:picLocks noChangeAspect="1" noChangeArrowheads="1"/>
          </p:cNvPicPr>
          <p:nvPr/>
        </p:nvPicPr>
        <p:blipFill rotWithShape="1">
          <a:blip r:embed="rId7" cstate="email">
            <a:biLevel thresh="75000"/>
            <a:extLst>
              <a:ext uri="{28A0092B-C50C-407E-A947-70E740481C1C}">
                <a14:useLocalDpi xmlns:a14="http://schemas.microsoft.com/office/drawing/2010/main"/>
              </a:ext>
            </a:extLst>
          </a:blip>
          <a:srcRect l="20376" r="21179"/>
          <a:stretch/>
        </p:blipFill>
        <p:spPr bwMode="auto">
          <a:xfrm>
            <a:off x="2491775" y="2849297"/>
            <a:ext cx="711704" cy="469701"/>
          </a:xfrm>
          <a:prstGeom prst="rect">
            <a:avLst/>
          </a:prstGeom>
          <a:noFill/>
          <a:extLst>
            <a:ext uri="{909E8E84-426E-40DD-AFC4-6F175D3DCCD1}">
              <a14:hiddenFill xmlns:a14="http://schemas.microsoft.com/office/drawing/2010/main">
                <a:solidFill>
                  <a:srgbClr val="FFFFFF"/>
                </a:solidFill>
              </a14:hiddenFill>
            </a:ext>
          </a:extLst>
        </p:spPr>
      </p:pic>
      <p:sp>
        <p:nvSpPr>
          <p:cNvPr id="43" name="Shape 157">
            <a:extLst>
              <a:ext uri="{FF2B5EF4-FFF2-40B4-BE49-F238E27FC236}">
                <a16:creationId xmlns:a16="http://schemas.microsoft.com/office/drawing/2014/main" id="{DA6D333D-2B2E-42ED-8718-72AF9F23F96A}"/>
              </a:ext>
            </a:extLst>
          </p:cNvPr>
          <p:cNvSpPr/>
          <p:nvPr/>
        </p:nvSpPr>
        <p:spPr>
          <a:xfrm>
            <a:off x="6128215" y="2020820"/>
            <a:ext cx="1492079" cy="360097"/>
          </a:xfrm>
          <a:prstGeom prst="rect">
            <a:avLst/>
          </a:prstGeom>
          <a:ln w="3175">
            <a:miter lim="400000"/>
          </a:ln>
          <a:extLst>
            <a:ext uri="{C572A759-6A51-4108-AA02-DFA0A04FC94B}">
              <ma14:wrappingTextBoxFlag xmlns:ma14="http://schemas.microsoft.com/office/mac/drawingml/2011/main" xmlns="" val="1"/>
            </a:ext>
          </a:extLst>
        </p:spPr>
        <p:txBody>
          <a:bodyPr wrap="square" lIns="68579" tIns="68579" rIns="68579" bIns="68579" anchor="ctr">
            <a:spAutoFit/>
          </a:bodyPr>
          <a:lstStyle/>
          <a:p>
            <a:pPr algn="ctr" defTabSz="964420" hangingPunct="0">
              <a:lnSpc>
                <a:spcPct val="90000"/>
              </a:lnSpc>
              <a:defRPr sz="3500">
                <a:solidFill>
                  <a:srgbClr val="003245"/>
                </a:solidFill>
                <a:latin typeface="Trebuchet MS"/>
                <a:ea typeface="Trebuchet MS"/>
                <a:cs typeface="Trebuchet MS"/>
                <a:sym typeface="Trebuchet MS"/>
              </a:defRPr>
            </a:pPr>
            <a:r>
              <a:rPr lang="es-ES" sz="1600" b="1" i="1" dirty="0">
                <a:solidFill>
                  <a:srgbClr val="003245"/>
                </a:solidFill>
                <a:latin typeface="Telefonica Headline Light" panose="02000506040000020004" pitchFamily="2" charset="0"/>
                <a:ea typeface="Trebuchet MS"/>
                <a:cs typeface="Calibri" panose="020F0502020204030204" pitchFamily="34" charset="0"/>
                <a:sym typeface="Trebuchet MS"/>
              </a:rPr>
              <a:t>Contenidos</a:t>
            </a:r>
            <a:endParaRPr sz="1600" b="1" i="1" dirty="0">
              <a:solidFill>
                <a:srgbClr val="003245"/>
              </a:solidFill>
              <a:latin typeface="Telefonica Headline Light" panose="02000506040000020004" pitchFamily="2" charset="0"/>
              <a:ea typeface="Trebuchet MS"/>
              <a:cs typeface="Calibri" panose="020F0502020204030204" pitchFamily="34" charset="0"/>
              <a:sym typeface="Trebuchet MS"/>
            </a:endParaRPr>
          </a:p>
        </p:txBody>
      </p:sp>
      <p:sp>
        <p:nvSpPr>
          <p:cNvPr id="45" name="CuadroTexto 44">
            <a:extLst>
              <a:ext uri="{FF2B5EF4-FFF2-40B4-BE49-F238E27FC236}">
                <a16:creationId xmlns:a16="http://schemas.microsoft.com/office/drawing/2014/main" id="{660BD6F7-4607-4CB2-9E33-7CB9B368A2AD}"/>
              </a:ext>
            </a:extLst>
          </p:cNvPr>
          <p:cNvSpPr txBox="1"/>
          <p:nvPr/>
        </p:nvSpPr>
        <p:spPr bwMode="auto">
          <a:xfrm>
            <a:off x="2205437" y="2377117"/>
            <a:ext cx="1246651"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2489">
                <a:solidFill>
                  <a:srgbClr val="003245"/>
                </a:solidFill>
                <a:cs typeface="Calibri" pitchFamily="34" charset="0"/>
              </a:defRPr>
            </a:lvl1pPr>
          </a:lstStyle>
          <a:p>
            <a:pPr algn="ctr" defTabSz="410776" hangingPunct="0">
              <a:defRPr/>
            </a:pPr>
            <a:r>
              <a:rPr lang="es-ES_tradnl" sz="1600" b="1" kern="0">
                <a:latin typeface="Telefonica Headline Light" panose="02000506040000020004" pitchFamily="2" charset="0"/>
                <a:sym typeface="Helvetica Light"/>
              </a:rPr>
              <a:t>SW Colaboración</a:t>
            </a:r>
          </a:p>
        </p:txBody>
      </p:sp>
      <p:sp>
        <p:nvSpPr>
          <p:cNvPr id="46" name="CuadroTexto 45">
            <a:extLst>
              <a:ext uri="{FF2B5EF4-FFF2-40B4-BE49-F238E27FC236}">
                <a16:creationId xmlns:a16="http://schemas.microsoft.com/office/drawing/2014/main" id="{61075898-BA39-4CF9-A687-4C245AF08680}"/>
              </a:ext>
            </a:extLst>
          </p:cNvPr>
          <p:cNvSpPr txBox="1"/>
          <p:nvPr/>
        </p:nvSpPr>
        <p:spPr bwMode="auto">
          <a:xfrm>
            <a:off x="3438186" y="2389257"/>
            <a:ext cx="1246651"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lang="en-US" sz="1800" b="0" i="0" u="none" strike="noStrike" cap="none" spc="0" normalizeH="0" baseline="0">
                <a:ln>
                  <a:noFill/>
                </a:ln>
                <a:solidFill>
                  <a:srgbClr val="000000"/>
                </a:solidFill>
                <a:effectLst/>
                <a:uFillTx/>
              </a:defRPr>
            </a:defPPr>
            <a:lvl1pPr marR="0" lvl="0" indent="0" algn="ctr" defTabSz="410755" fontAlgn="auto" hangingPunct="0">
              <a:lnSpc>
                <a:spcPct val="100000"/>
              </a:lnSpc>
              <a:spcBef>
                <a:spcPts val="0"/>
              </a:spcBef>
              <a:spcAft>
                <a:spcPts val="0"/>
              </a:spcAft>
              <a:buClrTx/>
              <a:buSzTx/>
              <a:buFontTx/>
              <a:buNone/>
              <a:tabLst/>
              <a:defRPr b="1" kern="0">
                <a:solidFill>
                  <a:srgbClr val="003245"/>
                </a:solidFill>
                <a:latin typeface="Telefonica Headline Light" panose="02000506040000020004" pitchFamily="2" charset="0"/>
                <a:cs typeface="Calibri" pitchFamily="34" charset="0"/>
              </a:defRPr>
            </a:lvl1pPr>
          </a:lstStyle>
          <a:p>
            <a:pPr defTabSz="410776">
              <a:defRPr/>
            </a:pPr>
            <a:r>
              <a:rPr lang="es-ES_tradnl" sz="1600">
                <a:sym typeface="Helvetica Light"/>
              </a:rPr>
              <a:t>SW Gestión Educativa</a:t>
            </a:r>
          </a:p>
        </p:txBody>
      </p:sp>
      <p:sp>
        <p:nvSpPr>
          <p:cNvPr id="47" name="Shape 157">
            <a:extLst>
              <a:ext uri="{FF2B5EF4-FFF2-40B4-BE49-F238E27FC236}">
                <a16:creationId xmlns:a16="http://schemas.microsoft.com/office/drawing/2014/main" id="{448A749C-0426-4897-AF16-B999132306BF}"/>
              </a:ext>
            </a:extLst>
          </p:cNvPr>
          <p:cNvSpPr/>
          <p:nvPr/>
        </p:nvSpPr>
        <p:spPr>
          <a:xfrm>
            <a:off x="2072453" y="3609571"/>
            <a:ext cx="5240136" cy="415496"/>
          </a:xfrm>
          <a:prstGeom prst="rect">
            <a:avLst/>
          </a:prstGeom>
          <a:ln w="3175">
            <a:miter lim="400000"/>
          </a:ln>
          <a:extLst>
            <a:ext uri="{C572A759-6A51-4108-AA02-DFA0A04FC94B}">
              <ma14:wrappingTextBoxFlag xmlns:ma14="http://schemas.microsoft.com/office/mac/drawingml/2011/main" xmlns="" val="1"/>
            </a:ext>
          </a:extLst>
        </p:spPr>
        <p:txBody>
          <a:bodyPr wrap="square" lIns="68579" tIns="68579" rIns="68579" bIns="68579" anchor="ctr">
            <a:spAutoFit/>
          </a:bodyPr>
          <a:lstStyle/>
          <a:p>
            <a:pPr algn="ctr" defTabSz="964420" hangingPunct="0">
              <a:lnSpc>
                <a:spcPct val="90000"/>
              </a:lnSpc>
              <a:defRPr sz="3500">
                <a:solidFill>
                  <a:srgbClr val="003245"/>
                </a:solidFill>
                <a:latin typeface="Trebuchet MS"/>
                <a:ea typeface="Trebuchet MS"/>
                <a:cs typeface="Trebuchet MS"/>
                <a:sym typeface="Trebuchet MS"/>
              </a:defRPr>
            </a:pPr>
            <a:r>
              <a:rPr lang="es-ES" sz="2000" b="1" i="1">
                <a:solidFill>
                  <a:srgbClr val="FFFFFF"/>
                </a:solidFill>
                <a:latin typeface="Telefonica Headline Light" panose="02000506040000020004" pitchFamily="2" charset="0"/>
                <a:ea typeface="Trebuchet MS"/>
                <a:cs typeface="Calibri" panose="020F0502020204030204" pitchFamily="34" charset="0"/>
                <a:sym typeface="Trebuchet MS"/>
              </a:rPr>
              <a:t>SEGURIDAD</a:t>
            </a:r>
            <a:endParaRPr sz="2000" b="1" i="1">
              <a:solidFill>
                <a:srgbClr val="FFFFFF"/>
              </a:solidFill>
              <a:latin typeface="Telefonica Headline Light" panose="02000506040000020004" pitchFamily="2" charset="0"/>
              <a:ea typeface="Trebuchet MS"/>
              <a:cs typeface="Calibri" panose="020F0502020204030204" pitchFamily="34" charset="0"/>
              <a:sym typeface="Trebuchet MS"/>
            </a:endParaRPr>
          </a:p>
        </p:txBody>
      </p:sp>
      <p:pic>
        <p:nvPicPr>
          <p:cNvPr id="54" name="Gráfico 53" descr="Libros">
            <a:extLst>
              <a:ext uri="{FF2B5EF4-FFF2-40B4-BE49-F238E27FC236}">
                <a16:creationId xmlns:a16="http://schemas.microsoft.com/office/drawing/2014/main" id="{C3D03A4D-A690-4964-813F-2844210C10BF}"/>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xmlns="" r:embed="rId9"/>
              </a:ext>
            </a:extLst>
          </a:blip>
          <a:stretch>
            <a:fillRect/>
          </a:stretch>
        </p:blipFill>
        <p:spPr>
          <a:xfrm>
            <a:off x="6541496" y="2651731"/>
            <a:ext cx="637603" cy="637603"/>
          </a:xfrm>
          <a:prstGeom prst="rect">
            <a:avLst/>
          </a:prstGeom>
        </p:spPr>
      </p:pic>
      <p:pic>
        <p:nvPicPr>
          <p:cNvPr id="55" name="Gráfico 54" descr="Enrutador inalámbrico">
            <a:extLst>
              <a:ext uri="{FF2B5EF4-FFF2-40B4-BE49-F238E27FC236}">
                <a16:creationId xmlns:a16="http://schemas.microsoft.com/office/drawing/2014/main" id="{59C310A8-040A-417C-A1BB-EC5916244C29}"/>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xmlns="" r:embed="rId11"/>
              </a:ext>
            </a:extLst>
          </a:blip>
          <a:stretch>
            <a:fillRect/>
          </a:stretch>
        </p:blipFill>
        <p:spPr>
          <a:xfrm>
            <a:off x="5125387" y="2516759"/>
            <a:ext cx="778593" cy="778593"/>
          </a:xfrm>
          <a:prstGeom prst="rect">
            <a:avLst/>
          </a:prstGeom>
        </p:spPr>
      </p:pic>
      <p:pic>
        <p:nvPicPr>
          <p:cNvPr id="49" name="Picture 6" descr="Resultado de imagen de logo candado">
            <a:extLst>
              <a:ext uri="{FF2B5EF4-FFF2-40B4-BE49-F238E27FC236}">
                <a16:creationId xmlns:a16="http://schemas.microsoft.com/office/drawing/2014/main" id="{53AF5F00-FA8F-453B-B697-EE8CB40D5E07}"/>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7381421" y="3554748"/>
            <a:ext cx="426916" cy="426916"/>
          </a:xfrm>
          <a:prstGeom prst="rect">
            <a:avLst/>
          </a:prstGeom>
          <a:noFill/>
          <a:extLst>
            <a:ext uri="{909E8E84-426E-40DD-AFC4-6F175D3DCCD1}">
              <a14:hiddenFill xmlns:a14="http://schemas.microsoft.com/office/drawing/2010/main">
                <a:solidFill>
                  <a:srgbClr val="FFFFFF"/>
                </a:solidFill>
              </a14:hiddenFill>
            </a:ext>
          </a:extLst>
        </p:spPr>
      </p:pic>
      <p:sp>
        <p:nvSpPr>
          <p:cNvPr id="59" name="Shape 157">
            <a:extLst>
              <a:ext uri="{FF2B5EF4-FFF2-40B4-BE49-F238E27FC236}">
                <a16:creationId xmlns:a16="http://schemas.microsoft.com/office/drawing/2014/main" id="{C50D5A9D-4070-497C-808D-B63518743378}"/>
              </a:ext>
            </a:extLst>
          </p:cNvPr>
          <p:cNvSpPr/>
          <p:nvPr/>
        </p:nvSpPr>
        <p:spPr>
          <a:xfrm>
            <a:off x="3996866" y="2018837"/>
            <a:ext cx="3078650" cy="360097"/>
          </a:xfrm>
          <a:prstGeom prst="rect">
            <a:avLst/>
          </a:prstGeom>
          <a:ln w="3175">
            <a:miter lim="400000"/>
          </a:ln>
          <a:extLst>
            <a:ext uri="{C572A759-6A51-4108-AA02-DFA0A04FC94B}">
              <ma14:wrappingTextBoxFlag xmlns:ma14="http://schemas.microsoft.com/office/mac/drawingml/2011/main" xmlns="" val="1"/>
            </a:ext>
          </a:extLst>
        </p:spPr>
        <p:txBody>
          <a:bodyPr wrap="square" lIns="68579" tIns="68579" rIns="68579" bIns="68579" anchor="ctr">
            <a:spAutoFit/>
          </a:bodyPr>
          <a:lstStyle/>
          <a:p>
            <a:pPr algn="ctr" defTabSz="964420" hangingPunct="0">
              <a:lnSpc>
                <a:spcPct val="90000"/>
              </a:lnSpc>
              <a:defRPr sz="3500">
                <a:solidFill>
                  <a:srgbClr val="003245"/>
                </a:solidFill>
                <a:latin typeface="Trebuchet MS"/>
                <a:ea typeface="Trebuchet MS"/>
                <a:cs typeface="Trebuchet MS"/>
                <a:sym typeface="Trebuchet MS"/>
              </a:defRPr>
            </a:pPr>
            <a:r>
              <a:rPr lang="es-ES" sz="1600" b="1" i="1" dirty="0">
                <a:solidFill>
                  <a:srgbClr val="FFFFFF"/>
                </a:solidFill>
                <a:latin typeface="Telefonica Headline Light" panose="02000506040000020004" pitchFamily="2" charset="0"/>
                <a:ea typeface="Trebuchet MS"/>
                <a:cs typeface="Calibri" panose="020F0502020204030204" pitchFamily="34" charset="0"/>
                <a:sym typeface="Trebuchet MS"/>
              </a:rPr>
              <a:t>Conectividad</a:t>
            </a:r>
            <a:endParaRPr sz="1600" b="1" i="1" dirty="0">
              <a:solidFill>
                <a:srgbClr val="FFFFFF"/>
              </a:solidFill>
              <a:latin typeface="Telefonica Headline Light" panose="02000506040000020004" pitchFamily="2" charset="0"/>
              <a:ea typeface="Trebuchet MS"/>
              <a:cs typeface="Calibri" panose="020F0502020204030204" pitchFamily="34" charset="0"/>
              <a:sym typeface="Trebuchet MS"/>
            </a:endParaRPr>
          </a:p>
        </p:txBody>
      </p:sp>
      <p:pic>
        <p:nvPicPr>
          <p:cNvPr id="63" name="Gráfico 3" descr="Equipo">
            <a:extLst>
              <a:ext uri="{FF2B5EF4-FFF2-40B4-BE49-F238E27FC236}">
                <a16:creationId xmlns:a16="http://schemas.microsoft.com/office/drawing/2014/main" id="{18FF48D7-5087-4C9D-B4AE-6C1D4ABD3006}"/>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637107" y="2297290"/>
            <a:ext cx="587557" cy="587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Gráfico 9" descr="Portátil">
            <a:extLst>
              <a:ext uri="{FF2B5EF4-FFF2-40B4-BE49-F238E27FC236}">
                <a16:creationId xmlns:a16="http://schemas.microsoft.com/office/drawing/2014/main" id="{119AECB7-446C-4695-90C9-64824D720298}"/>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1275667" y="2301371"/>
            <a:ext cx="587557" cy="587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 name="Gráfico 17" descr="Tableta">
            <a:extLst>
              <a:ext uri="{FF2B5EF4-FFF2-40B4-BE49-F238E27FC236}">
                <a16:creationId xmlns:a16="http://schemas.microsoft.com/office/drawing/2014/main" id="{645B669D-D56B-4622-B693-E85482AE0454}"/>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651388" y="2902188"/>
            <a:ext cx="587557" cy="587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 name="Gráfico 21" descr="Fotocopiadora">
            <a:extLst>
              <a:ext uri="{FF2B5EF4-FFF2-40B4-BE49-F238E27FC236}">
                <a16:creationId xmlns:a16="http://schemas.microsoft.com/office/drawing/2014/main" id="{3899F71F-FC9B-4E95-B132-15F9C81D3BE0}"/>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1258268" y="2857268"/>
            <a:ext cx="587557" cy="587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10" descr="http://cdn.mysitemyway.com/etc-mysitemyway/icons/legacy-previews/icons/glossy-black-icons-business/080921-glossy-black-icon-business-tools1.png">
            <a:extLst>
              <a:ext uri="{FF2B5EF4-FFF2-40B4-BE49-F238E27FC236}">
                <a16:creationId xmlns:a16="http://schemas.microsoft.com/office/drawing/2014/main" id="{3F633779-0295-495C-BAD5-2FEFC54AB0ED}"/>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953682" y="1293170"/>
            <a:ext cx="704503" cy="704504"/>
          </a:xfrm>
          <a:prstGeom prst="rect">
            <a:avLst/>
          </a:prstGeom>
          <a:noFill/>
          <a:extLst>
            <a:ext uri="{909E8E84-426E-40DD-AFC4-6F175D3DCCD1}">
              <a14:hiddenFill xmlns:a14="http://schemas.microsoft.com/office/drawing/2010/main">
                <a:solidFill>
                  <a:srgbClr val="FFFFFF"/>
                </a:solidFill>
              </a14:hiddenFill>
            </a:ext>
          </a:extLst>
        </p:spPr>
      </p:pic>
      <p:sp>
        <p:nvSpPr>
          <p:cNvPr id="70" name="Rectángulo 69">
            <a:extLst>
              <a:ext uri="{FF2B5EF4-FFF2-40B4-BE49-F238E27FC236}">
                <a16:creationId xmlns:a16="http://schemas.microsoft.com/office/drawing/2014/main" id="{21CC6520-3684-4D59-BCBB-EE1B89D925F8}"/>
              </a:ext>
            </a:extLst>
          </p:cNvPr>
          <p:cNvSpPr/>
          <p:nvPr/>
        </p:nvSpPr>
        <p:spPr bwMode="auto">
          <a:xfrm>
            <a:off x="479830" y="4632116"/>
            <a:ext cx="3947832" cy="1958807"/>
          </a:xfrm>
          <a:prstGeom prst="rect">
            <a:avLst/>
          </a:prstGeom>
          <a:noFill/>
          <a:ln>
            <a:solidFill>
              <a:schemeClr val="accent4">
                <a:lumMod val="40000"/>
                <a:lumOff val="6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46">
              <a:defRPr/>
            </a:pPr>
            <a:endParaRPr lang="es-ES">
              <a:solidFill>
                <a:srgbClr val="FFFFFF"/>
              </a:solidFill>
              <a:latin typeface="Telefonica"/>
            </a:endParaRPr>
          </a:p>
        </p:txBody>
      </p:sp>
      <p:sp>
        <p:nvSpPr>
          <p:cNvPr id="72" name="CuadroTexto 71">
            <a:extLst>
              <a:ext uri="{FF2B5EF4-FFF2-40B4-BE49-F238E27FC236}">
                <a16:creationId xmlns:a16="http://schemas.microsoft.com/office/drawing/2014/main" id="{466C4A26-1C58-423E-8FA5-1DB60D7BD67B}"/>
              </a:ext>
            </a:extLst>
          </p:cNvPr>
          <p:cNvSpPr txBox="1"/>
          <p:nvPr/>
        </p:nvSpPr>
        <p:spPr bwMode="auto">
          <a:xfrm>
            <a:off x="611576" y="4757412"/>
            <a:ext cx="3885570" cy="1631216"/>
          </a:xfrm>
          <a:prstGeom prst="rect">
            <a:avLst/>
          </a:prstGeom>
          <a:noFill/>
          <a:ln>
            <a:noFill/>
          </a:ln>
        </p:spPr>
        <p:txBody>
          <a:bodyPr wrap="square">
            <a:spAutoFit/>
          </a:bodyPr>
          <a:lstStyle/>
          <a:p>
            <a:pPr defTabSz="914446">
              <a:defRPr/>
            </a:pPr>
            <a:r>
              <a:rPr lang="es-ES" sz="1600" b="1" dirty="0">
                <a:solidFill>
                  <a:srgbClr val="003042"/>
                </a:solidFill>
                <a:latin typeface="Telefonica"/>
                <a:cs typeface="Calibri" pitchFamily="34" charset="0"/>
              </a:rPr>
              <a:t>Gestión Unificada</a:t>
            </a:r>
          </a:p>
          <a:p>
            <a:pPr marL="285764" indent="-285764" defTabSz="914409">
              <a:buFont typeface="Arial" panose="020B0604020202020204" pitchFamily="34" charset="0"/>
              <a:buChar char="•"/>
              <a:defRPr/>
            </a:pPr>
            <a:r>
              <a:rPr lang="es-ES" sz="1400" b="1" dirty="0">
                <a:solidFill>
                  <a:srgbClr val="003042"/>
                </a:solidFill>
                <a:latin typeface="Telefonica"/>
                <a:cs typeface="Calibri" pitchFamily="34" charset="0"/>
              </a:rPr>
              <a:t>Punto único </a:t>
            </a:r>
            <a:r>
              <a:rPr lang="es-ES" sz="1400" dirty="0">
                <a:solidFill>
                  <a:srgbClr val="003042"/>
                </a:solidFill>
                <a:latin typeface="Telefonica"/>
                <a:cs typeface="Calibri" pitchFamily="34" charset="0"/>
              </a:rPr>
              <a:t>de contacto para toda la comunidad educativa.</a:t>
            </a:r>
          </a:p>
          <a:p>
            <a:pPr marL="742987" lvl="1" indent="-285764" defTabSz="914409">
              <a:buFont typeface="Arial" panose="020B0604020202020204" pitchFamily="34" charset="0"/>
              <a:buChar char="•"/>
              <a:defRPr/>
            </a:pPr>
            <a:r>
              <a:rPr lang="es-ES" sz="1400" dirty="0">
                <a:solidFill>
                  <a:srgbClr val="003042"/>
                </a:solidFill>
                <a:latin typeface="Telefonica"/>
                <a:cs typeface="Calibri" pitchFamily="34" charset="0"/>
              </a:rPr>
              <a:t>Soporte Operativo</a:t>
            </a:r>
          </a:p>
          <a:p>
            <a:pPr marL="742987" lvl="1" indent="-285764" defTabSz="914409">
              <a:buFont typeface="Arial" panose="020B0604020202020204" pitchFamily="34" charset="0"/>
              <a:buChar char="•"/>
              <a:defRPr/>
            </a:pPr>
            <a:r>
              <a:rPr lang="es-ES" sz="1400" dirty="0">
                <a:solidFill>
                  <a:srgbClr val="003042"/>
                </a:solidFill>
                <a:latin typeface="Telefonica"/>
                <a:cs typeface="Calibri" pitchFamily="34" charset="0"/>
              </a:rPr>
              <a:t>Dudas funcionales.</a:t>
            </a:r>
          </a:p>
          <a:p>
            <a:pPr marL="742987" lvl="1" indent="-285764" defTabSz="914409">
              <a:buFont typeface="Arial" panose="020B0604020202020204" pitchFamily="34" charset="0"/>
              <a:buChar char="•"/>
              <a:defRPr/>
            </a:pPr>
            <a:r>
              <a:rPr lang="es-ES" sz="1400" dirty="0">
                <a:solidFill>
                  <a:srgbClr val="003042"/>
                </a:solidFill>
                <a:latin typeface="Telefonica"/>
                <a:cs typeface="Calibri" pitchFamily="34" charset="0"/>
              </a:rPr>
              <a:t>Incidencias  plataformas tecnológicas.</a:t>
            </a:r>
          </a:p>
        </p:txBody>
      </p:sp>
      <p:sp>
        <p:nvSpPr>
          <p:cNvPr id="50" name="Rectángulo 49">
            <a:extLst>
              <a:ext uri="{FF2B5EF4-FFF2-40B4-BE49-F238E27FC236}">
                <a16:creationId xmlns:a16="http://schemas.microsoft.com/office/drawing/2014/main" id="{B595B1F1-E01D-47AF-9883-169C0442819F}"/>
              </a:ext>
            </a:extLst>
          </p:cNvPr>
          <p:cNvSpPr/>
          <p:nvPr/>
        </p:nvSpPr>
        <p:spPr bwMode="auto">
          <a:xfrm>
            <a:off x="4871147" y="4625784"/>
            <a:ext cx="3947832" cy="1965139"/>
          </a:xfrm>
          <a:prstGeom prst="rect">
            <a:avLst/>
          </a:prstGeom>
          <a:noFill/>
          <a:ln>
            <a:solidFill>
              <a:schemeClr val="accent4">
                <a:lumMod val="40000"/>
                <a:lumOff val="6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46">
              <a:defRPr/>
            </a:pPr>
            <a:endParaRPr lang="es-ES">
              <a:solidFill>
                <a:srgbClr val="FFFFFF"/>
              </a:solidFill>
              <a:latin typeface="Telefonica"/>
            </a:endParaRPr>
          </a:p>
        </p:txBody>
      </p:sp>
      <p:sp>
        <p:nvSpPr>
          <p:cNvPr id="51" name="CuadroTexto 50">
            <a:extLst>
              <a:ext uri="{FF2B5EF4-FFF2-40B4-BE49-F238E27FC236}">
                <a16:creationId xmlns:a16="http://schemas.microsoft.com/office/drawing/2014/main" id="{A7F25C91-9359-4605-B32D-26B32DF867E1}"/>
              </a:ext>
            </a:extLst>
          </p:cNvPr>
          <p:cNvSpPr txBox="1"/>
          <p:nvPr/>
        </p:nvSpPr>
        <p:spPr bwMode="auto">
          <a:xfrm>
            <a:off x="4941650" y="4720677"/>
            <a:ext cx="3885570" cy="1415772"/>
          </a:xfrm>
          <a:prstGeom prst="rect">
            <a:avLst/>
          </a:prstGeom>
          <a:noFill/>
          <a:ln>
            <a:noFill/>
          </a:ln>
        </p:spPr>
        <p:txBody>
          <a:bodyPr wrap="square">
            <a:spAutoFit/>
          </a:bodyPr>
          <a:lstStyle/>
          <a:p>
            <a:pPr defTabSz="914446">
              <a:defRPr/>
            </a:pPr>
            <a:r>
              <a:rPr lang="es-ES" sz="1600" b="1">
                <a:solidFill>
                  <a:srgbClr val="003042"/>
                </a:solidFill>
                <a:latin typeface="Telefonica"/>
                <a:cs typeface="Calibri" pitchFamily="34" charset="0"/>
              </a:rPr>
              <a:t>Atención personalizada</a:t>
            </a:r>
          </a:p>
          <a:p>
            <a:pPr marL="285764" indent="-285764" defTabSz="914409">
              <a:buFont typeface="Arial" panose="020B0604020202020204" pitchFamily="34" charset="0"/>
              <a:buChar char="•"/>
              <a:defRPr/>
            </a:pPr>
            <a:r>
              <a:rPr lang="es-ES" sz="1400">
                <a:solidFill>
                  <a:srgbClr val="003042"/>
                </a:solidFill>
                <a:latin typeface="Telefonica"/>
                <a:cs typeface="Calibri" pitchFamily="34" charset="0"/>
              </a:rPr>
              <a:t>Centro de atención exclusivamente dedicado al al Sector Educativo.</a:t>
            </a:r>
          </a:p>
          <a:p>
            <a:pPr marL="285764" indent="-285764" defTabSz="914409">
              <a:buFont typeface="Arial" panose="020B0604020202020204" pitchFamily="34" charset="0"/>
              <a:buChar char="•"/>
              <a:defRPr/>
            </a:pPr>
            <a:r>
              <a:rPr lang="es-ES" sz="1400">
                <a:solidFill>
                  <a:srgbClr val="003042"/>
                </a:solidFill>
                <a:latin typeface="Telefonica"/>
                <a:cs typeface="Calibri" pitchFamily="34" charset="0"/>
              </a:rPr>
              <a:t>Atención a Diferentes colectivos de la comunidad educativa (Responsable TIC, )</a:t>
            </a:r>
          </a:p>
          <a:p>
            <a:pPr marL="285764" indent="-285764" defTabSz="914409">
              <a:buFont typeface="Arial" panose="020B0604020202020204" pitchFamily="34" charset="0"/>
              <a:buChar char="•"/>
              <a:defRPr/>
            </a:pPr>
            <a:r>
              <a:rPr lang="es-ES" sz="1400">
                <a:solidFill>
                  <a:srgbClr val="003042"/>
                </a:solidFill>
                <a:latin typeface="Telefonica"/>
                <a:cs typeface="Calibri" pitchFamily="34" charset="0"/>
              </a:rPr>
              <a:t>Diferentes horarios y modelos de atención.</a:t>
            </a:r>
          </a:p>
        </p:txBody>
      </p:sp>
      <p:grpSp>
        <p:nvGrpSpPr>
          <p:cNvPr id="53" name="Grupo 52">
            <a:extLst>
              <a:ext uri="{FF2B5EF4-FFF2-40B4-BE49-F238E27FC236}">
                <a16:creationId xmlns:a16="http://schemas.microsoft.com/office/drawing/2014/main" id="{5FF49C73-78FB-4C8D-B5D1-162368D793B2}"/>
              </a:ext>
            </a:extLst>
          </p:cNvPr>
          <p:cNvGrpSpPr>
            <a:grpSpLocks/>
          </p:cNvGrpSpPr>
          <p:nvPr/>
        </p:nvGrpSpPr>
        <p:grpSpPr bwMode="auto">
          <a:xfrm>
            <a:off x="8376819" y="276967"/>
            <a:ext cx="2902018" cy="584773"/>
            <a:chOff x="1430096" y="336116"/>
            <a:chExt cx="3269177" cy="663214"/>
          </a:xfrm>
        </p:grpSpPr>
        <p:sp>
          <p:nvSpPr>
            <p:cNvPr id="56" name="Rectángulo 55">
              <a:extLst>
                <a:ext uri="{FF2B5EF4-FFF2-40B4-BE49-F238E27FC236}">
                  <a16:creationId xmlns:a16="http://schemas.microsoft.com/office/drawing/2014/main" id="{3E2E9D21-5AB4-4913-871E-F3C4E365B09B}"/>
                </a:ext>
              </a:extLst>
            </p:cNvPr>
            <p:cNvSpPr/>
            <p:nvPr/>
          </p:nvSpPr>
          <p:spPr>
            <a:xfrm>
              <a:off x="1430096" y="374683"/>
              <a:ext cx="3269177" cy="540000"/>
            </a:xfrm>
            <a:prstGeom prst="rect">
              <a:avLst/>
            </a:prstGeom>
            <a:noFill/>
            <a:ln>
              <a:solidFill>
                <a:schemeClr val="accent4">
                  <a:lumMod val="40000"/>
                  <a:lumOff val="6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46">
                <a:defRPr/>
              </a:pPr>
              <a:endParaRPr lang="es-ES">
                <a:solidFill>
                  <a:srgbClr val="FFFFFF"/>
                </a:solidFill>
                <a:latin typeface="Source Sans Pro" panose="020B0503030403020204" pitchFamily="34" charset="0"/>
              </a:endParaRPr>
            </a:p>
          </p:txBody>
        </p:sp>
        <p:sp>
          <p:nvSpPr>
            <p:cNvPr id="57" name="CuadroTexto 56">
              <a:extLst>
                <a:ext uri="{FF2B5EF4-FFF2-40B4-BE49-F238E27FC236}">
                  <a16:creationId xmlns:a16="http://schemas.microsoft.com/office/drawing/2014/main" id="{76BA9045-2D04-437C-A363-4EB73899001C}"/>
                </a:ext>
              </a:extLst>
            </p:cNvPr>
            <p:cNvSpPr txBox="1"/>
            <p:nvPr/>
          </p:nvSpPr>
          <p:spPr bwMode="auto">
            <a:xfrm>
              <a:off x="1818671" y="336116"/>
              <a:ext cx="2848628" cy="663214"/>
            </a:xfrm>
            <a:prstGeom prst="rect">
              <a:avLst/>
            </a:prstGeom>
            <a:noFill/>
            <a:ln>
              <a:noFill/>
            </a:ln>
          </p:spPr>
          <p:txBody>
            <a:bodyPr>
              <a:spAutoFit/>
            </a:bodyPr>
            <a:lstStyle/>
            <a:p>
              <a:pPr algn="ctr" defTabSz="914446">
                <a:defRPr/>
              </a:pPr>
              <a:r>
                <a:rPr lang="es-ES" sz="1600" b="1" dirty="0">
                  <a:solidFill>
                    <a:srgbClr val="003042"/>
                  </a:solidFill>
                  <a:latin typeface="Telefonica"/>
                  <a:cs typeface="Calibri" pitchFamily="34" charset="0"/>
                </a:rPr>
                <a:t>Modelo de </a:t>
              </a:r>
              <a:r>
                <a:rPr lang="es-ES" sz="1600" b="1" dirty="0" err="1">
                  <a:solidFill>
                    <a:srgbClr val="003042"/>
                  </a:solidFill>
                  <a:latin typeface="Telefonica"/>
                  <a:cs typeface="Calibri" pitchFamily="34" charset="0"/>
                </a:rPr>
                <a:t>atenció</a:t>
              </a:r>
              <a:r>
                <a:rPr lang="es-ES" sz="1600" b="1" dirty="0">
                  <a:solidFill>
                    <a:srgbClr val="003042"/>
                  </a:solidFill>
                  <a:latin typeface="Telefonica"/>
                  <a:cs typeface="Calibri" pitchFamily="34" charset="0"/>
                </a:rPr>
                <a:t>n Global</a:t>
              </a:r>
            </a:p>
          </p:txBody>
        </p:sp>
      </p:grpSp>
      <p:sp>
        <p:nvSpPr>
          <p:cNvPr id="58" name="Elipse 57">
            <a:extLst>
              <a:ext uri="{FF2B5EF4-FFF2-40B4-BE49-F238E27FC236}">
                <a16:creationId xmlns:a16="http://schemas.microsoft.com/office/drawing/2014/main" id="{58855A77-B39E-4AA2-9D94-41D8979F63A7}"/>
              </a:ext>
            </a:extLst>
          </p:cNvPr>
          <p:cNvSpPr>
            <a:spLocks noChangeAspect="1"/>
          </p:cNvSpPr>
          <p:nvPr/>
        </p:nvSpPr>
        <p:spPr>
          <a:xfrm>
            <a:off x="7863714" y="261694"/>
            <a:ext cx="545310" cy="540000"/>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46">
              <a:defRPr/>
            </a:pPr>
            <a:endParaRPr lang="es-ES">
              <a:solidFill>
                <a:srgbClr val="FFFFFF"/>
              </a:solidFill>
              <a:latin typeface="Telefonica"/>
            </a:endParaRPr>
          </a:p>
        </p:txBody>
      </p:sp>
      <p:pic>
        <p:nvPicPr>
          <p:cNvPr id="77" name="Gráfico 96" descr="Engranajes">
            <a:extLst>
              <a:ext uri="{FF2B5EF4-FFF2-40B4-BE49-F238E27FC236}">
                <a16:creationId xmlns:a16="http://schemas.microsoft.com/office/drawing/2014/main" id="{B5B5A216-8413-4AB7-BC0E-389C36BB9BC7}"/>
              </a:ext>
            </a:extLst>
          </p:cNvPr>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7951369" y="371430"/>
            <a:ext cx="425450" cy="427644"/>
          </a:xfrm>
          <a:prstGeom prst="rect">
            <a:avLst/>
          </a:prstGeom>
          <a:ln>
            <a:noFill/>
          </a:ln>
          <a:extLst/>
        </p:spPr>
        <p:style>
          <a:lnRef idx="2">
            <a:schemeClr val="accent5"/>
          </a:lnRef>
          <a:fillRef idx="1">
            <a:schemeClr val="lt1"/>
          </a:fillRef>
          <a:effectRef idx="0">
            <a:schemeClr val="accent5"/>
          </a:effectRef>
          <a:fontRef idx="minor">
            <a:schemeClr val="dk1"/>
          </a:fontRef>
        </p:style>
      </p:pic>
      <p:grpSp>
        <p:nvGrpSpPr>
          <p:cNvPr id="71" name="Grupo 70">
            <a:extLst>
              <a:ext uri="{FF2B5EF4-FFF2-40B4-BE49-F238E27FC236}">
                <a16:creationId xmlns:a16="http://schemas.microsoft.com/office/drawing/2014/main" id="{4E1FD065-A62B-4C7C-B5C6-78F655A9DBEA}"/>
              </a:ext>
            </a:extLst>
          </p:cNvPr>
          <p:cNvGrpSpPr/>
          <p:nvPr/>
        </p:nvGrpSpPr>
        <p:grpSpPr>
          <a:xfrm>
            <a:off x="10885750" y="83799"/>
            <a:ext cx="1441762" cy="957508"/>
            <a:chOff x="11708186" y="914400"/>
            <a:chExt cx="1441762" cy="957508"/>
          </a:xfrm>
        </p:grpSpPr>
        <p:sp>
          <p:nvSpPr>
            <p:cNvPr id="73" name="Elipse 72">
              <a:extLst>
                <a:ext uri="{FF2B5EF4-FFF2-40B4-BE49-F238E27FC236}">
                  <a16:creationId xmlns:a16="http://schemas.microsoft.com/office/drawing/2014/main" id="{6D44840B-533F-41DD-B7C7-B544838C49BF}"/>
                </a:ext>
              </a:extLst>
            </p:cNvPr>
            <p:cNvSpPr/>
            <p:nvPr/>
          </p:nvSpPr>
          <p:spPr>
            <a:xfrm>
              <a:off x="11950313" y="914400"/>
              <a:ext cx="957508" cy="957508"/>
            </a:xfrm>
            <a:prstGeom prst="ellipse">
              <a:avLst/>
            </a:prstGeom>
            <a:ln w="19050"/>
          </p:spPr>
          <p:style>
            <a:lnRef idx="3">
              <a:schemeClr val="lt1"/>
            </a:lnRef>
            <a:fillRef idx="1">
              <a:schemeClr val="dk1"/>
            </a:fillRef>
            <a:effectRef idx="1">
              <a:schemeClr val="dk1"/>
            </a:effectRef>
            <a:fontRef idx="minor">
              <a:schemeClr val="lt1"/>
            </a:fontRef>
          </p:style>
          <p:txBody>
            <a:bodyPr rtlCol="0" anchor="ctr"/>
            <a:lstStyle/>
            <a:p>
              <a:pPr algn="ctr" defTabSz="914446">
                <a:defRPr/>
              </a:pPr>
              <a:endParaRPr lang="es-ES">
                <a:solidFill>
                  <a:srgbClr val="FFFFFF"/>
                </a:solidFill>
                <a:latin typeface="Telefonica"/>
              </a:endParaRPr>
            </a:p>
          </p:txBody>
        </p:sp>
        <p:sp>
          <p:nvSpPr>
            <p:cNvPr id="74" name="CuadroTexto 73">
              <a:extLst>
                <a:ext uri="{FF2B5EF4-FFF2-40B4-BE49-F238E27FC236}">
                  <a16:creationId xmlns:a16="http://schemas.microsoft.com/office/drawing/2014/main" id="{FC4837D4-03A4-459B-BE25-3B0574D6D459}"/>
                </a:ext>
              </a:extLst>
            </p:cNvPr>
            <p:cNvSpPr txBox="1"/>
            <p:nvPr/>
          </p:nvSpPr>
          <p:spPr bwMode="auto">
            <a:xfrm>
              <a:off x="11708186" y="1010172"/>
              <a:ext cx="1441762" cy="6924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rtlCol="0">
              <a:spAutoFit/>
            </a:bodyPr>
            <a:lstStyle/>
            <a:p>
              <a:pPr algn="ctr" defTabSz="914446">
                <a:defRPr/>
              </a:pPr>
              <a:r>
                <a:rPr lang="es-ES" sz="1300">
                  <a:solidFill>
                    <a:srgbClr val="FFFFFF"/>
                  </a:solidFill>
                  <a:latin typeface="Calibri" pitchFamily="34" charset="0"/>
                  <a:cs typeface="Calibri" pitchFamily="34" charset="0"/>
                </a:rPr>
                <a:t>Nuevo </a:t>
              </a:r>
            </a:p>
            <a:p>
              <a:pPr algn="ctr" defTabSz="914446">
                <a:defRPr/>
              </a:pPr>
              <a:r>
                <a:rPr lang="es-ES" sz="1300">
                  <a:solidFill>
                    <a:srgbClr val="FFFFFF"/>
                  </a:solidFill>
                  <a:latin typeface="Calibri" pitchFamily="34" charset="0"/>
                  <a:cs typeface="Calibri" pitchFamily="34" charset="0"/>
                </a:rPr>
                <a:t>entorno Estudiante</a:t>
              </a:r>
            </a:p>
          </p:txBody>
        </p:sp>
      </p:grpSp>
      <p:sp>
        <p:nvSpPr>
          <p:cNvPr id="48" name="Rectangle 209">
            <a:extLst>
              <a:ext uri="{FF2B5EF4-FFF2-40B4-BE49-F238E27FC236}">
                <a16:creationId xmlns:a16="http://schemas.microsoft.com/office/drawing/2014/main" id="{3DBD90EA-5A4A-4248-B5A6-9BFF9220B011}"/>
              </a:ext>
            </a:extLst>
          </p:cNvPr>
          <p:cNvSpPr/>
          <p:nvPr/>
        </p:nvSpPr>
        <p:spPr>
          <a:xfrm flipH="1">
            <a:off x="7617610" y="1978989"/>
            <a:ext cx="1261164" cy="1498500"/>
          </a:xfrm>
          <a:prstGeom prst="rect">
            <a:avLst/>
          </a:prstGeom>
          <a:solidFill>
            <a:srgbClr val="5EC2BB">
              <a:alpha val="75686"/>
            </a:srgbClr>
          </a:solidFill>
          <a:ln w="12700" cap="flat" cmpd="sng" algn="ctr">
            <a:noFill/>
            <a:prstDash val="solid"/>
            <a:miter lim="800000"/>
          </a:ln>
          <a:effectLst/>
        </p:spPr>
        <p:txBody>
          <a:bodyPr rtlCol="0" anchor="ctr"/>
          <a:lstStyle/>
          <a:p>
            <a:endParaRPr lang="pt-PT" sz="1600" kern="0" dirty="0">
              <a:solidFill>
                <a:sysClr val="windowText" lastClr="000000"/>
              </a:solidFill>
              <a:latin typeface="Helvetica Light"/>
              <a:sym typeface="Helvetica Light"/>
            </a:endParaRPr>
          </a:p>
        </p:txBody>
      </p:sp>
      <p:sp>
        <p:nvSpPr>
          <p:cNvPr id="62" name="Shape 157">
            <a:extLst>
              <a:ext uri="{FF2B5EF4-FFF2-40B4-BE49-F238E27FC236}">
                <a16:creationId xmlns:a16="http://schemas.microsoft.com/office/drawing/2014/main" id="{791CCDCC-CBFC-4A8B-B12F-35CE701C251C}"/>
              </a:ext>
            </a:extLst>
          </p:cNvPr>
          <p:cNvSpPr/>
          <p:nvPr/>
        </p:nvSpPr>
        <p:spPr>
          <a:xfrm>
            <a:off x="7506893" y="2020266"/>
            <a:ext cx="1492079" cy="360097"/>
          </a:xfrm>
          <a:prstGeom prst="rect">
            <a:avLst/>
          </a:prstGeom>
          <a:ln w="3175">
            <a:miter lim="400000"/>
          </a:ln>
          <a:extLst>
            <a:ext uri="{C572A759-6A51-4108-AA02-DFA0A04FC94B}">
              <ma14:wrappingTextBoxFlag xmlns:ma14="http://schemas.microsoft.com/office/mac/drawingml/2011/main" xmlns="" val="1"/>
            </a:ext>
          </a:extLst>
        </p:spPr>
        <p:txBody>
          <a:bodyPr wrap="square" lIns="68579" tIns="68579" rIns="68579" bIns="68579" anchor="ctr">
            <a:spAutoFit/>
          </a:bodyPr>
          <a:lstStyle/>
          <a:p>
            <a:pPr algn="ctr" defTabSz="964420" hangingPunct="0">
              <a:lnSpc>
                <a:spcPct val="90000"/>
              </a:lnSpc>
              <a:defRPr sz="3500">
                <a:solidFill>
                  <a:srgbClr val="003245"/>
                </a:solidFill>
                <a:latin typeface="Trebuchet MS"/>
                <a:ea typeface="Trebuchet MS"/>
                <a:cs typeface="Trebuchet MS"/>
                <a:sym typeface="Trebuchet MS"/>
              </a:defRPr>
            </a:pPr>
            <a:r>
              <a:rPr lang="es-ES" sz="1600" b="1" i="1" dirty="0">
                <a:solidFill>
                  <a:srgbClr val="003245"/>
                </a:solidFill>
                <a:latin typeface="Telefonica Headline Light" panose="02000506040000020004" pitchFamily="2" charset="0"/>
                <a:ea typeface="Trebuchet MS"/>
                <a:cs typeface="Calibri" panose="020F0502020204030204" pitchFamily="34" charset="0"/>
                <a:sym typeface="Trebuchet MS"/>
              </a:rPr>
              <a:t>Aula Híbrida</a:t>
            </a:r>
            <a:endParaRPr sz="1600" b="1" i="1" dirty="0">
              <a:solidFill>
                <a:srgbClr val="003245"/>
              </a:solidFill>
              <a:latin typeface="Telefonica Headline Light" panose="02000506040000020004" pitchFamily="2" charset="0"/>
              <a:ea typeface="Trebuchet MS"/>
              <a:cs typeface="Calibri" panose="020F0502020204030204" pitchFamily="34" charset="0"/>
              <a:sym typeface="Trebuchet MS"/>
            </a:endParaRPr>
          </a:p>
        </p:txBody>
      </p:sp>
      <p:pic>
        <p:nvPicPr>
          <p:cNvPr id="67" name="Gráfico 66" descr="Aula de clases">
            <a:extLst>
              <a:ext uri="{FF2B5EF4-FFF2-40B4-BE49-F238E27FC236}">
                <a16:creationId xmlns:a16="http://schemas.microsoft.com/office/drawing/2014/main" id="{0944AC1F-601D-404F-90AC-413E31247AE5}"/>
              </a:ext>
            </a:extLst>
          </p:cNvPr>
          <p:cNvPicPr>
            <a:picLocks noChangeAspect="1"/>
          </p:cNvPicPr>
          <p:nvPr/>
        </p:nvPicPr>
        <p:blipFill>
          <a:blip r:embed="rId18" cstate="hqprint">
            <a:extLst>
              <a:ext uri="{28A0092B-C50C-407E-A947-70E740481C1C}">
                <a14:useLocalDpi xmlns:a14="http://schemas.microsoft.com/office/drawing/2010/main" val="0"/>
              </a:ext>
              <a:ext uri="{96DAC541-7B7A-43D3-8B79-37D633B846F1}">
                <asvg:svgBlip xmlns:asvg="http://schemas.microsoft.com/office/drawing/2016/SVG/main" xmlns="" r:embed="rId19"/>
              </a:ext>
            </a:extLst>
          </a:blip>
          <a:stretch>
            <a:fillRect/>
          </a:stretch>
        </p:blipFill>
        <p:spPr>
          <a:xfrm>
            <a:off x="7912956" y="2602661"/>
            <a:ext cx="642393" cy="642393"/>
          </a:xfrm>
          <a:prstGeom prst="rect">
            <a:avLst/>
          </a:prstGeom>
        </p:spPr>
      </p:pic>
      <p:pic>
        <p:nvPicPr>
          <p:cNvPr id="52" name="Imagen 51" descr="Imagen que contiene Texto&#10;&#10;Descripción generada automáticamente">
            <a:extLst>
              <a:ext uri="{FF2B5EF4-FFF2-40B4-BE49-F238E27FC236}">
                <a16:creationId xmlns:a16="http://schemas.microsoft.com/office/drawing/2014/main" id="{BEB11FA0-DDA0-D94B-958C-7F8A2B95615B}"/>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20160" y="112383"/>
            <a:ext cx="1185333" cy="474133"/>
          </a:xfrm>
          <a:prstGeom prst="rect">
            <a:avLst/>
          </a:prstGeom>
        </p:spPr>
      </p:pic>
      <p:sp>
        <p:nvSpPr>
          <p:cNvPr id="75" name="Marcador de número de diapositiva 1"/>
          <p:cNvSpPr txBox="1">
            <a:spLocks/>
          </p:cNvSpPr>
          <p:nvPr/>
        </p:nvSpPr>
        <p:spPr>
          <a:xfrm>
            <a:off x="11704622" y="6458134"/>
            <a:ext cx="487378" cy="48134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dirty="0" smtClean="0">
                <a:solidFill>
                  <a:schemeClr val="bg1"/>
                </a:solidFill>
              </a:rPr>
              <a:t>55</a:t>
            </a:r>
            <a:endParaRPr lang="en-US" sz="2000" dirty="0">
              <a:solidFill>
                <a:schemeClr val="bg1"/>
              </a:solidFill>
            </a:endParaRPr>
          </a:p>
        </p:txBody>
      </p:sp>
    </p:spTree>
    <p:extLst>
      <p:ext uri="{BB962C8B-B14F-4D97-AF65-F5344CB8AC3E}">
        <p14:creationId xmlns:p14="http://schemas.microsoft.com/office/powerpoint/2010/main" val="330093327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Group 22">
            <a:extLst>
              <a:ext uri="{FF2B5EF4-FFF2-40B4-BE49-F238E27FC236}">
                <a16:creationId xmlns:a16="http://schemas.microsoft.com/office/drawing/2014/main" id="{94E5CBF6-0B3C-4BD6-9922-D2C5A3B621E6}"/>
              </a:ext>
            </a:extLst>
          </p:cNvPr>
          <p:cNvGrpSpPr/>
          <p:nvPr/>
        </p:nvGrpSpPr>
        <p:grpSpPr>
          <a:xfrm>
            <a:off x="6462814" y="1670693"/>
            <a:ext cx="5729186" cy="4296839"/>
            <a:chOff x="-76490" y="821635"/>
            <a:chExt cx="6392884" cy="4794607"/>
          </a:xfrm>
        </p:grpSpPr>
        <p:sp>
          <p:nvSpPr>
            <p:cNvPr id="3" name="Rectangle 10">
              <a:extLst>
                <a:ext uri="{FF2B5EF4-FFF2-40B4-BE49-F238E27FC236}">
                  <a16:creationId xmlns:a16="http://schemas.microsoft.com/office/drawing/2014/main" id="{CCDA0D34-2966-4782-A2CC-9627A3054089}"/>
                </a:ext>
              </a:extLst>
            </p:cNvPr>
            <p:cNvSpPr/>
            <p:nvPr/>
          </p:nvSpPr>
          <p:spPr>
            <a:xfrm>
              <a:off x="4002155" y="1258958"/>
              <a:ext cx="2314239" cy="4357284"/>
            </a:xfrm>
            <a:custGeom>
              <a:avLst/>
              <a:gdLst>
                <a:gd name="connsiteX0" fmla="*/ 0 w 2002999"/>
                <a:gd name="connsiteY0" fmla="*/ 0 h 3843130"/>
                <a:gd name="connsiteX1" fmla="*/ 2002999 w 2002999"/>
                <a:gd name="connsiteY1" fmla="*/ 0 h 3843130"/>
                <a:gd name="connsiteX2" fmla="*/ 2002999 w 2002999"/>
                <a:gd name="connsiteY2" fmla="*/ 3843130 h 3843130"/>
                <a:gd name="connsiteX3" fmla="*/ 0 w 2002999"/>
                <a:gd name="connsiteY3" fmla="*/ 3843130 h 3843130"/>
                <a:gd name="connsiteX4" fmla="*/ 0 w 2002999"/>
                <a:gd name="connsiteY4" fmla="*/ 0 h 3843130"/>
                <a:gd name="connsiteX0" fmla="*/ 0 w 2002999"/>
                <a:gd name="connsiteY0" fmla="*/ 0 h 3913468"/>
                <a:gd name="connsiteX1" fmla="*/ 2002999 w 2002999"/>
                <a:gd name="connsiteY1" fmla="*/ 0 h 3913468"/>
                <a:gd name="connsiteX2" fmla="*/ 1988932 w 2002999"/>
                <a:gd name="connsiteY2" fmla="*/ 3913468 h 3913468"/>
                <a:gd name="connsiteX3" fmla="*/ 0 w 2002999"/>
                <a:gd name="connsiteY3" fmla="*/ 3843130 h 3913468"/>
                <a:gd name="connsiteX4" fmla="*/ 0 w 2002999"/>
                <a:gd name="connsiteY4" fmla="*/ 0 h 3913468"/>
                <a:gd name="connsiteX0" fmla="*/ 0 w 2002999"/>
                <a:gd name="connsiteY0" fmla="*/ 0 h 4011942"/>
                <a:gd name="connsiteX1" fmla="*/ 2002999 w 2002999"/>
                <a:gd name="connsiteY1" fmla="*/ 0 h 4011942"/>
                <a:gd name="connsiteX2" fmla="*/ 2001108 w 2002999"/>
                <a:gd name="connsiteY2" fmla="*/ 4011942 h 4011942"/>
                <a:gd name="connsiteX3" fmla="*/ 0 w 2002999"/>
                <a:gd name="connsiteY3" fmla="*/ 3843130 h 4011942"/>
                <a:gd name="connsiteX4" fmla="*/ 0 w 2002999"/>
                <a:gd name="connsiteY4" fmla="*/ 0 h 4011942"/>
                <a:gd name="connsiteX0" fmla="*/ 0 w 2002999"/>
                <a:gd name="connsiteY0" fmla="*/ 0 h 4357284"/>
                <a:gd name="connsiteX1" fmla="*/ 2002999 w 2002999"/>
                <a:gd name="connsiteY1" fmla="*/ 0 h 4357284"/>
                <a:gd name="connsiteX2" fmla="*/ 1987521 w 2002999"/>
                <a:gd name="connsiteY2" fmla="*/ 4357284 h 4357284"/>
                <a:gd name="connsiteX3" fmla="*/ 0 w 2002999"/>
                <a:gd name="connsiteY3" fmla="*/ 3843130 h 4357284"/>
                <a:gd name="connsiteX4" fmla="*/ 0 w 2002999"/>
                <a:gd name="connsiteY4" fmla="*/ 0 h 4357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2999" h="4357284">
                  <a:moveTo>
                    <a:pt x="0" y="0"/>
                  </a:moveTo>
                  <a:lnTo>
                    <a:pt x="2002999" y="0"/>
                  </a:lnTo>
                  <a:cubicBezTo>
                    <a:pt x="2002369" y="1337314"/>
                    <a:pt x="1988151" y="3019970"/>
                    <a:pt x="1987521" y="4357284"/>
                  </a:cubicBezTo>
                  <a:lnTo>
                    <a:pt x="0" y="3843130"/>
                  </a:lnTo>
                  <a:lnTo>
                    <a:pt x="0" y="0"/>
                  </a:lnTo>
                  <a:close/>
                </a:path>
              </a:pathLst>
            </a:custGeom>
            <a:gradFill flip="none" rotWithShape="1">
              <a:gsLst>
                <a:gs pos="26000">
                  <a:schemeClr val="tx1">
                    <a:alpha val="40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24">
              <a:extLst>
                <a:ext uri="{FF2B5EF4-FFF2-40B4-BE49-F238E27FC236}">
                  <a16:creationId xmlns:a16="http://schemas.microsoft.com/office/drawing/2014/main" id="{43076137-D552-4801-B88F-22A4E7C43947}"/>
                </a:ext>
              </a:extLst>
            </p:cNvPr>
            <p:cNvSpPr/>
            <p:nvPr/>
          </p:nvSpPr>
          <p:spPr>
            <a:xfrm>
              <a:off x="-76490" y="1258957"/>
              <a:ext cx="4078648" cy="3843130"/>
            </a:xfrm>
            <a:prstGeom prst="rect">
              <a:avLst/>
            </a:prstGeom>
            <a:gradFill flip="none" rotWithShape="1">
              <a:gsLst>
                <a:gs pos="0">
                  <a:srgbClr val="00CCFF"/>
                </a:gs>
                <a:gs pos="100000">
                  <a:srgbClr val="0066CC"/>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Shape 25">
              <a:extLst>
                <a:ext uri="{FF2B5EF4-FFF2-40B4-BE49-F238E27FC236}">
                  <a16:creationId xmlns:a16="http://schemas.microsoft.com/office/drawing/2014/main" id="{220F8670-6612-43AE-8D61-1D44E586BF1B}"/>
                </a:ext>
              </a:extLst>
            </p:cNvPr>
            <p:cNvSpPr/>
            <p:nvPr/>
          </p:nvSpPr>
          <p:spPr>
            <a:xfrm>
              <a:off x="4002156" y="821635"/>
              <a:ext cx="1476582" cy="4280452"/>
            </a:xfrm>
            <a:custGeom>
              <a:avLst/>
              <a:gdLst>
                <a:gd name="connsiteX0" fmla="*/ 1855305 w 1855306"/>
                <a:gd name="connsiteY0" fmla="*/ 0 h 4280452"/>
                <a:gd name="connsiteX1" fmla="*/ 1855305 w 1855306"/>
                <a:gd name="connsiteY1" fmla="*/ 437322 h 4280452"/>
                <a:gd name="connsiteX2" fmla="*/ 1855306 w 1855306"/>
                <a:gd name="connsiteY2" fmla="*/ 437322 h 4280452"/>
                <a:gd name="connsiteX3" fmla="*/ 1855306 w 1855306"/>
                <a:gd name="connsiteY3" fmla="*/ 4280452 h 4280452"/>
                <a:gd name="connsiteX4" fmla="*/ 1855304 w 1855306"/>
                <a:gd name="connsiteY4" fmla="*/ 4280452 h 4280452"/>
                <a:gd name="connsiteX5" fmla="*/ 1855304 w 1855306"/>
                <a:gd name="connsiteY5" fmla="*/ 3843130 h 4280452"/>
                <a:gd name="connsiteX6" fmla="*/ 2 w 1855306"/>
                <a:gd name="connsiteY6" fmla="*/ 4280452 h 4280452"/>
                <a:gd name="connsiteX7" fmla="*/ 2 w 1855306"/>
                <a:gd name="connsiteY7" fmla="*/ 437322 h 4280452"/>
                <a:gd name="connsiteX8" fmla="*/ 0 w 1855306"/>
                <a:gd name="connsiteY8" fmla="*/ 437322 h 4280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55306" h="4280452">
                  <a:moveTo>
                    <a:pt x="1855305" y="0"/>
                  </a:moveTo>
                  <a:lnTo>
                    <a:pt x="1855305" y="437322"/>
                  </a:lnTo>
                  <a:lnTo>
                    <a:pt x="1855306" y="437322"/>
                  </a:lnTo>
                  <a:lnTo>
                    <a:pt x="1855306" y="4280452"/>
                  </a:lnTo>
                  <a:lnTo>
                    <a:pt x="1855304" y="4280452"/>
                  </a:lnTo>
                  <a:lnTo>
                    <a:pt x="1855304" y="3843130"/>
                  </a:lnTo>
                  <a:lnTo>
                    <a:pt x="2" y="4280452"/>
                  </a:lnTo>
                  <a:lnTo>
                    <a:pt x="2" y="437322"/>
                  </a:lnTo>
                  <a:lnTo>
                    <a:pt x="0" y="437322"/>
                  </a:lnTo>
                  <a:close/>
                </a:path>
              </a:pathLst>
            </a:custGeom>
            <a:gradFill flip="none" rotWithShape="1">
              <a:gsLst>
                <a:gs pos="0">
                  <a:srgbClr val="00CCFF"/>
                </a:gs>
                <a:gs pos="100000">
                  <a:srgbClr val="0066CC"/>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TextBox 26">
              <a:extLst>
                <a:ext uri="{FF2B5EF4-FFF2-40B4-BE49-F238E27FC236}">
                  <a16:creationId xmlns:a16="http://schemas.microsoft.com/office/drawing/2014/main" id="{B6DB5FE7-82E7-4B50-925E-7639E1305DB6}"/>
                </a:ext>
              </a:extLst>
            </p:cNvPr>
            <p:cNvSpPr txBox="1"/>
            <p:nvPr/>
          </p:nvSpPr>
          <p:spPr>
            <a:xfrm>
              <a:off x="4276213" y="3822599"/>
              <a:ext cx="1325384" cy="1030293"/>
            </a:xfrm>
            <a:prstGeom prst="rect">
              <a:avLst/>
            </a:prstGeom>
            <a:noFill/>
          </p:spPr>
          <p:txBody>
            <a:bodyPr wrap="square" rtlCol="0">
              <a:spAutoFit/>
              <a:scene3d>
                <a:camera prst="isometricRightUp"/>
                <a:lightRig rig="threePt" dir="t"/>
              </a:scene3d>
            </a:bodyPr>
            <a:lstStyle/>
            <a:p>
              <a:r>
                <a:rPr lang="en-US" sz="5400" dirty="0">
                  <a:solidFill>
                    <a:schemeClr val="bg1"/>
                  </a:solidFill>
                </a:rPr>
                <a:t>03</a:t>
              </a:r>
            </a:p>
          </p:txBody>
        </p:sp>
        <p:sp>
          <p:nvSpPr>
            <p:cNvPr id="7" name="TextBox 27">
              <a:extLst>
                <a:ext uri="{FF2B5EF4-FFF2-40B4-BE49-F238E27FC236}">
                  <a16:creationId xmlns:a16="http://schemas.microsoft.com/office/drawing/2014/main" id="{679E11B4-8F73-45AE-A05E-232E9631686B}"/>
                </a:ext>
              </a:extLst>
            </p:cNvPr>
            <p:cNvSpPr txBox="1"/>
            <p:nvPr/>
          </p:nvSpPr>
          <p:spPr>
            <a:xfrm>
              <a:off x="1488099" y="1744272"/>
              <a:ext cx="2271829" cy="927264"/>
            </a:xfrm>
            <a:prstGeom prst="rect">
              <a:avLst/>
            </a:prstGeom>
            <a:noFill/>
          </p:spPr>
          <p:txBody>
            <a:bodyPr wrap="square" rtlCol="0">
              <a:spAutoFit/>
            </a:bodyPr>
            <a:lstStyle/>
            <a:p>
              <a:pPr algn="ctr"/>
              <a:r>
                <a:rPr lang="en-US" sz="2400" b="1" dirty="0">
                  <a:solidFill>
                    <a:schemeClr val="bg1"/>
                  </a:solidFill>
                  <a:latin typeface="Century Gothic" panose="020B0502020202020204" pitchFamily="34" charset="0"/>
                </a:rPr>
                <a:t>CAPA</a:t>
              </a:r>
            </a:p>
            <a:p>
              <a:pPr algn="ctr"/>
              <a:r>
                <a:rPr lang="en-US" sz="2400" b="1" dirty="0">
                  <a:solidFill>
                    <a:schemeClr val="bg1"/>
                  </a:solidFill>
                  <a:latin typeface="Century Gothic" panose="020B0502020202020204" pitchFamily="34" charset="0"/>
                </a:rPr>
                <a:t>EMOCIONAL</a:t>
              </a:r>
            </a:p>
          </p:txBody>
        </p:sp>
        <p:sp>
          <p:nvSpPr>
            <p:cNvPr id="8" name="TextBox 28">
              <a:extLst>
                <a:ext uri="{FF2B5EF4-FFF2-40B4-BE49-F238E27FC236}">
                  <a16:creationId xmlns:a16="http://schemas.microsoft.com/office/drawing/2014/main" id="{0EF18166-E441-4481-8417-0F933E7340D1}"/>
                </a:ext>
              </a:extLst>
            </p:cNvPr>
            <p:cNvSpPr txBox="1"/>
            <p:nvPr/>
          </p:nvSpPr>
          <p:spPr>
            <a:xfrm>
              <a:off x="1372720" y="2784985"/>
              <a:ext cx="2600212" cy="1425239"/>
            </a:xfrm>
            <a:prstGeom prst="rect">
              <a:avLst/>
            </a:prstGeom>
            <a:noFill/>
          </p:spPr>
          <p:txBody>
            <a:bodyPr wrap="square" rtlCol="0">
              <a:spAutoFit/>
            </a:bodyPr>
            <a:lstStyle/>
            <a:p>
              <a:pPr algn="ctr"/>
              <a:r>
                <a:rPr lang="en-US" sz="1600" dirty="0" err="1">
                  <a:solidFill>
                    <a:schemeClr val="bg1"/>
                  </a:solidFill>
                  <a:latin typeface="Century Gothic" panose="020B0502020202020204" pitchFamily="34" charset="0"/>
                </a:rPr>
                <a:t>Inteligencia</a:t>
              </a:r>
              <a:r>
                <a:rPr lang="en-US" sz="1600" dirty="0">
                  <a:solidFill>
                    <a:schemeClr val="bg1"/>
                  </a:solidFill>
                  <a:latin typeface="Century Gothic" panose="020B0502020202020204" pitchFamily="34" charset="0"/>
                </a:rPr>
                <a:t> Artificial, </a:t>
              </a:r>
            </a:p>
            <a:p>
              <a:pPr algn="ctr"/>
              <a:r>
                <a:rPr lang="es-ES" dirty="0"/>
                <a:t> </a:t>
              </a:r>
              <a:r>
                <a:rPr lang="es-ES" sz="1600" dirty="0">
                  <a:solidFill>
                    <a:schemeClr val="bg1"/>
                  </a:solidFill>
                  <a:latin typeface="Century Gothic" panose="020B0502020202020204" pitchFamily="34" charset="0"/>
                </a:rPr>
                <a:t>voz y audio, sensores y software especializado</a:t>
              </a:r>
              <a:endParaRPr lang="en-US" sz="1600" dirty="0">
                <a:solidFill>
                  <a:schemeClr val="bg1"/>
                </a:solidFill>
                <a:latin typeface="Century Gothic" panose="020B0502020202020204" pitchFamily="34" charset="0"/>
              </a:endParaRPr>
            </a:p>
            <a:p>
              <a:pPr algn="ctr"/>
              <a:endParaRPr lang="en-US" sz="1100" dirty="0">
                <a:solidFill>
                  <a:schemeClr val="bg1"/>
                </a:solidFill>
                <a:latin typeface="Century Gothic" panose="020B0502020202020204" pitchFamily="34" charset="0"/>
              </a:endParaRPr>
            </a:p>
          </p:txBody>
        </p:sp>
      </p:grpSp>
      <p:grpSp>
        <p:nvGrpSpPr>
          <p:cNvPr id="9" name="Group 15">
            <a:extLst>
              <a:ext uri="{FF2B5EF4-FFF2-40B4-BE49-F238E27FC236}">
                <a16:creationId xmlns:a16="http://schemas.microsoft.com/office/drawing/2014/main" id="{193B35C6-D44E-472C-86EA-C4D5BB30AD17}"/>
              </a:ext>
            </a:extLst>
          </p:cNvPr>
          <p:cNvGrpSpPr/>
          <p:nvPr/>
        </p:nvGrpSpPr>
        <p:grpSpPr>
          <a:xfrm>
            <a:off x="2866319" y="1678258"/>
            <a:ext cx="5729186" cy="4296839"/>
            <a:chOff x="-76490" y="821635"/>
            <a:chExt cx="6392884" cy="4794607"/>
          </a:xfrm>
        </p:grpSpPr>
        <p:sp>
          <p:nvSpPr>
            <p:cNvPr id="10" name="Rectangle 10">
              <a:extLst>
                <a:ext uri="{FF2B5EF4-FFF2-40B4-BE49-F238E27FC236}">
                  <a16:creationId xmlns:a16="http://schemas.microsoft.com/office/drawing/2014/main" id="{DB436BED-7947-405B-A070-1DFCA38B38AD}"/>
                </a:ext>
              </a:extLst>
            </p:cNvPr>
            <p:cNvSpPr/>
            <p:nvPr/>
          </p:nvSpPr>
          <p:spPr>
            <a:xfrm>
              <a:off x="4002155" y="1258958"/>
              <a:ext cx="2314239" cy="4357284"/>
            </a:xfrm>
            <a:custGeom>
              <a:avLst/>
              <a:gdLst>
                <a:gd name="connsiteX0" fmla="*/ 0 w 2002999"/>
                <a:gd name="connsiteY0" fmla="*/ 0 h 3843130"/>
                <a:gd name="connsiteX1" fmla="*/ 2002999 w 2002999"/>
                <a:gd name="connsiteY1" fmla="*/ 0 h 3843130"/>
                <a:gd name="connsiteX2" fmla="*/ 2002999 w 2002999"/>
                <a:gd name="connsiteY2" fmla="*/ 3843130 h 3843130"/>
                <a:gd name="connsiteX3" fmla="*/ 0 w 2002999"/>
                <a:gd name="connsiteY3" fmla="*/ 3843130 h 3843130"/>
                <a:gd name="connsiteX4" fmla="*/ 0 w 2002999"/>
                <a:gd name="connsiteY4" fmla="*/ 0 h 3843130"/>
                <a:gd name="connsiteX0" fmla="*/ 0 w 2002999"/>
                <a:gd name="connsiteY0" fmla="*/ 0 h 3913468"/>
                <a:gd name="connsiteX1" fmla="*/ 2002999 w 2002999"/>
                <a:gd name="connsiteY1" fmla="*/ 0 h 3913468"/>
                <a:gd name="connsiteX2" fmla="*/ 1988932 w 2002999"/>
                <a:gd name="connsiteY2" fmla="*/ 3913468 h 3913468"/>
                <a:gd name="connsiteX3" fmla="*/ 0 w 2002999"/>
                <a:gd name="connsiteY3" fmla="*/ 3843130 h 3913468"/>
                <a:gd name="connsiteX4" fmla="*/ 0 w 2002999"/>
                <a:gd name="connsiteY4" fmla="*/ 0 h 3913468"/>
                <a:gd name="connsiteX0" fmla="*/ 0 w 2002999"/>
                <a:gd name="connsiteY0" fmla="*/ 0 h 4011942"/>
                <a:gd name="connsiteX1" fmla="*/ 2002999 w 2002999"/>
                <a:gd name="connsiteY1" fmla="*/ 0 h 4011942"/>
                <a:gd name="connsiteX2" fmla="*/ 2001108 w 2002999"/>
                <a:gd name="connsiteY2" fmla="*/ 4011942 h 4011942"/>
                <a:gd name="connsiteX3" fmla="*/ 0 w 2002999"/>
                <a:gd name="connsiteY3" fmla="*/ 3843130 h 4011942"/>
                <a:gd name="connsiteX4" fmla="*/ 0 w 2002999"/>
                <a:gd name="connsiteY4" fmla="*/ 0 h 4011942"/>
                <a:gd name="connsiteX0" fmla="*/ 0 w 2002999"/>
                <a:gd name="connsiteY0" fmla="*/ 0 h 4357284"/>
                <a:gd name="connsiteX1" fmla="*/ 2002999 w 2002999"/>
                <a:gd name="connsiteY1" fmla="*/ 0 h 4357284"/>
                <a:gd name="connsiteX2" fmla="*/ 1973936 w 2002999"/>
                <a:gd name="connsiteY2" fmla="*/ 4357284 h 4357284"/>
                <a:gd name="connsiteX3" fmla="*/ 0 w 2002999"/>
                <a:gd name="connsiteY3" fmla="*/ 3843130 h 4357284"/>
                <a:gd name="connsiteX4" fmla="*/ 0 w 2002999"/>
                <a:gd name="connsiteY4" fmla="*/ 0 h 4357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2999" h="4357284">
                  <a:moveTo>
                    <a:pt x="0" y="0"/>
                  </a:moveTo>
                  <a:lnTo>
                    <a:pt x="2002999" y="0"/>
                  </a:lnTo>
                  <a:cubicBezTo>
                    <a:pt x="2002369" y="1337314"/>
                    <a:pt x="1974566" y="3019970"/>
                    <a:pt x="1973936" y="4357284"/>
                  </a:cubicBezTo>
                  <a:lnTo>
                    <a:pt x="0" y="3843130"/>
                  </a:lnTo>
                  <a:lnTo>
                    <a:pt x="0" y="0"/>
                  </a:lnTo>
                  <a:close/>
                </a:path>
              </a:pathLst>
            </a:custGeom>
            <a:gradFill flip="none" rotWithShape="1">
              <a:gsLst>
                <a:gs pos="26000">
                  <a:schemeClr val="tx1">
                    <a:alpha val="40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7">
              <a:extLst>
                <a:ext uri="{FF2B5EF4-FFF2-40B4-BE49-F238E27FC236}">
                  <a16:creationId xmlns:a16="http://schemas.microsoft.com/office/drawing/2014/main" id="{01525A79-E768-46A6-8AA1-BD364E7413D6}"/>
                </a:ext>
              </a:extLst>
            </p:cNvPr>
            <p:cNvSpPr/>
            <p:nvPr/>
          </p:nvSpPr>
          <p:spPr>
            <a:xfrm>
              <a:off x="-76490" y="1258957"/>
              <a:ext cx="4078648" cy="3843130"/>
            </a:xfrm>
            <a:prstGeom prst="rect">
              <a:avLst/>
            </a:prstGeom>
            <a:gradFill flip="none" rotWithShape="1">
              <a:gsLst>
                <a:gs pos="0">
                  <a:srgbClr val="FFCC00"/>
                </a:gs>
                <a:gs pos="100000">
                  <a:srgbClr val="FF99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Shape 18">
              <a:extLst>
                <a:ext uri="{FF2B5EF4-FFF2-40B4-BE49-F238E27FC236}">
                  <a16:creationId xmlns:a16="http://schemas.microsoft.com/office/drawing/2014/main" id="{7BDE2F59-02AC-4B5C-9BBA-E62A506065E8}"/>
                </a:ext>
              </a:extLst>
            </p:cNvPr>
            <p:cNvSpPr/>
            <p:nvPr/>
          </p:nvSpPr>
          <p:spPr>
            <a:xfrm>
              <a:off x="4002156" y="821635"/>
              <a:ext cx="1476582" cy="4280452"/>
            </a:xfrm>
            <a:custGeom>
              <a:avLst/>
              <a:gdLst>
                <a:gd name="connsiteX0" fmla="*/ 1855305 w 1855306"/>
                <a:gd name="connsiteY0" fmla="*/ 0 h 4280452"/>
                <a:gd name="connsiteX1" fmla="*/ 1855305 w 1855306"/>
                <a:gd name="connsiteY1" fmla="*/ 437322 h 4280452"/>
                <a:gd name="connsiteX2" fmla="*/ 1855306 w 1855306"/>
                <a:gd name="connsiteY2" fmla="*/ 437322 h 4280452"/>
                <a:gd name="connsiteX3" fmla="*/ 1855306 w 1855306"/>
                <a:gd name="connsiteY3" fmla="*/ 4280452 h 4280452"/>
                <a:gd name="connsiteX4" fmla="*/ 1855304 w 1855306"/>
                <a:gd name="connsiteY4" fmla="*/ 4280452 h 4280452"/>
                <a:gd name="connsiteX5" fmla="*/ 1855304 w 1855306"/>
                <a:gd name="connsiteY5" fmla="*/ 3843130 h 4280452"/>
                <a:gd name="connsiteX6" fmla="*/ 2 w 1855306"/>
                <a:gd name="connsiteY6" fmla="*/ 4280452 h 4280452"/>
                <a:gd name="connsiteX7" fmla="*/ 2 w 1855306"/>
                <a:gd name="connsiteY7" fmla="*/ 437322 h 4280452"/>
                <a:gd name="connsiteX8" fmla="*/ 0 w 1855306"/>
                <a:gd name="connsiteY8" fmla="*/ 437322 h 4280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55306" h="4280452">
                  <a:moveTo>
                    <a:pt x="1855305" y="0"/>
                  </a:moveTo>
                  <a:lnTo>
                    <a:pt x="1855305" y="437322"/>
                  </a:lnTo>
                  <a:lnTo>
                    <a:pt x="1855306" y="437322"/>
                  </a:lnTo>
                  <a:lnTo>
                    <a:pt x="1855306" y="4280452"/>
                  </a:lnTo>
                  <a:lnTo>
                    <a:pt x="1855304" y="4280452"/>
                  </a:lnTo>
                  <a:lnTo>
                    <a:pt x="1855304" y="3843130"/>
                  </a:lnTo>
                  <a:lnTo>
                    <a:pt x="2" y="4280452"/>
                  </a:lnTo>
                  <a:lnTo>
                    <a:pt x="2" y="437322"/>
                  </a:lnTo>
                  <a:lnTo>
                    <a:pt x="0" y="437322"/>
                  </a:lnTo>
                  <a:close/>
                </a:path>
              </a:pathLst>
            </a:custGeom>
            <a:gradFill flip="none" rotWithShape="1">
              <a:gsLst>
                <a:gs pos="0">
                  <a:srgbClr val="FFCC00"/>
                </a:gs>
                <a:gs pos="100000">
                  <a:srgbClr val="FF99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 name="TextBox 19">
              <a:extLst>
                <a:ext uri="{FF2B5EF4-FFF2-40B4-BE49-F238E27FC236}">
                  <a16:creationId xmlns:a16="http://schemas.microsoft.com/office/drawing/2014/main" id="{3CC6E541-9070-4D12-B748-8993DFFD193C}"/>
                </a:ext>
              </a:extLst>
            </p:cNvPr>
            <p:cNvSpPr txBox="1"/>
            <p:nvPr/>
          </p:nvSpPr>
          <p:spPr>
            <a:xfrm>
              <a:off x="4276214" y="3822599"/>
              <a:ext cx="1476580" cy="1030293"/>
            </a:xfrm>
            <a:prstGeom prst="rect">
              <a:avLst/>
            </a:prstGeom>
            <a:noFill/>
          </p:spPr>
          <p:txBody>
            <a:bodyPr wrap="square" rtlCol="0">
              <a:spAutoFit/>
              <a:scene3d>
                <a:camera prst="isometricRightUp"/>
                <a:lightRig rig="threePt" dir="t"/>
              </a:scene3d>
            </a:bodyPr>
            <a:lstStyle/>
            <a:p>
              <a:r>
                <a:rPr lang="en-US" sz="5400" dirty="0">
                  <a:solidFill>
                    <a:schemeClr val="bg1"/>
                  </a:solidFill>
                </a:rPr>
                <a:t>02</a:t>
              </a:r>
            </a:p>
          </p:txBody>
        </p:sp>
        <p:sp>
          <p:nvSpPr>
            <p:cNvPr id="14" name="TextBox 20">
              <a:extLst>
                <a:ext uri="{FF2B5EF4-FFF2-40B4-BE49-F238E27FC236}">
                  <a16:creationId xmlns:a16="http://schemas.microsoft.com/office/drawing/2014/main" id="{0BB41D8B-A826-4CC3-B1F3-77194479409A}"/>
                </a:ext>
              </a:extLst>
            </p:cNvPr>
            <p:cNvSpPr txBox="1"/>
            <p:nvPr/>
          </p:nvSpPr>
          <p:spPr>
            <a:xfrm>
              <a:off x="1488099" y="1744272"/>
              <a:ext cx="2271829" cy="927264"/>
            </a:xfrm>
            <a:prstGeom prst="rect">
              <a:avLst/>
            </a:prstGeom>
            <a:noFill/>
          </p:spPr>
          <p:txBody>
            <a:bodyPr wrap="square" rtlCol="0">
              <a:spAutoFit/>
            </a:bodyPr>
            <a:lstStyle/>
            <a:p>
              <a:pPr algn="ctr"/>
              <a:r>
                <a:rPr lang="en-US" sz="2400" b="1" dirty="0">
                  <a:solidFill>
                    <a:schemeClr val="bg1"/>
                  </a:solidFill>
                  <a:latin typeface="Century Gothic" panose="020B0502020202020204" pitchFamily="34" charset="0"/>
                </a:rPr>
                <a:t>CAPA </a:t>
              </a:r>
            </a:p>
            <a:p>
              <a:pPr algn="ctr"/>
              <a:r>
                <a:rPr lang="en-US" sz="2400" b="1" dirty="0">
                  <a:solidFill>
                    <a:schemeClr val="bg1"/>
                  </a:solidFill>
                  <a:latin typeface="Century Gothic" panose="020B0502020202020204" pitchFamily="34" charset="0"/>
                </a:rPr>
                <a:t>FÍSICA</a:t>
              </a:r>
            </a:p>
          </p:txBody>
        </p:sp>
        <p:sp>
          <p:nvSpPr>
            <p:cNvPr id="15" name="TextBox 21">
              <a:extLst>
                <a:ext uri="{FF2B5EF4-FFF2-40B4-BE49-F238E27FC236}">
                  <a16:creationId xmlns:a16="http://schemas.microsoft.com/office/drawing/2014/main" id="{61099018-3A77-4194-8C7A-DA63CC67D9A5}"/>
                </a:ext>
              </a:extLst>
            </p:cNvPr>
            <p:cNvSpPr txBox="1"/>
            <p:nvPr/>
          </p:nvSpPr>
          <p:spPr>
            <a:xfrm>
              <a:off x="1372720" y="2679798"/>
              <a:ext cx="2475914" cy="1940386"/>
            </a:xfrm>
            <a:prstGeom prst="rect">
              <a:avLst/>
            </a:prstGeom>
            <a:noFill/>
          </p:spPr>
          <p:txBody>
            <a:bodyPr wrap="square" rtlCol="0">
              <a:spAutoFit/>
            </a:bodyPr>
            <a:lstStyle/>
            <a:p>
              <a:pPr marL="171450" indent="-171450" algn="ctr">
                <a:buFontTx/>
                <a:buChar char="-"/>
              </a:pPr>
              <a:r>
                <a:rPr lang="en-US" sz="1600" dirty="0" err="1">
                  <a:solidFill>
                    <a:schemeClr val="bg1"/>
                  </a:solidFill>
                  <a:latin typeface="Century Gothic" panose="020B0502020202020204" pitchFamily="34" charset="0"/>
                </a:rPr>
                <a:t>Localización</a:t>
              </a:r>
              <a:r>
                <a:rPr lang="en-US" sz="1600" dirty="0">
                  <a:solidFill>
                    <a:schemeClr val="bg1"/>
                  </a:solidFill>
                  <a:latin typeface="Century Gothic" panose="020B0502020202020204" pitchFamily="34" charset="0"/>
                </a:rPr>
                <a:t> y </a:t>
              </a:r>
              <a:r>
                <a:rPr lang="en-US" sz="1600" dirty="0" err="1">
                  <a:solidFill>
                    <a:schemeClr val="bg1"/>
                  </a:solidFill>
                  <a:latin typeface="Century Gothic" panose="020B0502020202020204" pitchFamily="34" charset="0"/>
                </a:rPr>
                <a:t>detección</a:t>
              </a:r>
              <a:r>
                <a:rPr lang="en-US" sz="1600" dirty="0">
                  <a:solidFill>
                    <a:schemeClr val="bg1"/>
                  </a:solidFill>
                  <a:latin typeface="Century Gothic" panose="020B0502020202020204" pitchFamily="34" charset="0"/>
                </a:rPr>
                <a:t> de </a:t>
              </a:r>
              <a:r>
                <a:rPr lang="en-US" sz="1600" dirty="0" err="1">
                  <a:solidFill>
                    <a:schemeClr val="bg1"/>
                  </a:solidFill>
                  <a:latin typeface="Century Gothic" panose="020B0502020202020204" pitchFamily="34" charset="0"/>
                </a:rPr>
                <a:t>usuarios</a:t>
              </a:r>
              <a:endParaRPr lang="en-US" sz="1600" dirty="0">
                <a:solidFill>
                  <a:schemeClr val="bg1"/>
                </a:solidFill>
                <a:latin typeface="Century Gothic" panose="020B0502020202020204" pitchFamily="34" charset="0"/>
              </a:endParaRPr>
            </a:p>
            <a:p>
              <a:pPr marL="171450" indent="-171450" algn="ctr">
                <a:buFontTx/>
                <a:buChar char="-"/>
              </a:pPr>
              <a:r>
                <a:rPr lang="en-US" sz="1600" dirty="0" err="1">
                  <a:solidFill>
                    <a:schemeClr val="bg1"/>
                  </a:solidFill>
                  <a:latin typeface="Century Gothic" panose="020B0502020202020204" pitchFamily="34" charset="0"/>
                </a:rPr>
                <a:t>Confort</a:t>
              </a:r>
              <a:r>
                <a:rPr lang="en-US" sz="1600" dirty="0">
                  <a:solidFill>
                    <a:schemeClr val="bg1"/>
                  </a:solidFill>
                  <a:latin typeface="Century Gothic" panose="020B0502020202020204" pitchFamily="34" charset="0"/>
                </a:rPr>
                <a:t> (</a:t>
              </a:r>
              <a:r>
                <a:rPr lang="en-US" sz="1600" dirty="0" err="1">
                  <a:solidFill>
                    <a:schemeClr val="bg1"/>
                  </a:solidFill>
                  <a:latin typeface="Century Gothic" panose="020B0502020202020204" pitchFamily="34" charset="0"/>
                </a:rPr>
                <a:t>sensórica</a:t>
              </a:r>
              <a:r>
                <a:rPr lang="en-US" sz="1600" dirty="0">
                  <a:solidFill>
                    <a:schemeClr val="bg1"/>
                  </a:solidFill>
                  <a:latin typeface="Century Gothic" panose="020B0502020202020204" pitchFamily="34" charset="0"/>
                </a:rPr>
                <a:t> del aula,  machine learning)</a:t>
              </a:r>
            </a:p>
            <a:p>
              <a:pPr algn="ctr"/>
              <a:endParaRPr lang="en-US" sz="1100" dirty="0">
                <a:solidFill>
                  <a:schemeClr val="bg1"/>
                </a:solidFill>
                <a:latin typeface="Century Gothic" panose="020B0502020202020204" pitchFamily="34" charset="0"/>
              </a:endParaRPr>
            </a:p>
          </p:txBody>
        </p:sp>
      </p:grpSp>
      <p:grpSp>
        <p:nvGrpSpPr>
          <p:cNvPr id="16" name="Group 14">
            <a:extLst>
              <a:ext uri="{FF2B5EF4-FFF2-40B4-BE49-F238E27FC236}">
                <a16:creationId xmlns:a16="http://schemas.microsoft.com/office/drawing/2014/main" id="{9ABB3627-19A4-4B63-87FD-CE0989135CFA}"/>
              </a:ext>
            </a:extLst>
          </p:cNvPr>
          <p:cNvGrpSpPr/>
          <p:nvPr/>
        </p:nvGrpSpPr>
        <p:grpSpPr>
          <a:xfrm>
            <a:off x="372285" y="1678258"/>
            <a:ext cx="4594201" cy="4226500"/>
            <a:chOff x="1219200" y="821635"/>
            <a:chExt cx="5126416" cy="4716120"/>
          </a:xfrm>
        </p:grpSpPr>
        <p:sp>
          <p:nvSpPr>
            <p:cNvPr id="17" name="Rectangle 10">
              <a:extLst>
                <a:ext uri="{FF2B5EF4-FFF2-40B4-BE49-F238E27FC236}">
                  <a16:creationId xmlns:a16="http://schemas.microsoft.com/office/drawing/2014/main" id="{FC89165E-0B18-46EF-BFE8-FF2FAA0991F6}"/>
                </a:ext>
              </a:extLst>
            </p:cNvPr>
            <p:cNvSpPr/>
            <p:nvPr/>
          </p:nvSpPr>
          <p:spPr>
            <a:xfrm>
              <a:off x="4002155" y="1258958"/>
              <a:ext cx="2343461" cy="4278797"/>
            </a:xfrm>
            <a:custGeom>
              <a:avLst/>
              <a:gdLst>
                <a:gd name="connsiteX0" fmla="*/ 0 w 2002999"/>
                <a:gd name="connsiteY0" fmla="*/ 0 h 3843130"/>
                <a:gd name="connsiteX1" fmla="*/ 2002999 w 2002999"/>
                <a:gd name="connsiteY1" fmla="*/ 0 h 3843130"/>
                <a:gd name="connsiteX2" fmla="*/ 2002999 w 2002999"/>
                <a:gd name="connsiteY2" fmla="*/ 3843130 h 3843130"/>
                <a:gd name="connsiteX3" fmla="*/ 0 w 2002999"/>
                <a:gd name="connsiteY3" fmla="*/ 3843130 h 3843130"/>
                <a:gd name="connsiteX4" fmla="*/ 0 w 2002999"/>
                <a:gd name="connsiteY4" fmla="*/ 0 h 3843130"/>
                <a:gd name="connsiteX0" fmla="*/ 0 w 2002999"/>
                <a:gd name="connsiteY0" fmla="*/ 0 h 3913468"/>
                <a:gd name="connsiteX1" fmla="*/ 2002999 w 2002999"/>
                <a:gd name="connsiteY1" fmla="*/ 0 h 3913468"/>
                <a:gd name="connsiteX2" fmla="*/ 1988932 w 2002999"/>
                <a:gd name="connsiteY2" fmla="*/ 3913468 h 3913468"/>
                <a:gd name="connsiteX3" fmla="*/ 0 w 2002999"/>
                <a:gd name="connsiteY3" fmla="*/ 3843130 h 3913468"/>
                <a:gd name="connsiteX4" fmla="*/ 0 w 2002999"/>
                <a:gd name="connsiteY4" fmla="*/ 0 h 3913468"/>
                <a:gd name="connsiteX0" fmla="*/ 0 w 2002999"/>
                <a:gd name="connsiteY0" fmla="*/ 0 h 4011942"/>
                <a:gd name="connsiteX1" fmla="*/ 2002999 w 2002999"/>
                <a:gd name="connsiteY1" fmla="*/ 0 h 4011942"/>
                <a:gd name="connsiteX2" fmla="*/ 2001108 w 2002999"/>
                <a:gd name="connsiteY2" fmla="*/ 4011942 h 4011942"/>
                <a:gd name="connsiteX3" fmla="*/ 0 w 2002999"/>
                <a:gd name="connsiteY3" fmla="*/ 3843130 h 4011942"/>
                <a:gd name="connsiteX4" fmla="*/ 0 w 2002999"/>
                <a:gd name="connsiteY4" fmla="*/ 0 h 4011942"/>
                <a:gd name="connsiteX0" fmla="*/ 0 w 2028291"/>
                <a:gd name="connsiteY0" fmla="*/ 0 h 4278797"/>
                <a:gd name="connsiteX1" fmla="*/ 2002999 w 2028291"/>
                <a:gd name="connsiteY1" fmla="*/ 0 h 4278797"/>
                <a:gd name="connsiteX2" fmla="*/ 2028280 w 2028291"/>
                <a:gd name="connsiteY2" fmla="*/ 4278797 h 4278797"/>
                <a:gd name="connsiteX3" fmla="*/ 0 w 2028291"/>
                <a:gd name="connsiteY3" fmla="*/ 3843130 h 4278797"/>
                <a:gd name="connsiteX4" fmla="*/ 0 w 2028291"/>
                <a:gd name="connsiteY4" fmla="*/ 0 h 4278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8291" h="4278797">
                  <a:moveTo>
                    <a:pt x="0" y="0"/>
                  </a:moveTo>
                  <a:lnTo>
                    <a:pt x="2002999" y="0"/>
                  </a:lnTo>
                  <a:cubicBezTo>
                    <a:pt x="2002369" y="1337314"/>
                    <a:pt x="2028910" y="2941483"/>
                    <a:pt x="2028280" y="4278797"/>
                  </a:cubicBezTo>
                  <a:lnTo>
                    <a:pt x="0" y="3843130"/>
                  </a:lnTo>
                  <a:lnTo>
                    <a:pt x="0" y="0"/>
                  </a:lnTo>
                  <a:close/>
                </a:path>
              </a:pathLst>
            </a:custGeom>
            <a:gradFill flip="none" rotWithShape="1">
              <a:gsLst>
                <a:gs pos="26000">
                  <a:schemeClr val="tx1">
                    <a:alpha val="40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4">
              <a:extLst>
                <a:ext uri="{FF2B5EF4-FFF2-40B4-BE49-F238E27FC236}">
                  <a16:creationId xmlns:a16="http://schemas.microsoft.com/office/drawing/2014/main" id="{5D5F31EF-70CA-4AB4-B539-D843B510F4FB}"/>
                </a:ext>
              </a:extLst>
            </p:cNvPr>
            <p:cNvSpPr/>
            <p:nvPr/>
          </p:nvSpPr>
          <p:spPr>
            <a:xfrm>
              <a:off x="1219200" y="1258957"/>
              <a:ext cx="2782957" cy="3843130"/>
            </a:xfrm>
            <a:prstGeom prst="rect">
              <a:avLst/>
            </a:prstGeom>
            <a:gradFill flip="none" rotWithShape="1">
              <a:gsLst>
                <a:gs pos="0">
                  <a:srgbClr val="FF66CC"/>
                </a:gs>
                <a:gs pos="100000">
                  <a:srgbClr val="CC00CC"/>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Shape 9">
              <a:extLst>
                <a:ext uri="{FF2B5EF4-FFF2-40B4-BE49-F238E27FC236}">
                  <a16:creationId xmlns:a16="http://schemas.microsoft.com/office/drawing/2014/main" id="{AD2A2D76-B9E4-4FFE-8CB2-F27BFAE5AD70}"/>
                </a:ext>
              </a:extLst>
            </p:cNvPr>
            <p:cNvSpPr/>
            <p:nvPr/>
          </p:nvSpPr>
          <p:spPr>
            <a:xfrm>
              <a:off x="4002156" y="821635"/>
              <a:ext cx="1476582" cy="4280452"/>
            </a:xfrm>
            <a:custGeom>
              <a:avLst/>
              <a:gdLst>
                <a:gd name="connsiteX0" fmla="*/ 1855305 w 1855306"/>
                <a:gd name="connsiteY0" fmla="*/ 0 h 4280452"/>
                <a:gd name="connsiteX1" fmla="*/ 1855305 w 1855306"/>
                <a:gd name="connsiteY1" fmla="*/ 437322 h 4280452"/>
                <a:gd name="connsiteX2" fmla="*/ 1855306 w 1855306"/>
                <a:gd name="connsiteY2" fmla="*/ 437322 h 4280452"/>
                <a:gd name="connsiteX3" fmla="*/ 1855306 w 1855306"/>
                <a:gd name="connsiteY3" fmla="*/ 4280452 h 4280452"/>
                <a:gd name="connsiteX4" fmla="*/ 1855304 w 1855306"/>
                <a:gd name="connsiteY4" fmla="*/ 4280452 h 4280452"/>
                <a:gd name="connsiteX5" fmla="*/ 1855304 w 1855306"/>
                <a:gd name="connsiteY5" fmla="*/ 3843130 h 4280452"/>
                <a:gd name="connsiteX6" fmla="*/ 2 w 1855306"/>
                <a:gd name="connsiteY6" fmla="*/ 4280452 h 4280452"/>
                <a:gd name="connsiteX7" fmla="*/ 2 w 1855306"/>
                <a:gd name="connsiteY7" fmla="*/ 437322 h 4280452"/>
                <a:gd name="connsiteX8" fmla="*/ 0 w 1855306"/>
                <a:gd name="connsiteY8" fmla="*/ 437322 h 4280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55306" h="4280452">
                  <a:moveTo>
                    <a:pt x="1855305" y="0"/>
                  </a:moveTo>
                  <a:lnTo>
                    <a:pt x="1855305" y="437322"/>
                  </a:lnTo>
                  <a:lnTo>
                    <a:pt x="1855306" y="437322"/>
                  </a:lnTo>
                  <a:lnTo>
                    <a:pt x="1855306" y="4280452"/>
                  </a:lnTo>
                  <a:lnTo>
                    <a:pt x="1855304" y="4280452"/>
                  </a:lnTo>
                  <a:lnTo>
                    <a:pt x="1855304" y="3843130"/>
                  </a:lnTo>
                  <a:lnTo>
                    <a:pt x="2" y="4280452"/>
                  </a:lnTo>
                  <a:lnTo>
                    <a:pt x="2" y="437322"/>
                  </a:lnTo>
                  <a:lnTo>
                    <a:pt x="0" y="437322"/>
                  </a:lnTo>
                  <a:close/>
                </a:path>
              </a:pathLst>
            </a:custGeom>
            <a:gradFill flip="none" rotWithShape="1">
              <a:gsLst>
                <a:gs pos="0">
                  <a:srgbClr val="FF33CC"/>
                </a:gs>
                <a:gs pos="100000">
                  <a:srgbClr val="CC00CC"/>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 name="TextBox 11">
              <a:extLst>
                <a:ext uri="{FF2B5EF4-FFF2-40B4-BE49-F238E27FC236}">
                  <a16:creationId xmlns:a16="http://schemas.microsoft.com/office/drawing/2014/main" id="{C54378F2-4EE9-4212-994B-30B67D0D0C10}"/>
                </a:ext>
              </a:extLst>
            </p:cNvPr>
            <p:cNvSpPr txBox="1"/>
            <p:nvPr/>
          </p:nvSpPr>
          <p:spPr>
            <a:xfrm>
              <a:off x="4276214" y="3822599"/>
              <a:ext cx="1336826" cy="1030293"/>
            </a:xfrm>
            <a:prstGeom prst="rect">
              <a:avLst/>
            </a:prstGeom>
            <a:noFill/>
          </p:spPr>
          <p:txBody>
            <a:bodyPr wrap="square" rtlCol="0">
              <a:spAutoFit/>
              <a:scene3d>
                <a:camera prst="isometricRightUp"/>
                <a:lightRig rig="threePt" dir="t"/>
              </a:scene3d>
            </a:bodyPr>
            <a:lstStyle/>
            <a:p>
              <a:r>
                <a:rPr lang="en-US" sz="5400" dirty="0">
                  <a:solidFill>
                    <a:schemeClr val="bg1"/>
                  </a:solidFill>
                </a:rPr>
                <a:t>01</a:t>
              </a:r>
            </a:p>
          </p:txBody>
        </p:sp>
        <p:sp>
          <p:nvSpPr>
            <p:cNvPr id="21" name="TextBox 12">
              <a:extLst>
                <a:ext uri="{FF2B5EF4-FFF2-40B4-BE49-F238E27FC236}">
                  <a16:creationId xmlns:a16="http://schemas.microsoft.com/office/drawing/2014/main" id="{1D6D492D-9903-494C-A0B1-336497B16F40}"/>
                </a:ext>
              </a:extLst>
            </p:cNvPr>
            <p:cNvSpPr txBox="1"/>
            <p:nvPr/>
          </p:nvSpPr>
          <p:spPr>
            <a:xfrm>
              <a:off x="1249862" y="1744272"/>
              <a:ext cx="2724924" cy="927264"/>
            </a:xfrm>
            <a:prstGeom prst="rect">
              <a:avLst/>
            </a:prstGeom>
            <a:noFill/>
          </p:spPr>
          <p:txBody>
            <a:bodyPr wrap="square" rtlCol="0">
              <a:spAutoFit/>
            </a:bodyPr>
            <a:lstStyle/>
            <a:p>
              <a:pPr algn="ctr"/>
              <a:r>
                <a:rPr lang="en-US" sz="2400" b="1" dirty="0">
                  <a:solidFill>
                    <a:schemeClr val="bg1"/>
                  </a:solidFill>
                  <a:latin typeface="Century Gothic" panose="020B0502020202020204" pitchFamily="34" charset="0"/>
                </a:rPr>
                <a:t>CAPA</a:t>
              </a:r>
            </a:p>
            <a:p>
              <a:pPr algn="ctr"/>
              <a:r>
                <a:rPr lang="en-US" sz="2400" b="1" dirty="0">
                  <a:solidFill>
                    <a:schemeClr val="bg1"/>
                  </a:solidFill>
                  <a:latin typeface="Century Gothic" panose="020B0502020202020204" pitchFamily="34" charset="0"/>
                </a:rPr>
                <a:t>TECNOLÓGICA</a:t>
              </a:r>
            </a:p>
          </p:txBody>
        </p:sp>
        <p:sp>
          <p:nvSpPr>
            <p:cNvPr id="22" name="TextBox 13">
              <a:extLst>
                <a:ext uri="{FF2B5EF4-FFF2-40B4-BE49-F238E27FC236}">
                  <a16:creationId xmlns:a16="http://schemas.microsoft.com/office/drawing/2014/main" id="{279F7743-3F02-42C5-92FB-88ABC4C697BF}"/>
                </a:ext>
              </a:extLst>
            </p:cNvPr>
            <p:cNvSpPr txBox="1"/>
            <p:nvPr/>
          </p:nvSpPr>
          <p:spPr>
            <a:xfrm>
              <a:off x="1372721" y="2711355"/>
              <a:ext cx="2475914" cy="1390896"/>
            </a:xfrm>
            <a:prstGeom prst="rect">
              <a:avLst/>
            </a:prstGeom>
            <a:noFill/>
          </p:spPr>
          <p:txBody>
            <a:bodyPr wrap="square" rtlCol="0">
              <a:spAutoFit/>
            </a:bodyPr>
            <a:lstStyle/>
            <a:p>
              <a:pPr algn="ctr"/>
              <a:r>
                <a:rPr lang="en-US" sz="1600" dirty="0">
                  <a:solidFill>
                    <a:schemeClr val="bg1"/>
                  </a:solidFill>
                  <a:latin typeface="Century Gothic" panose="020B0502020202020204" pitchFamily="34" charset="0"/>
                </a:rPr>
                <a:t>MR, VR, 3D, Wifi6, </a:t>
              </a:r>
              <a:r>
                <a:rPr lang="en-US" sz="1600" dirty="0" err="1">
                  <a:solidFill>
                    <a:schemeClr val="bg1"/>
                  </a:solidFill>
                  <a:latin typeface="Century Gothic" panose="020B0502020202020204" pitchFamily="34" charset="0"/>
                </a:rPr>
                <a:t>Fibra</a:t>
              </a:r>
              <a:r>
                <a:rPr lang="en-US" sz="1600" dirty="0">
                  <a:solidFill>
                    <a:schemeClr val="bg1"/>
                  </a:solidFill>
                  <a:latin typeface="Century Gothic" panose="020B0502020202020204" pitchFamily="34" charset="0"/>
                </a:rPr>
                <a:t>, 5G, </a:t>
              </a:r>
              <a:r>
                <a:rPr lang="en-US" sz="1600" dirty="0" err="1">
                  <a:solidFill>
                    <a:schemeClr val="bg1"/>
                  </a:solidFill>
                  <a:latin typeface="Century Gothic" panose="020B0502020202020204" pitchFamily="34" charset="0"/>
                </a:rPr>
                <a:t>Conectividad</a:t>
              </a:r>
              <a:r>
                <a:rPr lang="en-US" sz="1600" dirty="0">
                  <a:solidFill>
                    <a:schemeClr val="bg1"/>
                  </a:solidFill>
                  <a:latin typeface="Century Gothic" panose="020B0502020202020204" pitchFamily="34" charset="0"/>
                </a:rPr>
                <a:t>, </a:t>
              </a:r>
              <a:r>
                <a:rPr lang="en-US" sz="1600" dirty="0" err="1">
                  <a:solidFill>
                    <a:schemeClr val="bg1"/>
                  </a:solidFill>
                  <a:latin typeface="Century Gothic" panose="020B0502020202020204" pitchFamily="34" charset="0"/>
                </a:rPr>
                <a:t>Visión</a:t>
              </a:r>
              <a:r>
                <a:rPr lang="en-US" sz="1600" dirty="0">
                  <a:solidFill>
                    <a:schemeClr val="bg1"/>
                  </a:solidFill>
                  <a:latin typeface="Century Gothic" panose="020B0502020202020204" pitchFamily="34" charset="0"/>
                </a:rPr>
                <a:t> </a:t>
              </a:r>
              <a:r>
                <a:rPr lang="en-US" sz="1600" dirty="0" err="1">
                  <a:solidFill>
                    <a:schemeClr val="bg1"/>
                  </a:solidFill>
                  <a:latin typeface="Century Gothic" panose="020B0502020202020204" pitchFamily="34" charset="0"/>
                </a:rPr>
                <a:t>artif</a:t>
              </a:r>
              <a:r>
                <a:rPr lang="en-US" sz="1600" dirty="0">
                  <a:solidFill>
                    <a:schemeClr val="bg1"/>
                  </a:solidFill>
                  <a:latin typeface="Century Gothic" panose="020B0502020202020204" pitchFamily="34" charset="0"/>
                </a:rPr>
                <a:t>., PLM…</a:t>
              </a:r>
            </a:p>
            <a:p>
              <a:pPr algn="ctr"/>
              <a:endParaRPr lang="en-US" sz="1100" dirty="0">
                <a:solidFill>
                  <a:schemeClr val="bg1"/>
                </a:solidFill>
                <a:latin typeface="Century Gothic" panose="020B0502020202020204" pitchFamily="34" charset="0"/>
              </a:endParaRPr>
            </a:p>
          </p:txBody>
        </p:sp>
      </p:grpSp>
      <p:sp>
        <p:nvSpPr>
          <p:cNvPr id="23" name="Rectángulo 22">
            <a:extLst>
              <a:ext uri="{FF2B5EF4-FFF2-40B4-BE49-F238E27FC236}">
                <a16:creationId xmlns:a16="http://schemas.microsoft.com/office/drawing/2014/main" id="{F41FD16D-E00B-4CF5-A5B4-50EBEA670A71}"/>
              </a:ext>
            </a:extLst>
          </p:cNvPr>
          <p:cNvSpPr/>
          <p:nvPr/>
        </p:nvSpPr>
        <p:spPr>
          <a:xfrm>
            <a:off x="1240137" y="201819"/>
            <a:ext cx="3869969" cy="769441"/>
          </a:xfrm>
          <a:prstGeom prst="rect">
            <a:avLst/>
          </a:prstGeom>
          <a:noFill/>
        </p:spPr>
        <p:txBody>
          <a:bodyPr wrap="none" lIns="91440" tIns="45720" rIns="91440" bIns="45720">
            <a:spAutoFit/>
          </a:bodyPr>
          <a:lstStyle/>
          <a:p>
            <a:pPr algn="ctr"/>
            <a:r>
              <a:rPr lang="es-ES" sz="4400" b="1"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Capas </a:t>
            </a:r>
            <a:r>
              <a:rPr lang="es-ES" sz="4400" b="1" dirty="0" err="1">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A</a:t>
            </a:r>
            <a:r>
              <a:rPr lang="es-ES" sz="4400" b="1" dirty="0" err="1">
                <a:ln w="9525">
                  <a:solidFill>
                    <a:schemeClr val="bg1"/>
                  </a:solidFill>
                  <a:prstDash val="solid"/>
                </a:ln>
                <a:solidFill>
                  <a:schemeClr val="bg1">
                    <a:lumMod val="75000"/>
                  </a:schemeClr>
                </a:solidFill>
                <a:effectLst>
                  <a:outerShdw blurRad="12700" dist="38100" dir="2700000" algn="tl" rotWithShape="0">
                    <a:schemeClr val="accent5">
                      <a:lumMod val="60000"/>
                      <a:lumOff val="40000"/>
                    </a:schemeClr>
                  </a:outerShdw>
                </a:effectLst>
              </a:rPr>
              <a:t>tec</a:t>
            </a:r>
            <a:r>
              <a:rPr lang="es-ES" sz="4400" b="1" dirty="0" err="1">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A</a:t>
            </a:r>
            <a:endParaRPr lang="es-ES" sz="4400" b="1"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endParaRPr>
          </a:p>
        </p:txBody>
      </p:sp>
      <p:pic>
        <p:nvPicPr>
          <p:cNvPr id="25" name="Gráfico 24" descr="USB">
            <a:extLst>
              <a:ext uri="{FF2B5EF4-FFF2-40B4-BE49-F238E27FC236}">
                <a16:creationId xmlns:a16="http://schemas.microsoft.com/office/drawing/2014/main" id="{740772F6-77D5-4482-BE9E-F55FE6B0BFD4}"/>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169078" y="4376597"/>
            <a:ext cx="914400" cy="914400"/>
          </a:xfrm>
          <a:prstGeom prst="rect">
            <a:avLst/>
          </a:prstGeom>
        </p:spPr>
      </p:pic>
      <p:pic>
        <p:nvPicPr>
          <p:cNvPr id="27" name="Gráfico 26" descr="Termómetro">
            <a:extLst>
              <a:ext uri="{FF2B5EF4-FFF2-40B4-BE49-F238E27FC236}">
                <a16:creationId xmlns:a16="http://schemas.microsoft.com/office/drawing/2014/main" id="{0E7BCA5A-9B0A-49A5-BD74-3C282884D089}"/>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5092025" y="4850252"/>
            <a:ext cx="603728" cy="603728"/>
          </a:xfrm>
          <a:prstGeom prst="rect">
            <a:avLst/>
          </a:prstGeom>
        </p:spPr>
      </p:pic>
      <p:pic>
        <p:nvPicPr>
          <p:cNvPr id="29" name="Gráfico 28" descr="Cara sonriente sin relleno">
            <a:extLst>
              <a:ext uri="{FF2B5EF4-FFF2-40B4-BE49-F238E27FC236}">
                <a16:creationId xmlns:a16="http://schemas.microsoft.com/office/drawing/2014/main" id="{DB0EFC0F-B008-4FC3-A77D-037B590968D6}"/>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8512161" y="4518370"/>
            <a:ext cx="914400" cy="914400"/>
          </a:xfrm>
          <a:prstGeom prst="rect">
            <a:avLst/>
          </a:prstGeom>
        </p:spPr>
      </p:pic>
      <p:sp>
        <p:nvSpPr>
          <p:cNvPr id="28" name="Marcador de número de diapositiva 1"/>
          <p:cNvSpPr>
            <a:spLocks noGrp="1"/>
          </p:cNvSpPr>
          <p:nvPr>
            <p:ph type="sldNum" sz="quarter" idx="12"/>
          </p:nvPr>
        </p:nvSpPr>
        <p:spPr>
          <a:xfrm>
            <a:off x="11777051" y="6458134"/>
            <a:ext cx="487378" cy="481343"/>
          </a:xfrm>
        </p:spPr>
        <p:txBody>
          <a:bodyPr/>
          <a:lstStyle/>
          <a:p>
            <a:r>
              <a:rPr lang="en-US" sz="2000" dirty="0" smtClean="0"/>
              <a:t>6</a:t>
            </a:r>
            <a:endParaRPr lang="en-US" sz="2000" dirty="0"/>
          </a:p>
        </p:txBody>
      </p:sp>
    </p:spTree>
    <p:extLst>
      <p:ext uri="{BB962C8B-B14F-4D97-AF65-F5344CB8AC3E}">
        <p14:creationId xmlns:p14="http://schemas.microsoft.com/office/powerpoint/2010/main" val="350400201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4" name="Freeform: Shape 24">
            <a:extLst>
              <a:ext uri="{FF2B5EF4-FFF2-40B4-BE49-F238E27FC236}">
                <a16:creationId xmlns:a16="http://schemas.microsoft.com/office/drawing/2014/main" id="{DB0BC1F3-E2BE-4C03-B043-37A91D2531D3}"/>
              </a:ext>
            </a:extLst>
          </p:cNvPr>
          <p:cNvSpPr/>
          <p:nvPr/>
        </p:nvSpPr>
        <p:spPr>
          <a:xfrm>
            <a:off x="6275113" y="129030"/>
            <a:ext cx="3132838" cy="6668030"/>
          </a:xfrm>
          <a:custGeom>
            <a:avLst/>
            <a:gdLst>
              <a:gd name="connsiteX0" fmla="*/ 0 w 3329256"/>
              <a:gd name="connsiteY0" fmla="*/ 0 h 7984420"/>
              <a:gd name="connsiteX1" fmla="*/ 1 w 3329256"/>
              <a:gd name="connsiteY1" fmla="*/ 0 h 7984420"/>
              <a:gd name="connsiteX2" fmla="*/ 1898776 w 3329256"/>
              <a:gd name="connsiteY2" fmla="*/ 1713483 h 7984420"/>
              <a:gd name="connsiteX3" fmla="*/ 1908630 w 3329256"/>
              <a:gd name="connsiteY3" fmla="*/ 1908628 h 7984420"/>
              <a:gd name="connsiteX4" fmla="*/ 1908630 w 3329256"/>
              <a:gd name="connsiteY4" fmla="*/ 6075792 h 7984420"/>
              <a:gd name="connsiteX5" fmla="*/ 1908626 w 3329256"/>
              <a:gd name="connsiteY5" fmla="*/ 6075792 h 7984420"/>
              <a:gd name="connsiteX6" fmla="*/ 1915960 w 3329256"/>
              <a:gd name="connsiteY6" fmla="*/ 6221042 h 7984420"/>
              <a:gd name="connsiteX7" fmla="*/ 3329256 w 3329256"/>
              <a:gd name="connsiteY7" fmla="*/ 7496421 h 7984420"/>
              <a:gd name="connsiteX8" fmla="*/ 3329256 w 3329256"/>
              <a:gd name="connsiteY8" fmla="*/ 7984420 h 7984420"/>
              <a:gd name="connsiteX9" fmla="*/ 3329255 w 3329256"/>
              <a:gd name="connsiteY9" fmla="*/ 7984420 h 7984420"/>
              <a:gd name="connsiteX10" fmla="*/ 1430480 w 3329256"/>
              <a:gd name="connsiteY10" fmla="*/ 6270937 h 7984420"/>
              <a:gd name="connsiteX11" fmla="*/ 1420626 w 3329256"/>
              <a:gd name="connsiteY11" fmla="*/ 6075792 h 7984420"/>
              <a:gd name="connsiteX12" fmla="*/ 1420626 w 3329256"/>
              <a:gd name="connsiteY12" fmla="*/ 1908628 h 7984420"/>
              <a:gd name="connsiteX13" fmla="*/ 1420630 w 3329256"/>
              <a:gd name="connsiteY13" fmla="*/ 1908628 h 7984420"/>
              <a:gd name="connsiteX14" fmla="*/ 1413296 w 3329256"/>
              <a:gd name="connsiteY14" fmla="*/ 1763378 h 7984420"/>
              <a:gd name="connsiteX15" fmla="*/ 0 w 3329256"/>
              <a:gd name="connsiteY15" fmla="*/ 487999 h 798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29256" h="7984420">
                <a:moveTo>
                  <a:pt x="0" y="0"/>
                </a:moveTo>
                <a:lnTo>
                  <a:pt x="1" y="0"/>
                </a:lnTo>
                <a:cubicBezTo>
                  <a:pt x="988227" y="0"/>
                  <a:pt x="1801035" y="751045"/>
                  <a:pt x="1898776" y="1713483"/>
                </a:cubicBezTo>
                <a:lnTo>
                  <a:pt x="1908630" y="1908628"/>
                </a:lnTo>
                <a:lnTo>
                  <a:pt x="1908630" y="6075792"/>
                </a:lnTo>
                <a:lnTo>
                  <a:pt x="1908626" y="6075792"/>
                </a:lnTo>
                <a:lnTo>
                  <a:pt x="1915960" y="6221042"/>
                </a:lnTo>
                <a:cubicBezTo>
                  <a:pt x="1988711" y="6937403"/>
                  <a:pt x="2593701" y="7496421"/>
                  <a:pt x="3329256" y="7496421"/>
                </a:cubicBezTo>
                <a:lnTo>
                  <a:pt x="3329256" y="7984420"/>
                </a:lnTo>
                <a:lnTo>
                  <a:pt x="3329255" y="7984420"/>
                </a:lnTo>
                <a:cubicBezTo>
                  <a:pt x="2341029" y="7984420"/>
                  <a:pt x="1528221" y="7233375"/>
                  <a:pt x="1430480" y="6270937"/>
                </a:cubicBezTo>
                <a:lnTo>
                  <a:pt x="1420626" y="6075792"/>
                </a:lnTo>
                <a:lnTo>
                  <a:pt x="1420626" y="1908628"/>
                </a:lnTo>
                <a:lnTo>
                  <a:pt x="1420630" y="1908628"/>
                </a:lnTo>
                <a:lnTo>
                  <a:pt x="1413296" y="1763378"/>
                </a:lnTo>
                <a:cubicBezTo>
                  <a:pt x="1340545" y="1047017"/>
                  <a:pt x="735555" y="487999"/>
                  <a:pt x="0" y="487999"/>
                </a:cubicBezTo>
                <a:close/>
              </a:path>
            </a:pathLst>
          </a:custGeom>
          <a:gradFill flip="none" rotWithShape="1">
            <a:gsLst>
              <a:gs pos="61000">
                <a:srgbClr val="00CC99"/>
              </a:gs>
              <a:gs pos="27400">
                <a:srgbClr val="33CCFF"/>
              </a:gs>
              <a:gs pos="0">
                <a:srgbClr val="000099"/>
              </a:gs>
              <a:gs pos="100000">
                <a:srgbClr val="006600"/>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endParaRPr>
          </a:p>
        </p:txBody>
      </p:sp>
      <p:sp>
        <p:nvSpPr>
          <p:cNvPr id="3" name="Freeform: Shape 4">
            <a:extLst>
              <a:ext uri="{FF2B5EF4-FFF2-40B4-BE49-F238E27FC236}">
                <a16:creationId xmlns:a16="http://schemas.microsoft.com/office/drawing/2014/main" id="{8ED10564-8DA1-41C7-B59D-ED6F2413E26F}"/>
              </a:ext>
            </a:extLst>
          </p:cNvPr>
          <p:cNvSpPr/>
          <p:nvPr/>
        </p:nvSpPr>
        <p:spPr>
          <a:xfrm>
            <a:off x="177127" y="119269"/>
            <a:ext cx="3268139" cy="6668030"/>
          </a:xfrm>
          <a:custGeom>
            <a:avLst/>
            <a:gdLst>
              <a:gd name="connsiteX0" fmla="*/ 0 w 3329256"/>
              <a:gd name="connsiteY0" fmla="*/ 0 h 7984420"/>
              <a:gd name="connsiteX1" fmla="*/ 1 w 3329256"/>
              <a:gd name="connsiteY1" fmla="*/ 0 h 7984420"/>
              <a:gd name="connsiteX2" fmla="*/ 1898776 w 3329256"/>
              <a:gd name="connsiteY2" fmla="*/ 1713483 h 7984420"/>
              <a:gd name="connsiteX3" fmla="*/ 1908630 w 3329256"/>
              <a:gd name="connsiteY3" fmla="*/ 1908628 h 7984420"/>
              <a:gd name="connsiteX4" fmla="*/ 1908630 w 3329256"/>
              <a:gd name="connsiteY4" fmla="*/ 6075792 h 7984420"/>
              <a:gd name="connsiteX5" fmla="*/ 1908626 w 3329256"/>
              <a:gd name="connsiteY5" fmla="*/ 6075792 h 7984420"/>
              <a:gd name="connsiteX6" fmla="*/ 1915960 w 3329256"/>
              <a:gd name="connsiteY6" fmla="*/ 6221042 h 7984420"/>
              <a:gd name="connsiteX7" fmla="*/ 3329256 w 3329256"/>
              <a:gd name="connsiteY7" fmla="*/ 7496421 h 7984420"/>
              <a:gd name="connsiteX8" fmla="*/ 3329256 w 3329256"/>
              <a:gd name="connsiteY8" fmla="*/ 7984420 h 7984420"/>
              <a:gd name="connsiteX9" fmla="*/ 3329255 w 3329256"/>
              <a:gd name="connsiteY9" fmla="*/ 7984420 h 7984420"/>
              <a:gd name="connsiteX10" fmla="*/ 1430480 w 3329256"/>
              <a:gd name="connsiteY10" fmla="*/ 6270937 h 7984420"/>
              <a:gd name="connsiteX11" fmla="*/ 1420626 w 3329256"/>
              <a:gd name="connsiteY11" fmla="*/ 6075792 h 7984420"/>
              <a:gd name="connsiteX12" fmla="*/ 1420626 w 3329256"/>
              <a:gd name="connsiteY12" fmla="*/ 1908628 h 7984420"/>
              <a:gd name="connsiteX13" fmla="*/ 1420630 w 3329256"/>
              <a:gd name="connsiteY13" fmla="*/ 1908628 h 7984420"/>
              <a:gd name="connsiteX14" fmla="*/ 1413296 w 3329256"/>
              <a:gd name="connsiteY14" fmla="*/ 1763378 h 7984420"/>
              <a:gd name="connsiteX15" fmla="*/ 0 w 3329256"/>
              <a:gd name="connsiteY15" fmla="*/ 487999 h 798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29256" h="7984420">
                <a:moveTo>
                  <a:pt x="0" y="0"/>
                </a:moveTo>
                <a:lnTo>
                  <a:pt x="1" y="0"/>
                </a:lnTo>
                <a:cubicBezTo>
                  <a:pt x="988227" y="0"/>
                  <a:pt x="1801035" y="751045"/>
                  <a:pt x="1898776" y="1713483"/>
                </a:cubicBezTo>
                <a:lnTo>
                  <a:pt x="1908630" y="1908628"/>
                </a:lnTo>
                <a:lnTo>
                  <a:pt x="1908630" y="6075792"/>
                </a:lnTo>
                <a:lnTo>
                  <a:pt x="1908626" y="6075792"/>
                </a:lnTo>
                <a:lnTo>
                  <a:pt x="1915960" y="6221042"/>
                </a:lnTo>
                <a:cubicBezTo>
                  <a:pt x="1988711" y="6937403"/>
                  <a:pt x="2593701" y="7496421"/>
                  <a:pt x="3329256" y="7496421"/>
                </a:cubicBezTo>
                <a:lnTo>
                  <a:pt x="3329256" y="7984420"/>
                </a:lnTo>
                <a:lnTo>
                  <a:pt x="3329255" y="7984420"/>
                </a:lnTo>
                <a:cubicBezTo>
                  <a:pt x="2341029" y="7984420"/>
                  <a:pt x="1528221" y="7233375"/>
                  <a:pt x="1430480" y="6270937"/>
                </a:cubicBezTo>
                <a:lnTo>
                  <a:pt x="1420626" y="6075792"/>
                </a:lnTo>
                <a:lnTo>
                  <a:pt x="1420626" y="1908628"/>
                </a:lnTo>
                <a:lnTo>
                  <a:pt x="1420630" y="1908628"/>
                </a:lnTo>
                <a:lnTo>
                  <a:pt x="1413296" y="1763378"/>
                </a:lnTo>
                <a:cubicBezTo>
                  <a:pt x="1340545" y="1047017"/>
                  <a:pt x="735555" y="487999"/>
                  <a:pt x="0" y="487999"/>
                </a:cubicBezTo>
                <a:close/>
              </a:path>
            </a:pathLst>
          </a:custGeom>
          <a:gradFill flip="none" rotWithShape="1">
            <a:gsLst>
              <a:gs pos="61000">
                <a:srgbClr val="00CC99"/>
              </a:gs>
              <a:gs pos="27400">
                <a:srgbClr val="33CCFF"/>
              </a:gs>
              <a:gs pos="0">
                <a:srgbClr val="000099"/>
              </a:gs>
              <a:gs pos="100000">
                <a:srgbClr val="006600"/>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endParaRPr>
          </a:p>
        </p:txBody>
      </p:sp>
      <p:sp>
        <p:nvSpPr>
          <p:cNvPr id="2" name="Rectángulo 1">
            <a:extLst>
              <a:ext uri="{FF2B5EF4-FFF2-40B4-BE49-F238E27FC236}">
                <a16:creationId xmlns:a16="http://schemas.microsoft.com/office/drawing/2014/main" id="{B23FEED7-63F6-4545-95DD-474E69B1B82D}"/>
              </a:ext>
            </a:extLst>
          </p:cNvPr>
          <p:cNvSpPr/>
          <p:nvPr/>
        </p:nvSpPr>
        <p:spPr>
          <a:xfrm>
            <a:off x="1124682" y="193816"/>
            <a:ext cx="8518679" cy="707886"/>
          </a:xfrm>
          <a:prstGeom prst="rect">
            <a:avLst/>
          </a:prstGeom>
          <a:noFill/>
        </p:spPr>
        <p:txBody>
          <a:bodyPr wrap="none" lIns="91440" tIns="45720" rIns="91440" bIns="45720">
            <a:spAutoFit/>
          </a:bodyPr>
          <a:lstStyle/>
          <a:p>
            <a:pPr algn="ctr"/>
            <a:r>
              <a:rPr lang="es-ES" sz="4000" b="1"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Características principales </a:t>
            </a:r>
            <a:r>
              <a:rPr lang="es-ES" sz="4000" b="1" dirty="0" err="1">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A</a:t>
            </a:r>
            <a:r>
              <a:rPr lang="es-ES" sz="4000" b="1" dirty="0" err="1">
                <a:ln w="9525">
                  <a:solidFill>
                    <a:schemeClr val="bg1"/>
                  </a:solidFill>
                  <a:prstDash val="solid"/>
                </a:ln>
                <a:solidFill>
                  <a:schemeClr val="bg1">
                    <a:lumMod val="75000"/>
                  </a:schemeClr>
                </a:solidFill>
                <a:effectLst>
                  <a:outerShdw blurRad="12700" dist="38100" dir="2700000" algn="tl" rotWithShape="0">
                    <a:schemeClr val="accent5">
                      <a:lumMod val="60000"/>
                      <a:lumOff val="40000"/>
                    </a:schemeClr>
                  </a:outerShdw>
                </a:effectLst>
              </a:rPr>
              <a:t>tec</a:t>
            </a:r>
            <a:r>
              <a:rPr lang="es-ES" sz="4000" b="1" dirty="0" err="1">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A</a:t>
            </a:r>
            <a:endParaRPr lang="es-ES" sz="4000" b="1"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endParaRPr>
          </a:p>
        </p:txBody>
      </p:sp>
      <p:grpSp>
        <p:nvGrpSpPr>
          <p:cNvPr id="4" name="Group 2">
            <a:extLst>
              <a:ext uri="{FF2B5EF4-FFF2-40B4-BE49-F238E27FC236}">
                <a16:creationId xmlns:a16="http://schemas.microsoft.com/office/drawing/2014/main" id="{1C09FB72-68D4-4427-9581-76CB6C57A703}"/>
              </a:ext>
            </a:extLst>
          </p:cNvPr>
          <p:cNvGrpSpPr/>
          <p:nvPr/>
        </p:nvGrpSpPr>
        <p:grpSpPr>
          <a:xfrm>
            <a:off x="1616465" y="1588822"/>
            <a:ext cx="3869935" cy="651148"/>
            <a:chOff x="1437352" y="1240020"/>
            <a:chExt cx="2682157" cy="651148"/>
          </a:xfrm>
        </p:grpSpPr>
        <p:sp>
          <p:nvSpPr>
            <p:cNvPr id="5" name="Freeform: Shape 5">
              <a:extLst>
                <a:ext uri="{FF2B5EF4-FFF2-40B4-BE49-F238E27FC236}">
                  <a16:creationId xmlns:a16="http://schemas.microsoft.com/office/drawing/2014/main" id="{0FA343E3-085E-48BB-8F70-BAD3CAC8B36E}"/>
                </a:ext>
              </a:extLst>
            </p:cNvPr>
            <p:cNvSpPr/>
            <p:nvPr/>
          </p:nvSpPr>
          <p:spPr>
            <a:xfrm flipV="1">
              <a:off x="1437352" y="1240020"/>
              <a:ext cx="2418207" cy="635091"/>
            </a:xfrm>
            <a:custGeom>
              <a:avLst/>
              <a:gdLst>
                <a:gd name="connsiteX0" fmla="*/ 314185 w 3126929"/>
                <a:gd name="connsiteY0" fmla="*/ 0 h 727424"/>
                <a:gd name="connsiteX1" fmla="*/ 3126929 w 3126929"/>
                <a:gd name="connsiteY1" fmla="*/ 0 h 727424"/>
                <a:gd name="connsiteX2" fmla="*/ 3126929 w 3126929"/>
                <a:gd name="connsiteY2" fmla="*/ 413239 h 727424"/>
                <a:gd name="connsiteX3" fmla="*/ 314185 w 3126929"/>
                <a:gd name="connsiteY3" fmla="*/ 413239 h 727424"/>
                <a:gd name="connsiteX4" fmla="*/ 0 w 3126929"/>
                <a:gd name="connsiteY4" fmla="*/ 727424 h 727424"/>
                <a:gd name="connsiteX5" fmla="*/ 0 w 3126929"/>
                <a:gd name="connsiteY5" fmla="*/ 314185 h 727424"/>
                <a:gd name="connsiteX6" fmla="*/ 314185 w 3126929"/>
                <a:gd name="connsiteY6" fmla="*/ 0 h 72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6929" h="727424">
                  <a:moveTo>
                    <a:pt x="314185" y="0"/>
                  </a:moveTo>
                  <a:lnTo>
                    <a:pt x="3126929" y="0"/>
                  </a:lnTo>
                  <a:lnTo>
                    <a:pt x="3126929" y="413239"/>
                  </a:lnTo>
                  <a:lnTo>
                    <a:pt x="314185" y="413239"/>
                  </a:lnTo>
                  <a:cubicBezTo>
                    <a:pt x="140665" y="413239"/>
                    <a:pt x="0" y="553904"/>
                    <a:pt x="0" y="727424"/>
                  </a:cubicBezTo>
                  <a:lnTo>
                    <a:pt x="0" y="314185"/>
                  </a:lnTo>
                  <a:cubicBezTo>
                    <a:pt x="0" y="140665"/>
                    <a:pt x="140665" y="0"/>
                    <a:pt x="314185" y="0"/>
                  </a:cubicBezTo>
                  <a:close/>
                </a:path>
              </a:pathLst>
            </a:custGeom>
            <a:solidFill>
              <a:srgbClr val="0066CC"/>
            </a:solidFill>
            <a:ln>
              <a:noFill/>
            </a:ln>
            <a:effectLst>
              <a:outerShdw blurRad="50800" dist="635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solidFill>
              </a:endParaRPr>
            </a:p>
          </p:txBody>
        </p:sp>
        <p:sp>
          <p:nvSpPr>
            <p:cNvPr id="6" name="TextBox 6">
              <a:extLst>
                <a:ext uri="{FF2B5EF4-FFF2-40B4-BE49-F238E27FC236}">
                  <a16:creationId xmlns:a16="http://schemas.microsoft.com/office/drawing/2014/main" id="{A5FE15D4-2A5A-476E-A935-C2CECA9D5ADB}"/>
                </a:ext>
              </a:extLst>
            </p:cNvPr>
            <p:cNvSpPr txBox="1"/>
            <p:nvPr/>
          </p:nvSpPr>
          <p:spPr>
            <a:xfrm>
              <a:off x="1615266" y="1552614"/>
              <a:ext cx="2504243" cy="338554"/>
            </a:xfrm>
            <a:prstGeom prst="rect">
              <a:avLst/>
            </a:prstGeom>
            <a:noFill/>
          </p:spPr>
          <p:txBody>
            <a:bodyPr wrap="square" rtlCol="0">
              <a:spAutoFit/>
            </a:bodyPr>
            <a:lstStyle/>
            <a:p>
              <a:r>
                <a:rPr lang="en-US" sz="1600" b="1" dirty="0">
                  <a:latin typeface="Open Sans" panose="020B0606030504020204" pitchFamily="34" charset="0"/>
                  <a:ea typeface="Open Sans" panose="020B0606030504020204" pitchFamily="34" charset="0"/>
                  <a:cs typeface="Open Sans" panose="020B0606030504020204" pitchFamily="34" charset="0"/>
                </a:rPr>
                <a:t>CONCEPTO RED DE AULAS</a:t>
              </a:r>
            </a:p>
          </p:txBody>
        </p:sp>
      </p:grpSp>
      <p:sp>
        <p:nvSpPr>
          <p:cNvPr id="7" name="TextBox 7">
            <a:extLst>
              <a:ext uri="{FF2B5EF4-FFF2-40B4-BE49-F238E27FC236}">
                <a16:creationId xmlns:a16="http://schemas.microsoft.com/office/drawing/2014/main" id="{FDF7D655-ABFD-4BA6-925F-E4FE1649DBD1}"/>
              </a:ext>
            </a:extLst>
          </p:cNvPr>
          <p:cNvSpPr txBox="1"/>
          <p:nvPr/>
        </p:nvSpPr>
        <p:spPr>
          <a:xfrm>
            <a:off x="1516142" y="1271365"/>
            <a:ext cx="653143" cy="584775"/>
          </a:xfrm>
          <a:prstGeom prst="rect">
            <a:avLst/>
          </a:prstGeom>
          <a:noFill/>
        </p:spPr>
        <p:txBody>
          <a:bodyPr wrap="square" rtlCol="0">
            <a:spAutoFit/>
          </a:bodyPr>
          <a:lstStyle/>
          <a:p>
            <a:pPr algn="ctr"/>
            <a:r>
              <a:rPr lang="en-US" sz="3200" b="1" dirty="0">
                <a:latin typeface="Open Sans" panose="020B0606030504020204" pitchFamily="34" charset="0"/>
                <a:ea typeface="Open Sans" panose="020B0606030504020204" pitchFamily="34" charset="0"/>
                <a:cs typeface="Open Sans" panose="020B0606030504020204" pitchFamily="34" charset="0"/>
              </a:rPr>
              <a:t>1</a:t>
            </a:r>
          </a:p>
        </p:txBody>
      </p:sp>
      <p:grpSp>
        <p:nvGrpSpPr>
          <p:cNvPr id="9" name="Group 3">
            <a:extLst>
              <a:ext uri="{FF2B5EF4-FFF2-40B4-BE49-F238E27FC236}">
                <a16:creationId xmlns:a16="http://schemas.microsoft.com/office/drawing/2014/main" id="{E61AD3B5-3F03-47D6-A97E-DD831FC4A142}"/>
              </a:ext>
            </a:extLst>
          </p:cNvPr>
          <p:cNvGrpSpPr/>
          <p:nvPr/>
        </p:nvGrpSpPr>
        <p:grpSpPr>
          <a:xfrm>
            <a:off x="1616465" y="2490611"/>
            <a:ext cx="5375462" cy="651148"/>
            <a:chOff x="1437352" y="2358629"/>
            <a:chExt cx="3508731" cy="651148"/>
          </a:xfrm>
        </p:grpSpPr>
        <p:sp>
          <p:nvSpPr>
            <p:cNvPr id="10" name="Freeform: Shape 9">
              <a:extLst>
                <a:ext uri="{FF2B5EF4-FFF2-40B4-BE49-F238E27FC236}">
                  <a16:creationId xmlns:a16="http://schemas.microsoft.com/office/drawing/2014/main" id="{64299489-2647-4FF1-BF6F-750BD85350EC}"/>
                </a:ext>
              </a:extLst>
            </p:cNvPr>
            <p:cNvSpPr/>
            <p:nvPr/>
          </p:nvSpPr>
          <p:spPr>
            <a:xfrm flipV="1">
              <a:off x="1437352" y="2358629"/>
              <a:ext cx="3330816" cy="635091"/>
            </a:xfrm>
            <a:custGeom>
              <a:avLst/>
              <a:gdLst>
                <a:gd name="connsiteX0" fmla="*/ 314185 w 3126929"/>
                <a:gd name="connsiteY0" fmla="*/ 0 h 727424"/>
                <a:gd name="connsiteX1" fmla="*/ 3126929 w 3126929"/>
                <a:gd name="connsiteY1" fmla="*/ 0 h 727424"/>
                <a:gd name="connsiteX2" fmla="*/ 3126929 w 3126929"/>
                <a:gd name="connsiteY2" fmla="*/ 413239 h 727424"/>
                <a:gd name="connsiteX3" fmla="*/ 314185 w 3126929"/>
                <a:gd name="connsiteY3" fmla="*/ 413239 h 727424"/>
                <a:gd name="connsiteX4" fmla="*/ 0 w 3126929"/>
                <a:gd name="connsiteY4" fmla="*/ 727424 h 727424"/>
                <a:gd name="connsiteX5" fmla="*/ 0 w 3126929"/>
                <a:gd name="connsiteY5" fmla="*/ 314185 h 727424"/>
                <a:gd name="connsiteX6" fmla="*/ 314185 w 3126929"/>
                <a:gd name="connsiteY6" fmla="*/ 0 h 72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6929" h="727424">
                  <a:moveTo>
                    <a:pt x="314185" y="0"/>
                  </a:moveTo>
                  <a:lnTo>
                    <a:pt x="3126929" y="0"/>
                  </a:lnTo>
                  <a:lnTo>
                    <a:pt x="3126929" y="413239"/>
                  </a:lnTo>
                  <a:lnTo>
                    <a:pt x="314185" y="413239"/>
                  </a:lnTo>
                  <a:cubicBezTo>
                    <a:pt x="140665" y="413239"/>
                    <a:pt x="0" y="553904"/>
                    <a:pt x="0" y="727424"/>
                  </a:cubicBezTo>
                  <a:lnTo>
                    <a:pt x="0" y="314185"/>
                  </a:lnTo>
                  <a:cubicBezTo>
                    <a:pt x="0" y="140665"/>
                    <a:pt x="140665" y="0"/>
                    <a:pt x="314185" y="0"/>
                  </a:cubicBezTo>
                  <a:close/>
                </a:path>
              </a:pathLst>
            </a:custGeom>
            <a:solidFill>
              <a:srgbClr val="FF9900"/>
            </a:solidFill>
            <a:ln>
              <a:noFill/>
            </a:ln>
            <a:effectLst>
              <a:outerShdw blurRad="50800" dist="635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solidFill>
              </a:endParaRPr>
            </a:p>
          </p:txBody>
        </p:sp>
        <p:sp>
          <p:nvSpPr>
            <p:cNvPr id="11" name="TextBox 10">
              <a:extLst>
                <a:ext uri="{FF2B5EF4-FFF2-40B4-BE49-F238E27FC236}">
                  <a16:creationId xmlns:a16="http://schemas.microsoft.com/office/drawing/2014/main" id="{0968D891-0936-46D0-8AE2-75BFD01FD85E}"/>
                </a:ext>
              </a:extLst>
            </p:cNvPr>
            <p:cNvSpPr txBox="1"/>
            <p:nvPr/>
          </p:nvSpPr>
          <p:spPr>
            <a:xfrm>
              <a:off x="1615267" y="2671223"/>
              <a:ext cx="3330816" cy="338554"/>
            </a:xfrm>
            <a:prstGeom prst="rect">
              <a:avLst/>
            </a:prstGeom>
            <a:noFill/>
          </p:spPr>
          <p:txBody>
            <a:bodyPr wrap="square" rtlCol="0">
              <a:spAutoFit/>
            </a:bodyPr>
            <a:lstStyle/>
            <a:p>
              <a:r>
                <a:rPr lang="en-US" sz="1600" b="1" dirty="0">
                  <a:latin typeface="Open Sans" panose="020B0606030504020204" pitchFamily="34" charset="0"/>
                  <a:ea typeface="Open Sans" panose="020B0606030504020204" pitchFamily="34" charset="0"/>
                  <a:cs typeface="Open Sans" panose="020B0606030504020204" pitchFamily="34" charset="0"/>
                </a:rPr>
                <a:t>APRENDIZAJE ACTIVO Y COLABORATIVO</a:t>
              </a:r>
            </a:p>
          </p:txBody>
        </p:sp>
      </p:grpSp>
      <p:sp>
        <p:nvSpPr>
          <p:cNvPr id="12" name="TextBox 14">
            <a:extLst>
              <a:ext uri="{FF2B5EF4-FFF2-40B4-BE49-F238E27FC236}">
                <a16:creationId xmlns:a16="http://schemas.microsoft.com/office/drawing/2014/main" id="{2EFFB566-2029-4BBC-8990-25ED6EAA9D59}"/>
              </a:ext>
            </a:extLst>
          </p:cNvPr>
          <p:cNvSpPr txBox="1"/>
          <p:nvPr/>
        </p:nvSpPr>
        <p:spPr>
          <a:xfrm>
            <a:off x="1516142" y="2173154"/>
            <a:ext cx="653143" cy="584775"/>
          </a:xfrm>
          <a:prstGeom prst="rect">
            <a:avLst/>
          </a:prstGeom>
          <a:noFill/>
        </p:spPr>
        <p:txBody>
          <a:bodyPr wrap="square" rtlCol="0">
            <a:spAutoFit/>
          </a:bodyPr>
          <a:lstStyle/>
          <a:p>
            <a:pPr algn="ctr"/>
            <a:r>
              <a:rPr lang="en-US" sz="3200" b="1" dirty="0">
                <a:latin typeface="Open Sans" panose="020B0606030504020204" pitchFamily="34" charset="0"/>
                <a:ea typeface="Open Sans" panose="020B0606030504020204" pitchFamily="34" charset="0"/>
                <a:cs typeface="Open Sans" panose="020B0606030504020204" pitchFamily="34" charset="0"/>
              </a:rPr>
              <a:t>2</a:t>
            </a:r>
          </a:p>
        </p:txBody>
      </p:sp>
      <p:grpSp>
        <p:nvGrpSpPr>
          <p:cNvPr id="14" name="Group 41">
            <a:extLst>
              <a:ext uri="{FF2B5EF4-FFF2-40B4-BE49-F238E27FC236}">
                <a16:creationId xmlns:a16="http://schemas.microsoft.com/office/drawing/2014/main" id="{31C7DFEC-E219-4F93-9D12-C5F504F0F1D8}"/>
              </a:ext>
            </a:extLst>
          </p:cNvPr>
          <p:cNvGrpSpPr/>
          <p:nvPr/>
        </p:nvGrpSpPr>
        <p:grpSpPr>
          <a:xfrm>
            <a:off x="1616465" y="3480213"/>
            <a:ext cx="6017802" cy="651148"/>
            <a:chOff x="1437352" y="3508484"/>
            <a:chExt cx="4069241" cy="651148"/>
          </a:xfrm>
        </p:grpSpPr>
        <p:sp>
          <p:nvSpPr>
            <p:cNvPr id="15" name="Freeform: Shape 16">
              <a:extLst>
                <a:ext uri="{FF2B5EF4-FFF2-40B4-BE49-F238E27FC236}">
                  <a16:creationId xmlns:a16="http://schemas.microsoft.com/office/drawing/2014/main" id="{B9549611-1DCD-4BBF-812D-33437F31787A}"/>
                </a:ext>
              </a:extLst>
            </p:cNvPr>
            <p:cNvSpPr/>
            <p:nvPr/>
          </p:nvSpPr>
          <p:spPr>
            <a:xfrm flipV="1">
              <a:off x="1437352" y="3508484"/>
              <a:ext cx="3690826" cy="635091"/>
            </a:xfrm>
            <a:custGeom>
              <a:avLst/>
              <a:gdLst>
                <a:gd name="connsiteX0" fmla="*/ 314185 w 3126929"/>
                <a:gd name="connsiteY0" fmla="*/ 0 h 727424"/>
                <a:gd name="connsiteX1" fmla="*/ 3126929 w 3126929"/>
                <a:gd name="connsiteY1" fmla="*/ 0 h 727424"/>
                <a:gd name="connsiteX2" fmla="*/ 3126929 w 3126929"/>
                <a:gd name="connsiteY2" fmla="*/ 413239 h 727424"/>
                <a:gd name="connsiteX3" fmla="*/ 314185 w 3126929"/>
                <a:gd name="connsiteY3" fmla="*/ 413239 h 727424"/>
                <a:gd name="connsiteX4" fmla="*/ 0 w 3126929"/>
                <a:gd name="connsiteY4" fmla="*/ 727424 h 727424"/>
                <a:gd name="connsiteX5" fmla="*/ 0 w 3126929"/>
                <a:gd name="connsiteY5" fmla="*/ 314185 h 727424"/>
                <a:gd name="connsiteX6" fmla="*/ 314185 w 3126929"/>
                <a:gd name="connsiteY6" fmla="*/ 0 h 72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6929" h="727424">
                  <a:moveTo>
                    <a:pt x="314185" y="0"/>
                  </a:moveTo>
                  <a:lnTo>
                    <a:pt x="3126929" y="0"/>
                  </a:lnTo>
                  <a:lnTo>
                    <a:pt x="3126929" y="413239"/>
                  </a:lnTo>
                  <a:lnTo>
                    <a:pt x="314185" y="413239"/>
                  </a:lnTo>
                  <a:cubicBezTo>
                    <a:pt x="140665" y="413239"/>
                    <a:pt x="0" y="553904"/>
                    <a:pt x="0" y="727424"/>
                  </a:cubicBezTo>
                  <a:lnTo>
                    <a:pt x="0" y="314185"/>
                  </a:lnTo>
                  <a:cubicBezTo>
                    <a:pt x="0" y="140665"/>
                    <a:pt x="140665" y="0"/>
                    <a:pt x="314185" y="0"/>
                  </a:cubicBezTo>
                  <a:close/>
                </a:path>
              </a:pathLst>
            </a:custGeom>
            <a:solidFill>
              <a:srgbClr val="FF0066"/>
            </a:solidFill>
            <a:ln>
              <a:noFill/>
            </a:ln>
            <a:effectLst>
              <a:outerShdw blurRad="50800" dist="635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solidFill>
              </a:endParaRPr>
            </a:p>
          </p:txBody>
        </p:sp>
        <p:sp>
          <p:nvSpPr>
            <p:cNvPr id="16" name="TextBox 17">
              <a:extLst>
                <a:ext uri="{FF2B5EF4-FFF2-40B4-BE49-F238E27FC236}">
                  <a16:creationId xmlns:a16="http://schemas.microsoft.com/office/drawing/2014/main" id="{050095B4-7A37-4C09-9F61-DFF040D33F8A}"/>
                </a:ext>
              </a:extLst>
            </p:cNvPr>
            <p:cNvSpPr txBox="1"/>
            <p:nvPr/>
          </p:nvSpPr>
          <p:spPr>
            <a:xfrm>
              <a:off x="1615266" y="3821078"/>
              <a:ext cx="3891327" cy="338554"/>
            </a:xfrm>
            <a:prstGeom prst="rect">
              <a:avLst/>
            </a:prstGeom>
            <a:noFill/>
          </p:spPr>
          <p:txBody>
            <a:bodyPr wrap="square" rtlCol="0">
              <a:spAutoFit/>
            </a:bodyPr>
            <a:lstStyle/>
            <a:p>
              <a:r>
                <a:rPr lang="en-US" sz="1600" b="1" dirty="0">
                  <a:latin typeface="Open Sans" panose="020B0606030504020204" pitchFamily="34" charset="0"/>
                  <a:ea typeface="Open Sans" panose="020B0606030504020204" pitchFamily="34" charset="0"/>
                  <a:cs typeface="Open Sans" panose="020B0606030504020204" pitchFamily="34" charset="0"/>
                </a:rPr>
                <a:t>APRENDIZAJE ENTRE EQUIPOS INTERCENTRO</a:t>
              </a:r>
            </a:p>
          </p:txBody>
        </p:sp>
      </p:grpSp>
      <p:sp>
        <p:nvSpPr>
          <p:cNvPr id="17" name="TextBox 18">
            <a:extLst>
              <a:ext uri="{FF2B5EF4-FFF2-40B4-BE49-F238E27FC236}">
                <a16:creationId xmlns:a16="http://schemas.microsoft.com/office/drawing/2014/main" id="{EDE8911B-DA3D-4C03-86A4-821BA9821197}"/>
              </a:ext>
            </a:extLst>
          </p:cNvPr>
          <p:cNvSpPr txBox="1"/>
          <p:nvPr/>
        </p:nvSpPr>
        <p:spPr>
          <a:xfrm>
            <a:off x="1545518" y="3152184"/>
            <a:ext cx="653143" cy="584775"/>
          </a:xfrm>
          <a:prstGeom prst="rect">
            <a:avLst/>
          </a:prstGeom>
          <a:noFill/>
        </p:spPr>
        <p:txBody>
          <a:bodyPr wrap="square" rtlCol="0">
            <a:spAutoFit/>
          </a:bodyPr>
          <a:lstStyle/>
          <a:p>
            <a:pPr algn="ctr"/>
            <a:r>
              <a:rPr lang="en-US" sz="3200" b="1" dirty="0">
                <a:latin typeface="Open Sans" panose="020B0606030504020204" pitchFamily="34" charset="0"/>
                <a:ea typeface="Open Sans" panose="020B0606030504020204" pitchFamily="34" charset="0"/>
                <a:cs typeface="Open Sans" panose="020B0606030504020204" pitchFamily="34" charset="0"/>
              </a:rPr>
              <a:t>3</a:t>
            </a:r>
          </a:p>
        </p:txBody>
      </p:sp>
      <p:grpSp>
        <p:nvGrpSpPr>
          <p:cNvPr id="19" name="Group 42">
            <a:extLst>
              <a:ext uri="{FF2B5EF4-FFF2-40B4-BE49-F238E27FC236}">
                <a16:creationId xmlns:a16="http://schemas.microsoft.com/office/drawing/2014/main" id="{9EEAAB82-47B0-466B-AC76-4DB34132BB12}"/>
              </a:ext>
            </a:extLst>
          </p:cNvPr>
          <p:cNvGrpSpPr/>
          <p:nvPr/>
        </p:nvGrpSpPr>
        <p:grpSpPr>
          <a:xfrm>
            <a:off x="1616464" y="4453792"/>
            <a:ext cx="3869935" cy="651148"/>
            <a:chOff x="1437352" y="4595185"/>
            <a:chExt cx="2342793" cy="651148"/>
          </a:xfrm>
        </p:grpSpPr>
        <p:sp>
          <p:nvSpPr>
            <p:cNvPr id="20" name="Freeform: Shape 20">
              <a:extLst>
                <a:ext uri="{FF2B5EF4-FFF2-40B4-BE49-F238E27FC236}">
                  <a16:creationId xmlns:a16="http://schemas.microsoft.com/office/drawing/2014/main" id="{1BDA7929-92C6-4E3A-8E68-44183E4B4AB1}"/>
                </a:ext>
              </a:extLst>
            </p:cNvPr>
            <p:cNvSpPr/>
            <p:nvPr/>
          </p:nvSpPr>
          <p:spPr>
            <a:xfrm flipV="1">
              <a:off x="1437352" y="4595185"/>
              <a:ext cx="2342793" cy="635091"/>
            </a:xfrm>
            <a:custGeom>
              <a:avLst/>
              <a:gdLst>
                <a:gd name="connsiteX0" fmla="*/ 314185 w 3126929"/>
                <a:gd name="connsiteY0" fmla="*/ 0 h 727424"/>
                <a:gd name="connsiteX1" fmla="*/ 3126929 w 3126929"/>
                <a:gd name="connsiteY1" fmla="*/ 0 h 727424"/>
                <a:gd name="connsiteX2" fmla="*/ 3126929 w 3126929"/>
                <a:gd name="connsiteY2" fmla="*/ 413239 h 727424"/>
                <a:gd name="connsiteX3" fmla="*/ 314185 w 3126929"/>
                <a:gd name="connsiteY3" fmla="*/ 413239 h 727424"/>
                <a:gd name="connsiteX4" fmla="*/ 0 w 3126929"/>
                <a:gd name="connsiteY4" fmla="*/ 727424 h 727424"/>
                <a:gd name="connsiteX5" fmla="*/ 0 w 3126929"/>
                <a:gd name="connsiteY5" fmla="*/ 314185 h 727424"/>
                <a:gd name="connsiteX6" fmla="*/ 314185 w 3126929"/>
                <a:gd name="connsiteY6" fmla="*/ 0 h 72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6929" h="727424">
                  <a:moveTo>
                    <a:pt x="314185" y="0"/>
                  </a:moveTo>
                  <a:lnTo>
                    <a:pt x="3126929" y="0"/>
                  </a:lnTo>
                  <a:lnTo>
                    <a:pt x="3126929" y="413239"/>
                  </a:lnTo>
                  <a:lnTo>
                    <a:pt x="314185" y="413239"/>
                  </a:lnTo>
                  <a:cubicBezTo>
                    <a:pt x="140665" y="413239"/>
                    <a:pt x="0" y="553904"/>
                    <a:pt x="0" y="727424"/>
                  </a:cubicBezTo>
                  <a:lnTo>
                    <a:pt x="0" y="314185"/>
                  </a:lnTo>
                  <a:cubicBezTo>
                    <a:pt x="0" y="140665"/>
                    <a:pt x="140665" y="0"/>
                    <a:pt x="314185" y="0"/>
                  </a:cubicBezTo>
                  <a:close/>
                </a:path>
              </a:pathLst>
            </a:custGeom>
            <a:solidFill>
              <a:srgbClr val="CC00FF"/>
            </a:solidFill>
            <a:ln>
              <a:noFill/>
            </a:ln>
            <a:effectLst>
              <a:outerShdw blurRad="50800" dist="635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solidFill>
              </a:endParaRPr>
            </a:p>
          </p:txBody>
        </p:sp>
        <p:sp>
          <p:nvSpPr>
            <p:cNvPr id="21" name="TextBox 21">
              <a:extLst>
                <a:ext uri="{FF2B5EF4-FFF2-40B4-BE49-F238E27FC236}">
                  <a16:creationId xmlns:a16="http://schemas.microsoft.com/office/drawing/2014/main" id="{DBE9AB4E-5EFD-4699-A403-BEDE6646910D}"/>
                </a:ext>
              </a:extLst>
            </p:cNvPr>
            <p:cNvSpPr txBox="1"/>
            <p:nvPr/>
          </p:nvSpPr>
          <p:spPr>
            <a:xfrm>
              <a:off x="1615267" y="4907779"/>
              <a:ext cx="1828800" cy="338554"/>
            </a:xfrm>
            <a:prstGeom prst="rect">
              <a:avLst/>
            </a:prstGeom>
            <a:noFill/>
          </p:spPr>
          <p:txBody>
            <a:bodyPr wrap="square" rtlCol="0">
              <a:spAutoFit/>
            </a:bodyPr>
            <a:lstStyle/>
            <a:p>
              <a:r>
                <a:rPr lang="en-US" sz="1600" b="1" dirty="0">
                  <a:latin typeface="Open Sans" panose="020B0606030504020204" pitchFamily="34" charset="0"/>
                  <a:ea typeface="Open Sans" panose="020B0606030504020204" pitchFamily="34" charset="0"/>
                  <a:cs typeface="Open Sans" panose="020B0606030504020204" pitchFamily="34" charset="0"/>
                </a:rPr>
                <a:t>RETOS COMPARTIDOS</a:t>
              </a:r>
            </a:p>
          </p:txBody>
        </p:sp>
      </p:grpSp>
      <p:sp>
        <p:nvSpPr>
          <p:cNvPr id="22" name="TextBox 22">
            <a:extLst>
              <a:ext uri="{FF2B5EF4-FFF2-40B4-BE49-F238E27FC236}">
                <a16:creationId xmlns:a16="http://schemas.microsoft.com/office/drawing/2014/main" id="{4D8FEE3C-DC1F-4997-99F5-B2B3D6E721EA}"/>
              </a:ext>
            </a:extLst>
          </p:cNvPr>
          <p:cNvSpPr txBox="1"/>
          <p:nvPr/>
        </p:nvSpPr>
        <p:spPr>
          <a:xfrm>
            <a:off x="1516142" y="4136335"/>
            <a:ext cx="653143" cy="584775"/>
          </a:xfrm>
          <a:prstGeom prst="rect">
            <a:avLst/>
          </a:prstGeom>
          <a:noFill/>
        </p:spPr>
        <p:txBody>
          <a:bodyPr wrap="square" rtlCol="0">
            <a:spAutoFit/>
          </a:bodyPr>
          <a:lstStyle/>
          <a:p>
            <a:pPr algn="ctr"/>
            <a:r>
              <a:rPr lang="en-US" sz="3200" b="1" dirty="0">
                <a:latin typeface="Open Sans" panose="020B0606030504020204" pitchFamily="34" charset="0"/>
                <a:ea typeface="Open Sans" panose="020B0606030504020204" pitchFamily="34" charset="0"/>
                <a:cs typeface="Open Sans" panose="020B0606030504020204" pitchFamily="34" charset="0"/>
              </a:rPr>
              <a:t>4</a:t>
            </a:r>
          </a:p>
        </p:txBody>
      </p:sp>
      <p:grpSp>
        <p:nvGrpSpPr>
          <p:cNvPr id="25" name="Group 46">
            <a:extLst>
              <a:ext uri="{FF2B5EF4-FFF2-40B4-BE49-F238E27FC236}">
                <a16:creationId xmlns:a16="http://schemas.microsoft.com/office/drawing/2014/main" id="{DBE98B99-A458-4EE2-9A96-3BEEA61BB73C}"/>
              </a:ext>
            </a:extLst>
          </p:cNvPr>
          <p:cNvGrpSpPr/>
          <p:nvPr/>
        </p:nvGrpSpPr>
        <p:grpSpPr>
          <a:xfrm>
            <a:off x="7705214" y="1862536"/>
            <a:ext cx="3923367" cy="651148"/>
            <a:chOff x="7526101" y="1249781"/>
            <a:chExt cx="2928640" cy="651148"/>
          </a:xfrm>
        </p:grpSpPr>
        <p:sp>
          <p:nvSpPr>
            <p:cNvPr id="26" name="Freeform: Shape 25">
              <a:extLst>
                <a:ext uri="{FF2B5EF4-FFF2-40B4-BE49-F238E27FC236}">
                  <a16:creationId xmlns:a16="http://schemas.microsoft.com/office/drawing/2014/main" id="{6CF0A986-E768-4C09-93B6-21125E25C2C4}"/>
                </a:ext>
              </a:extLst>
            </p:cNvPr>
            <p:cNvSpPr/>
            <p:nvPr/>
          </p:nvSpPr>
          <p:spPr>
            <a:xfrm flipV="1">
              <a:off x="7526101" y="1249781"/>
              <a:ext cx="2670559" cy="635091"/>
            </a:xfrm>
            <a:custGeom>
              <a:avLst/>
              <a:gdLst>
                <a:gd name="connsiteX0" fmla="*/ 314185 w 3126929"/>
                <a:gd name="connsiteY0" fmla="*/ 0 h 727424"/>
                <a:gd name="connsiteX1" fmla="*/ 3126929 w 3126929"/>
                <a:gd name="connsiteY1" fmla="*/ 0 h 727424"/>
                <a:gd name="connsiteX2" fmla="*/ 3126929 w 3126929"/>
                <a:gd name="connsiteY2" fmla="*/ 413239 h 727424"/>
                <a:gd name="connsiteX3" fmla="*/ 314185 w 3126929"/>
                <a:gd name="connsiteY3" fmla="*/ 413239 h 727424"/>
                <a:gd name="connsiteX4" fmla="*/ 0 w 3126929"/>
                <a:gd name="connsiteY4" fmla="*/ 727424 h 727424"/>
                <a:gd name="connsiteX5" fmla="*/ 0 w 3126929"/>
                <a:gd name="connsiteY5" fmla="*/ 314185 h 727424"/>
                <a:gd name="connsiteX6" fmla="*/ 314185 w 3126929"/>
                <a:gd name="connsiteY6" fmla="*/ 0 h 72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6929" h="727424">
                  <a:moveTo>
                    <a:pt x="314185" y="0"/>
                  </a:moveTo>
                  <a:lnTo>
                    <a:pt x="3126929" y="0"/>
                  </a:lnTo>
                  <a:lnTo>
                    <a:pt x="3126929" y="413239"/>
                  </a:lnTo>
                  <a:lnTo>
                    <a:pt x="314185" y="413239"/>
                  </a:lnTo>
                  <a:cubicBezTo>
                    <a:pt x="140665" y="413239"/>
                    <a:pt x="0" y="553904"/>
                    <a:pt x="0" y="727424"/>
                  </a:cubicBezTo>
                  <a:lnTo>
                    <a:pt x="0" y="314185"/>
                  </a:lnTo>
                  <a:cubicBezTo>
                    <a:pt x="0" y="140665"/>
                    <a:pt x="140665" y="0"/>
                    <a:pt x="314185" y="0"/>
                  </a:cubicBezTo>
                  <a:close/>
                </a:path>
              </a:pathLst>
            </a:custGeom>
            <a:solidFill>
              <a:srgbClr val="3399FF"/>
            </a:solidFill>
            <a:ln>
              <a:noFill/>
            </a:ln>
            <a:effectLst>
              <a:outerShdw blurRad="50800" dist="635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solidFill>
              </a:endParaRPr>
            </a:p>
          </p:txBody>
        </p:sp>
        <p:sp>
          <p:nvSpPr>
            <p:cNvPr id="27" name="TextBox 26">
              <a:extLst>
                <a:ext uri="{FF2B5EF4-FFF2-40B4-BE49-F238E27FC236}">
                  <a16:creationId xmlns:a16="http://schemas.microsoft.com/office/drawing/2014/main" id="{F5213F82-9E4B-43C7-AA52-2D2914188F8B}"/>
                </a:ext>
              </a:extLst>
            </p:cNvPr>
            <p:cNvSpPr txBox="1"/>
            <p:nvPr/>
          </p:nvSpPr>
          <p:spPr>
            <a:xfrm>
              <a:off x="7704016" y="1562375"/>
              <a:ext cx="2750725" cy="338554"/>
            </a:xfrm>
            <a:prstGeom prst="rect">
              <a:avLst/>
            </a:prstGeom>
            <a:noFill/>
          </p:spPr>
          <p:txBody>
            <a:bodyPr wrap="square" rtlCol="0">
              <a:spAutoFit/>
            </a:bodyPr>
            <a:lstStyle/>
            <a:p>
              <a:r>
                <a:rPr lang="en-US" sz="1600" b="1" dirty="0">
                  <a:latin typeface="Open Sans" panose="020B0606030504020204" pitchFamily="34" charset="0"/>
                  <a:ea typeface="Open Sans" panose="020B0606030504020204" pitchFamily="34" charset="0"/>
                  <a:cs typeface="Open Sans" panose="020B0606030504020204" pitchFamily="34" charset="0"/>
                </a:rPr>
                <a:t>SOSTENIBILIDAD DEL AULA</a:t>
              </a:r>
            </a:p>
          </p:txBody>
        </p:sp>
      </p:grpSp>
      <p:sp>
        <p:nvSpPr>
          <p:cNvPr id="28" name="TextBox 27">
            <a:extLst>
              <a:ext uri="{FF2B5EF4-FFF2-40B4-BE49-F238E27FC236}">
                <a16:creationId xmlns:a16="http://schemas.microsoft.com/office/drawing/2014/main" id="{73563D00-509C-4A56-BEFF-027854594338}"/>
              </a:ext>
            </a:extLst>
          </p:cNvPr>
          <p:cNvSpPr txBox="1"/>
          <p:nvPr/>
        </p:nvSpPr>
        <p:spPr>
          <a:xfrm>
            <a:off x="7604891" y="1545079"/>
            <a:ext cx="653143" cy="584775"/>
          </a:xfrm>
          <a:prstGeom prst="rect">
            <a:avLst/>
          </a:prstGeom>
          <a:noFill/>
        </p:spPr>
        <p:txBody>
          <a:bodyPr wrap="square" rtlCol="0">
            <a:spAutoFit/>
          </a:bodyPr>
          <a:lstStyle/>
          <a:p>
            <a:pPr algn="ctr"/>
            <a:r>
              <a:rPr lang="en-US" sz="3200" b="1" dirty="0">
                <a:latin typeface="Open Sans" panose="020B0606030504020204" pitchFamily="34" charset="0"/>
                <a:ea typeface="Open Sans" panose="020B0606030504020204" pitchFamily="34" charset="0"/>
                <a:cs typeface="Open Sans" panose="020B0606030504020204" pitchFamily="34" charset="0"/>
              </a:rPr>
              <a:t>6</a:t>
            </a:r>
          </a:p>
        </p:txBody>
      </p:sp>
      <p:grpSp>
        <p:nvGrpSpPr>
          <p:cNvPr id="30" name="Group 45">
            <a:extLst>
              <a:ext uri="{FF2B5EF4-FFF2-40B4-BE49-F238E27FC236}">
                <a16:creationId xmlns:a16="http://schemas.microsoft.com/office/drawing/2014/main" id="{75C7F328-3448-47A9-97A5-830E75A738D7}"/>
              </a:ext>
            </a:extLst>
          </p:cNvPr>
          <p:cNvGrpSpPr/>
          <p:nvPr/>
        </p:nvGrpSpPr>
        <p:grpSpPr>
          <a:xfrm>
            <a:off x="7705214" y="2981145"/>
            <a:ext cx="4532584" cy="635091"/>
            <a:chOff x="7526101" y="2368390"/>
            <a:chExt cx="3679227" cy="635091"/>
          </a:xfrm>
        </p:grpSpPr>
        <p:sp>
          <p:nvSpPr>
            <p:cNvPr id="31" name="Freeform: Shape 29">
              <a:extLst>
                <a:ext uri="{FF2B5EF4-FFF2-40B4-BE49-F238E27FC236}">
                  <a16:creationId xmlns:a16="http://schemas.microsoft.com/office/drawing/2014/main" id="{606114C3-9956-43EC-8AE8-5A69390C603F}"/>
                </a:ext>
              </a:extLst>
            </p:cNvPr>
            <p:cNvSpPr/>
            <p:nvPr/>
          </p:nvSpPr>
          <p:spPr>
            <a:xfrm flipV="1">
              <a:off x="7526101" y="2368390"/>
              <a:ext cx="3501313" cy="635091"/>
            </a:xfrm>
            <a:custGeom>
              <a:avLst/>
              <a:gdLst>
                <a:gd name="connsiteX0" fmla="*/ 314185 w 3126929"/>
                <a:gd name="connsiteY0" fmla="*/ 0 h 727424"/>
                <a:gd name="connsiteX1" fmla="*/ 3126929 w 3126929"/>
                <a:gd name="connsiteY1" fmla="*/ 0 h 727424"/>
                <a:gd name="connsiteX2" fmla="*/ 3126929 w 3126929"/>
                <a:gd name="connsiteY2" fmla="*/ 413239 h 727424"/>
                <a:gd name="connsiteX3" fmla="*/ 314185 w 3126929"/>
                <a:gd name="connsiteY3" fmla="*/ 413239 h 727424"/>
                <a:gd name="connsiteX4" fmla="*/ 0 w 3126929"/>
                <a:gd name="connsiteY4" fmla="*/ 727424 h 727424"/>
                <a:gd name="connsiteX5" fmla="*/ 0 w 3126929"/>
                <a:gd name="connsiteY5" fmla="*/ 314185 h 727424"/>
                <a:gd name="connsiteX6" fmla="*/ 314185 w 3126929"/>
                <a:gd name="connsiteY6" fmla="*/ 0 h 72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6929" h="727424">
                  <a:moveTo>
                    <a:pt x="314185" y="0"/>
                  </a:moveTo>
                  <a:lnTo>
                    <a:pt x="3126929" y="0"/>
                  </a:lnTo>
                  <a:lnTo>
                    <a:pt x="3126929" y="413239"/>
                  </a:lnTo>
                  <a:lnTo>
                    <a:pt x="314185" y="413239"/>
                  </a:lnTo>
                  <a:cubicBezTo>
                    <a:pt x="140665" y="413239"/>
                    <a:pt x="0" y="553904"/>
                    <a:pt x="0" y="727424"/>
                  </a:cubicBezTo>
                  <a:lnTo>
                    <a:pt x="0" y="314185"/>
                  </a:lnTo>
                  <a:cubicBezTo>
                    <a:pt x="0" y="140665"/>
                    <a:pt x="140665" y="0"/>
                    <a:pt x="314185" y="0"/>
                  </a:cubicBezTo>
                  <a:close/>
                </a:path>
              </a:pathLst>
            </a:custGeom>
            <a:solidFill>
              <a:srgbClr val="CCCC00"/>
            </a:solidFill>
            <a:ln>
              <a:noFill/>
            </a:ln>
            <a:effectLst>
              <a:outerShdw blurRad="50800" dist="635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2" name="TextBox 30">
              <a:extLst>
                <a:ext uri="{FF2B5EF4-FFF2-40B4-BE49-F238E27FC236}">
                  <a16:creationId xmlns:a16="http://schemas.microsoft.com/office/drawing/2014/main" id="{003E0BA2-1106-49F5-846F-E199E156ADEB}"/>
                </a:ext>
              </a:extLst>
            </p:cNvPr>
            <p:cNvSpPr txBox="1"/>
            <p:nvPr/>
          </p:nvSpPr>
          <p:spPr>
            <a:xfrm>
              <a:off x="7704015" y="2680984"/>
              <a:ext cx="3501313" cy="307777"/>
            </a:xfrm>
            <a:prstGeom prst="rect">
              <a:avLst/>
            </a:prstGeom>
            <a:noFill/>
          </p:spPr>
          <p:txBody>
            <a:bodyPr wrap="square" rtlCol="0">
              <a:spAutoFit/>
            </a:bodyPr>
            <a:lstStyle/>
            <a:p>
              <a:r>
                <a:rPr lang="en-US" sz="1400" b="1" dirty="0">
                  <a:latin typeface="Open Sans" panose="020B0606030504020204" pitchFamily="34" charset="0"/>
                  <a:ea typeface="Open Sans" panose="020B0606030504020204" pitchFamily="34" charset="0"/>
                  <a:cs typeface="Open Sans" panose="020B0606030504020204" pitchFamily="34" charset="0"/>
                </a:rPr>
                <a:t>SISTEMAS DE REUNIÓN CON LA MR O VR </a:t>
              </a:r>
            </a:p>
          </p:txBody>
        </p:sp>
      </p:grpSp>
      <p:sp>
        <p:nvSpPr>
          <p:cNvPr id="33" name="TextBox 31">
            <a:extLst>
              <a:ext uri="{FF2B5EF4-FFF2-40B4-BE49-F238E27FC236}">
                <a16:creationId xmlns:a16="http://schemas.microsoft.com/office/drawing/2014/main" id="{7CE9FC3F-D5AA-4739-82F9-5DD6081C477C}"/>
              </a:ext>
            </a:extLst>
          </p:cNvPr>
          <p:cNvSpPr txBox="1"/>
          <p:nvPr/>
        </p:nvSpPr>
        <p:spPr>
          <a:xfrm>
            <a:off x="7604891" y="2663688"/>
            <a:ext cx="653143" cy="584775"/>
          </a:xfrm>
          <a:prstGeom prst="rect">
            <a:avLst/>
          </a:prstGeom>
          <a:noFill/>
        </p:spPr>
        <p:txBody>
          <a:bodyPr wrap="square" rtlCol="0">
            <a:spAutoFit/>
          </a:bodyPr>
          <a:lstStyle/>
          <a:p>
            <a:pPr algn="ctr"/>
            <a:r>
              <a:rPr lang="en-US" sz="3200" b="1" dirty="0">
                <a:latin typeface="Open Sans" panose="020B0606030504020204" pitchFamily="34" charset="0"/>
                <a:ea typeface="Open Sans" panose="020B0606030504020204" pitchFamily="34" charset="0"/>
                <a:cs typeface="Open Sans" panose="020B0606030504020204" pitchFamily="34" charset="0"/>
              </a:rPr>
              <a:t>7</a:t>
            </a:r>
          </a:p>
        </p:txBody>
      </p:sp>
      <p:grpSp>
        <p:nvGrpSpPr>
          <p:cNvPr id="35" name="Group 44">
            <a:extLst>
              <a:ext uri="{FF2B5EF4-FFF2-40B4-BE49-F238E27FC236}">
                <a16:creationId xmlns:a16="http://schemas.microsoft.com/office/drawing/2014/main" id="{2B0D195F-0002-474B-9E07-BDCCB1730AD3}"/>
              </a:ext>
            </a:extLst>
          </p:cNvPr>
          <p:cNvGrpSpPr/>
          <p:nvPr/>
        </p:nvGrpSpPr>
        <p:grpSpPr>
          <a:xfrm>
            <a:off x="7705213" y="4131000"/>
            <a:ext cx="4309659" cy="651148"/>
            <a:chOff x="7526101" y="3518245"/>
            <a:chExt cx="3061891" cy="651148"/>
          </a:xfrm>
        </p:grpSpPr>
        <p:sp>
          <p:nvSpPr>
            <p:cNvPr id="36" name="Freeform: Shape 33">
              <a:extLst>
                <a:ext uri="{FF2B5EF4-FFF2-40B4-BE49-F238E27FC236}">
                  <a16:creationId xmlns:a16="http://schemas.microsoft.com/office/drawing/2014/main" id="{4C36F976-7664-49B4-A138-055F64F8D007}"/>
                </a:ext>
              </a:extLst>
            </p:cNvPr>
            <p:cNvSpPr/>
            <p:nvPr/>
          </p:nvSpPr>
          <p:spPr>
            <a:xfrm flipV="1">
              <a:off x="7526101" y="3518245"/>
              <a:ext cx="2852654" cy="635091"/>
            </a:xfrm>
            <a:custGeom>
              <a:avLst/>
              <a:gdLst>
                <a:gd name="connsiteX0" fmla="*/ 314185 w 3126929"/>
                <a:gd name="connsiteY0" fmla="*/ 0 h 727424"/>
                <a:gd name="connsiteX1" fmla="*/ 3126929 w 3126929"/>
                <a:gd name="connsiteY1" fmla="*/ 0 h 727424"/>
                <a:gd name="connsiteX2" fmla="*/ 3126929 w 3126929"/>
                <a:gd name="connsiteY2" fmla="*/ 413239 h 727424"/>
                <a:gd name="connsiteX3" fmla="*/ 314185 w 3126929"/>
                <a:gd name="connsiteY3" fmla="*/ 413239 h 727424"/>
                <a:gd name="connsiteX4" fmla="*/ 0 w 3126929"/>
                <a:gd name="connsiteY4" fmla="*/ 727424 h 727424"/>
                <a:gd name="connsiteX5" fmla="*/ 0 w 3126929"/>
                <a:gd name="connsiteY5" fmla="*/ 314185 h 727424"/>
                <a:gd name="connsiteX6" fmla="*/ 314185 w 3126929"/>
                <a:gd name="connsiteY6" fmla="*/ 0 h 72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6929" h="727424">
                  <a:moveTo>
                    <a:pt x="314185" y="0"/>
                  </a:moveTo>
                  <a:lnTo>
                    <a:pt x="3126929" y="0"/>
                  </a:lnTo>
                  <a:lnTo>
                    <a:pt x="3126929" y="413239"/>
                  </a:lnTo>
                  <a:lnTo>
                    <a:pt x="314185" y="413239"/>
                  </a:lnTo>
                  <a:cubicBezTo>
                    <a:pt x="140665" y="413239"/>
                    <a:pt x="0" y="553904"/>
                    <a:pt x="0" y="727424"/>
                  </a:cubicBezTo>
                  <a:lnTo>
                    <a:pt x="0" y="314185"/>
                  </a:lnTo>
                  <a:cubicBezTo>
                    <a:pt x="0" y="140665"/>
                    <a:pt x="140665" y="0"/>
                    <a:pt x="314185" y="0"/>
                  </a:cubicBezTo>
                  <a:close/>
                </a:path>
              </a:pathLst>
            </a:custGeom>
            <a:solidFill>
              <a:srgbClr val="00CC99"/>
            </a:solidFill>
            <a:ln>
              <a:noFill/>
            </a:ln>
            <a:effectLst>
              <a:outerShdw blurRad="50800" dist="635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solidFill>
              </a:endParaRPr>
            </a:p>
          </p:txBody>
        </p:sp>
        <p:sp>
          <p:nvSpPr>
            <p:cNvPr id="37" name="TextBox 34">
              <a:extLst>
                <a:ext uri="{FF2B5EF4-FFF2-40B4-BE49-F238E27FC236}">
                  <a16:creationId xmlns:a16="http://schemas.microsoft.com/office/drawing/2014/main" id="{83AEB47B-CF39-4D96-8444-35025F8A7DC5}"/>
                </a:ext>
              </a:extLst>
            </p:cNvPr>
            <p:cNvSpPr txBox="1"/>
            <p:nvPr/>
          </p:nvSpPr>
          <p:spPr>
            <a:xfrm>
              <a:off x="7704016" y="3830839"/>
              <a:ext cx="2883976" cy="338554"/>
            </a:xfrm>
            <a:prstGeom prst="rect">
              <a:avLst/>
            </a:prstGeom>
            <a:noFill/>
          </p:spPr>
          <p:txBody>
            <a:bodyPr wrap="square" rtlCol="0">
              <a:spAutoFit/>
            </a:bodyPr>
            <a:lstStyle/>
            <a:p>
              <a:r>
                <a:rPr lang="en-US" sz="1600" b="1" dirty="0">
                  <a:latin typeface="Open Sans" panose="020B0606030504020204" pitchFamily="34" charset="0"/>
                  <a:ea typeface="Open Sans" panose="020B0606030504020204" pitchFamily="34" charset="0"/>
                  <a:cs typeface="Open Sans" panose="020B0606030504020204" pitchFamily="34" charset="0"/>
                </a:rPr>
                <a:t>CONECTIVIDAD ENTRE EQUIPOS</a:t>
              </a:r>
            </a:p>
          </p:txBody>
        </p:sp>
      </p:grpSp>
      <p:sp>
        <p:nvSpPr>
          <p:cNvPr id="38" name="TextBox 35">
            <a:extLst>
              <a:ext uri="{FF2B5EF4-FFF2-40B4-BE49-F238E27FC236}">
                <a16:creationId xmlns:a16="http://schemas.microsoft.com/office/drawing/2014/main" id="{7CDAA6C1-1924-4A46-A536-3B0BE6DCC2D5}"/>
              </a:ext>
            </a:extLst>
          </p:cNvPr>
          <p:cNvSpPr txBox="1"/>
          <p:nvPr/>
        </p:nvSpPr>
        <p:spPr>
          <a:xfrm>
            <a:off x="7634267" y="3802971"/>
            <a:ext cx="653143" cy="584775"/>
          </a:xfrm>
          <a:prstGeom prst="rect">
            <a:avLst/>
          </a:prstGeom>
          <a:noFill/>
        </p:spPr>
        <p:txBody>
          <a:bodyPr wrap="square" rtlCol="0">
            <a:spAutoFit/>
          </a:bodyPr>
          <a:lstStyle/>
          <a:p>
            <a:pPr algn="ctr"/>
            <a:r>
              <a:rPr lang="en-US" sz="3200" b="1" dirty="0">
                <a:latin typeface="Open Sans" panose="020B0606030504020204" pitchFamily="34" charset="0"/>
                <a:ea typeface="Open Sans" panose="020B0606030504020204" pitchFamily="34" charset="0"/>
                <a:cs typeface="Open Sans" panose="020B0606030504020204" pitchFamily="34" charset="0"/>
              </a:rPr>
              <a:t>8</a:t>
            </a:r>
          </a:p>
        </p:txBody>
      </p:sp>
      <p:grpSp>
        <p:nvGrpSpPr>
          <p:cNvPr id="40" name="Group 43">
            <a:extLst>
              <a:ext uri="{FF2B5EF4-FFF2-40B4-BE49-F238E27FC236}">
                <a16:creationId xmlns:a16="http://schemas.microsoft.com/office/drawing/2014/main" id="{54F80114-C767-446D-9ABB-632101E9AE7F}"/>
              </a:ext>
            </a:extLst>
          </p:cNvPr>
          <p:cNvGrpSpPr/>
          <p:nvPr/>
        </p:nvGrpSpPr>
        <p:grpSpPr>
          <a:xfrm>
            <a:off x="7705214" y="5217701"/>
            <a:ext cx="4145041" cy="651148"/>
            <a:chOff x="7526101" y="4604946"/>
            <a:chExt cx="2928641" cy="651148"/>
          </a:xfrm>
        </p:grpSpPr>
        <p:sp>
          <p:nvSpPr>
            <p:cNvPr id="41" name="Freeform: Shape 37">
              <a:extLst>
                <a:ext uri="{FF2B5EF4-FFF2-40B4-BE49-F238E27FC236}">
                  <a16:creationId xmlns:a16="http://schemas.microsoft.com/office/drawing/2014/main" id="{3A13A095-F896-47E4-8A03-49693C5511A7}"/>
                </a:ext>
              </a:extLst>
            </p:cNvPr>
            <p:cNvSpPr/>
            <p:nvPr/>
          </p:nvSpPr>
          <p:spPr>
            <a:xfrm flipV="1">
              <a:off x="7526101" y="4604946"/>
              <a:ext cx="2475734" cy="635091"/>
            </a:xfrm>
            <a:custGeom>
              <a:avLst/>
              <a:gdLst>
                <a:gd name="connsiteX0" fmla="*/ 314185 w 3126929"/>
                <a:gd name="connsiteY0" fmla="*/ 0 h 727424"/>
                <a:gd name="connsiteX1" fmla="*/ 3126929 w 3126929"/>
                <a:gd name="connsiteY1" fmla="*/ 0 h 727424"/>
                <a:gd name="connsiteX2" fmla="*/ 3126929 w 3126929"/>
                <a:gd name="connsiteY2" fmla="*/ 413239 h 727424"/>
                <a:gd name="connsiteX3" fmla="*/ 314185 w 3126929"/>
                <a:gd name="connsiteY3" fmla="*/ 413239 h 727424"/>
                <a:gd name="connsiteX4" fmla="*/ 0 w 3126929"/>
                <a:gd name="connsiteY4" fmla="*/ 727424 h 727424"/>
                <a:gd name="connsiteX5" fmla="*/ 0 w 3126929"/>
                <a:gd name="connsiteY5" fmla="*/ 314185 h 727424"/>
                <a:gd name="connsiteX6" fmla="*/ 314185 w 3126929"/>
                <a:gd name="connsiteY6" fmla="*/ 0 h 72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6929" h="727424">
                  <a:moveTo>
                    <a:pt x="314185" y="0"/>
                  </a:moveTo>
                  <a:lnTo>
                    <a:pt x="3126929" y="0"/>
                  </a:lnTo>
                  <a:lnTo>
                    <a:pt x="3126929" y="413239"/>
                  </a:lnTo>
                  <a:lnTo>
                    <a:pt x="314185" y="413239"/>
                  </a:lnTo>
                  <a:cubicBezTo>
                    <a:pt x="140665" y="413239"/>
                    <a:pt x="0" y="553904"/>
                    <a:pt x="0" y="727424"/>
                  </a:cubicBezTo>
                  <a:lnTo>
                    <a:pt x="0" y="314185"/>
                  </a:lnTo>
                  <a:cubicBezTo>
                    <a:pt x="0" y="140665"/>
                    <a:pt x="140665" y="0"/>
                    <a:pt x="314185" y="0"/>
                  </a:cubicBezTo>
                  <a:close/>
                </a:path>
              </a:pathLst>
            </a:custGeom>
            <a:solidFill>
              <a:srgbClr val="CC9900"/>
            </a:solidFill>
            <a:ln>
              <a:noFill/>
            </a:ln>
            <a:effectLst>
              <a:outerShdw blurRad="50800" dist="635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solidFill>
              </a:endParaRPr>
            </a:p>
          </p:txBody>
        </p:sp>
        <p:sp>
          <p:nvSpPr>
            <p:cNvPr id="42" name="TextBox 38">
              <a:extLst>
                <a:ext uri="{FF2B5EF4-FFF2-40B4-BE49-F238E27FC236}">
                  <a16:creationId xmlns:a16="http://schemas.microsoft.com/office/drawing/2014/main" id="{EEE96CA7-5056-475F-9B74-D27A9271D62E}"/>
                </a:ext>
              </a:extLst>
            </p:cNvPr>
            <p:cNvSpPr txBox="1"/>
            <p:nvPr/>
          </p:nvSpPr>
          <p:spPr>
            <a:xfrm>
              <a:off x="7704015" y="4917540"/>
              <a:ext cx="2750727" cy="338554"/>
            </a:xfrm>
            <a:prstGeom prst="rect">
              <a:avLst/>
            </a:prstGeom>
            <a:noFill/>
          </p:spPr>
          <p:txBody>
            <a:bodyPr wrap="square" rtlCol="0">
              <a:spAutoFit/>
            </a:bodyPr>
            <a:lstStyle/>
            <a:p>
              <a:r>
                <a:rPr lang="en-US" sz="1600" b="1" dirty="0">
                  <a:latin typeface="Open Sans" panose="020B0606030504020204" pitchFamily="34" charset="0"/>
                  <a:ea typeface="Open Sans" panose="020B0606030504020204" pitchFamily="34" charset="0"/>
                  <a:cs typeface="Open Sans" panose="020B0606030504020204" pitchFamily="34" charset="0"/>
                </a:rPr>
                <a:t>IMPACTO EN AGENDA 2030</a:t>
              </a:r>
            </a:p>
          </p:txBody>
        </p:sp>
      </p:grpSp>
      <p:sp>
        <p:nvSpPr>
          <p:cNvPr id="43" name="TextBox 39">
            <a:extLst>
              <a:ext uri="{FF2B5EF4-FFF2-40B4-BE49-F238E27FC236}">
                <a16:creationId xmlns:a16="http://schemas.microsoft.com/office/drawing/2014/main" id="{AB6D044F-7DD6-4F73-91A0-AB2B9E67CB95}"/>
              </a:ext>
            </a:extLst>
          </p:cNvPr>
          <p:cNvSpPr txBox="1"/>
          <p:nvPr/>
        </p:nvSpPr>
        <p:spPr>
          <a:xfrm>
            <a:off x="7604891" y="4900244"/>
            <a:ext cx="653143" cy="584775"/>
          </a:xfrm>
          <a:prstGeom prst="rect">
            <a:avLst/>
          </a:prstGeom>
          <a:noFill/>
        </p:spPr>
        <p:txBody>
          <a:bodyPr wrap="square" rtlCol="0">
            <a:spAutoFit/>
          </a:bodyPr>
          <a:lstStyle/>
          <a:p>
            <a:pPr algn="ctr"/>
            <a:r>
              <a:rPr lang="en-US" sz="3200" b="1" dirty="0">
                <a:latin typeface="Open Sans" panose="020B0606030504020204" pitchFamily="34" charset="0"/>
                <a:ea typeface="Open Sans" panose="020B0606030504020204" pitchFamily="34" charset="0"/>
                <a:cs typeface="Open Sans" panose="020B0606030504020204" pitchFamily="34" charset="0"/>
              </a:rPr>
              <a:t>9</a:t>
            </a:r>
          </a:p>
        </p:txBody>
      </p:sp>
      <p:grpSp>
        <p:nvGrpSpPr>
          <p:cNvPr id="45" name="Group 46">
            <a:extLst>
              <a:ext uri="{FF2B5EF4-FFF2-40B4-BE49-F238E27FC236}">
                <a16:creationId xmlns:a16="http://schemas.microsoft.com/office/drawing/2014/main" id="{CF7FC3D6-88E0-491B-84A6-177ACBF7991F}"/>
              </a:ext>
            </a:extLst>
          </p:cNvPr>
          <p:cNvGrpSpPr/>
          <p:nvPr/>
        </p:nvGrpSpPr>
        <p:grpSpPr>
          <a:xfrm>
            <a:off x="1687312" y="5427372"/>
            <a:ext cx="4229576" cy="651148"/>
            <a:chOff x="7526101" y="1249781"/>
            <a:chExt cx="2868675" cy="651148"/>
          </a:xfrm>
        </p:grpSpPr>
        <p:sp>
          <p:nvSpPr>
            <p:cNvPr id="46" name="Freeform: Shape 25">
              <a:extLst>
                <a:ext uri="{FF2B5EF4-FFF2-40B4-BE49-F238E27FC236}">
                  <a16:creationId xmlns:a16="http://schemas.microsoft.com/office/drawing/2014/main" id="{331B69C9-EFB7-4B4C-807D-7499A0175902}"/>
                </a:ext>
              </a:extLst>
            </p:cNvPr>
            <p:cNvSpPr/>
            <p:nvPr/>
          </p:nvSpPr>
          <p:spPr>
            <a:xfrm flipV="1">
              <a:off x="7526101" y="1249781"/>
              <a:ext cx="2529311" cy="635091"/>
            </a:xfrm>
            <a:custGeom>
              <a:avLst/>
              <a:gdLst>
                <a:gd name="connsiteX0" fmla="*/ 314185 w 3126929"/>
                <a:gd name="connsiteY0" fmla="*/ 0 h 727424"/>
                <a:gd name="connsiteX1" fmla="*/ 3126929 w 3126929"/>
                <a:gd name="connsiteY1" fmla="*/ 0 h 727424"/>
                <a:gd name="connsiteX2" fmla="*/ 3126929 w 3126929"/>
                <a:gd name="connsiteY2" fmla="*/ 413239 h 727424"/>
                <a:gd name="connsiteX3" fmla="*/ 314185 w 3126929"/>
                <a:gd name="connsiteY3" fmla="*/ 413239 h 727424"/>
                <a:gd name="connsiteX4" fmla="*/ 0 w 3126929"/>
                <a:gd name="connsiteY4" fmla="*/ 727424 h 727424"/>
                <a:gd name="connsiteX5" fmla="*/ 0 w 3126929"/>
                <a:gd name="connsiteY5" fmla="*/ 314185 h 727424"/>
                <a:gd name="connsiteX6" fmla="*/ 314185 w 3126929"/>
                <a:gd name="connsiteY6" fmla="*/ 0 h 72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6929" h="727424">
                  <a:moveTo>
                    <a:pt x="314185" y="0"/>
                  </a:moveTo>
                  <a:lnTo>
                    <a:pt x="3126929" y="0"/>
                  </a:lnTo>
                  <a:lnTo>
                    <a:pt x="3126929" y="413239"/>
                  </a:lnTo>
                  <a:lnTo>
                    <a:pt x="314185" y="413239"/>
                  </a:lnTo>
                  <a:cubicBezTo>
                    <a:pt x="140665" y="413239"/>
                    <a:pt x="0" y="553904"/>
                    <a:pt x="0" y="727424"/>
                  </a:cubicBezTo>
                  <a:lnTo>
                    <a:pt x="0" y="314185"/>
                  </a:lnTo>
                  <a:cubicBezTo>
                    <a:pt x="0" y="140665"/>
                    <a:pt x="140665" y="0"/>
                    <a:pt x="314185" y="0"/>
                  </a:cubicBezTo>
                  <a:close/>
                </a:path>
              </a:pathLst>
            </a:custGeom>
            <a:solidFill>
              <a:srgbClr val="3399FF"/>
            </a:solidFill>
            <a:ln>
              <a:noFill/>
            </a:ln>
            <a:effectLst>
              <a:outerShdw blurRad="50800" dist="635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tx1"/>
                </a:solidFill>
              </a:endParaRPr>
            </a:p>
          </p:txBody>
        </p:sp>
        <p:sp>
          <p:nvSpPr>
            <p:cNvPr id="47" name="TextBox 26">
              <a:extLst>
                <a:ext uri="{FF2B5EF4-FFF2-40B4-BE49-F238E27FC236}">
                  <a16:creationId xmlns:a16="http://schemas.microsoft.com/office/drawing/2014/main" id="{20F9F9D5-6DAB-44A0-BB9D-373FE622966E}"/>
                </a:ext>
              </a:extLst>
            </p:cNvPr>
            <p:cNvSpPr txBox="1"/>
            <p:nvPr/>
          </p:nvSpPr>
          <p:spPr>
            <a:xfrm>
              <a:off x="7704016" y="1562375"/>
              <a:ext cx="2690760" cy="338554"/>
            </a:xfrm>
            <a:prstGeom prst="rect">
              <a:avLst/>
            </a:prstGeom>
            <a:noFill/>
          </p:spPr>
          <p:txBody>
            <a:bodyPr wrap="square" rtlCol="0">
              <a:spAutoFit/>
            </a:bodyPr>
            <a:lstStyle/>
            <a:p>
              <a:r>
                <a:rPr lang="en-US" sz="1600" b="1" dirty="0" smtClean="0">
                  <a:latin typeface="Open Sans" panose="020B0606030504020204" pitchFamily="34" charset="0"/>
                  <a:ea typeface="Open Sans" panose="020B0606030504020204" pitchFamily="34" charset="0"/>
                  <a:cs typeface="Open Sans" panose="020B0606030504020204" pitchFamily="34" charset="0"/>
                </a:rPr>
                <a:t>REPOSITORIO </a:t>
              </a:r>
              <a:r>
                <a:rPr lang="en-US" sz="1600" b="1" dirty="0">
                  <a:latin typeface="Open Sans" panose="020B0606030504020204" pitchFamily="34" charset="0"/>
                  <a:ea typeface="Open Sans" panose="020B0606030504020204" pitchFamily="34" charset="0"/>
                  <a:cs typeface="Open Sans" panose="020B0606030504020204" pitchFamily="34" charset="0"/>
                </a:rPr>
                <a:t>INFORMACIÓN</a:t>
              </a:r>
            </a:p>
          </p:txBody>
        </p:sp>
      </p:grpSp>
      <p:sp>
        <p:nvSpPr>
          <p:cNvPr id="48" name="TextBox 27">
            <a:extLst>
              <a:ext uri="{FF2B5EF4-FFF2-40B4-BE49-F238E27FC236}">
                <a16:creationId xmlns:a16="http://schemas.microsoft.com/office/drawing/2014/main" id="{23BC3463-E77A-431A-9253-C1E122A5C6A7}"/>
              </a:ext>
            </a:extLst>
          </p:cNvPr>
          <p:cNvSpPr txBox="1"/>
          <p:nvPr/>
        </p:nvSpPr>
        <p:spPr>
          <a:xfrm>
            <a:off x="1586989" y="5109915"/>
            <a:ext cx="653143" cy="584775"/>
          </a:xfrm>
          <a:prstGeom prst="rect">
            <a:avLst/>
          </a:prstGeom>
          <a:noFill/>
        </p:spPr>
        <p:txBody>
          <a:bodyPr wrap="square" rtlCol="0">
            <a:spAutoFit/>
          </a:bodyPr>
          <a:lstStyle/>
          <a:p>
            <a:pPr algn="ctr"/>
            <a:r>
              <a:rPr lang="en-US" sz="3200" b="1" dirty="0">
                <a:latin typeface="Open Sans" panose="020B0606030504020204" pitchFamily="34" charset="0"/>
                <a:ea typeface="Open Sans" panose="020B0606030504020204" pitchFamily="34" charset="0"/>
                <a:cs typeface="Open Sans" panose="020B0606030504020204" pitchFamily="34" charset="0"/>
              </a:rPr>
              <a:t>5</a:t>
            </a:r>
          </a:p>
        </p:txBody>
      </p:sp>
      <p:sp>
        <p:nvSpPr>
          <p:cNvPr id="44" name="Marcador de número de diapositiva 1"/>
          <p:cNvSpPr>
            <a:spLocks noGrp="1"/>
          </p:cNvSpPr>
          <p:nvPr>
            <p:ph type="sldNum" sz="quarter" idx="12"/>
          </p:nvPr>
        </p:nvSpPr>
        <p:spPr>
          <a:xfrm>
            <a:off x="11777051" y="6458134"/>
            <a:ext cx="487378" cy="481343"/>
          </a:xfrm>
        </p:spPr>
        <p:txBody>
          <a:bodyPr/>
          <a:lstStyle/>
          <a:p>
            <a:r>
              <a:rPr lang="en-US" sz="2000" dirty="0" smtClean="0"/>
              <a:t>7</a:t>
            </a:r>
            <a:endParaRPr lang="en-US" sz="2000" dirty="0"/>
          </a:p>
        </p:txBody>
      </p:sp>
    </p:spTree>
    <p:extLst>
      <p:ext uri="{BB962C8B-B14F-4D97-AF65-F5344CB8AC3E}">
        <p14:creationId xmlns:p14="http://schemas.microsoft.com/office/powerpoint/2010/main" val="28343504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23FEED7-63F6-4545-95DD-474E69B1B82D}"/>
              </a:ext>
            </a:extLst>
          </p:cNvPr>
          <p:cNvSpPr/>
          <p:nvPr/>
        </p:nvSpPr>
        <p:spPr>
          <a:xfrm>
            <a:off x="419022" y="193816"/>
            <a:ext cx="5214889" cy="707886"/>
          </a:xfrm>
          <a:prstGeom prst="rect">
            <a:avLst/>
          </a:prstGeom>
          <a:noFill/>
        </p:spPr>
        <p:txBody>
          <a:bodyPr wrap="none" lIns="91440" tIns="45720" rIns="91440" bIns="45720">
            <a:spAutoFit/>
          </a:bodyPr>
          <a:lstStyle/>
          <a:p>
            <a:r>
              <a:rPr lang="es-ES" sz="4000" b="1"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Realidad Mixta (MR)</a:t>
            </a:r>
          </a:p>
        </p:txBody>
      </p:sp>
      <p:sp>
        <p:nvSpPr>
          <p:cNvPr id="4" name="Rectángulo 3">
            <a:extLst>
              <a:ext uri="{FF2B5EF4-FFF2-40B4-BE49-F238E27FC236}">
                <a16:creationId xmlns:a16="http://schemas.microsoft.com/office/drawing/2014/main" id="{974CD814-1269-44B4-B042-01CCFDE171A3}"/>
              </a:ext>
            </a:extLst>
          </p:cNvPr>
          <p:cNvSpPr/>
          <p:nvPr/>
        </p:nvSpPr>
        <p:spPr>
          <a:xfrm>
            <a:off x="562084" y="1161658"/>
            <a:ext cx="1726755" cy="584775"/>
          </a:xfrm>
          <a:prstGeom prst="rect">
            <a:avLst/>
          </a:prstGeom>
          <a:noFill/>
        </p:spPr>
        <p:txBody>
          <a:bodyPr wrap="none" lIns="91440" tIns="45720" rIns="91440" bIns="45720">
            <a:spAutoFit/>
          </a:bodyPr>
          <a:lstStyle/>
          <a:p>
            <a:r>
              <a:rPr lang="es-ES" sz="3200" b="1" dirty="0">
                <a:ln w="9525">
                  <a:solidFill>
                    <a:schemeClr val="tx1"/>
                  </a:solidFill>
                  <a:prstDash val="solid"/>
                </a:ln>
                <a:solidFill>
                  <a:srgbClr val="FFFF00"/>
                </a:solidFill>
                <a:effectLst>
                  <a:outerShdw blurRad="63500" sx="102000" sy="102000" algn="ctr" rotWithShape="0">
                    <a:prstClr val="black">
                      <a:alpha val="40000"/>
                    </a:prstClr>
                  </a:outerShdw>
                </a:effectLst>
              </a:rPr>
              <a:t>Contexto</a:t>
            </a:r>
          </a:p>
        </p:txBody>
      </p:sp>
      <p:grpSp>
        <p:nvGrpSpPr>
          <p:cNvPr id="56" name="Grupo 55">
            <a:extLst>
              <a:ext uri="{FF2B5EF4-FFF2-40B4-BE49-F238E27FC236}">
                <a16:creationId xmlns:a16="http://schemas.microsoft.com/office/drawing/2014/main" id="{A1FA7997-ED70-4537-A947-EC41D8D2B22B}"/>
              </a:ext>
            </a:extLst>
          </p:cNvPr>
          <p:cNvGrpSpPr/>
          <p:nvPr/>
        </p:nvGrpSpPr>
        <p:grpSpPr>
          <a:xfrm>
            <a:off x="1225177" y="1746433"/>
            <a:ext cx="7052048" cy="1488441"/>
            <a:chOff x="1225177" y="1746433"/>
            <a:chExt cx="7052048" cy="1488441"/>
          </a:xfrm>
        </p:grpSpPr>
        <p:sp>
          <p:nvSpPr>
            <p:cNvPr id="14" name="Rectangle: Top Corners Rounded 27">
              <a:extLst>
                <a:ext uri="{FF2B5EF4-FFF2-40B4-BE49-F238E27FC236}">
                  <a16:creationId xmlns:a16="http://schemas.microsoft.com/office/drawing/2014/main" id="{C0E590D0-1263-4AC3-B610-B339037EF80A}"/>
                </a:ext>
              </a:extLst>
            </p:cNvPr>
            <p:cNvSpPr/>
            <p:nvPr/>
          </p:nvSpPr>
          <p:spPr>
            <a:xfrm>
              <a:off x="2062204" y="1807004"/>
              <a:ext cx="548640" cy="576775"/>
            </a:xfrm>
            <a:prstGeom prst="round2SameRect">
              <a:avLst>
                <a:gd name="adj1" fmla="val 50000"/>
                <a:gd name="adj2" fmla="val 0"/>
              </a:avLst>
            </a:prstGeom>
            <a:solidFill>
              <a:srgbClr val="00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bg2">
                    <a:lumMod val="20000"/>
                    <a:lumOff val="80000"/>
                  </a:schemeClr>
                </a:solidFill>
              </a:endParaRPr>
            </a:p>
          </p:txBody>
        </p:sp>
        <p:sp>
          <p:nvSpPr>
            <p:cNvPr id="15" name="Rectangle: Top Corners Rounded 28">
              <a:extLst>
                <a:ext uri="{FF2B5EF4-FFF2-40B4-BE49-F238E27FC236}">
                  <a16:creationId xmlns:a16="http://schemas.microsoft.com/office/drawing/2014/main" id="{E0B23256-6FB5-472D-BD95-EF62C9A4AFBB}"/>
                </a:ext>
              </a:extLst>
            </p:cNvPr>
            <p:cNvSpPr/>
            <p:nvPr/>
          </p:nvSpPr>
          <p:spPr>
            <a:xfrm>
              <a:off x="1535984" y="1807005"/>
              <a:ext cx="548640" cy="576775"/>
            </a:xfrm>
            <a:prstGeom prst="round2SameRect">
              <a:avLst>
                <a:gd name="adj1" fmla="val 50000"/>
                <a:gd name="adj2" fmla="val 0"/>
              </a:avLst>
            </a:prstGeom>
            <a:solidFill>
              <a:srgbClr val="00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bg2">
                    <a:lumMod val="20000"/>
                    <a:lumOff val="80000"/>
                  </a:schemeClr>
                </a:solidFill>
              </a:endParaRPr>
            </a:p>
          </p:txBody>
        </p:sp>
        <p:sp>
          <p:nvSpPr>
            <p:cNvPr id="16" name="Rectangle: Rounded Corners 29">
              <a:extLst>
                <a:ext uri="{FF2B5EF4-FFF2-40B4-BE49-F238E27FC236}">
                  <a16:creationId xmlns:a16="http://schemas.microsoft.com/office/drawing/2014/main" id="{A4F176E1-1BD6-4879-8377-8FD595B2CBDB}"/>
                </a:ext>
              </a:extLst>
            </p:cNvPr>
            <p:cNvSpPr/>
            <p:nvPr/>
          </p:nvSpPr>
          <p:spPr>
            <a:xfrm>
              <a:off x="1225177" y="2003951"/>
              <a:ext cx="7052048" cy="122388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bg2">
                    <a:lumMod val="20000"/>
                    <a:lumOff val="80000"/>
                  </a:schemeClr>
                </a:solidFill>
              </a:endParaRPr>
            </a:p>
          </p:txBody>
        </p:sp>
        <p:sp>
          <p:nvSpPr>
            <p:cNvPr id="17" name="Rectangle 70">
              <a:extLst>
                <a:ext uri="{FF2B5EF4-FFF2-40B4-BE49-F238E27FC236}">
                  <a16:creationId xmlns:a16="http://schemas.microsoft.com/office/drawing/2014/main" id="{51B7CD40-B974-44FD-B99F-0C184A71D071}"/>
                </a:ext>
              </a:extLst>
            </p:cNvPr>
            <p:cNvSpPr/>
            <p:nvPr/>
          </p:nvSpPr>
          <p:spPr>
            <a:xfrm rot="5400000">
              <a:off x="1840421" y="1479471"/>
              <a:ext cx="429497" cy="963421"/>
            </a:xfrm>
            <a:prstGeom prst="rect">
              <a:avLst/>
            </a:prstGeom>
            <a:solidFill>
              <a:schemeClr val="tx1">
                <a:alpha val="50000"/>
              </a:schemeClr>
            </a:solidFill>
            <a:ln>
              <a:noFill/>
            </a:ln>
            <a:effectLst>
              <a:softEdge rad="165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bg2">
                    <a:lumMod val="20000"/>
                    <a:lumOff val="80000"/>
                  </a:schemeClr>
                </a:solidFill>
              </a:endParaRPr>
            </a:p>
          </p:txBody>
        </p:sp>
        <p:sp>
          <p:nvSpPr>
            <p:cNvPr id="18" name="Trapezoid 5">
              <a:extLst>
                <a:ext uri="{FF2B5EF4-FFF2-40B4-BE49-F238E27FC236}">
                  <a16:creationId xmlns:a16="http://schemas.microsoft.com/office/drawing/2014/main" id="{0C8FAFE7-E6B4-499C-8D9D-D61665654B9C}"/>
                </a:ext>
              </a:extLst>
            </p:cNvPr>
            <p:cNvSpPr/>
            <p:nvPr/>
          </p:nvSpPr>
          <p:spPr>
            <a:xfrm flipV="1">
              <a:off x="1773817" y="1807005"/>
              <a:ext cx="562707" cy="618979"/>
            </a:xfrm>
            <a:custGeom>
              <a:avLst/>
              <a:gdLst>
                <a:gd name="connsiteX0" fmla="*/ 0 w 562707"/>
                <a:gd name="connsiteY0" fmla="*/ 618979 h 618979"/>
                <a:gd name="connsiteX1" fmla="*/ 140677 w 562707"/>
                <a:gd name="connsiteY1" fmla="*/ 0 h 618979"/>
                <a:gd name="connsiteX2" fmla="*/ 422030 w 562707"/>
                <a:gd name="connsiteY2" fmla="*/ 0 h 618979"/>
                <a:gd name="connsiteX3" fmla="*/ 562707 w 562707"/>
                <a:gd name="connsiteY3" fmla="*/ 618979 h 618979"/>
                <a:gd name="connsiteX4" fmla="*/ 0 w 562707"/>
                <a:gd name="connsiteY4" fmla="*/ 618979 h 618979"/>
                <a:gd name="connsiteX0" fmla="*/ 0 w 562707"/>
                <a:gd name="connsiteY0" fmla="*/ 618979 h 618979"/>
                <a:gd name="connsiteX1" fmla="*/ 140677 w 562707"/>
                <a:gd name="connsiteY1" fmla="*/ 0 h 618979"/>
                <a:gd name="connsiteX2" fmla="*/ 422030 w 562707"/>
                <a:gd name="connsiteY2" fmla="*/ 0 h 618979"/>
                <a:gd name="connsiteX3" fmla="*/ 562707 w 562707"/>
                <a:gd name="connsiteY3" fmla="*/ 618979 h 618979"/>
                <a:gd name="connsiteX4" fmla="*/ 0 w 562707"/>
                <a:gd name="connsiteY4" fmla="*/ 618979 h 618979"/>
                <a:gd name="connsiteX0" fmla="*/ 0 w 562707"/>
                <a:gd name="connsiteY0" fmla="*/ 618979 h 618979"/>
                <a:gd name="connsiteX1" fmla="*/ 140677 w 562707"/>
                <a:gd name="connsiteY1" fmla="*/ 0 h 618979"/>
                <a:gd name="connsiteX2" fmla="*/ 422030 w 562707"/>
                <a:gd name="connsiteY2" fmla="*/ 0 h 618979"/>
                <a:gd name="connsiteX3" fmla="*/ 562707 w 562707"/>
                <a:gd name="connsiteY3" fmla="*/ 618979 h 618979"/>
                <a:gd name="connsiteX4" fmla="*/ 0 w 562707"/>
                <a:gd name="connsiteY4" fmla="*/ 618979 h 618979"/>
                <a:gd name="connsiteX0" fmla="*/ 0 w 562707"/>
                <a:gd name="connsiteY0" fmla="*/ 618979 h 618979"/>
                <a:gd name="connsiteX1" fmla="*/ 140677 w 562707"/>
                <a:gd name="connsiteY1" fmla="*/ 0 h 618979"/>
                <a:gd name="connsiteX2" fmla="*/ 422030 w 562707"/>
                <a:gd name="connsiteY2" fmla="*/ 0 h 618979"/>
                <a:gd name="connsiteX3" fmla="*/ 562707 w 562707"/>
                <a:gd name="connsiteY3" fmla="*/ 618979 h 618979"/>
                <a:gd name="connsiteX4" fmla="*/ 0 w 562707"/>
                <a:gd name="connsiteY4" fmla="*/ 618979 h 618979"/>
                <a:gd name="connsiteX0" fmla="*/ 0 w 562707"/>
                <a:gd name="connsiteY0" fmla="*/ 618979 h 618979"/>
                <a:gd name="connsiteX1" fmla="*/ 140677 w 562707"/>
                <a:gd name="connsiteY1" fmla="*/ 0 h 618979"/>
                <a:gd name="connsiteX2" fmla="*/ 422030 w 562707"/>
                <a:gd name="connsiteY2" fmla="*/ 0 h 618979"/>
                <a:gd name="connsiteX3" fmla="*/ 562707 w 562707"/>
                <a:gd name="connsiteY3" fmla="*/ 618979 h 618979"/>
                <a:gd name="connsiteX4" fmla="*/ 0 w 562707"/>
                <a:gd name="connsiteY4" fmla="*/ 618979 h 618979"/>
                <a:gd name="connsiteX0" fmla="*/ 0 w 562707"/>
                <a:gd name="connsiteY0" fmla="*/ 618979 h 618979"/>
                <a:gd name="connsiteX1" fmla="*/ 140677 w 562707"/>
                <a:gd name="connsiteY1" fmla="*/ 0 h 618979"/>
                <a:gd name="connsiteX2" fmla="*/ 422030 w 562707"/>
                <a:gd name="connsiteY2" fmla="*/ 0 h 618979"/>
                <a:gd name="connsiteX3" fmla="*/ 562707 w 562707"/>
                <a:gd name="connsiteY3" fmla="*/ 618979 h 618979"/>
                <a:gd name="connsiteX4" fmla="*/ 0 w 562707"/>
                <a:gd name="connsiteY4" fmla="*/ 618979 h 618979"/>
                <a:gd name="connsiteX0" fmla="*/ 0 w 562707"/>
                <a:gd name="connsiteY0" fmla="*/ 618979 h 618979"/>
                <a:gd name="connsiteX1" fmla="*/ 140677 w 562707"/>
                <a:gd name="connsiteY1" fmla="*/ 0 h 618979"/>
                <a:gd name="connsiteX2" fmla="*/ 422030 w 562707"/>
                <a:gd name="connsiteY2" fmla="*/ 0 h 618979"/>
                <a:gd name="connsiteX3" fmla="*/ 562707 w 562707"/>
                <a:gd name="connsiteY3" fmla="*/ 618979 h 618979"/>
                <a:gd name="connsiteX4" fmla="*/ 0 w 562707"/>
                <a:gd name="connsiteY4" fmla="*/ 618979 h 618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707" h="618979">
                  <a:moveTo>
                    <a:pt x="0" y="618979"/>
                  </a:moveTo>
                  <a:cubicBezTo>
                    <a:pt x="199747" y="443360"/>
                    <a:pt x="155200" y="219974"/>
                    <a:pt x="140677" y="0"/>
                  </a:cubicBezTo>
                  <a:lnTo>
                    <a:pt x="422030" y="0"/>
                  </a:lnTo>
                  <a:cubicBezTo>
                    <a:pt x="417743" y="271153"/>
                    <a:pt x="351885" y="457847"/>
                    <a:pt x="562707" y="618979"/>
                  </a:cubicBezTo>
                  <a:lnTo>
                    <a:pt x="0" y="618979"/>
                  </a:lnTo>
                  <a:close/>
                </a:path>
              </a:pathLst>
            </a:custGeom>
            <a:gradFill>
              <a:gsLst>
                <a:gs pos="22000">
                  <a:srgbClr val="000099"/>
                </a:gs>
                <a:gs pos="99000">
                  <a:srgbClr val="0099FF"/>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bg2">
                    <a:lumMod val="20000"/>
                    <a:lumOff val="80000"/>
                  </a:schemeClr>
                </a:solidFill>
              </a:endParaRPr>
            </a:p>
          </p:txBody>
        </p:sp>
        <p:sp>
          <p:nvSpPr>
            <p:cNvPr id="19" name="Rectangle 31">
              <a:extLst>
                <a:ext uri="{FF2B5EF4-FFF2-40B4-BE49-F238E27FC236}">
                  <a16:creationId xmlns:a16="http://schemas.microsoft.com/office/drawing/2014/main" id="{9311E391-8A61-4ED7-9992-C55EFFB90351}"/>
                </a:ext>
              </a:extLst>
            </p:cNvPr>
            <p:cNvSpPr/>
            <p:nvPr/>
          </p:nvSpPr>
          <p:spPr>
            <a:xfrm>
              <a:off x="1657659" y="2105828"/>
              <a:ext cx="936737" cy="848981"/>
            </a:xfrm>
            <a:prstGeom prst="rect">
              <a:avLst/>
            </a:prstGeom>
            <a:solidFill>
              <a:schemeClr val="tx1">
                <a:alpha val="24000"/>
              </a:schemeClr>
            </a:solidFill>
            <a:ln>
              <a:noFill/>
            </a:ln>
            <a:effectLst>
              <a:softEdge rad="165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bg2">
                    <a:lumMod val="20000"/>
                    <a:lumOff val="80000"/>
                  </a:schemeClr>
                </a:solidFill>
              </a:endParaRPr>
            </a:p>
          </p:txBody>
        </p:sp>
        <p:sp>
          <p:nvSpPr>
            <p:cNvPr id="20" name="Rectangle: Rounded Corners 32">
              <a:extLst>
                <a:ext uri="{FF2B5EF4-FFF2-40B4-BE49-F238E27FC236}">
                  <a16:creationId xmlns:a16="http://schemas.microsoft.com/office/drawing/2014/main" id="{660C9A5C-B54B-4E05-B3E5-CA43BE41683E}"/>
                </a:ext>
              </a:extLst>
            </p:cNvPr>
            <p:cNvSpPr/>
            <p:nvPr/>
          </p:nvSpPr>
          <p:spPr>
            <a:xfrm>
              <a:off x="1717545" y="2144625"/>
              <a:ext cx="675250" cy="618979"/>
            </a:xfrm>
            <a:prstGeom prst="roundRect">
              <a:avLst/>
            </a:prstGeom>
            <a:solidFill>
              <a:srgbClr val="004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2">
                    <a:lumMod val="20000"/>
                    <a:lumOff val="80000"/>
                  </a:schemeClr>
                </a:solidFill>
              </a:endParaRPr>
            </a:p>
          </p:txBody>
        </p:sp>
        <p:sp>
          <p:nvSpPr>
            <p:cNvPr id="21" name="Freeform: Shape 33">
              <a:extLst>
                <a:ext uri="{FF2B5EF4-FFF2-40B4-BE49-F238E27FC236}">
                  <a16:creationId xmlns:a16="http://schemas.microsoft.com/office/drawing/2014/main" id="{38E65ED5-D1F9-4FF2-9795-F466FC1ED0D0}"/>
                </a:ext>
              </a:extLst>
            </p:cNvPr>
            <p:cNvSpPr/>
            <p:nvPr/>
          </p:nvSpPr>
          <p:spPr>
            <a:xfrm>
              <a:off x="1240799" y="3108265"/>
              <a:ext cx="6995910" cy="126609"/>
            </a:xfrm>
            <a:custGeom>
              <a:avLst/>
              <a:gdLst>
                <a:gd name="connsiteX0" fmla="*/ 0 w 3893642"/>
                <a:gd name="connsiteY0" fmla="*/ 0 h 126609"/>
                <a:gd name="connsiteX1" fmla="*/ 3893642 w 3893642"/>
                <a:gd name="connsiteY1" fmla="*/ 0 h 126609"/>
                <a:gd name="connsiteX2" fmla="*/ 3893234 w 3893642"/>
                <a:gd name="connsiteY2" fmla="*/ 2024 h 126609"/>
                <a:gd name="connsiteX3" fmla="*/ 3705278 w 3893642"/>
                <a:gd name="connsiteY3" fmla="*/ 126609 h 126609"/>
                <a:gd name="connsiteX4" fmla="*/ 188364 w 3893642"/>
                <a:gd name="connsiteY4" fmla="*/ 126609 h 126609"/>
                <a:gd name="connsiteX5" fmla="*/ 408 w 3893642"/>
                <a:gd name="connsiteY5" fmla="*/ 2024 h 126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3642" h="126609">
                  <a:moveTo>
                    <a:pt x="0" y="0"/>
                  </a:moveTo>
                  <a:lnTo>
                    <a:pt x="3893642" y="0"/>
                  </a:lnTo>
                  <a:lnTo>
                    <a:pt x="3893234" y="2024"/>
                  </a:lnTo>
                  <a:cubicBezTo>
                    <a:pt x="3862267" y="75237"/>
                    <a:pt x="3789772" y="126609"/>
                    <a:pt x="3705278" y="126609"/>
                  </a:cubicBezTo>
                  <a:lnTo>
                    <a:pt x="188364" y="126609"/>
                  </a:lnTo>
                  <a:cubicBezTo>
                    <a:pt x="103871" y="126609"/>
                    <a:pt x="31375" y="75237"/>
                    <a:pt x="408" y="2024"/>
                  </a:cubicBezTo>
                  <a:close/>
                </a:path>
              </a:pathLst>
            </a:custGeom>
            <a:solidFill>
              <a:srgbClr val="00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bg2">
                    <a:lumMod val="20000"/>
                    <a:lumOff val="80000"/>
                  </a:schemeClr>
                </a:solidFill>
              </a:endParaRPr>
            </a:p>
          </p:txBody>
        </p:sp>
        <p:sp>
          <p:nvSpPr>
            <p:cNvPr id="22" name="TextBox 34">
              <a:extLst>
                <a:ext uri="{FF2B5EF4-FFF2-40B4-BE49-F238E27FC236}">
                  <a16:creationId xmlns:a16="http://schemas.microsoft.com/office/drawing/2014/main" id="{77B43D36-D7EA-4299-8F0A-88C48F0CBE12}"/>
                </a:ext>
              </a:extLst>
            </p:cNvPr>
            <p:cNvSpPr txBox="1"/>
            <p:nvPr/>
          </p:nvSpPr>
          <p:spPr>
            <a:xfrm>
              <a:off x="2537750" y="2029628"/>
              <a:ext cx="5658889" cy="1015663"/>
            </a:xfrm>
            <a:prstGeom prst="rect">
              <a:avLst/>
            </a:prstGeom>
          </p:spPr>
          <p:style>
            <a:lnRef idx="3">
              <a:schemeClr val="lt1"/>
            </a:lnRef>
            <a:fillRef idx="1">
              <a:schemeClr val="accent3"/>
            </a:fillRef>
            <a:effectRef idx="1">
              <a:schemeClr val="accent3"/>
            </a:effectRef>
            <a:fontRef idx="minor">
              <a:schemeClr val="lt1"/>
            </a:fontRef>
          </p:style>
          <p:txBody>
            <a:bodyPr wrap="square" rtlCol="0">
              <a:spAutoFit/>
            </a:bodyPr>
            <a:lstStyle/>
            <a:p>
              <a:r>
                <a:rPr lang="es-ES" sz="2000" b="1" dirty="0">
                  <a:solidFill>
                    <a:schemeClr val="bg2">
                      <a:lumMod val="20000"/>
                      <a:lumOff val="80000"/>
                    </a:schemeClr>
                  </a:solidFill>
                  <a:ea typeface="Verdana" panose="020B0604030504040204" pitchFamily="34" charset="0"/>
                </a:rPr>
                <a:t>La Realidad Mixta o MR es la combinación entre la Realidad Virtual y la Realidad Aumentada</a:t>
              </a:r>
              <a:endParaRPr lang="en-US" sz="2000" b="1" dirty="0">
                <a:solidFill>
                  <a:schemeClr val="bg2">
                    <a:lumMod val="20000"/>
                    <a:lumOff val="80000"/>
                  </a:schemeClr>
                </a:solidFill>
                <a:ea typeface="Verdana" panose="020B0604030504040204" pitchFamily="34" charset="0"/>
              </a:endParaRPr>
            </a:p>
          </p:txBody>
        </p:sp>
        <p:sp>
          <p:nvSpPr>
            <p:cNvPr id="26" name="TextBox 38">
              <a:extLst>
                <a:ext uri="{FF2B5EF4-FFF2-40B4-BE49-F238E27FC236}">
                  <a16:creationId xmlns:a16="http://schemas.microsoft.com/office/drawing/2014/main" id="{C50304C2-B2AF-4C68-ADAF-7F0528A079B4}"/>
                </a:ext>
              </a:extLst>
            </p:cNvPr>
            <p:cNvSpPr txBox="1"/>
            <p:nvPr/>
          </p:nvSpPr>
          <p:spPr>
            <a:xfrm>
              <a:off x="1784088" y="2201275"/>
              <a:ext cx="580572" cy="461665"/>
            </a:xfrm>
            <a:prstGeom prst="rect">
              <a:avLst/>
            </a:prstGeom>
            <a:noFill/>
          </p:spPr>
          <p:txBody>
            <a:bodyPr wrap="square" rtlCol="0">
              <a:spAutoFit/>
            </a:bodyPr>
            <a:lstStyle/>
            <a:p>
              <a:pPr algn="ctr"/>
              <a:r>
                <a:rPr lang="en-US" sz="2400" b="1" dirty="0">
                  <a:solidFill>
                    <a:schemeClr val="bg2">
                      <a:lumMod val="20000"/>
                      <a:lumOff val="80000"/>
                    </a:schemeClr>
                  </a:solidFill>
                </a:rPr>
                <a:t>01</a:t>
              </a:r>
              <a:endParaRPr lang="en-US" sz="2000" b="1" dirty="0">
                <a:solidFill>
                  <a:schemeClr val="bg2">
                    <a:lumMod val="20000"/>
                    <a:lumOff val="80000"/>
                  </a:schemeClr>
                </a:solidFill>
              </a:endParaRPr>
            </a:p>
          </p:txBody>
        </p:sp>
      </p:grpSp>
      <p:grpSp>
        <p:nvGrpSpPr>
          <p:cNvPr id="3" name="Grupo 2">
            <a:extLst>
              <a:ext uri="{FF2B5EF4-FFF2-40B4-BE49-F238E27FC236}">
                <a16:creationId xmlns:a16="http://schemas.microsoft.com/office/drawing/2014/main" id="{2D3BE660-D1EB-49B9-929E-1B24F8CA384C}"/>
              </a:ext>
            </a:extLst>
          </p:cNvPr>
          <p:cNvGrpSpPr/>
          <p:nvPr/>
        </p:nvGrpSpPr>
        <p:grpSpPr>
          <a:xfrm>
            <a:off x="1240799" y="3311074"/>
            <a:ext cx="6995910" cy="1361180"/>
            <a:chOff x="1240799" y="3311074"/>
            <a:chExt cx="6995910" cy="1460870"/>
          </a:xfrm>
        </p:grpSpPr>
        <p:sp>
          <p:nvSpPr>
            <p:cNvPr id="28" name="Rectangle: Top Corners Rounded 41">
              <a:extLst>
                <a:ext uri="{FF2B5EF4-FFF2-40B4-BE49-F238E27FC236}">
                  <a16:creationId xmlns:a16="http://schemas.microsoft.com/office/drawing/2014/main" id="{B3E6E3EC-6BDB-417F-87A4-15F17A3870CE}"/>
                </a:ext>
              </a:extLst>
            </p:cNvPr>
            <p:cNvSpPr/>
            <p:nvPr/>
          </p:nvSpPr>
          <p:spPr>
            <a:xfrm>
              <a:off x="2077826" y="3344074"/>
              <a:ext cx="548640" cy="576775"/>
            </a:xfrm>
            <a:prstGeom prst="round2SameRect">
              <a:avLst>
                <a:gd name="adj1" fmla="val 50000"/>
                <a:gd name="adj2" fmla="val 0"/>
              </a:avLst>
            </a:prstGeom>
            <a:solidFill>
              <a:srgbClr val="CC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75000"/>
                  </a:schemeClr>
                </a:solidFill>
              </a:endParaRPr>
            </a:p>
          </p:txBody>
        </p:sp>
        <p:sp>
          <p:nvSpPr>
            <p:cNvPr id="29" name="Rectangle: Top Corners Rounded 42">
              <a:extLst>
                <a:ext uri="{FF2B5EF4-FFF2-40B4-BE49-F238E27FC236}">
                  <a16:creationId xmlns:a16="http://schemas.microsoft.com/office/drawing/2014/main" id="{F9938E96-90E6-477B-9E6C-C86979AEADD3}"/>
                </a:ext>
              </a:extLst>
            </p:cNvPr>
            <p:cNvSpPr/>
            <p:nvPr/>
          </p:nvSpPr>
          <p:spPr>
            <a:xfrm>
              <a:off x="1551606" y="3344075"/>
              <a:ext cx="548640" cy="576775"/>
            </a:xfrm>
            <a:prstGeom prst="round2SameRect">
              <a:avLst>
                <a:gd name="adj1" fmla="val 50000"/>
                <a:gd name="adj2" fmla="val 0"/>
              </a:avLst>
            </a:prstGeom>
            <a:solidFill>
              <a:srgbClr val="CC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75000"/>
                  </a:schemeClr>
                </a:solidFill>
              </a:endParaRPr>
            </a:p>
          </p:txBody>
        </p:sp>
        <p:sp>
          <p:nvSpPr>
            <p:cNvPr id="30" name="Rectangle: Rounded Corners 43">
              <a:extLst>
                <a:ext uri="{FF2B5EF4-FFF2-40B4-BE49-F238E27FC236}">
                  <a16:creationId xmlns:a16="http://schemas.microsoft.com/office/drawing/2014/main" id="{BE23E6EC-5561-4AFA-8A90-8B48CB0F6EC7}"/>
                </a:ext>
              </a:extLst>
            </p:cNvPr>
            <p:cNvSpPr/>
            <p:nvPr/>
          </p:nvSpPr>
          <p:spPr>
            <a:xfrm>
              <a:off x="1240799" y="3541021"/>
              <a:ext cx="6995910" cy="1118027"/>
            </a:xfrm>
            <a:prstGeom prst="roundRect">
              <a:avLst/>
            </a:prstGeom>
            <a:ln/>
          </p:spPr>
          <p:style>
            <a:lnRef idx="3">
              <a:schemeClr val="lt1"/>
            </a:lnRef>
            <a:fillRef idx="1">
              <a:schemeClr val="accent4"/>
            </a:fillRef>
            <a:effectRef idx="1">
              <a:schemeClr val="accent4"/>
            </a:effectRef>
            <a:fontRef idx="minor">
              <a:schemeClr val="lt1"/>
            </a:fontRef>
          </p:style>
          <p:txBody>
            <a:bodyPr rtlCol="0" anchor="ctr"/>
            <a:lstStyle/>
            <a:p>
              <a:pPr algn="ctr"/>
              <a:endParaRPr lang="en-US" sz="1100">
                <a:solidFill>
                  <a:schemeClr val="bg2">
                    <a:lumMod val="75000"/>
                  </a:schemeClr>
                </a:solidFill>
              </a:endParaRPr>
            </a:p>
          </p:txBody>
        </p:sp>
        <p:sp>
          <p:nvSpPr>
            <p:cNvPr id="31" name="Rectangle 71">
              <a:extLst>
                <a:ext uri="{FF2B5EF4-FFF2-40B4-BE49-F238E27FC236}">
                  <a16:creationId xmlns:a16="http://schemas.microsoft.com/office/drawing/2014/main" id="{AF74BBA8-22AE-40F1-B18B-1E739FCB04B8}"/>
                </a:ext>
              </a:extLst>
            </p:cNvPr>
            <p:cNvSpPr/>
            <p:nvPr/>
          </p:nvSpPr>
          <p:spPr>
            <a:xfrm rot="5400000">
              <a:off x="1876953" y="3044112"/>
              <a:ext cx="429497" cy="963421"/>
            </a:xfrm>
            <a:prstGeom prst="rect">
              <a:avLst/>
            </a:prstGeom>
            <a:solidFill>
              <a:schemeClr val="tx1">
                <a:alpha val="50000"/>
              </a:schemeClr>
            </a:solidFill>
            <a:ln>
              <a:noFill/>
            </a:ln>
            <a:effectLst>
              <a:softEdge rad="165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75000"/>
                  </a:schemeClr>
                </a:solidFill>
              </a:endParaRPr>
            </a:p>
          </p:txBody>
        </p:sp>
        <p:sp>
          <p:nvSpPr>
            <p:cNvPr id="32" name="Trapezoid 5">
              <a:extLst>
                <a:ext uri="{FF2B5EF4-FFF2-40B4-BE49-F238E27FC236}">
                  <a16:creationId xmlns:a16="http://schemas.microsoft.com/office/drawing/2014/main" id="{BFD4FB26-7878-4E2E-B85F-19492683CA04}"/>
                </a:ext>
              </a:extLst>
            </p:cNvPr>
            <p:cNvSpPr/>
            <p:nvPr/>
          </p:nvSpPr>
          <p:spPr>
            <a:xfrm flipV="1">
              <a:off x="1789439" y="3344075"/>
              <a:ext cx="562707" cy="618979"/>
            </a:xfrm>
            <a:custGeom>
              <a:avLst/>
              <a:gdLst>
                <a:gd name="connsiteX0" fmla="*/ 0 w 562707"/>
                <a:gd name="connsiteY0" fmla="*/ 618979 h 618979"/>
                <a:gd name="connsiteX1" fmla="*/ 140677 w 562707"/>
                <a:gd name="connsiteY1" fmla="*/ 0 h 618979"/>
                <a:gd name="connsiteX2" fmla="*/ 422030 w 562707"/>
                <a:gd name="connsiteY2" fmla="*/ 0 h 618979"/>
                <a:gd name="connsiteX3" fmla="*/ 562707 w 562707"/>
                <a:gd name="connsiteY3" fmla="*/ 618979 h 618979"/>
                <a:gd name="connsiteX4" fmla="*/ 0 w 562707"/>
                <a:gd name="connsiteY4" fmla="*/ 618979 h 618979"/>
                <a:gd name="connsiteX0" fmla="*/ 0 w 562707"/>
                <a:gd name="connsiteY0" fmla="*/ 618979 h 618979"/>
                <a:gd name="connsiteX1" fmla="*/ 140677 w 562707"/>
                <a:gd name="connsiteY1" fmla="*/ 0 h 618979"/>
                <a:gd name="connsiteX2" fmla="*/ 422030 w 562707"/>
                <a:gd name="connsiteY2" fmla="*/ 0 h 618979"/>
                <a:gd name="connsiteX3" fmla="*/ 562707 w 562707"/>
                <a:gd name="connsiteY3" fmla="*/ 618979 h 618979"/>
                <a:gd name="connsiteX4" fmla="*/ 0 w 562707"/>
                <a:gd name="connsiteY4" fmla="*/ 618979 h 618979"/>
                <a:gd name="connsiteX0" fmla="*/ 0 w 562707"/>
                <a:gd name="connsiteY0" fmla="*/ 618979 h 618979"/>
                <a:gd name="connsiteX1" fmla="*/ 140677 w 562707"/>
                <a:gd name="connsiteY1" fmla="*/ 0 h 618979"/>
                <a:gd name="connsiteX2" fmla="*/ 422030 w 562707"/>
                <a:gd name="connsiteY2" fmla="*/ 0 h 618979"/>
                <a:gd name="connsiteX3" fmla="*/ 562707 w 562707"/>
                <a:gd name="connsiteY3" fmla="*/ 618979 h 618979"/>
                <a:gd name="connsiteX4" fmla="*/ 0 w 562707"/>
                <a:gd name="connsiteY4" fmla="*/ 618979 h 618979"/>
                <a:gd name="connsiteX0" fmla="*/ 0 w 562707"/>
                <a:gd name="connsiteY0" fmla="*/ 618979 h 618979"/>
                <a:gd name="connsiteX1" fmla="*/ 140677 w 562707"/>
                <a:gd name="connsiteY1" fmla="*/ 0 h 618979"/>
                <a:gd name="connsiteX2" fmla="*/ 422030 w 562707"/>
                <a:gd name="connsiteY2" fmla="*/ 0 h 618979"/>
                <a:gd name="connsiteX3" fmla="*/ 562707 w 562707"/>
                <a:gd name="connsiteY3" fmla="*/ 618979 h 618979"/>
                <a:gd name="connsiteX4" fmla="*/ 0 w 562707"/>
                <a:gd name="connsiteY4" fmla="*/ 618979 h 618979"/>
                <a:gd name="connsiteX0" fmla="*/ 0 w 562707"/>
                <a:gd name="connsiteY0" fmla="*/ 618979 h 618979"/>
                <a:gd name="connsiteX1" fmla="*/ 140677 w 562707"/>
                <a:gd name="connsiteY1" fmla="*/ 0 h 618979"/>
                <a:gd name="connsiteX2" fmla="*/ 422030 w 562707"/>
                <a:gd name="connsiteY2" fmla="*/ 0 h 618979"/>
                <a:gd name="connsiteX3" fmla="*/ 562707 w 562707"/>
                <a:gd name="connsiteY3" fmla="*/ 618979 h 618979"/>
                <a:gd name="connsiteX4" fmla="*/ 0 w 562707"/>
                <a:gd name="connsiteY4" fmla="*/ 618979 h 618979"/>
                <a:gd name="connsiteX0" fmla="*/ 0 w 562707"/>
                <a:gd name="connsiteY0" fmla="*/ 618979 h 618979"/>
                <a:gd name="connsiteX1" fmla="*/ 140677 w 562707"/>
                <a:gd name="connsiteY1" fmla="*/ 0 h 618979"/>
                <a:gd name="connsiteX2" fmla="*/ 422030 w 562707"/>
                <a:gd name="connsiteY2" fmla="*/ 0 h 618979"/>
                <a:gd name="connsiteX3" fmla="*/ 562707 w 562707"/>
                <a:gd name="connsiteY3" fmla="*/ 618979 h 618979"/>
                <a:gd name="connsiteX4" fmla="*/ 0 w 562707"/>
                <a:gd name="connsiteY4" fmla="*/ 618979 h 618979"/>
                <a:gd name="connsiteX0" fmla="*/ 0 w 562707"/>
                <a:gd name="connsiteY0" fmla="*/ 618979 h 618979"/>
                <a:gd name="connsiteX1" fmla="*/ 140677 w 562707"/>
                <a:gd name="connsiteY1" fmla="*/ 0 h 618979"/>
                <a:gd name="connsiteX2" fmla="*/ 422030 w 562707"/>
                <a:gd name="connsiteY2" fmla="*/ 0 h 618979"/>
                <a:gd name="connsiteX3" fmla="*/ 562707 w 562707"/>
                <a:gd name="connsiteY3" fmla="*/ 618979 h 618979"/>
                <a:gd name="connsiteX4" fmla="*/ 0 w 562707"/>
                <a:gd name="connsiteY4" fmla="*/ 618979 h 618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707" h="618979">
                  <a:moveTo>
                    <a:pt x="0" y="618979"/>
                  </a:moveTo>
                  <a:cubicBezTo>
                    <a:pt x="199747" y="443360"/>
                    <a:pt x="155200" y="219974"/>
                    <a:pt x="140677" y="0"/>
                  </a:cubicBezTo>
                  <a:lnTo>
                    <a:pt x="422030" y="0"/>
                  </a:lnTo>
                  <a:cubicBezTo>
                    <a:pt x="417743" y="271153"/>
                    <a:pt x="351885" y="457847"/>
                    <a:pt x="562707" y="618979"/>
                  </a:cubicBezTo>
                  <a:lnTo>
                    <a:pt x="0" y="618979"/>
                  </a:lnTo>
                  <a:close/>
                </a:path>
              </a:pathLst>
            </a:custGeom>
            <a:gradFill>
              <a:gsLst>
                <a:gs pos="22000">
                  <a:srgbClr val="FF9900"/>
                </a:gs>
                <a:gs pos="99000">
                  <a:srgbClr val="FFFF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75000"/>
                  </a:schemeClr>
                </a:solidFill>
              </a:endParaRPr>
            </a:p>
          </p:txBody>
        </p:sp>
        <p:sp>
          <p:nvSpPr>
            <p:cNvPr id="33" name="Rectangle 45">
              <a:extLst>
                <a:ext uri="{FF2B5EF4-FFF2-40B4-BE49-F238E27FC236}">
                  <a16:creationId xmlns:a16="http://schemas.microsoft.com/office/drawing/2014/main" id="{D3EB7713-23CD-4C50-847F-0B47B9B0EBAA}"/>
                </a:ext>
              </a:extLst>
            </p:cNvPr>
            <p:cNvSpPr/>
            <p:nvPr/>
          </p:nvSpPr>
          <p:spPr>
            <a:xfrm>
              <a:off x="1673281" y="3642898"/>
              <a:ext cx="936737" cy="848981"/>
            </a:xfrm>
            <a:prstGeom prst="rect">
              <a:avLst/>
            </a:prstGeom>
            <a:solidFill>
              <a:schemeClr val="tx1">
                <a:alpha val="24000"/>
              </a:schemeClr>
            </a:solidFill>
            <a:ln>
              <a:noFill/>
            </a:ln>
            <a:effectLst>
              <a:softEdge rad="165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75000"/>
                  </a:schemeClr>
                </a:solidFill>
              </a:endParaRPr>
            </a:p>
          </p:txBody>
        </p:sp>
        <p:sp>
          <p:nvSpPr>
            <p:cNvPr id="34" name="Rectangle: Rounded Corners 46">
              <a:extLst>
                <a:ext uri="{FF2B5EF4-FFF2-40B4-BE49-F238E27FC236}">
                  <a16:creationId xmlns:a16="http://schemas.microsoft.com/office/drawing/2014/main" id="{92199CAA-2071-4E1A-9DD4-8EE5DFA82478}"/>
                </a:ext>
              </a:extLst>
            </p:cNvPr>
            <p:cNvSpPr/>
            <p:nvPr/>
          </p:nvSpPr>
          <p:spPr>
            <a:xfrm>
              <a:off x="1733167" y="3681695"/>
              <a:ext cx="675250" cy="618979"/>
            </a:xfrm>
            <a:prstGeom prst="roundRect">
              <a:avLst/>
            </a:prstGeom>
            <a:solidFill>
              <a:srgbClr val="FFC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75000"/>
                  </a:schemeClr>
                </a:solidFill>
              </a:endParaRPr>
            </a:p>
          </p:txBody>
        </p:sp>
        <p:sp>
          <p:nvSpPr>
            <p:cNvPr id="35" name="Freeform: Shape 47">
              <a:extLst>
                <a:ext uri="{FF2B5EF4-FFF2-40B4-BE49-F238E27FC236}">
                  <a16:creationId xmlns:a16="http://schemas.microsoft.com/office/drawing/2014/main" id="{7B5AC781-EB90-4095-B390-EEDFFDCF568F}"/>
                </a:ext>
              </a:extLst>
            </p:cNvPr>
            <p:cNvSpPr/>
            <p:nvPr/>
          </p:nvSpPr>
          <p:spPr>
            <a:xfrm>
              <a:off x="1256420" y="4722877"/>
              <a:ext cx="6940219" cy="49067"/>
            </a:xfrm>
            <a:custGeom>
              <a:avLst/>
              <a:gdLst>
                <a:gd name="connsiteX0" fmla="*/ 0 w 3893642"/>
                <a:gd name="connsiteY0" fmla="*/ 0 h 126609"/>
                <a:gd name="connsiteX1" fmla="*/ 3893642 w 3893642"/>
                <a:gd name="connsiteY1" fmla="*/ 0 h 126609"/>
                <a:gd name="connsiteX2" fmla="*/ 3893234 w 3893642"/>
                <a:gd name="connsiteY2" fmla="*/ 2024 h 126609"/>
                <a:gd name="connsiteX3" fmla="*/ 3705278 w 3893642"/>
                <a:gd name="connsiteY3" fmla="*/ 126609 h 126609"/>
                <a:gd name="connsiteX4" fmla="*/ 188364 w 3893642"/>
                <a:gd name="connsiteY4" fmla="*/ 126609 h 126609"/>
                <a:gd name="connsiteX5" fmla="*/ 408 w 3893642"/>
                <a:gd name="connsiteY5" fmla="*/ 2024 h 126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3642" h="126609">
                  <a:moveTo>
                    <a:pt x="0" y="0"/>
                  </a:moveTo>
                  <a:lnTo>
                    <a:pt x="3893642" y="0"/>
                  </a:lnTo>
                  <a:lnTo>
                    <a:pt x="3893234" y="2024"/>
                  </a:lnTo>
                  <a:cubicBezTo>
                    <a:pt x="3862267" y="75237"/>
                    <a:pt x="3789772" y="126609"/>
                    <a:pt x="3705278" y="126609"/>
                  </a:cubicBezTo>
                  <a:lnTo>
                    <a:pt x="188364" y="126609"/>
                  </a:lnTo>
                  <a:cubicBezTo>
                    <a:pt x="103871" y="126609"/>
                    <a:pt x="31375" y="75237"/>
                    <a:pt x="408" y="2024"/>
                  </a:cubicBezTo>
                  <a:close/>
                </a:path>
              </a:pathLst>
            </a:custGeom>
            <a:solidFill>
              <a:srgbClr val="FFC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6" name="TextBox 48">
              <a:extLst>
                <a:ext uri="{FF2B5EF4-FFF2-40B4-BE49-F238E27FC236}">
                  <a16:creationId xmlns:a16="http://schemas.microsoft.com/office/drawing/2014/main" id="{8DD31F3C-2146-4363-9092-9C4687035817}"/>
                </a:ext>
              </a:extLst>
            </p:cNvPr>
            <p:cNvSpPr txBox="1"/>
            <p:nvPr/>
          </p:nvSpPr>
          <p:spPr>
            <a:xfrm>
              <a:off x="2531594" y="3587691"/>
              <a:ext cx="5514302" cy="923330"/>
            </a:xfrm>
            <a:prstGeom prst="rect">
              <a:avLst/>
            </a:prstGeom>
            <a:noFill/>
          </p:spPr>
          <p:txBody>
            <a:bodyPr wrap="square" rtlCol="0">
              <a:spAutoFit/>
            </a:bodyPr>
            <a:lstStyle/>
            <a:p>
              <a:r>
                <a:rPr lang="es-ES" b="1" dirty="0">
                  <a:ea typeface="Verdana" panose="020B0604030504040204" pitchFamily="34" charset="0"/>
                </a:rPr>
                <a:t>Genera un modelo 3D de la realidad para superponer información creada virtualmente con la que se puede interactuar </a:t>
              </a:r>
              <a:endParaRPr lang="en-US" b="1" dirty="0">
                <a:ea typeface="Verdana" panose="020B0604030504040204" pitchFamily="34" charset="0"/>
              </a:endParaRPr>
            </a:p>
          </p:txBody>
        </p:sp>
        <p:sp>
          <p:nvSpPr>
            <p:cNvPr id="40" name="TextBox 52">
              <a:extLst>
                <a:ext uri="{FF2B5EF4-FFF2-40B4-BE49-F238E27FC236}">
                  <a16:creationId xmlns:a16="http://schemas.microsoft.com/office/drawing/2014/main" id="{E84F2F58-0EA8-44D7-B4CD-50867D167D10}"/>
                </a:ext>
              </a:extLst>
            </p:cNvPr>
            <p:cNvSpPr txBox="1"/>
            <p:nvPr/>
          </p:nvSpPr>
          <p:spPr>
            <a:xfrm>
              <a:off x="1789622" y="3669697"/>
              <a:ext cx="580572" cy="523220"/>
            </a:xfrm>
            <a:prstGeom prst="rect">
              <a:avLst/>
            </a:prstGeom>
            <a:noFill/>
          </p:spPr>
          <p:txBody>
            <a:bodyPr wrap="square" rtlCol="0">
              <a:spAutoFit/>
            </a:bodyPr>
            <a:lstStyle/>
            <a:p>
              <a:pPr algn="ctr"/>
              <a:r>
                <a:rPr lang="en-US" sz="2800" b="1" dirty="0">
                  <a:solidFill>
                    <a:schemeClr val="bg2">
                      <a:lumMod val="75000"/>
                    </a:schemeClr>
                  </a:solidFill>
                </a:rPr>
                <a:t>02</a:t>
              </a:r>
              <a:endParaRPr lang="en-US" sz="2400" b="1" dirty="0">
                <a:solidFill>
                  <a:schemeClr val="bg2">
                    <a:lumMod val="75000"/>
                  </a:schemeClr>
                </a:solidFill>
              </a:endParaRPr>
            </a:p>
          </p:txBody>
        </p:sp>
      </p:grpSp>
      <p:grpSp>
        <p:nvGrpSpPr>
          <p:cNvPr id="57" name="Grupo 56">
            <a:extLst>
              <a:ext uri="{FF2B5EF4-FFF2-40B4-BE49-F238E27FC236}">
                <a16:creationId xmlns:a16="http://schemas.microsoft.com/office/drawing/2014/main" id="{FDCF8FD4-349E-47A6-A227-29C28741F47D}"/>
              </a:ext>
            </a:extLst>
          </p:cNvPr>
          <p:cNvGrpSpPr/>
          <p:nvPr/>
        </p:nvGrpSpPr>
        <p:grpSpPr>
          <a:xfrm>
            <a:off x="1256419" y="4874904"/>
            <a:ext cx="6940219" cy="1467875"/>
            <a:chOff x="1256419" y="4874904"/>
            <a:chExt cx="6940219" cy="1467875"/>
          </a:xfrm>
        </p:grpSpPr>
        <p:sp>
          <p:nvSpPr>
            <p:cNvPr id="42" name="Rectangle: Top Corners Rounded 55">
              <a:extLst>
                <a:ext uri="{FF2B5EF4-FFF2-40B4-BE49-F238E27FC236}">
                  <a16:creationId xmlns:a16="http://schemas.microsoft.com/office/drawing/2014/main" id="{9901C9C2-2FF1-4773-9553-03AC0AAC1C66}"/>
                </a:ext>
              </a:extLst>
            </p:cNvPr>
            <p:cNvSpPr/>
            <p:nvPr/>
          </p:nvSpPr>
          <p:spPr>
            <a:xfrm>
              <a:off x="2093447" y="4914909"/>
              <a:ext cx="548640" cy="576775"/>
            </a:xfrm>
            <a:prstGeom prst="round2SameRect">
              <a:avLst>
                <a:gd name="adj1" fmla="val 50000"/>
                <a:gd name="adj2" fmla="val 0"/>
              </a:avLst>
            </a:prstGeom>
            <a:solidFill>
              <a:srgbClr val="66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43" name="Rectangle: Top Corners Rounded 56">
              <a:extLst>
                <a:ext uri="{FF2B5EF4-FFF2-40B4-BE49-F238E27FC236}">
                  <a16:creationId xmlns:a16="http://schemas.microsoft.com/office/drawing/2014/main" id="{CE262975-7CDB-48A4-B598-D6528207D7E9}"/>
                </a:ext>
              </a:extLst>
            </p:cNvPr>
            <p:cNvSpPr/>
            <p:nvPr/>
          </p:nvSpPr>
          <p:spPr>
            <a:xfrm>
              <a:off x="1567227" y="4914910"/>
              <a:ext cx="548640" cy="576775"/>
            </a:xfrm>
            <a:prstGeom prst="round2SameRect">
              <a:avLst>
                <a:gd name="adj1" fmla="val 50000"/>
                <a:gd name="adj2" fmla="val 0"/>
              </a:avLst>
            </a:prstGeom>
            <a:solidFill>
              <a:srgbClr val="66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44" name="Rectangle: Rounded Corners 57">
              <a:extLst>
                <a:ext uri="{FF2B5EF4-FFF2-40B4-BE49-F238E27FC236}">
                  <a16:creationId xmlns:a16="http://schemas.microsoft.com/office/drawing/2014/main" id="{3AC33C5A-5472-4A33-A3B5-BFA9D5CF13EA}"/>
                </a:ext>
              </a:extLst>
            </p:cNvPr>
            <p:cNvSpPr/>
            <p:nvPr/>
          </p:nvSpPr>
          <p:spPr>
            <a:xfrm>
              <a:off x="1256419" y="5111856"/>
              <a:ext cx="6940219" cy="1223889"/>
            </a:xfrm>
            <a:prstGeom prst="roundRect">
              <a:avLst/>
            </a:prstGeom>
            <a:ln/>
          </p:spPr>
          <p:style>
            <a:lnRef idx="3">
              <a:schemeClr val="lt1"/>
            </a:lnRef>
            <a:fillRef idx="1">
              <a:schemeClr val="accent3"/>
            </a:fillRef>
            <a:effectRef idx="1">
              <a:schemeClr val="accent3"/>
            </a:effectRef>
            <a:fontRef idx="minor">
              <a:schemeClr val="lt1"/>
            </a:fontRef>
          </p:style>
          <p:txBody>
            <a:bodyPr rtlCol="0" anchor="ctr"/>
            <a:lstStyle/>
            <a:p>
              <a:pPr algn="ctr"/>
              <a:endParaRPr lang="en-US" sz="1400"/>
            </a:p>
          </p:txBody>
        </p:sp>
        <p:sp>
          <p:nvSpPr>
            <p:cNvPr id="45" name="Rectangle 72">
              <a:extLst>
                <a:ext uri="{FF2B5EF4-FFF2-40B4-BE49-F238E27FC236}">
                  <a16:creationId xmlns:a16="http://schemas.microsoft.com/office/drawing/2014/main" id="{0DD3938F-33C8-4013-A568-7AC995322AB4}"/>
                </a:ext>
              </a:extLst>
            </p:cNvPr>
            <p:cNvSpPr/>
            <p:nvPr/>
          </p:nvSpPr>
          <p:spPr>
            <a:xfrm rot="5400000">
              <a:off x="1866050" y="4607942"/>
              <a:ext cx="429497" cy="963421"/>
            </a:xfrm>
            <a:prstGeom prst="rect">
              <a:avLst/>
            </a:prstGeom>
            <a:solidFill>
              <a:schemeClr val="tx1">
                <a:alpha val="50000"/>
              </a:schemeClr>
            </a:solidFill>
            <a:ln>
              <a:noFill/>
            </a:ln>
            <a:effectLst>
              <a:softEdge rad="165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46" name="Trapezoid 5">
              <a:extLst>
                <a:ext uri="{FF2B5EF4-FFF2-40B4-BE49-F238E27FC236}">
                  <a16:creationId xmlns:a16="http://schemas.microsoft.com/office/drawing/2014/main" id="{ED23F971-4118-4FAA-A7F5-3973C0B7F26A}"/>
                </a:ext>
              </a:extLst>
            </p:cNvPr>
            <p:cNvSpPr/>
            <p:nvPr/>
          </p:nvSpPr>
          <p:spPr>
            <a:xfrm flipV="1">
              <a:off x="1805060" y="4914910"/>
              <a:ext cx="562707" cy="618979"/>
            </a:xfrm>
            <a:custGeom>
              <a:avLst/>
              <a:gdLst>
                <a:gd name="connsiteX0" fmla="*/ 0 w 562707"/>
                <a:gd name="connsiteY0" fmla="*/ 618979 h 618979"/>
                <a:gd name="connsiteX1" fmla="*/ 140677 w 562707"/>
                <a:gd name="connsiteY1" fmla="*/ 0 h 618979"/>
                <a:gd name="connsiteX2" fmla="*/ 422030 w 562707"/>
                <a:gd name="connsiteY2" fmla="*/ 0 h 618979"/>
                <a:gd name="connsiteX3" fmla="*/ 562707 w 562707"/>
                <a:gd name="connsiteY3" fmla="*/ 618979 h 618979"/>
                <a:gd name="connsiteX4" fmla="*/ 0 w 562707"/>
                <a:gd name="connsiteY4" fmla="*/ 618979 h 618979"/>
                <a:gd name="connsiteX0" fmla="*/ 0 w 562707"/>
                <a:gd name="connsiteY0" fmla="*/ 618979 h 618979"/>
                <a:gd name="connsiteX1" fmla="*/ 140677 w 562707"/>
                <a:gd name="connsiteY1" fmla="*/ 0 h 618979"/>
                <a:gd name="connsiteX2" fmla="*/ 422030 w 562707"/>
                <a:gd name="connsiteY2" fmla="*/ 0 h 618979"/>
                <a:gd name="connsiteX3" fmla="*/ 562707 w 562707"/>
                <a:gd name="connsiteY3" fmla="*/ 618979 h 618979"/>
                <a:gd name="connsiteX4" fmla="*/ 0 w 562707"/>
                <a:gd name="connsiteY4" fmla="*/ 618979 h 618979"/>
                <a:gd name="connsiteX0" fmla="*/ 0 w 562707"/>
                <a:gd name="connsiteY0" fmla="*/ 618979 h 618979"/>
                <a:gd name="connsiteX1" fmla="*/ 140677 w 562707"/>
                <a:gd name="connsiteY1" fmla="*/ 0 h 618979"/>
                <a:gd name="connsiteX2" fmla="*/ 422030 w 562707"/>
                <a:gd name="connsiteY2" fmla="*/ 0 h 618979"/>
                <a:gd name="connsiteX3" fmla="*/ 562707 w 562707"/>
                <a:gd name="connsiteY3" fmla="*/ 618979 h 618979"/>
                <a:gd name="connsiteX4" fmla="*/ 0 w 562707"/>
                <a:gd name="connsiteY4" fmla="*/ 618979 h 618979"/>
                <a:gd name="connsiteX0" fmla="*/ 0 w 562707"/>
                <a:gd name="connsiteY0" fmla="*/ 618979 h 618979"/>
                <a:gd name="connsiteX1" fmla="*/ 140677 w 562707"/>
                <a:gd name="connsiteY1" fmla="*/ 0 h 618979"/>
                <a:gd name="connsiteX2" fmla="*/ 422030 w 562707"/>
                <a:gd name="connsiteY2" fmla="*/ 0 h 618979"/>
                <a:gd name="connsiteX3" fmla="*/ 562707 w 562707"/>
                <a:gd name="connsiteY3" fmla="*/ 618979 h 618979"/>
                <a:gd name="connsiteX4" fmla="*/ 0 w 562707"/>
                <a:gd name="connsiteY4" fmla="*/ 618979 h 618979"/>
                <a:gd name="connsiteX0" fmla="*/ 0 w 562707"/>
                <a:gd name="connsiteY0" fmla="*/ 618979 h 618979"/>
                <a:gd name="connsiteX1" fmla="*/ 140677 w 562707"/>
                <a:gd name="connsiteY1" fmla="*/ 0 h 618979"/>
                <a:gd name="connsiteX2" fmla="*/ 422030 w 562707"/>
                <a:gd name="connsiteY2" fmla="*/ 0 h 618979"/>
                <a:gd name="connsiteX3" fmla="*/ 562707 w 562707"/>
                <a:gd name="connsiteY3" fmla="*/ 618979 h 618979"/>
                <a:gd name="connsiteX4" fmla="*/ 0 w 562707"/>
                <a:gd name="connsiteY4" fmla="*/ 618979 h 618979"/>
                <a:gd name="connsiteX0" fmla="*/ 0 w 562707"/>
                <a:gd name="connsiteY0" fmla="*/ 618979 h 618979"/>
                <a:gd name="connsiteX1" fmla="*/ 140677 w 562707"/>
                <a:gd name="connsiteY1" fmla="*/ 0 h 618979"/>
                <a:gd name="connsiteX2" fmla="*/ 422030 w 562707"/>
                <a:gd name="connsiteY2" fmla="*/ 0 h 618979"/>
                <a:gd name="connsiteX3" fmla="*/ 562707 w 562707"/>
                <a:gd name="connsiteY3" fmla="*/ 618979 h 618979"/>
                <a:gd name="connsiteX4" fmla="*/ 0 w 562707"/>
                <a:gd name="connsiteY4" fmla="*/ 618979 h 618979"/>
                <a:gd name="connsiteX0" fmla="*/ 0 w 562707"/>
                <a:gd name="connsiteY0" fmla="*/ 618979 h 618979"/>
                <a:gd name="connsiteX1" fmla="*/ 140677 w 562707"/>
                <a:gd name="connsiteY1" fmla="*/ 0 h 618979"/>
                <a:gd name="connsiteX2" fmla="*/ 422030 w 562707"/>
                <a:gd name="connsiteY2" fmla="*/ 0 h 618979"/>
                <a:gd name="connsiteX3" fmla="*/ 562707 w 562707"/>
                <a:gd name="connsiteY3" fmla="*/ 618979 h 618979"/>
                <a:gd name="connsiteX4" fmla="*/ 0 w 562707"/>
                <a:gd name="connsiteY4" fmla="*/ 618979 h 618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707" h="618979">
                  <a:moveTo>
                    <a:pt x="0" y="618979"/>
                  </a:moveTo>
                  <a:cubicBezTo>
                    <a:pt x="199747" y="443360"/>
                    <a:pt x="155200" y="219974"/>
                    <a:pt x="140677" y="0"/>
                  </a:cubicBezTo>
                  <a:lnTo>
                    <a:pt x="422030" y="0"/>
                  </a:lnTo>
                  <a:cubicBezTo>
                    <a:pt x="417743" y="271153"/>
                    <a:pt x="351885" y="457847"/>
                    <a:pt x="562707" y="618979"/>
                  </a:cubicBezTo>
                  <a:lnTo>
                    <a:pt x="0" y="618979"/>
                  </a:lnTo>
                  <a:close/>
                </a:path>
              </a:pathLst>
            </a:custGeom>
            <a:gradFill>
              <a:gsLst>
                <a:gs pos="22000">
                  <a:srgbClr val="CC00CC"/>
                </a:gs>
                <a:gs pos="99000">
                  <a:srgbClr val="FF00FF"/>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47" name="Rectangle 59">
              <a:extLst>
                <a:ext uri="{FF2B5EF4-FFF2-40B4-BE49-F238E27FC236}">
                  <a16:creationId xmlns:a16="http://schemas.microsoft.com/office/drawing/2014/main" id="{1E8BF180-4186-4007-89D5-37F42B0E842F}"/>
                </a:ext>
              </a:extLst>
            </p:cNvPr>
            <p:cNvSpPr/>
            <p:nvPr/>
          </p:nvSpPr>
          <p:spPr>
            <a:xfrm>
              <a:off x="1688902" y="5213733"/>
              <a:ext cx="936737" cy="848981"/>
            </a:xfrm>
            <a:prstGeom prst="rect">
              <a:avLst/>
            </a:prstGeom>
            <a:solidFill>
              <a:schemeClr val="tx1">
                <a:alpha val="24000"/>
              </a:schemeClr>
            </a:solidFill>
            <a:ln>
              <a:noFill/>
            </a:ln>
            <a:effectLst>
              <a:softEdge rad="165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48" name="Rectangle: Rounded Corners 60">
              <a:extLst>
                <a:ext uri="{FF2B5EF4-FFF2-40B4-BE49-F238E27FC236}">
                  <a16:creationId xmlns:a16="http://schemas.microsoft.com/office/drawing/2014/main" id="{CBA1A4D3-2674-4A60-95BB-642897BD331D}"/>
                </a:ext>
              </a:extLst>
            </p:cNvPr>
            <p:cNvSpPr/>
            <p:nvPr/>
          </p:nvSpPr>
          <p:spPr>
            <a:xfrm>
              <a:off x="1748788" y="5252530"/>
              <a:ext cx="675250" cy="618979"/>
            </a:xfrm>
            <a:prstGeom prst="roundRect">
              <a:avLst/>
            </a:prstGeom>
            <a:solidFill>
              <a:srgbClr val="E400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49" name="Freeform: Shape 61">
              <a:extLst>
                <a:ext uri="{FF2B5EF4-FFF2-40B4-BE49-F238E27FC236}">
                  <a16:creationId xmlns:a16="http://schemas.microsoft.com/office/drawing/2014/main" id="{28D8AB76-4381-419F-8726-E9B78DE4F052}"/>
                </a:ext>
              </a:extLst>
            </p:cNvPr>
            <p:cNvSpPr/>
            <p:nvPr/>
          </p:nvSpPr>
          <p:spPr>
            <a:xfrm>
              <a:off x="1272041" y="6216170"/>
              <a:ext cx="6884971" cy="126609"/>
            </a:xfrm>
            <a:custGeom>
              <a:avLst/>
              <a:gdLst>
                <a:gd name="connsiteX0" fmla="*/ 0 w 3893642"/>
                <a:gd name="connsiteY0" fmla="*/ 0 h 126609"/>
                <a:gd name="connsiteX1" fmla="*/ 3893642 w 3893642"/>
                <a:gd name="connsiteY1" fmla="*/ 0 h 126609"/>
                <a:gd name="connsiteX2" fmla="*/ 3893234 w 3893642"/>
                <a:gd name="connsiteY2" fmla="*/ 2024 h 126609"/>
                <a:gd name="connsiteX3" fmla="*/ 3705278 w 3893642"/>
                <a:gd name="connsiteY3" fmla="*/ 126609 h 126609"/>
                <a:gd name="connsiteX4" fmla="*/ 188364 w 3893642"/>
                <a:gd name="connsiteY4" fmla="*/ 126609 h 126609"/>
                <a:gd name="connsiteX5" fmla="*/ 408 w 3893642"/>
                <a:gd name="connsiteY5" fmla="*/ 2024 h 126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3642" h="126609">
                  <a:moveTo>
                    <a:pt x="0" y="0"/>
                  </a:moveTo>
                  <a:lnTo>
                    <a:pt x="3893642" y="0"/>
                  </a:lnTo>
                  <a:lnTo>
                    <a:pt x="3893234" y="2024"/>
                  </a:lnTo>
                  <a:cubicBezTo>
                    <a:pt x="3862267" y="75237"/>
                    <a:pt x="3789772" y="126609"/>
                    <a:pt x="3705278" y="126609"/>
                  </a:cubicBezTo>
                  <a:lnTo>
                    <a:pt x="188364" y="126609"/>
                  </a:lnTo>
                  <a:cubicBezTo>
                    <a:pt x="103871" y="126609"/>
                    <a:pt x="31375" y="75237"/>
                    <a:pt x="408" y="2024"/>
                  </a:cubicBezTo>
                  <a:close/>
                </a:path>
              </a:pathLst>
            </a:custGeom>
            <a:solidFill>
              <a:srgbClr val="E400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0" name="TextBox 62">
              <a:extLst>
                <a:ext uri="{FF2B5EF4-FFF2-40B4-BE49-F238E27FC236}">
                  <a16:creationId xmlns:a16="http://schemas.microsoft.com/office/drawing/2014/main" id="{7E29F909-FA77-4316-967D-BF8062CBD750}"/>
                </a:ext>
              </a:extLst>
            </p:cNvPr>
            <p:cNvSpPr txBox="1"/>
            <p:nvPr/>
          </p:nvSpPr>
          <p:spPr>
            <a:xfrm>
              <a:off x="2568994" y="5213733"/>
              <a:ext cx="5476902" cy="646331"/>
            </a:xfrm>
            <a:prstGeom prst="rect">
              <a:avLst/>
            </a:prstGeom>
            <a:noFill/>
          </p:spPr>
          <p:txBody>
            <a:bodyPr wrap="square" rtlCol="0">
              <a:spAutoFit/>
            </a:bodyPr>
            <a:lstStyle/>
            <a:p>
              <a:r>
                <a:rPr lang="es-ES" b="1" dirty="0">
                  <a:ea typeface="Verdana" panose="020B0604030504040204" pitchFamily="34" charset="0"/>
                </a:rPr>
                <a:t>Aprender mediante la experiencia hace que los conceptos se fijen de mejor manera</a:t>
              </a:r>
              <a:endParaRPr lang="en-US" b="1" dirty="0">
                <a:ea typeface="Verdana" panose="020B0604030504040204" pitchFamily="34" charset="0"/>
              </a:endParaRPr>
            </a:p>
          </p:txBody>
        </p:sp>
        <p:sp>
          <p:nvSpPr>
            <p:cNvPr id="54" name="TextBox 66">
              <a:extLst>
                <a:ext uri="{FF2B5EF4-FFF2-40B4-BE49-F238E27FC236}">
                  <a16:creationId xmlns:a16="http://schemas.microsoft.com/office/drawing/2014/main" id="{FABE4B57-2154-4592-A314-C2688A26F41D}"/>
                </a:ext>
              </a:extLst>
            </p:cNvPr>
            <p:cNvSpPr txBox="1"/>
            <p:nvPr/>
          </p:nvSpPr>
          <p:spPr>
            <a:xfrm>
              <a:off x="1778418" y="5255543"/>
              <a:ext cx="580572" cy="400110"/>
            </a:xfrm>
            <a:prstGeom prst="rect">
              <a:avLst/>
            </a:prstGeom>
            <a:noFill/>
          </p:spPr>
          <p:txBody>
            <a:bodyPr wrap="square" rtlCol="0">
              <a:spAutoFit/>
            </a:bodyPr>
            <a:lstStyle/>
            <a:p>
              <a:pPr algn="ctr"/>
              <a:r>
                <a:rPr lang="en-US" sz="2000" b="1" dirty="0">
                  <a:solidFill>
                    <a:schemeClr val="bg1"/>
                  </a:solidFill>
                </a:rPr>
                <a:t>03</a:t>
              </a:r>
              <a:endParaRPr lang="en-US" b="1" dirty="0">
                <a:solidFill>
                  <a:schemeClr val="bg1"/>
                </a:solidFill>
              </a:endParaRPr>
            </a:p>
          </p:txBody>
        </p:sp>
      </p:grpSp>
      <p:grpSp>
        <p:nvGrpSpPr>
          <p:cNvPr id="60" name="Grupo 59">
            <a:extLst>
              <a:ext uri="{FF2B5EF4-FFF2-40B4-BE49-F238E27FC236}">
                <a16:creationId xmlns:a16="http://schemas.microsoft.com/office/drawing/2014/main" id="{AA5789E4-D3A1-4839-8EB1-733CEDEE3706}"/>
              </a:ext>
            </a:extLst>
          </p:cNvPr>
          <p:cNvGrpSpPr/>
          <p:nvPr/>
        </p:nvGrpSpPr>
        <p:grpSpPr>
          <a:xfrm>
            <a:off x="9623006" y="5224399"/>
            <a:ext cx="1438275" cy="844061"/>
            <a:chOff x="9906000" y="5491684"/>
            <a:chExt cx="1438275" cy="844061"/>
          </a:xfrm>
        </p:grpSpPr>
        <p:sp>
          <p:nvSpPr>
            <p:cNvPr id="59" name="Rectángulo 58">
              <a:extLst>
                <a:ext uri="{FF2B5EF4-FFF2-40B4-BE49-F238E27FC236}">
                  <a16:creationId xmlns:a16="http://schemas.microsoft.com/office/drawing/2014/main" id="{E1147150-D1AC-4F4C-B67B-0F21F6AFE243}"/>
                </a:ext>
              </a:extLst>
            </p:cNvPr>
            <p:cNvSpPr/>
            <p:nvPr/>
          </p:nvSpPr>
          <p:spPr>
            <a:xfrm>
              <a:off x="9906000" y="5491684"/>
              <a:ext cx="1438275" cy="844061"/>
            </a:xfrm>
            <a:prstGeom prst="rect">
              <a:avLst/>
            </a:prstGeom>
            <a:solidFill>
              <a:srgbClr val="FFC000"/>
            </a:solidFill>
            <a:ln w="57150">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58" name="Imagen 57" descr="Free vector graphic: Play, Start, Video, Button, Glossy ...">
              <a:hlinkClick r:id="rId2"/>
              <a:extLst>
                <a:ext uri="{FF2B5EF4-FFF2-40B4-BE49-F238E27FC236}">
                  <a16:creationId xmlns:a16="http://schemas.microsoft.com/office/drawing/2014/main" id="{BEF98027-D7BF-4E8C-A3CB-CEB02A44B15C}"/>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0068539" y="5600119"/>
              <a:ext cx="1124627" cy="636117"/>
            </a:xfrm>
            <a:prstGeom prst="rect">
              <a:avLst/>
            </a:prstGeom>
          </p:spPr>
        </p:pic>
      </p:grpSp>
      <p:grpSp>
        <p:nvGrpSpPr>
          <p:cNvPr id="64" name="Grupo 63">
            <a:extLst>
              <a:ext uri="{FF2B5EF4-FFF2-40B4-BE49-F238E27FC236}">
                <a16:creationId xmlns:a16="http://schemas.microsoft.com/office/drawing/2014/main" id="{C5380993-4343-49EE-88BC-949C8684A153}"/>
              </a:ext>
            </a:extLst>
          </p:cNvPr>
          <p:cNvGrpSpPr/>
          <p:nvPr/>
        </p:nvGrpSpPr>
        <p:grpSpPr>
          <a:xfrm>
            <a:off x="8699781" y="2896700"/>
            <a:ext cx="3160859" cy="2188964"/>
            <a:chOff x="8669191" y="2961994"/>
            <a:chExt cx="3160859" cy="1230922"/>
          </a:xfrm>
        </p:grpSpPr>
        <p:sp>
          <p:nvSpPr>
            <p:cNvPr id="61" name="Rectangle: Rounded Corners 4">
              <a:extLst>
                <a:ext uri="{FF2B5EF4-FFF2-40B4-BE49-F238E27FC236}">
                  <a16:creationId xmlns:a16="http://schemas.microsoft.com/office/drawing/2014/main" id="{A128DDEC-11F7-4527-ACEF-18A2174BB235}"/>
                </a:ext>
              </a:extLst>
            </p:cNvPr>
            <p:cNvSpPr/>
            <p:nvPr/>
          </p:nvSpPr>
          <p:spPr>
            <a:xfrm>
              <a:off x="8669191" y="2961994"/>
              <a:ext cx="3160859" cy="1223889"/>
            </a:xfrm>
            <a:prstGeom prst="roundRect">
              <a:avLst/>
            </a:prstGeom>
            <a:ln/>
          </p:spPr>
          <p:style>
            <a:lnRef idx="1">
              <a:schemeClr val="dk1"/>
            </a:lnRef>
            <a:fillRef idx="2">
              <a:schemeClr val="dk1"/>
            </a:fillRef>
            <a:effectRef idx="1">
              <a:schemeClr val="dk1"/>
            </a:effectRef>
            <a:fontRef idx="minor">
              <a:schemeClr val="dk1"/>
            </a:fontRef>
          </p:style>
          <p:txBody>
            <a:bodyPr rtlCol="0" anchor="ctr"/>
            <a:lstStyle/>
            <a:p>
              <a:pPr algn="ctr"/>
              <a:endParaRPr lang="en-US">
                <a:solidFill>
                  <a:schemeClr val="bg2">
                    <a:lumMod val="75000"/>
                  </a:schemeClr>
                </a:solidFill>
              </a:endParaRPr>
            </a:p>
          </p:txBody>
        </p:sp>
        <p:sp>
          <p:nvSpPr>
            <p:cNvPr id="62" name="Freeform: Shape 14">
              <a:extLst>
                <a:ext uri="{FF2B5EF4-FFF2-40B4-BE49-F238E27FC236}">
                  <a16:creationId xmlns:a16="http://schemas.microsoft.com/office/drawing/2014/main" id="{AACD525D-E5B3-4A79-8CCB-56888EED6C7C}"/>
                </a:ext>
              </a:extLst>
            </p:cNvPr>
            <p:cNvSpPr/>
            <p:nvPr/>
          </p:nvSpPr>
          <p:spPr>
            <a:xfrm>
              <a:off x="8682493" y="4167207"/>
              <a:ext cx="3135697" cy="25709"/>
            </a:xfrm>
            <a:custGeom>
              <a:avLst/>
              <a:gdLst>
                <a:gd name="connsiteX0" fmla="*/ 0 w 3893642"/>
                <a:gd name="connsiteY0" fmla="*/ 0 h 126609"/>
                <a:gd name="connsiteX1" fmla="*/ 3893642 w 3893642"/>
                <a:gd name="connsiteY1" fmla="*/ 0 h 126609"/>
                <a:gd name="connsiteX2" fmla="*/ 3893234 w 3893642"/>
                <a:gd name="connsiteY2" fmla="*/ 2024 h 126609"/>
                <a:gd name="connsiteX3" fmla="*/ 3705278 w 3893642"/>
                <a:gd name="connsiteY3" fmla="*/ 126609 h 126609"/>
                <a:gd name="connsiteX4" fmla="*/ 188364 w 3893642"/>
                <a:gd name="connsiteY4" fmla="*/ 126609 h 126609"/>
                <a:gd name="connsiteX5" fmla="*/ 408 w 3893642"/>
                <a:gd name="connsiteY5" fmla="*/ 2024 h 126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3642" h="126609">
                  <a:moveTo>
                    <a:pt x="0" y="0"/>
                  </a:moveTo>
                  <a:lnTo>
                    <a:pt x="3893642" y="0"/>
                  </a:lnTo>
                  <a:lnTo>
                    <a:pt x="3893234" y="2024"/>
                  </a:lnTo>
                  <a:cubicBezTo>
                    <a:pt x="3862267" y="75237"/>
                    <a:pt x="3789772" y="126609"/>
                    <a:pt x="3705278" y="126609"/>
                  </a:cubicBezTo>
                  <a:lnTo>
                    <a:pt x="188364" y="126609"/>
                  </a:lnTo>
                  <a:cubicBezTo>
                    <a:pt x="103871" y="126609"/>
                    <a:pt x="31375" y="75237"/>
                    <a:pt x="408" y="2024"/>
                  </a:cubicBezTo>
                  <a:close/>
                </a:path>
              </a:pathLst>
            </a:custGeom>
            <a:solidFill>
              <a:srgbClr val="51E0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TextBox 15">
              <a:extLst>
                <a:ext uri="{FF2B5EF4-FFF2-40B4-BE49-F238E27FC236}">
                  <a16:creationId xmlns:a16="http://schemas.microsoft.com/office/drawing/2014/main" id="{05E640EC-4DCD-4B0C-AAB1-6F2B18EC0F93}"/>
                </a:ext>
              </a:extLst>
            </p:cNvPr>
            <p:cNvSpPr txBox="1"/>
            <p:nvPr/>
          </p:nvSpPr>
          <p:spPr>
            <a:xfrm>
              <a:off x="8690176" y="2994431"/>
              <a:ext cx="3128014" cy="1021126"/>
            </a:xfrm>
            <a:prstGeom prst="rect">
              <a:avLst/>
            </a:prstGeom>
            <a:noFill/>
          </p:spPr>
          <p:txBody>
            <a:bodyPr wrap="square" rtlCol="0">
              <a:spAutoFit/>
            </a:bodyPr>
            <a:lstStyle/>
            <a:p>
              <a:r>
                <a:rPr lang="es-ES" sz="1600" b="1" dirty="0">
                  <a:solidFill>
                    <a:schemeClr val="bg2">
                      <a:lumMod val="75000"/>
                    </a:schemeClr>
                  </a:solidFill>
                  <a:latin typeface="Century Gothic" panose="020B0502020202020204" pitchFamily="34" charset="0"/>
                  <a:ea typeface="Verdana" panose="020B0604030504040204" pitchFamily="34" charset="0"/>
                </a:rPr>
                <a:t>La MR permite múltiples opciones, como por ejemplo, el poder asistir “virtualmente” expertos de ciertas materias al aula, interactuando con el profesor, el alumnado y objetos virtuales </a:t>
              </a:r>
              <a:endParaRPr lang="en-US" sz="1600" b="1" dirty="0">
                <a:solidFill>
                  <a:schemeClr val="bg2">
                    <a:lumMod val="75000"/>
                  </a:schemeClr>
                </a:solidFill>
                <a:latin typeface="Century Gothic" panose="020B0502020202020204" pitchFamily="34" charset="0"/>
                <a:ea typeface="Verdana" panose="020B0604030504040204" pitchFamily="34" charset="0"/>
              </a:endParaRPr>
            </a:p>
          </p:txBody>
        </p:sp>
      </p:grpSp>
      <p:sp>
        <p:nvSpPr>
          <p:cNvPr id="51" name="Marcador de número de diapositiva 1"/>
          <p:cNvSpPr>
            <a:spLocks noGrp="1"/>
          </p:cNvSpPr>
          <p:nvPr>
            <p:ph type="sldNum" sz="quarter" idx="12"/>
          </p:nvPr>
        </p:nvSpPr>
        <p:spPr>
          <a:xfrm>
            <a:off x="11777051" y="6458134"/>
            <a:ext cx="487378" cy="481343"/>
          </a:xfrm>
        </p:spPr>
        <p:txBody>
          <a:bodyPr/>
          <a:lstStyle/>
          <a:p>
            <a:r>
              <a:rPr lang="en-US" sz="2000" dirty="0" smtClean="0"/>
              <a:t>8</a:t>
            </a:r>
            <a:endParaRPr lang="en-US" sz="2000" dirty="0"/>
          </a:p>
        </p:txBody>
      </p:sp>
    </p:spTree>
    <p:extLst>
      <p:ext uri="{BB962C8B-B14F-4D97-AF65-F5344CB8AC3E}">
        <p14:creationId xmlns:p14="http://schemas.microsoft.com/office/powerpoint/2010/main" val="21143312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23FEED7-63F6-4545-95DD-474E69B1B82D}"/>
              </a:ext>
            </a:extLst>
          </p:cNvPr>
          <p:cNvSpPr/>
          <p:nvPr/>
        </p:nvSpPr>
        <p:spPr>
          <a:xfrm>
            <a:off x="419022" y="193816"/>
            <a:ext cx="5214889" cy="707886"/>
          </a:xfrm>
          <a:prstGeom prst="rect">
            <a:avLst/>
          </a:prstGeom>
          <a:noFill/>
        </p:spPr>
        <p:txBody>
          <a:bodyPr wrap="none" lIns="91440" tIns="45720" rIns="91440" bIns="45720">
            <a:spAutoFit/>
          </a:bodyPr>
          <a:lstStyle/>
          <a:p>
            <a:r>
              <a:rPr lang="es-ES" sz="4000" b="1" dirty="0">
                <a:ln w="9525">
                  <a:solidFill>
                    <a:schemeClr val="bg1"/>
                  </a:solidFill>
                  <a:prstDash val="solid"/>
                </a:ln>
                <a:solidFill>
                  <a:schemeClr val="bg1"/>
                </a:solidFill>
                <a:effectLst>
                  <a:outerShdw blurRad="12700" dist="38100" dir="2700000" algn="tl" rotWithShape="0">
                    <a:schemeClr val="accent5">
                      <a:lumMod val="60000"/>
                      <a:lumOff val="40000"/>
                    </a:schemeClr>
                  </a:outerShdw>
                </a:effectLst>
              </a:rPr>
              <a:t>Realidad Mixta (MR)</a:t>
            </a:r>
          </a:p>
        </p:txBody>
      </p:sp>
      <p:sp>
        <p:nvSpPr>
          <p:cNvPr id="6" name="Rectángulo 5">
            <a:extLst>
              <a:ext uri="{FF2B5EF4-FFF2-40B4-BE49-F238E27FC236}">
                <a16:creationId xmlns:a16="http://schemas.microsoft.com/office/drawing/2014/main" id="{6687E351-A758-43A4-AF6A-6C6933CC512C}"/>
              </a:ext>
            </a:extLst>
          </p:cNvPr>
          <p:cNvSpPr/>
          <p:nvPr/>
        </p:nvSpPr>
        <p:spPr>
          <a:xfrm>
            <a:off x="314226" y="1209479"/>
            <a:ext cx="2164375" cy="584775"/>
          </a:xfrm>
          <a:prstGeom prst="rect">
            <a:avLst/>
          </a:prstGeom>
          <a:noFill/>
        </p:spPr>
        <p:txBody>
          <a:bodyPr wrap="none" lIns="91440" tIns="45720" rIns="91440" bIns="45720">
            <a:spAutoFit/>
          </a:bodyPr>
          <a:lstStyle/>
          <a:p>
            <a:r>
              <a:rPr lang="es-ES" sz="3200" b="1" dirty="0" smtClean="0">
                <a:ln w="9525">
                  <a:solidFill>
                    <a:schemeClr val="tx1"/>
                  </a:solidFill>
                  <a:prstDash val="solid"/>
                </a:ln>
                <a:solidFill>
                  <a:srgbClr val="FFFF00"/>
                </a:solidFill>
                <a:effectLst>
                  <a:outerShdw blurRad="63500" sx="102000" sy="102000" algn="ctr" rotWithShape="0">
                    <a:prstClr val="black">
                      <a:alpha val="40000"/>
                    </a:prstClr>
                  </a:outerShdw>
                </a:effectLst>
              </a:rPr>
              <a:t>Descripción</a:t>
            </a:r>
            <a:endParaRPr lang="es-ES" sz="3200" b="1" dirty="0">
              <a:ln w="9525">
                <a:solidFill>
                  <a:schemeClr val="tx1"/>
                </a:solidFill>
                <a:prstDash val="solid"/>
              </a:ln>
              <a:solidFill>
                <a:srgbClr val="FFFF00"/>
              </a:solidFill>
              <a:effectLst>
                <a:outerShdw blurRad="63500" sx="102000" sy="102000" algn="ctr" rotWithShape="0">
                  <a:prstClr val="black">
                    <a:alpha val="40000"/>
                  </a:prstClr>
                </a:outerShdw>
              </a:effectLst>
            </a:endParaRPr>
          </a:p>
        </p:txBody>
      </p:sp>
      <p:grpSp>
        <p:nvGrpSpPr>
          <p:cNvPr id="7" name="Group 41">
            <a:extLst>
              <a:ext uri="{FF2B5EF4-FFF2-40B4-BE49-F238E27FC236}">
                <a16:creationId xmlns:a16="http://schemas.microsoft.com/office/drawing/2014/main" id="{7AFFAA78-77C8-4A46-B30B-48B2CEB190E5}"/>
              </a:ext>
            </a:extLst>
          </p:cNvPr>
          <p:cNvGrpSpPr/>
          <p:nvPr/>
        </p:nvGrpSpPr>
        <p:grpSpPr>
          <a:xfrm>
            <a:off x="4392929" y="2907971"/>
            <a:ext cx="1934913" cy="1919694"/>
            <a:chOff x="4135754" y="2355521"/>
            <a:chExt cx="1934913" cy="1919694"/>
          </a:xfrm>
        </p:grpSpPr>
        <p:sp>
          <p:nvSpPr>
            <p:cNvPr id="8" name="Freeform: Shape 11">
              <a:extLst>
                <a:ext uri="{FF2B5EF4-FFF2-40B4-BE49-F238E27FC236}">
                  <a16:creationId xmlns:a16="http://schemas.microsoft.com/office/drawing/2014/main" id="{AF45C7D6-9303-464D-B9A8-6968550F18F2}"/>
                </a:ext>
              </a:extLst>
            </p:cNvPr>
            <p:cNvSpPr/>
            <p:nvPr/>
          </p:nvSpPr>
          <p:spPr>
            <a:xfrm flipH="1" flipV="1">
              <a:off x="4135754" y="2355521"/>
              <a:ext cx="1934913" cy="1919694"/>
            </a:xfrm>
            <a:custGeom>
              <a:avLst/>
              <a:gdLst>
                <a:gd name="connsiteX0" fmla="*/ 246797 w 1934913"/>
                <a:gd name="connsiteY0" fmla="*/ 0 h 1919694"/>
                <a:gd name="connsiteX1" fmla="*/ 1597282 w 1934913"/>
                <a:gd name="connsiteY1" fmla="*/ 0 h 1919694"/>
                <a:gd name="connsiteX2" fmla="*/ 1934913 w 1934913"/>
                <a:gd name="connsiteY2" fmla="*/ 337631 h 1919694"/>
                <a:gd name="connsiteX3" fmla="*/ 1934913 w 1934913"/>
                <a:gd name="connsiteY3" fmla="*/ 1688116 h 1919694"/>
                <a:gd name="connsiteX4" fmla="*/ 1877251 w 1934913"/>
                <a:gd name="connsiteY4" fmla="*/ 1876889 h 1919694"/>
                <a:gd name="connsiteX5" fmla="*/ 1841934 w 1934913"/>
                <a:gd name="connsiteY5" fmla="*/ 1919694 h 1919694"/>
                <a:gd name="connsiteX6" fmla="*/ 0 w 1934913"/>
                <a:gd name="connsiteY6" fmla="*/ 108654 h 1919694"/>
                <a:gd name="connsiteX7" fmla="*/ 8056 w 1934913"/>
                <a:gd name="connsiteY7" fmla="*/ 98890 h 1919694"/>
                <a:gd name="connsiteX8" fmla="*/ 246797 w 1934913"/>
                <a:gd name="connsiteY8" fmla="*/ 0 h 1919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4913" h="1919694">
                  <a:moveTo>
                    <a:pt x="246797" y="0"/>
                  </a:moveTo>
                  <a:lnTo>
                    <a:pt x="1597282" y="0"/>
                  </a:lnTo>
                  <a:cubicBezTo>
                    <a:pt x="1783750" y="0"/>
                    <a:pt x="1934913" y="151163"/>
                    <a:pt x="1934913" y="337631"/>
                  </a:cubicBezTo>
                  <a:lnTo>
                    <a:pt x="1934913" y="1688116"/>
                  </a:lnTo>
                  <a:cubicBezTo>
                    <a:pt x="1934913" y="1758042"/>
                    <a:pt x="1913656" y="1823002"/>
                    <a:pt x="1877251" y="1876889"/>
                  </a:cubicBezTo>
                  <a:lnTo>
                    <a:pt x="1841934" y="1919694"/>
                  </a:lnTo>
                  <a:lnTo>
                    <a:pt x="0" y="108654"/>
                  </a:lnTo>
                  <a:lnTo>
                    <a:pt x="8056" y="98890"/>
                  </a:lnTo>
                  <a:cubicBezTo>
                    <a:pt x="69155" y="37791"/>
                    <a:pt x="153563" y="0"/>
                    <a:pt x="246797" y="0"/>
                  </a:cubicBezTo>
                  <a:close/>
                </a:path>
              </a:pathLst>
            </a:custGeom>
            <a:gradFill flip="none" rotWithShape="1">
              <a:gsLst>
                <a:gs pos="14000">
                  <a:srgbClr val="CC3300"/>
                </a:gs>
                <a:gs pos="100000">
                  <a:srgbClr val="FF99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15">
              <a:extLst>
                <a:ext uri="{FF2B5EF4-FFF2-40B4-BE49-F238E27FC236}">
                  <a16:creationId xmlns:a16="http://schemas.microsoft.com/office/drawing/2014/main" id="{2C9F6F6E-1C13-4826-9872-84D20DE19BE5}"/>
                </a:ext>
              </a:extLst>
            </p:cNvPr>
            <p:cNvSpPr txBox="1"/>
            <p:nvPr/>
          </p:nvSpPr>
          <p:spPr>
            <a:xfrm>
              <a:off x="4413746" y="3316051"/>
              <a:ext cx="758541" cy="707886"/>
            </a:xfrm>
            <a:prstGeom prst="rect">
              <a:avLst/>
            </a:prstGeom>
            <a:noFill/>
          </p:spPr>
          <p:txBody>
            <a:bodyPr wrap="none" rtlCol="0">
              <a:spAutoFit/>
            </a:bodyPr>
            <a:lstStyle/>
            <a:p>
              <a:r>
                <a:rPr lang="en-US" sz="4000" b="1" dirty="0">
                  <a:solidFill>
                    <a:schemeClr val="bg1"/>
                  </a:solidFill>
                  <a:latin typeface="Century Gothic" panose="020B0502020202020204" pitchFamily="34" charset="0"/>
                </a:rPr>
                <a:t>02</a:t>
              </a:r>
            </a:p>
          </p:txBody>
        </p:sp>
      </p:grpSp>
      <p:grpSp>
        <p:nvGrpSpPr>
          <p:cNvPr id="10" name="Group 42">
            <a:extLst>
              <a:ext uri="{FF2B5EF4-FFF2-40B4-BE49-F238E27FC236}">
                <a16:creationId xmlns:a16="http://schemas.microsoft.com/office/drawing/2014/main" id="{947D3B51-228A-43FC-868F-C29571C9A4EC}"/>
              </a:ext>
            </a:extLst>
          </p:cNvPr>
          <p:cNvGrpSpPr/>
          <p:nvPr/>
        </p:nvGrpSpPr>
        <p:grpSpPr>
          <a:xfrm>
            <a:off x="6262530" y="4726674"/>
            <a:ext cx="1934913" cy="1919694"/>
            <a:chOff x="6005355" y="4174224"/>
            <a:chExt cx="1934913" cy="1919694"/>
          </a:xfrm>
        </p:grpSpPr>
        <p:sp>
          <p:nvSpPr>
            <p:cNvPr id="11" name="Freeform: Shape 12">
              <a:extLst>
                <a:ext uri="{FF2B5EF4-FFF2-40B4-BE49-F238E27FC236}">
                  <a16:creationId xmlns:a16="http://schemas.microsoft.com/office/drawing/2014/main" id="{F58EB7C4-58D4-4C75-BA53-75DB4702F3D7}"/>
                </a:ext>
              </a:extLst>
            </p:cNvPr>
            <p:cNvSpPr/>
            <p:nvPr/>
          </p:nvSpPr>
          <p:spPr>
            <a:xfrm flipH="1" flipV="1">
              <a:off x="6005355" y="4174224"/>
              <a:ext cx="1934913" cy="1919694"/>
            </a:xfrm>
            <a:custGeom>
              <a:avLst/>
              <a:gdLst>
                <a:gd name="connsiteX0" fmla="*/ 246797 w 1934913"/>
                <a:gd name="connsiteY0" fmla="*/ 0 h 1919694"/>
                <a:gd name="connsiteX1" fmla="*/ 1597282 w 1934913"/>
                <a:gd name="connsiteY1" fmla="*/ 0 h 1919694"/>
                <a:gd name="connsiteX2" fmla="*/ 1934913 w 1934913"/>
                <a:gd name="connsiteY2" fmla="*/ 337631 h 1919694"/>
                <a:gd name="connsiteX3" fmla="*/ 1934913 w 1934913"/>
                <a:gd name="connsiteY3" fmla="*/ 1688116 h 1919694"/>
                <a:gd name="connsiteX4" fmla="*/ 1877251 w 1934913"/>
                <a:gd name="connsiteY4" fmla="*/ 1876889 h 1919694"/>
                <a:gd name="connsiteX5" fmla="*/ 1841934 w 1934913"/>
                <a:gd name="connsiteY5" fmla="*/ 1919694 h 1919694"/>
                <a:gd name="connsiteX6" fmla="*/ 0 w 1934913"/>
                <a:gd name="connsiteY6" fmla="*/ 108654 h 1919694"/>
                <a:gd name="connsiteX7" fmla="*/ 8056 w 1934913"/>
                <a:gd name="connsiteY7" fmla="*/ 98890 h 1919694"/>
                <a:gd name="connsiteX8" fmla="*/ 246797 w 1934913"/>
                <a:gd name="connsiteY8" fmla="*/ 0 h 1919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4913" h="1919694">
                  <a:moveTo>
                    <a:pt x="246797" y="0"/>
                  </a:moveTo>
                  <a:lnTo>
                    <a:pt x="1597282" y="0"/>
                  </a:lnTo>
                  <a:cubicBezTo>
                    <a:pt x="1783750" y="0"/>
                    <a:pt x="1934913" y="151163"/>
                    <a:pt x="1934913" y="337631"/>
                  </a:cubicBezTo>
                  <a:lnTo>
                    <a:pt x="1934913" y="1688116"/>
                  </a:lnTo>
                  <a:cubicBezTo>
                    <a:pt x="1934913" y="1758042"/>
                    <a:pt x="1913656" y="1823002"/>
                    <a:pt x="1877251" y="1876889"/>
                  </a:cubicBezTo>
                  <a:lnTo>
                    <a:pt x="1841934" y="1919694"/>
                  </a:lnTo>
                  <a:lnTo>
                    <a:pt x="0" y="108654"/>
                  </a:lnTo>
                  <a:lnTo>
                    <a:pt x="8056" y="98890"/>
                  </a:lnTo>
                  <a:cubicBezTo>
                    <a:pt x="69155" y="37791"/>
                    <a:pt x="153563" y="0"/>
                    <a:pt x="246797" y="0"/>
                  </a:cubicBezTo>
                  <a:close/>
                </a:path>
              </a:pathLst>
            </a:custGeom>
            <a:gradFill flip="none" rotWithShape="1">
              <a:gsLst>
                <a:gs pos="14000">
                  <a:srgbClr val="006666"/>
                </a:gs>
                <a:gs pos="100000">
                  <a:srgbClr val="00999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7">
              <a:extLst>
                <a:ext uri="{FF2B5EF4-FFF2-40B4-BE49-F238E27FC236}">
                  <a16:creationId xmlns:a16="http://schemas.microsoft.com/office/drawing/2014/main" id="{E9829D8F-2114-4169-8223-5CC12B985655}"/>
                </a:ext>
              </a:extLst>
            </p:cNvPr>
            <p:cNvSpPr txBox="1"/>
            <p:nvPr/>
          </p:nvSpPr>
          <p:spPr>
            <a:xfrm>
              <a:off x="6246083" y="5145095"/>
              <a:ext cx="758541" cy="707886"/>
            </a:xfrm>
            <a:prstGeom prst="rect">
              <a:avLst/>
            </a:prstGeom>
            <a:noFill/>
          </p:spPr>
          <p:txBody>
            <a:bodyPr wrap="none" rtlCol="0">
              <a:spAutoFit/>
            </a:bodyPr>
            <a:lstStyle/>
            <a:p>
              <a:r>
                <a:rPr lang="en-US" sz="4000" b="1" dirty="0">
                  <a:solidFill>
                    <a:schemeClr val="bg1"/>
                  </a:solidFill>
                  <a:latin typeface="Century Gothic" panose="020B0502020202020204" pitchFamily="34" charset="0"/>
                </a:rPr>
                <a:t>04</a:t>
              </a:r>
            </a:p>
          </p:txBody>
        </p:sp>
      </p:grpSp>
      <p:sp>
        <p:nvSpPr>
          <p:cNvPr id="13" name="Rectangle 48">
            <a:extLst>
              <a:ext uri="{FF2B5EF4-FFF2-40B4-BE49-F238E27FC236}">
                <a16:creationId xmlns:a16="http://schemas.microsoft.com/office/drawing/2014/main" id="{F7D50EB0-BB2E-446E-93A0-9BD3FB398F3B}"/>
              </a:ext>
            </a:extLst>
          </p:cNvPr>
          <p:cNvSpPr/>
          <p:nvPr/>
        </p:nvSpPr>
        <p:spPr>
          <a:xfrm rot="18870927" flipV="1">
            <a:off x="5291139" y="380452"/>
            <a:ext cx="314674" cy="7332995"/>
          </a:xfrm>
          <a:prstGeom prst="rect">
            <a:avLst/>
          </a:prstGeom>
          <a:gradFill>
            <a:gsLst>
              <a:gs pos="94000">
                <a:schemeClr val="tx1">
                  <a:alpha val="48000"/>
                </a:schemeClr>
              </a:gs>
              <a:gs pos="0">
                <a:schemeClr val="bg1">
                  <a:alpha val="0"/>
                </a:schemeClr>
              </a:gs>
            </a:gsLst>
            <a:lin ang="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3">
            <a:extLst>
              <a:ext uri="{FF2B5EF4-FFF2-40B4-BE49-F238E27FC236}">
                <a16:creationId xmlns:a16="http://schemas.microsoft.com/office/drawing/2014/main" id="{B2CF2252-FB19-4007-A00D-F56FA406B352}"/>
              </a:ext>
            </a:extLst>
          </p:cNvPr>
          <p:cNvSpPr/>
          <p:nvPr/>
        </p:nvSpPr>
        <p:spPr>
          <a:xfrm rot="18870927" flipH="1">
            <a:off x="5560798" y="296401"/>
            <a:ext cx="45719" cy="7332995"/>
          </a:xfrm>
          <a:prstGeom prst="rect">
            <a:avLst/>
          </a:prstGeom>
          <a:solidFill>
            <a:schemeClr val="bg1"/>
          </a:solidFill>
          <a:ln>
            <a:noFill/>
          </a:ln>
          <a:effectLst>
            <a:outerShdw blurRad="88900" dist="76200" dir="8100000" algn="tr" rotWithShape="0">
              <a:prstClr val="black">
                <a:alpha val="4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39">
            <a:extLst>
              <a:ext uri="{FF2B5EF4-FFF2-40B4-BE49-F238E27FC236}">
                <a16:creationId xmlns:a16="http://schemas.microsoft.com/office/drawing/2014/main" id="{4855BF40-9245-46FF-909C-117C509C35D6}"/>
              </a:ext>
            </a:extLst>
          </p:cNvPr>
          <p:cNvGrpSpPr/>
          <p:nvPr/>
        </p:nvGrpSpPr>
        <p:grpSpPr>
          <a:xfrm>
            <a:off x="3561124" y="1906287"/>
            <a:ext cx="1934913" cy="1919694"/>
            <a:chOff x="3303949" y="1353837"/>
            <a:chExt cx="1934913" cy="1919694"/>
          </a:xfrm>
        </p:grpSpPr>
        <p:sp>
          <p:nvSpPr>
            <p:cNvPr id="16" name="Freeform: Shape 8">
              <a:extLst>
                <a:ext uri="{FF2B5EF4-FFF2-40B4-BE49-F238E27FC236}">
                  <a16:creationId xmlns:a16="http://schemas.microsoft.com/office/drawing/2014/main" id="{6EDDC003-F980-4AB5-9F84-639D67CE96CA}"/>
                </a:ext>
              </a:extLst>
            </p:cNvPr>
            <p:cNvSpPr/>
            <p:nvPr/>
          </p:nvSpPr>
          <p:spPr>
            <a:xfrm>
              <a:off x="3303949" y="1353837"/>
              <a:ext cx="1934913" cy="1919694"/>
            </a:xfrm>
            <a:custGeom>
              <a:avLst/>
              <a:gdLst>
                <a:gd name="connsiteX0" fmla="*/ 246797 w 1934913"/>
                <a:gd name="connsiteY0" fmla="*/ 0 h 1919694"/>
                <a:gd name="connsiteX1" fmla="*/ 1597282 w 1934913"/>
                <a:gd name="connsiteY1" fmla="*/ 0 h 1919694"/>
                <a:gd name="connsiteX2" fmla="*/ 1934913 w 1934913"/>
                <a:gd name="connsiteY2" fmla="*/ 337631 h 1919694"/>
                <a:gd name="connsiteX3" fmla="*/ 1934913 w 1934913"/>
                <a:gd name="connsiteY3" fmla="*/ 1688116 h 1919694"/>
                <a:gd name="connsiteX4" fmla="*/ 1877251 w 1934913"/>
                <a:gd name="connsiteY4" fmla="*/ 1876889 h 1919694"/>
                <a:gd name="connsiteX5" fmla="*/ 1841934 w 1934913"/>
                <a:gd name="connsiteY5" fmla="*/ 1919694 h 1919694"/>
                <a:gd name="connsiteX6" fmla="*/ 0 w 1934913"/>
                <a:gd name="connsiteY6" fmla="*/ 108654 h 1919694"/>
                <a:gd name="connsiteX7" fmla="*/ 8056 w 1934913"/>
                <a:gd name="connsiteY7" fmla="*/ 98890 h 1919694"/>
                <a:gd name="connsiteX8" fmla="*/ 246797 w 1934913"/>
                <a:gd name="connsiteY8" fmla="*/ 0 h 1919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4913" h="1919694">
                  <a:moveTo>
                    <a:pt x="246797" y="0"/>
                  </a:moveTo>
                  <a:lnTo>
                    <a:pt x="1597282" y="0"/>
                  </a:lnTo>
                  <a:cubicBezTo>
                    <a:pt x="1783750" y="0"/>
                    <a:pt x="1934913" y="151163"/>
                    <a:pt x="1934913" y="337631"/>
                  </a:cubicBezTo>
                  <a:lnTo>
                    <a:pt x="1934913" y="1688116"/>
                  </a:lnTo>
                  <a:cubicBezTo>
                    <a:pt x="1934913" y="1758042"/>
                    <a:pt x="1913656" y="1823002"/>
                    <a:pt x="1877251" y="1876889"/>
                  </a:cubicBezTo>
                  <a:lnTo>
                    <a:pt x="1841934" y="1919694"/>
                  </a:lnTo>
                  <a:lnTo>
                    <a:pt x="0" y="108654"/>
                  </a:lnTo>
                  <a:lnTo>
                    <a:pt x="8056" y="98890"/>
                  </a:lnTo>
                  <a:cubicBezTo>
                    <a:pt x="69155" y="37791"/>
                    <a:pt x="153563" y="0"/>
                    <a:pt x="246797" y="0"/>
                  </a:cubicBezTo>
                  <a:close/>
                </a:path>
              </a:pathLst>
            </a:custGeom>
            <a:gradFill flip="none" rotWithShape="1">
              <a:gsLst>
                <a:gs pos="14000">
                  <a:srgbClr val="000066"/>
                </a:gs>
                <a:gs pos="100000">
                  <a:srgbClr val="3333FF"/>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4">
              <a:extLst>
                <a:ext uri="{FF2B5EF4-FFF2-40B4-BE49-F238E27FC236}">
                  <a16:creationId xmlns:a16="http://schemas.microsoft.com/office/drawing/2014/main" id="{9C246A9D-6471-4043-B56F-760722A64FDE}"/>
                </a:ext>
              </a:extLst>
            </p:cNvPr>
            <p:cNvSpPr txBox="1"/>
            <p:nvPr/>
          </p:nvSpPr>
          <p:spPr>
            <a:xfrm>
              <a:off x="4135754" y="1605798"/>
              <a:ext cx="758541" cy="707886"/>
            </a:xfrm>
            <a:prstGeom prst="rect">
              <a:avLst/>
            </a:prstGeom>
            <a:noFill/>
          </p:spPr>
          <p:txBody>
            <a:bodyPr wrap="none" rtlCol="0">
              <a:spAutoFit/>
            </a:bodyPr>
            <a:lstStyle/>
            <a:p>
              <a:r>
                <a:rPr lang="en-US" sz="4000" b="1" dirty="0">
                  <a:solidFill>
                    <a:schemeClr val="bg1"/>
                  </a:solidFill>
                  <a:latin typeface="Century Gothic" panose="020B0502020202020204" pitchFamily="34" charset="0"/>
                </a:rPr>
                <a:t>01</a:t>
              </a:r>
            </a:p>
          </p:txBody>
        </p:sp>
      </p:grpSp>
      <p:grpSp>
        <p:nvGrpSpPr>
          <p:cNvPr id="18" name="Group 40">
            <a:extLst>
              <a:ext uri="{FF2B5EF4-FFF2-40B4-BE49-F238E27FC236}">
                <a16:creationId xmlns:a16="http://schemas.microsoft.com/office/drawing/2014/main" id="{C430F946-D112-43C0-85D4-E324746431F4}"/>
              </a:ext>
            </a:extLst>
          </p:cNvPr>
          <p:cNvGrpSpPr/>
          <p:nvPr/>
        </p:nvGrpSpPr>
        <p:grpSpPr>
          <a:xfrm>
            <a:off x="5430725" y="3738638"/>
            <a:ext cx="1934913" cy="1919694"/>
            <a:chOff x="5173550" y="3172540"/>
            <a:chExt cx="1934913" cy="1919694"/>
          </a:xfrm>
        </p:grpSpPr>
        <p:sp>
          <p:nvSpPr>
            <p:cNvPr id="19" name="Freeform: Shape 13">
              <a:extLst>
                <a:ext uri="{FF2B5EF4-FFF2-40B4-BE49-F238E27FC236}">
                  <a16:creationId xmlns:a16="http://schemas.microsoft.com/office/drawing/2014/main" id="{33C23365-806B-45B8-991C-A71423040DD5}"/>
                </a:ext>
              </a:extLst>
            </p:cNvPr>
            <p:cNvSpPr/>
            <p:nvPr/>
          </p:nvSpPr>
          <p:spPr>
            <a:xfrm>
              <a:off x="5173550" y="3172540"/>
              <a:ext cx="1934913" cy="1919694"/>
            </a:xfrm>
            <a:custGeom>
              <a:avLst/>
              <a:gdLst>
                <a:gd name="connsiteX0" fmla="*/ 246797 w 1934913"/>
                <a:gd name="connsiteY0" fmla="*/ 0 h 1919694"/>
                <a:gd name="connsiteX1" fmla="*/ 1597282 w 1934913"/>
                <a:gd name="connsiteY1" fmla="*/ 0 h 1919694"/>
                <a:gd name="connsiteX2" fmla="*/ 1934913 w 1934913"/>
                <a:gd name="connsiteY2" fmla="*/ 337631 h 1919694"/>
                <a:gd name="connsiteX3" fmla="*/ 1934913 w 1934913"/>
                <a:gd name="connsiteY3" fmla="*/ 1688116 h 1919694"/>
                <a:gd name="connsiteX4" fmla="*/ 1877251 w 1934913"/>
                <a:gd name="connsiteY4" fmla="*/ 1876889 h 1919694"/>
                <a:gd name="connsiteX5" fmla="*/ 1841934 w 1934913"/>
                <a:gd name="connsiteY5" fmla="*/ 1919694 h 1919694"/>
                <a:gd name="connsiteX6" fmla="*/ 0 w 1934913"/>
                <a:gd name="connsiteY6" fmla="*/ 108654 h 1919694"/>
                <a:gd name="connsiteX7" fmla="*/ 8056 w 1934913"/>
                <a:gd name="connsiteY7" fmla="*/ 98890 h 1919694"/>
                <a:gd name="connsiteX8" fmla="*/ 246797 w 1934913"/>
                <a:gd name="connsiteY8" fmla="*/ 0 h 1919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4913" h="1919694">
                  <a:moveTo>
                    <a:pt x="246797" y="0"/>
                  </a:moveTo>
                  <a:lnTo>
                    <a:pt x="1597282" y="0"/>
                  </a:lnTo>
                  <a:cubicBezTo>
                    <a:pt x="1783750" y="0"/>
                    <a:pt x="1934913" y="151163"/>
                    <a:pt x="1934913" y="337631"/>
                  </a:cubicBezTo>
                  <a:lnTo>
                    <a:pt x="1934913" y="1688116"/>
                  </a:lnTo>
                  <a:cubicBezTo>
                    <a:pt x="1934913" y="1758042"/>
                    <a:pt x="1913656" y="1823002"/>
                    <a:pt x="1877251" y="1876889"/>
                  </a:cubicBezTo>
                  <a:lnTo>
                    <a:pt x="1841934" y="1919694"/>
                  </a:lnTo>
                  <a:lnTo>
                    <a:pt x="0" y="108654"/>
                  </a:lnTo>
                  <a:lnTo>
                    <a:pt x="8056" y="98890"/>
                  </a:lnTo>
                  <a:cubicBezTo>
                    <a:pt x="69155" y="37791"/>
                    <a:pt x="153563" y="0"/>
                    <a:pt x="246797" y="0"/>
                  </a:cubicBezTo>
                  <a:close/>
                </a:path>
              </a:pathLst>
            </a:custGeom>
            <a:gradFill flip="none" rotWithShape="1">
              <a:gsLst>
                <a:gs pos="14000">
                  <a:srgbClr val="CC0066"/>
                </a:gs>
                <a:gs pos="100000">
                  <a:srgbClr val="FF339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6">
              <a:extLst>
                <a:ext uri="{FF2B5EF4-FFF2-40B4-BE49-F238E27FC236}">
                  <a16:creationId xmlns:a16="http://schemas.microsoft.com/office/drawing/2014/main" id="{D74D8733-6470-4F97-85B5-B4443530402E}"/>
                </a:ext>
              </a:extLst>
            </p:cNvPr>
            <p:cNvSpPr txBox="1"/>
            <p:nvPr/>
          </p:nvSpPr>
          <p:spPr>
            <a:xfrm>
              <a:off x="6096000" y="3397704"/>
              <a:ext cx="758541" cy="707886"/>
            </a:xfrm>
            <a:prstGeom prst="rect">
              <a:avLst/>
            </a:prstGeom>
            <a:noFill/>
          </p:spPr>
          <p:txBody>
            <a:bodyPr wrap="none" rtlCol="0">
              <a:spAutoFit/>
            </a:bodyPr>
            <a:lstStyle/>
            <a:p>
              <a:r>
                <a:rPr lang="en-US" sz="4000" b="1" dirty="0">
                  <a:solidFill>
                    <a:schemeClr val="bg1"/>
                  </a:solidFill>
                  <a:latin typeface="Century Gothic" panose="020B0502020202020204" pitchFamily="34" charset="0"/>
                </a:rPr>
                <a:t>03</a:t>
              </a:r>
            </a:p>
          </p:txBody>
        </p:sp>
      </p:grpSp>
      <p:sp>
        <p:nvSpPr>
          <p:cNvPr id="25" name="TextBox 19">
            <a:extLst>
              <a:ext uri="{FF2B5EF4-FFF2-40B4-BE49-F238E27FC236}">
                <a16:creationId xmlns:a16="http://schemas.microsoft.com/office/drawing/2014/main" id="{AD54A891-DB74-4A2E-9A4F-D3BAB664FBCD}"/>
              </a:ext>
            </a:extLst>
          </p:cNvPr>
          <p:cNvSpPr txBox="1"/>
          <p:nvPr/>
        </p:nvSpPr>
        <p:spPr>
          <a:xfrm>
            <a:off x="5759406" y="2041409"/>
            <a:ext cx="5708694" cy="707886"/>
          </a:xfrm>
          <a:prstGeom prst="rect">
            <a:avLst/>
          </a:prstGeom>
          <a:noFill/>
        </p:spPr>
        <p:txBody>
          <a:bodyPr wrap="square" rtlCol="0">
            <a:spAutoFit/>
          </a:bodyPr>
          <a:lstStyle/>
          <a:p>
            <a:r>
              <a:rPr lang="es-ES" sz="2000" dirty="0">
                <a:solidFill>
                  <a:schemeClr val="bg1"/>
                </a:solidFill>
                <a:cs typeface="Calibri" panose="020F0502020204030204" pitchFamily="34" charset="0"/>
              </a:rPr>
              <a:t>La MR requiere un hardware específico (“gafas”) y sensores complejos</a:t>
            </a:r>
            <a:endParaRPr lang="en-US" sz="1200" dirty="0">
              <a:solidFill>
                <a:schemeClr val="bg1">
                  <a:lumMod val="50000"/>
                </a:schemeClr>
              </a:solidFill>
            </a:endParaRPr>
          </a:p>
        </p:txBody>
      </p:sp>
      <p:sp>
        <p:nvSpPr>
          <p:cNvPr id="30" name="TextBox 31">
            <a:extLst>
              <a:ext uri="{FF2B5EF4-FFF2-40B4-BE49-F238E27FC236}">
                <a16:creationId xmlns:a16="http://schemas.microsoft.com/office/drawing/2014/main" id="{5F6BC30C-4067-40CB-B003-54D367110C87}"/>
              </a:ext>
            </a:extLst>
          </p:cNvPr>
          <p:cNvSpPr txBox="1"/>
          <p:nvPr/>
        </p:nvSpPr>
        <p:spPr>
          <a:xfrm>
            <a:off x="7390970" y="3854927"/>
            <a:ext cx="4729311" cy="1323439"/>
          </a:xfrm>
          <a:prstGeom prst="rect">
            <a:avLst/>
          </a:prstGeom>
          <a:noFill/>
        </p:spPr>
        <p:txBody>
          <a:bodyPr wrap="square" rtlCol="0">
            <a:spAutoFit/>
          </a:bodyPr>
          <a:lstStyle/>
          <a:p>
            <a:r>
              <a:rPr lang="es-ES" sz="2000" dirty="0">
                <a:solidFill>
                  <a:schemeClr val="bg1"/>
                </a:solidFill>
              </a:rPr>
              <a:t>Con este proceso se puede fusionar el mundo real junto con contenido virtual, el cual, se representa por medio de hologramas </a:t>
            </a:r>
            <a:endParaRPr lang="en-US" sz="1200" dirty="0">
              <a:solidFill>
                <a:schemeClr val="bg1">
                  <a:lumMod val="50000"/>
                </a:schemeClr>
              </a:solidFill>
              <a:latin typeface="Century Gothic" panose="020B0502020202020204" pitchFamily="34" charset="0"/>
            </a:endParaRPr>
          </a:p>
        </p:txBody>
      </p:sp>
      <p:sp>
        <p:nvSpPr>
          <p:cNvPr id="35" name="TextBox 34">
            <a:extLst>
              <a:ext uri="{FF2B5EF4-FFF2-40B4-BE49-F238E27FC236}">
                <a16:creationId xmlns:a16="http://schemas.microsoft.com/office/drawing/2014/main" id="{07DFB381-7BCA-45CF-BE29-A0A272A66B63}"/>
              </a:ext>
            </a:extLst>
          </p:cNvPr>
          <p:cNvSpPr txBox="1"/>
          <p:nvPr/>
        </p:nvSpPr>
        <p:spPr>
          <a:xfrm>
            <a:off x="69098" y="3100344"/>
            <a:ext cx="4296240" cy="1323439"/>
          </a:xfrm>
          <a:prstGeom prst="rect">
            <a:avLst/>
          </a:prstGeom>
          <a:noFill/>
        </p:spPr>
        <p:txBody>
          <a:bodyPr wrap="square" rtlCol="0">
            <a:spAutoFit/>
          </a:bodyPr>
          <a:lstStyle/>
          <a:p>
            <a:pPr algn="r"/>
            <a:r>
              <a:rPr lang="es-ES" sz="2000" dirty="0">
                <a:solidFill>
                  <a:schemeClr val="bg1"/>
                </a:solidFill>
              </a:rPr>
              <a:t>Esa serie de sensores (cámaras, giroscopios, sensores de proximidad…) permiten capturar la información del mundo real</a:t>
            </a:r>
            <a:endParaRPr lang="en-US" sz="1400" dirty="0">
              <a:solidFill>
                <a:schemeClr val="bg1">
                  <a:lumMod val="50000"/>
                </a:schemeClr>
              </a:solidFill>
              <a:latin typeface="Century Gothic" panose="020B0502020202020204" pitchFamily="34" charset="0"/>
            </a:endParaRPr>
          </a:p>
        </p:txBody>
      </p:sp>
      <p:sp>
        <p:nvSpPr>
          <p:cNvPr id="40" name="TextBox 38">
            <a:extLst>
              <a:ext uri="{FF2B5EF4-FFF2-40B4-BE49-F238E27FC236}">
                <a16:creationId xmlns:a16="http://schemas.microsoft.com/office/drawing/2014/main" id="{238F6762-4996-4C69-9ABA-07D4DF849B7D}"/>
              </a:ext>
            </a:extLst>
          </p:cNvPr>
          <p:cNvSpPr txBox="1"/>
          <p:nvPr/>
        </p:nvSpPr>
        <p:spPr>
          <a:xfrm>
            <a:off x="503788" y="5151304"/>
            <a:ext cx="5638378" cy="1477328"/>
          </a:xfrm>
          <a:prstGeom prst="rect">
            <a:avLst/>
          </a:prstGeom>
          <a:noFill/>
        </p:spPr>
        <p:txBody>
          <a:bodyPr wrap="square" rtlCol="0">
            <a:spAutoFit/>
          </a:bodyPr>
          <a:lstStyle/>
          <a:p>
            <a:pPr algn="r"/>
            <a:r>
              <a:rPr lang="es-ES" dirty="0">
                <a:solidFill>
                  <a:schemeClr val="bg1"/>
                </a:solidFill>
              </a:rPr>
              <a:t>La MR facilita y mejora la capacidad de aprendizaje de los estudiantes, facilitando la asimilación de la información a través de elementos visuales que captan la atención de los alumnos</a:t>
            </a:r>
            <a:endParaRPr lang="en-US" sz="1050" dirty="0">
              <a:solidFill>
                <a:schemeClr val="bg1">
                  <a:lumMod val="50000"/>
                </a:schemeClr>
              </a:solidFill>
              <a:latin typeface="Century Gothic" panose="020B0502020202020204" pitchFamily="34" charset="0"/>
            </a:endParaRPr>
          </a:p>
        </p:txBody>
      </p:sp>
      <p:pic>
        <p:nvPicPr>
          <p:cNvPr id="41" name="Imagen 40" descr="File:1 Monet Play logo.png - Wikimedia Commons">
            <a:hlinkClick r:id="rId2"/>
            <a:extLst>
              <a:ext uri="{FF2B5EF4-FFF2-40B4-BE49-F238E27FC236}">
                <a16:creationId xmlns:a16="http://schemas.microsoft.com/office/drawing/2014/main" id="{F93F3C7E-A113-47D2-BAC8-48433B70EAE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310463" y="5421052"/>
            <a:ext cx="1065415" cy="1065415"/>
          </a:xfrm>
          <a:prstGeom prst="rect">
            <a:avLst/>
          </a:prstGeom>
        </p:spPr>
      </p:pic>
      <p:sp>
        <p:nvSpPr>
          <p:cNvPr id="23" name="Marcador de número de diapositiva 1"/>
          <p:cNvSpPr>
            <a:spLocks noGrp="1"/>
          </p:cNvSpPr>
          <p:nvPr>
            <p:ph type="sldNum" sz="quarter" idx="12"/>
          </p:nvPr>
        </p:nvSpPr>
        <p:spPr>
          <a:xfrm>
            <a:off x="11777051" y="6458134"/>
            <a:ext cx="487378" cy="481343"/>
          </a:xfrm>
        </p:spPr>
        <p:txBody>
          <a:bodyPr/>
          <a:lstStyle/>
          <a:p>
            <a:r>
              <a:rPr lang="en-US" sz="2000" dirty="0" smtClean="0"/>
              <a:t>9</a:t>
            </a:r>
            <a:endParaRPr lang="en-US" sz="2000" dirty="0"/>
          </a:p>
        </p:txBody>
      </p:sp>
    </p:spTree>
    <p:extLst>
      <p:ext uri="{BB962C8B-B14F-4D97-AF65-F5344CB8AC3E}">
        <p14:creationId xmlns:p14="http://schemas.microsoft.com/office/powerpoint/2010/main" val="1025836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8vC1gjEyUqIEj3GrUj55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L.NAg.x.0u5KngzrIYWP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yFLJZL.BkqS3ydB6ZXD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bMb6Wme90q2h7WRul2Q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S39nY9oCEufsUoBDiCq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daFUhMc5k6klhvTWtChu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ItFZb9cTES3eCRIGPuPR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L.NAg.x.0u5KngzrIYWP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GMgSY5MFUKa6bdOJi7uc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mlPrhSl60.BbPWBrfaNV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x_IX9AElUGz8OfYsrNsWg"/>
</p:tagLst>
</file>

<file path=ppt/theme/theme1.xml><?xml version="1.0" encoding="utf-8"?>
<a:theme xmlns:a="http://schemas.openxmlformats.org/drawingml/2006/main" name="Sector">
  <a:themeElements>
    <a:clrScheme name="Sector">
      <a:dk1>
        <a:sysClr val="windowText" lastClr="000000"/>
      </a:dk1>
      <a:lt1>
        <a:sysClr val="window" lastClr="FFFFFF"/>
      </a:lt1>
      <a:dk2>
        <a:srgbClr val="146194"/>
      </a:dk2>
      <a:lt2>
        <a:srgbClr val="76DBF4"/>
      </a:lt2>
      <a:accent1>
        <a:srgbClr val="052F61"/>
      </a:accent1>
      <a:accent2>
        <a:srgbClr val="A50E82"/>
      </a:accent2>
      <a:accent3>
        <a:srgbClr val="14967C"/>
      </a:accent3>
      <a:accent4>
        <a:srgbClr val="6A9E1F"/>
      </a:accent4>
      <a:accent5>
        <a:srgbClr val="E87D37"/>
      </a:accent5>
      <a:accent6>
        <a:srgbClr val="C62324"/>
      </a:accent6>
      <a:hlink>
        <a:srgbClr val="0D2E46"/>
      </a:hlink>
      <a:folHlink>
        <a:srgbClr val="356A95"/>
      </a:folHlink>
    </a:clrScheme>
    <a:fontScheme name="Sector">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ector">
      <a:fillStyleLst>
        <a:solidFill>
          <a:schemeClr val="phClr"/>
        </a:solidFill>
        <a:gradFill rotWithShape="1">
          <a:gsLst>
            <a:gs pos="0">
              <a:schemeClr val="phClr">
                <a:tint val="62000"/>
                <a:hueMod val="94000"/>
                <a:satMod val="140000"/>
                <a:lumMod val="110000"/>
              </a:schemeClr>
            </a:gs>
            <a:gs pos="100000">
              <a:schemeClr val="phClr">
                <a:tint val="84000"/>
                <a:satMod val="160000"/>
              </a:schemeClr>
            </a:gs>
          </a:gsLst>
          <a:lin ang="5400000" scaled="0"/>
        </a:gradFill>
        <a:gradFill rotWithShape="1">
          <a:gsLst>
            <a:gs pos="0">
              <a:schemeClr val="phClr">
                <a:tint val="98000"/>
                <a:hueMod val="94000"/>
                <a:satMod val="130000"/>
                <a:lumMod val="128000"/>
              </a:schemeClr>
            </a:gs>
            <a:gs pos="100000">
              <a:schemeClr val="phClr">
                <a:shade val="94000"/>
                <a:lumMod val="88000"/>
              </a:schemeClr>
            </a:gs>
          </a:gsLst>
          <a:lin ang="5400000" scaled="0"/>
        </a:gradFill>
      </a:fillStyleLst>
      <a:lnStyleLst>
        <a:ln w="9525" cap="rnd" cmpd="sng" algn="ctr">
          <a:solidFill>
            <a:schemeClr val="phClr">
              <a:tint val="76000"/>
              <a:alpha val="60000"/>
              <a:hueMod val="94000"/>
            </a:schemeClr>
          </a:solidFill>
          <a:prstDash val="solid"/>
        </a:ln>
        <a:ln w="15875" cap="rnd" cmpd="sng" algn="ctr">
          <a:solidFill>
            <a:schemeClr val="phClr">
              <a:hueMod val="94000"/>
            </a:schemeClr>
          </a:solidFill>
          <a:prstDash val="solid"/>
        </a:ln>
        <a:ln w="28575" cap="rnd" cmpd="sng" algn="ctr">
          <a:solidFill>
            <a:schemeClr val="phClr"/>
          </a:solidFill>
          <a:prstDash val="solid"/>
        </a:ln>
      </a:lnStyleLst>
      <a:effectStyleLst>
        <a:effectStyle>
          <a:effectLst/>
        </a:effectStyle>
        <a:effectStyle>
          <a:effectLst>
            <a:innerShdw blurRad="25400" dist="12700" dir="13500000">
              <a:srgbClr val="000000">
                <a:alpha val="45000"/>
              </a:srgbClr>
            </a:innerShdw>
          </a:effectLst>
        </a:effectStyle>
        <a:effectStyle>
          <a:effectLst>
            <a:outerShdw blurRad="50800" dist="38100" dir="5400000" rotWithShape="0">
              <a:srgbClr val="000000">
                <a:alpha val="46000"/>
              </a:srgbClr>
            </a:outerShdw>
          </a:effectLst>
          <a:scene3d>
            <a:camera prst="orthographicFront">
              <a:rot lat="0" lon="0" rev="0"/>
            </a:camera>
            <a:lightRig rig="threePt" dir="t"/>
          </a:scene3d>
          <a:sp3d prstMaterial="plastic">
            <a:bevelT w="25400" h="25400"/>
          </a:sp3d>
        </a:effectStyle>
      </a:effectStyleLst>
      <a:bgFillStyleLst>
        <a:solidFill>
          <a:schemeClr val="phClr"/>
        </a:solidFill>
        <a:gradFill rotWithShape="1">
          <a:gsLst>
            <a:gs pos="10000">
              <a:schemeClr val="phClr">
                <a:tint val="97000"/>
                <a:hueMod val="92000"/>
                <a:satMod val="169000"/>
                <a:lumMod val="164000"/>
              </a:schemeClr>
            </a:gs>
            <a:gs pos="100000">
              <a:schemeClr val="phClr">
                <a:shade val="96000"/>
                <a:satMod val="120000"/>
                <a:lumMod val="90000"/>
              </a:schemeClr>
            </a:gs>
          </a:gsLst>
          <a:lin ang="6120000" scaled="1"/>
        </a:gradFill>
        <a:gradFill rotWithShape="1">
          <a:gsLst>
            <a:gs pos="0">
              <a:schemeClr val="phClr">
                <a:tint val="97000"/>
                <a:hueMod val="92000"/>
                <a:satMod val="169000"/>
                <a:lumMod val="164000"/>
              </a:schemeClr>
            </a:gs>
            <a:gs pos="100000">
              <a:schemeClr val="phClr">
                <a:shade val="96000"/>
                <a:satMod val="120000"/>
                <a:lumMod val="90000"/>
              </a:schemeClr>
            </a:gs>
          </a:gsLst>
          <a:path path="circle">
            <a:fillToRect b="100000"/>
          </a:path>
        </a:gradFill>
      </a:bgFillStyleLst>
    </a:fmtScheme>
  </a:themeElements>
  <a:objectDefaults/>
  <a:extraClrSchemeLst/>
  <a:extLst>
    <a:ext uri="{05A4C25C-085E-4340-85A3-A5531E510DB2}">
      <thm15:themeFamily xmlns:thm15="http://schemas.microsoft.com/office/thememl/2012/main" name="Slice" id="{0507925B-6AC9-4358-8E18-C330545D08F8}" vid="{13FEC7C6-62A9-40C4-99D2-581AACACAA2F}"/>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4033917[[fn=Berlín]]</Template>
  <TotalTime>6773</TotalTime>
  <Words>4496</Words>
  <Application>Microsoft Office PowerPoint</Application>
  <PresentationFormat>Panorámica</PresentationFormat>
  <Paragraphs>894</Paragraphs>
  <Slides>55</Slides>
  <Notes>13</Notes>
  <HiddenSlides>0</HiddenSlides>
  <MMClips>0</MMClips>
  <ScaleCrop>false</ScaleCrop>
  <HeadingPairs>
    <vt:vector size="8" baseType="variant">
      <vt:variant>
        <vt:lpstr>Fuentes usadas</vt:lpstr>
      </vt:variant>
      <vt:variant>
        <vt:i4>38</vt:i4>
      </vt:variant>
      <vt:variant>
        <vt:lpstr>Tema</vt:lpstr>
      </vt:variant>
      <vt:variant>
        <vt:i4>1</vt:i4>
      </vt:variant>
      <vt:variant>
        <vt:lpstr>Servidores OLE incrustados</vt:lpstr>
      </vt:variant>
      <vt:variant>
        <vt:i4>1</vt:i4>
      </vt:variant>
      <vt:variant>
        <vt:lpstr>Títulos de diapositiva</vt:lpstr>
      </vt:variant>
      <vt:variant>
        <vt:i4>55</vt:i4>
      </vt:variant>
    </vt:vector>
  </HeadingPairs>
  <TitlesOfParts>
    <vt:vector size="95" baseType="lpstr">
      <vt:lpstr>微软雅黑</vt:lpstr>
      <vt:lpstr>MS PGothic</vt:lpstr>
      <vt:lpstr>宋体</vt:lpstr>
      <vt:lpstr>Arial</vt:lpstr>
      <vt:lpstr>Arial Regular</vt:lpstr>
      <vt:lpstr>Arial Unicode MS</vt:lpstr>
      <vt:lpstr>Calibri</vt:lpstr>
      <vt:lpstr>Calibri Light</vt:lpstr>
      <vt:lpstr>Century Gothic</vt:lpstr>
      <vt:lpstr>Courier New</vt:lpstr>
      <vt:lpstr>等线</vt:lpstr>
      <vt:lpstr>Google Sans</vt:lpstr>
      <vt:lpstr>Hand Of Sean</vt:lpstr>
      <vt:lpstr>Helvetica</vt:lpstr>
      <vt:lpstr>Helvetica Light</vt:lpstr>
      <vt:lpstr>Montserrat Classic</vt:lpstr>
      <vt:lpstr>Open Sans</vt:lpstr>
      <vt:lpstr>Open Sans Condensed</vt:lpstr>
      <vt:lpstr>Oswald</vt:lpstr>
      <vt:lpstr>Poppins</vt:lpstr>
      <vt:lpstr>Roboto</vt:lpstr>
      <vt:lpstr>Roboto Condensed Light</vt:lpstr>
      <vt:lpstr>Roboto Slab</vt:lpstr>
      <vt:lpstr>Segoe UI Semilight</vt:lpstr>
      <vt:lpstr>黑体</vt:lpstr>
      <vt:lpstr>Source Sans Pro</vt:lpstr>
      <vt:lpstr>华文细黑</vt:lpstr>
      <vt:lpstr>Telefonica</vt:lpstr>
      <vt:lpstr>Telefonica Headline Light</vt:lpstr>
      <vt:lpstr>TextFont1</vt:lpstr>
      <vt:lpstr>Times New Roman</vt:lpstr>
      <vt:lpstr>Trebuchet MS</vt:lpstr>
      <vt:lpstr>UD Digi Kyokasho NP-B</vt:lpstr>
      <vt:lpstr>Verdana</vt:lpstr>
      <vt:lpstr>Wingdings</vt:lpstr>
      <vt:lpstr>Wingdings 3</vt:lpstr>
      <vt:lpstr>幼圆</vt:lpstr>
      <vt:lpstr>方正兰亭细黑_GBK</vt:lpstr>
      <vt:lpstr>Sector</vt:lpstr>
      <vt:lpstr>Image</vt:lpstr>
      <vt:lpstr>AULAS TECNOLÓGICA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AULAS TECNOLÓGICA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Smart Classroom – Aula Inteligent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Usuario</dc:creator>
  <cp:lastModifiedBy>Rodríguez Agulleiro Domingo Antonio</cp:lastModifiedBy>
  <cp:revision>181</cp:revision>
  <cp:lastPrinted>2020-12-18T10:26:57Z</cp:lastPrinted>
  <dcterms:created xsi:type="dcterms:W3CDTF">2020-10-19T14:39:09Z</dcterms:created>
  <dcterms:modified xsi:type="dcterms:W3CDTF">2020-12-18T11:19:49Z</dcterms:modified>
</cp:coreProperties>
</file>